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903" r:id="rId2"/>
    <p:sldMasterId id="2147483922" r:id="rId3"/>
    <p:sldMasterId id="2147483925" r:id="rId4"/>
  </p:sldMasterIdLst>
  <p:notesMasterIdLst>
    <p:notesMasterId r:id="rId35"/>
  </p:notesMasterIdLst>
  <p:handoutMasterIdLst>
    <p:handoutMasterId r:id="rId36"/>
  </p:handoutMasterIdLst>
  <p:sldIdLst>
    <p:sldId id="485" r:id="rId5"/>
    <p:sldId id="451" r:id="rId6"/>
    <p:sldId id="420" r:id="rId7"/>
    <p:sldId id="452" r:id="rId8"/>
    <p:sldId id="479" r:id="rId9"/>
    <p:sldId id="454" r:id="rId10"/>
    <p:sldId id="455" r:id="rId11"/>
    <p:sldId id="484" r:id="rId12"/>
    <p:sldId id="481" r:id="rId13"/>
    <p:sldId id="482" r:id="rId14"/>
    <p:sldId id="483" r:id="rId15"/>
    <p:sldId id="475" r:id="rId16"/>
    <p:sldId id="470" r:id="rId17"/>
    <p:sldId id="471" r:id="rId18"/>
    <p:sldId id="463" r:id="rId19"/>
    <p:sldId id="464" r:id="rId20"/>
    <p:sldId id="374" r:id="rId21"/>
    <p:sldId id="465" r:id="rId22"/>
    <p:sldId id="443" r:id="rId23"/>
    <p:sldId id="372" r:id="rId24"/>
    <p:sldId id="438" r:id="rId25"/>
    <p:sldId id="439" r:id="rId26"/>
    <p:sldId id="487" r:id="rId27"/>
    <p:sldId id="440" r:id="rId28"/>
    <p:sldId id="480" r:id="rId29"/>
    <p:sldId id="472" r:id="rId30"/>
    <p:sldId id="441" r:id="rId31"/>
    <p:sldId id="449" r:id="rId32"/>
    <p:sldId id="476" r:id="rId33"/>
    <p:sldId id="488" r:id="rId34"/>
  </p:sldIdLst>
  <p:sldSz cx="12192000" cy="6858000"/>
  <p:notesSz cx="9296400" cy="70104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0" userDrawn="1">
          <p15:clr>
            <a:srgbClr val="A4A3A4"/>
          </p15:clr>
        </p15:guide>
        <p15:guide id="2" pos="7272" userDrawn="1">
          <p15:clr>
            <a:srgbClr val="A4A3A4"/>
          </p15:clr>
        </p15:guide>
        <p15:guide id="3" pos="3216" userDrawn="1">
          <p15:clr>
            <a:srgbClr val="A4A3A4"/>
          </p15:clr>
        </p15:guide>
        <p15:guide id="4" pos="432" userDrawn="1">
          <p15:clr>
            <a:srgbClr val="A4A3A4"/>
          </p15:clr>
        </p15:guide>
        <p15:guide id="5" pos="1680" userDrawn="1">
          <p15:clr>
            <a:srgbClr val="A4A3A4"/>
          </p15:clr>
        </p15:guide>
        <p15:guide id="6" pos="4560" userDrawn="1">
          <p15:clr>
            <a:srgbClr val="A4A3A4"/>
          </p15:clr>
        </p15:guide>
        <p15:guide id="7" pos="590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 Myers" initials="DM" lastIdx="14" clrIdx="0"/>
  <p:cmAuthor id="2" name="Paul Riyad" initials="PR" lastIdx="14" clrIdx="1">
    <p:extLst>
      <p:ext uri="{19B8F6BF-5375-455C-9EA6-DF929625EA0E}">
        <p15:presenceInfo xmlns:p15="http://schemas.microsoft.com/office/powerpoint/2012/main" userId="S-1-5-21-614945312-2035909510-2080853243-50752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A6A6"/>
    <a:srgbClr val="05589C"/>
    <a:srgbClr val="F26926"/>
    <a:srgbClr val="404041"/>
    <a:srgbClr val="E4E5E6"/>
    <a:srgbClr val="606062"/>
    <a:srgbClr val="EFEFF0"/>
    <a:srgbClr val="8CC6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195" autoAdjust="0"/>
    <p:restoredTop sz="96433" autoAdjust="0"/>
  </p:normalViewPr>
  <p:slideViewPr>
    <p:cSldViewPr>
      <p:cViewPr varScale="1">
        <p:scale>
          <a:sx n="74" d="100"/>
          <a:sy n="74" d="100"/>
        </p:scale>
        <p:origin x="816" y="72"/>
      </p:cViewPr>
      <p:guideLst>
        <p:guide orient="horz" pos="2400"/>
        <p:guide pos="7272"/>
        <p:guide pos="3216"/>
        <p:guide pos="432"/>
        <p:guide pos="1680"/>
        <p:guide pos="4560"/>
        <p:guide pos="5904"/>
      </p:guideLst>
    </p:cSldViewPr>
  </p:slideViewPr>
  <p:notesTextViewPr>
    <p:cViewPr>
      <p:scale>
        <a:sx n="3" d="2"/>
        <a:sy n="3" d="2"/>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43"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028440" cy="351737"/>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5265809" y="1"/>
            <a:ext cx="4028440" cy="351737"/>
          </a:xfrm>
          <a:prstGeom prst="rect">
            <a:avLst/>
          </a:prstGeom>
        </p:spPr>
        <p:txBody>
          <a:bodyPr vert="horz" lIns="93177" tIns="46589" rIns="93177" bIns="46589" rtlCol="0"/>
          <a:lstStyle>
            <a:lvl1pPr algn="r">
              <a:defRPr sz="1200"/>
            </a:lvl1pPr>
          </a:lstStyle>
          <a:p>
            <a:fld id="{3A79A5A0-F367-4E45-A801-42403F09572C}" type="datetimeFigureOut">
              <a:rPr lang="en-US" smtClean="0"/>
              <a:t>12/1/2017</a:t>
            </a:fld>
            <a:endParaRPr lang="en-US"/>
          </a:p>
        </p:txBody>
      </p:sp>
      <p:sp>
        <p:nvSpPr>
          <p:cNvPr id="4" name="Footer Placeholder 3"/>
          <p:cNvSpPr>
            <a:spLocks noGrp="1"/>
          </p:cNvSpPr>
          <p:nvPr>
            <p:ph type="ftr" sz="quarter" idx="2"/>
          </p:nvPr>
        </p:nvSpPr>
        <p:spPr>
          <a:xfrm>
            <a:off x="0" y="6658664"/>
            <a:ext cx="4028440" cy="351736"/>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5265809" y="6658664"/>
            <a:ext cx="4028440" cy="351736"/>
          </a:xfrm>
          <a:prstGeom prst="rect">
            <a:avLst/>
          </a:prstGeom>
        </p:spPr>
        <p:txBody>
          <a:bodyPr vert="horz" lIns="93177" tIns="46589" rIns="93177" bIns="46589" rtlCol="0" anchor="b"/>
          <a:lstStyle>
            <a:lvl1pPr algn="r">
              <a:defRPr sz="1200"/>
            </a:lvl1pPr>
          </a:lstStyle>
          <a:p>
            <a:fld id="{C2795F58-363A-4593-BDCC-2B23E57C9AB7}" type="slidenum">
              <a:rPr lang="en-US" smtClean="0"/>
              <a:t>‹#›</a:t>
            </a:fld>
            <a:endParaRPr lang="en-US"/>
          </a:p>
        </p:txBody>
      </p:sp>
    </p:spTree>
    <p:extLst>
      <p:ext uri="{BB962C8B-B14F-4D97-AF65-F5344CB8AC3E}">
        <p14:creationId xmlns:p14="http://schemas.microsoft.com/office/powerpoint/2010/main" val="15156527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5265809" y="0"/>
            <a:ext cx="4028440" cy="350520"/>
          </a:xfrm>
          <a:prstGeom prst="rect">
            <a:avLst/>
          </a:prstGeom>
        </p:spPr>
        <p:txBody>
          <a:bodyPr vert="horz" lIns="93177" tIns="46589" rIns="93177" bIns="46589" rtlCol="0"/>
          <a:lstStyle>
            <a:lvl1pPr algn="r">
              <a:defRPr sz="1200"/>
            </a:lvl1pPr>
          </a:lstStyle>
          <a:p>
            <a:fld id="{D9ED631D-2245-411A-8BAF-A67DD72143BE}" type="datetimeFigureOut">
              <a:rPr lang="en-US" smtClean="0"/>
              <a:t>12/1/2017</a:t>
            </a:fld>
            <a:endParaRPr lang="en-US"/>
          </a:p>
        </p:txBody>
      </p:sp>
      <p:sp>
        <p:nvSpPr>
          <p:cNvPr id="4" name="Slide Image Placeholder 3"/>
          <p:cNvSpPr>
            <a:spLocks noGrp="1" noRot="1" noChangeAspect="1"/>
          </p:cNvSpPr>
          <p:nvPr>
            <p:ph type="sldImg" idx="2"/>
          </p:nvPr>
        </p:nvSpPr>
        <p:spPr>
          <a:xfrm>
            <a:off x="2311400" y="525463"/>
            <a:ext cx="4673600" cy="2628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929640" y="3329940"/>
            <a:ext cx="7437120" cy="31546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4"/>
            <a:ext cx="4028440" cy="3505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5265809" y="6658664"/>
            <a:ext cx="4028440" cy="350520"/>
          </a:xfrm>
          <a:prstGeom prst="rect">
            <a:avLst/>
          </a:prstGeom>
        </p:spPr>
        <p:txBody>
          <a:bodyPr vert="horz" lIns="93177" tIns="46589" rIns="93177" bIns="46589" rtlCol="0" anchor="b"/>
          <a:lstStyle>
            <a:lvl1pPr algn="r">
              <a:defRPr sz="1200"/>
            </a:lvl1pPr>
          </a:lstStyle>
          <a:p>
            <a:fld id="{2D9A0D1E-BDC1-4D28-BDE2-5A83560EF80A}" type="slidenum">
              <a:rPr lang="en-US" smtClean="0"/>
              <a:t>‹#›</a:t>
            </a:fld>
            <a:endParaRPr lang="en-US"/>
          </a:p>
        </p:txBody>
      </p:sp>
    </p:spTree>
    <p:extLst>
      <p:ext uri="{BB962C8B-B14F-4D97-AF65-F5344CB8AC3E}">
        <p14:creationId xmlns:p14="http://schemas.microsoft.com/office/powerpoint/2010/main" val="12226147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ckground of IV use in a Clinical Setting –</a:t>
            </a:r>
            <a:r>
              <a:rPr lang="en-US" b="1" dirty="0"/>
              <a:t> Supporting text</a:t>
            </a:r>
            <a:r>
              <a:rPr lang="en-US" b="1" baseline="0" dirty="0"/>
              <a:t> being read with slide</a:t>
            </a:r>
            <a:endParaRPr lang="en-US" b="1" dirty="0"/>
          </a:p>
          <a:p>
            <a:pPr lvl="1"/>
            <a:r>
              <a:rPr lang="en-US" i="1" dirty="0"/>
              <a:t>“Intravenous catheter placements are the most common invasive hospital procedure worldwide; </a:t>
            </a:r>
            <a:r>
              <a:rPr lang="en-US" b="1" i="1" dirty="0"/>
              <a:t>90%</a:t>
            </a:r>
            <a:r>
              <a:rPr lang="en-US" i="1" dirty="0"/>
              <a:t> </a:t>
            </a:r>
            <a:r>
              <a:rPr lang="en-US" b="1" i="1" dirty="0"/>
              <a:t>of hospitalized patients receive IV therapy</a:t>
            </a:r>
            <a:r>
              <a:rPr lang="en-US" i="1" dirty="0"/>
              <a:t> and nearly </a:t>
            </a:r>
            <a:r>
              <a:rPr lang="en-US" b="1" i="1" dirty="0"/>
              <a:t>50% of IV catheters experience a complication</a:t>
            </a:r>
            <a:r>
              <a:rPr lang="en-US" i="1" dirty="0"/>
              <a:t> that results in the catheter being pulled before its intended dwell time.  The most common complications are dislodgement, occlusion, phlebitis and CRBSIs.  All of these have a negative effect on the patient and come at a cost to the healthcare provider.”</a:t>
            </a:r>
            <a:r>
              <a:rPr lang="en-US" baseline="30000" dirty="0"/>
              <a:t> 1</a:t>
            </a:r>
            <a:endParaRPr lang="en-US" i="1" dirty="0"/>
          </a:p>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66B992-5F77-B646-B011-FA542D15405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862442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sp>
      <p:sp>
        <p:nvSpPr>
          <p:cNvPr id="62466" name="Notes Placeholder 2"/>
          <p:cNvSpPr>
            <a:spLocks noGrp="1"/>
          </p:cNvSpPr>
          <p:nvPr>
            <p:ph type="body" idx="1"/>
          </p:nvPr>
        </p:nvSpPr>
        <p:spPr bwMode="auto">
          <a:noFill/>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atin typeface="Calibri" charset="0"/>
            </a:endParaRPr>
          </a:p>
        </p:txBody>
      </p:sp>
      <p:sp>
        <p:nvSpPr>
          <p:cNvPr id="62467"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charset="0"/>
                <a:ea typeface="ＭＳ Ｐゴシック" charset="0"/>
                <a:cs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fontAlgn="base">
              <a:spcBef>
                <a:spcPct val="0"/>
              </a:spcBef>
              <a:spcAft>
                <a:spcPct val="0"/>
              </a:spcAft>
            </a:pPr>
            <a:fld id="{E051A43C-57B2-4441-B2B5-17936350F6FF}" type="slidenum">
              <a:rPr lang="en-US"/>
              <a:pPr fontAlgn="base">
                <a:spcBef>
                  <a:spcPct val="0"/>
                </a:spcBef>
                <a:spcAft>
                  <a:spcPct val="0"/>
                </a:spcAft>
              </a:pPr>
              <a:t>30</a:t>
            </a:fld>
            <a:endParaRPr lang="en-US"/>
          </a:p>
        </p:txBody>
      </p:sp>
    </p:spTree>
    <p:extLst>
      <p:ext uri="{BB962C8B-B14F-4D97-AF65-F5344CB8AC3E}">
        <p14:creationId xmlns:p14="http://schemas.microsoft.com/office/powerpoint/2010/main" val="8502184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9A0D1E-BDC1-4D28-BDE2-5A83560EF80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814100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9A0D1E-BDC1-4D28-BDE2-5A83560EF80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40751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4F0335-DD69-473D-9218-CEAD9ED8A926}"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1146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4F0335-DD69-473D-9218-CEAD9ED8A926}"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9747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4F0335-DD69-473D-9218-CEAD9ED8A926}"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66327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a:t>Simplified snap shot of the pre-filled flush market evolution dating back to the mid-to-late 1990s</a:t>
            </a:r>
          </a:p>
          <a:p>
            <a:pPr marL="174708" indent="-174708">
              <a:buFont typeface="Arial" panose="020B0604020202020204" pitchFamily="34" charset="0"/>
              <a:buChar char="•"/>
            </a:pPr>
            <a:r>
              <a:rPr lang="en-US" dirty="0"/>
              <a:t>As</a:t>
            </a:r>
            <a:r>
              <a:rPr lang="en-US" baseline="0" dirty="0"/>
              <a:t> you go down the pyramid, you’ll notice the pre-filled market conversion increase and on the left, even though it’s not shown, the market price decreases over time but has been stable since 2012</a:t>
            </a:r>
          </a:p>
          <a:p>
            <a:pPr marL="174708" indent="-174708">
              <a:buFont typeface="Arial" panose="020B0604020202020204" pitchFamily="34" charset="0"/>
              <a:buChar char="•"/>
            </a:pPr>
            <a:r>
              <a:rPr lang="en-US" baseline="0" dirty="0"/>
              <a:t>Of course, it’s easy to see that the pre-filled flush market has grown substantially in regards to competition but it is important to note that not every competitor at the top of the pyramid is present on the bottom, with the exception of Excelsior, </a:t>
            </a:r>
            <a:r>
              <a:rPr lang="en-US" baseline="0" dirty="0" err="1"/>
              <a:t>PosiFlush</a:t>
            </a:r>
            <a:r>
              <a:rPr lang="en-US" baseline="0" dirty="0"/>
              <a:t> and the </a:t>
            </a:r>
            <a:r>
              <a:rPr lang="en-US" baseline="0" dirty="0" err="1"/>
              <a:t>Medefil</a:t>
            </a:r>
            <a:r>
              <a:rPr lang="en-US" baseline="0" dirty="0"/>
              <a:t> product</a:t>
            </a:r>
          </a:p>
          <a:p>
            <a:pPr marL="174708" indent="-174708">
              <a:buFont typeface="Arial" panose="020B0604020202020204" pitchFamily="34" charset="0"/>
              <a:buChar char="•"/>
            </a:pPr>
            <a:r>
              <a:rPr lang="en-US" baseline="0" dirty="0"/>
              <a:t>Just a few comments on the competition in general…</a:t>
            </a:r>
            <a:endParaRPr lang="en-US" dirty="0"/>
          </a:p>
          <a:p>
            <a:endParaRPr lang="pt-PT"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9A0D1E-BDC1-4D28-BDE2-5A83560EF80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811854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a:t>Simplified snap shot of the pre-filled flush market evolution dating back to the mid-to-late 1990s</a:t>
            </a:r>
          </a:p>
          <a:p>
            <a:pPr marL="174708" indent="-174708">
              <a:buFont typeface="Arial" panose="020B0604020202020204" pitchFamily="34" charset="0"/>
              <a:buChar char="•"/>
            </a:pPr>
            <a:r>
              <a:rPr lang="en-US" dirty="0"/>
              <a:t>As</a:t>
            </a:r>
            <a:r>
              <a:rPr lang="en-US" baseline="0" dirty="0"/>
              <a:t> you go down the pyramid, you’ll notice the pre-filled market conversion increase and on the left, even though it’s not shown, the market price decreases over time but has been stable since 2012</a:t>
            </a:r>
          </a:p>
          <a:p>
            <a:pPr marL="174708" indent="-174708">
              <a:buFont typeface="Arial" panose="020B0604020202020204" pitchFamily="34" charset="0"/>
              <a:buChar char="•"/>
            </a:pPr>
            <a:r>
              <a:rPr lang="en-US" baseline="0" dirty="0"/>
              <a:t>Of course, it’s easy to see that the pre-filled flush market has grown substantially in regards to competition but it is important to note that not every competitor at the top of the pyramid is present on the bottom, with the exception of Excelsior, </a:t>
            </a:r>
            <a:r>
              <a:rPr lang="en-US" baseline="0" dirty="0" err="1"/>
              <a:t>PosiFlush</a:t>
            </a:r>
            <a:r>
              <a:rPr lang="en-US" baseline="0" dirty="0"/>
              <a:t> and the </a:t>
            </a:r>
            <a:r>
              <a:rPr lang="en-US" baseline="0" dirty="0" err="1"/>
              <a:t>Medefil</a:t>
            </a:r>
            <a:r>
              <a:rPr lang="en-US" baseline="0" dirty="0"/>
              <a:t> product</a:t>
            </a:r>
          </a:p>
          <a:p>
            <a:pPr marL="174708" indent="-174708">
              <a:buFont typeface="Arial" panose="020B0604020202020204" pitchFamily="34" charset="0"/>
              <a:buChar char="•"/>
            </a:pPr>
            <a:r>
              <a:rPr lang="en-US" baseline="0" dirty="0"/>
              <a:t>Just a few comments on the competition in general…</a:t>
            </a:r>
            <a:endParaRPr lang="en-US" dirty="0"/>
          </a:p>
          <a:p>
            <a:endParaRPr lang="pt-PT" dirty="0"/>
          </a:p>
        </p:txBody>
      </p:sp>
      <p:sp>
        <p:nvSpPr>
          <p:cNvPr id="4" name="Slide Number Placeholder 3"/>
          <p:cNvSpPr>
            <a:spLocks noGrp="1"/>
          </p:cNvSpPr>
          <p:nvPr>
            <p:ph type="sldNum" sz="quarter" idx="10"/>
          </p:nvPr>
        </p:nvSpPr>
        <p:spPr/>
        <p:txBody>
          <a:bodyPr/>
          <a:lstStyle/>
          <a:p>
            <a:fld id="{2D9A0D1E-BDC1-4D28-BDE2-5A83560EF80A}" type="slidenum">
              <a:rPr lang="en-US" smtClean="0"/>
              <a:t>19</a:t>
            </a:fld>
            <a:endParaRPr lang="en-US"/>
          </a:p>
        </p:txBody>
      </p:sp>
    </p:spTree>
    <p:extLst>
      <p:ext uri="{BB962C8B-B14F-4D97-AF65-F5344CB8AC3E}">
        <p14:creationId xmlns:p14="http://schemas.microsoft.com/office/powerpoint/2010/main" val="22621659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9A0D1E-BDC1-4D28-BDE2-5A83560EF80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820341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ullet list (with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841505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7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609600" y="1600201"/>
            <a:ext cx="10972800" cy="3971413"/>
          </a:xfrm>
          <a:prstGeom prst="rect">
            <a:avLst/>
          </a:prstGeom>
        </p:spPr>
        <p:txBody>
          <a:bodyPr>
            <a:normAutofit/>
          </a:bodyPr>
          <a:lstStyle>
            <a:lvl1pPr marL="292100" indent="-292100">
              <a:lnSpc>
                <a:spcPct val="112000"/>
              </a:lnSpc>
              <a:spcBef>
                <a:spcPts val="600"/>
              </a:spcBef>
              <a:spcAft>
                <a:spcPts val="0"/>
              </a:spcAft>
              <a:buFont typeface="Arial"/>
              <a:buChar char="•"/>
              <a:tabLst/>
              <a:defRPr sz="2000" baseline="0">
                <a:solidFill>
                  <a:schemeClr val="tx1"/>
                </a:solidFill>
                <a:latin typeface="Verdana"/>
                <a:cs typeface="Verdana"/>
              </a:defRPr>
            </a:lvl1pPr>
            <a:lvl2pPr marL="642938" indent="-285750">
              <a:lnSpc>
                <a:spcPct val="112000"/>
              </a:lnSpc>
              <a:spcBef>
                <a:spcPts val="600"/>
              </a:spcBef>
              <a:spcAft>
                <a:spcPts val="0"/>
              </a:spcAft>
              <a:buFont typeface="Lucida Grande"/>
              <a:buChar char="–"/>
              <a:defRPr sz="1800">
                <a:solidFill>
                  <a:schemeClr val="tx1"/>
                </a:solidFill>
                <a:latin typeface="Verdana"/>
                <a:cs typeface="Verdana"/>
              </a:defRPr>
            </a:lvl2pPr>
            <a:lvl3pPr marL="1090613" indent="-228600">
              <a:lnSpc>
                <a:spcPct val="112000"/>
              </a:lnSpc>
              <a:spcBef>
                <a:spcPts val="600"/>
              </a:spcBef>
              <a:spcAft>
                <a:spcPts val="0"/>
              </a:spcAft>
              <a:buFont typeface="Arial"/>
              <a:buChar char="•"/>
              <a:defRPr sz="1600">
                <a:solidFill>
                  <a:schemeClr val="tx1"/>
                </a:solidFill>
                <a:latin typeface="Verdana"/>
                <a:cs typeface="Verdana"/>
              </a:defRPr>
            </a:lvl3pPr>
            <a:lvl4pPr marL="1487488" indent="-228600">
              <a:lnSpc>
                <a:spcPct val="112000"/>
              </a:lnSpc>
              <a:spcBef>
                <a:spcPts val="600"/>
              </a:spcBef>
              <a:spcAft>
                <a:spcPts val="0"/>
              </a:spcAft>
              <a:buFont typeface="Lucida Grande"/>
              <a:buChar char="–"/>
              <a:defRPr sz="1600">
                <a:solidFill>
                  <a:schemeClr val="tx1"/>
                </a:solidFill>
                <a:latin typeface="Verdana"/>
                <a:cs typeface="Verdana"/>
              </a:defRPr>
            </a:lvl4pPr>
            <a:lvl5pPr marL="1944688" indent="-228600">
              <a:lnSpc>
                <a:spcPct val="112000"/>
              </a:lnSpc>
              <a:spcBef>
                <a:spcPts val="600"/>
              </a:spcBef>
              <a:spcAft>
                <a:spcPts val="0"/>
              </a:spcAft>
              <a:buFont typeface="Arial"/>
              <a:buChar char="•"/>
              <a:defRPr sz="1600">
                <a:solidFill>
                  <a:schemeClr val="tx1"/>
                </a:solidFill>
                <a:latin typeface="Verdana"/>
                <a:cs typeface="Verdana"/>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hasCustomPrompt="1"/>
          </p:nvPr>
        </p:nvSpPr>
        <p:spPr>
          <a:xfrm>
            <a:off x="609600" y="0"/>
            <a:ext cx="10972800" cy="1335024"/>
          </a:xfrm>
          <a:prstGeom prst="rect">
            <a:avLst/>
          </a:prstGeom>
        </p:spPr>
        <p:txBody>
          <a:bodyPr vert="horz" anchor="b" anchorCtr="0">
            <a:normAutofit/>
          </a:bodyPr>
          <a:lstStyle>
            <a:lvl1pPr algn="l">
              <a:defRPr sz="3200">
                <a:solidFill>
                  <a:schemeClr val="accent1"/>
                </a:solidFill>
                <a:latin typeface="Verdana"/>
              </a:defRPr>
            </a:lvl1pPr>
          </a:lstStyle>
          <a:p>
            <a:r>
              <a:rPr lang="en-US" dirty="0"/>
              <a:t>Header</a:t>
            </a:r>
          </a:p>
        </p:txBody>
      </p:sp>
      <p:sp>
        <p:nvSpPr>
          <p:cNvPr id="5" name="Subtitle 2"/>
          <p:cNvSpPr txBox="1">
            <a:spLocks/>
          </p:cNvSpPr>
          <p:nvPr userDrawn="1"/>
        </p:nvSpPr>
        <p:spPr>
          <a:xfrm>
            <a:off x="644691" y="6438278"/>
            <a:ext cx="8534400" cy="206131"/>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r>
              <a:rPr lang="en-US" sz="800" i="1" dirty="0">
                <a:solidFill>
                  <a:srgbClr val="404041"/>
                </a:solidFill>
                <a:latin typeface="Verdana"/>
                <a:cs typeface="Verdana"/>
              </a:rPr>
              <a:t>Confidential—For Internal Use Only</a:t>
            </a:r>
          </a:p>
        </p:txBody>
      </p:sp>
      <p:pic>
        <p:nvPicPr>
          <p:cNvPr id="6" name="Picture 5" descr="bd_3_rgb_lbg_1_0.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77739" y="6073540"/>
            <a:ext cx="1914144" cy="786384"/>
          </a:xfrm>
          <a:prstGeom prst="rect">
            <a:avLst/>
          </a:prstGeom>
        </p:spPr>
      </p:pic>
      <p:sp>
        <p:nvSpPr>
          <p:cNvPr id="7" name="Slide Number Placeholder 1"/>
          <p:cNvSpPr txBox="1">
            <a:spLocks/>
          </p:cNvSpPr>
          <p:nvPr userDrawn="1"/>
        </p:nvSpPr>
        <p:spPr>
          <a:xfrm>
            <a:off x="0" y="6247643"/>
            <a:ext cx="693853" cy="598860"/>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8C8C8E"/>
                </a:solidFill>
                <a:latin typeface="Verdana"/>
                <a:ea typeface="+mn-ea"/>
                <a:cs typeface="Verdana"/>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8EB43C4-7051-7042-93B5-8C0653444BA6}" type="slidenum">
              <a:rPr lang="en-US" sz="600" smtClean="0"/>
              <a:pPr/>
              <a:t>‹#›</a:t>
            </a:fld>
            <a:endParaRPr lang="en-US" sz="600" dirty="0"/>
          </a:p>
        </p:txBody>
      </p:sp>
    </p:spTree>
    <p:extLst>
      <p:ext uri="{BB962C8B-B14F-4D97-AF65-F5344CB8AC3E}">
        <p14:creationId xmlns:p14="http://schemas.microsoft.com/office/powerpoint/2010/main" val="33996017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list with image (without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96739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layout 1 (with logo)">
    <p:spTree>
      <p:nvGrpSpPr>
        <p:cNvPr id="1" name=""/>
        <p:cNvGrpSpPr/>
        <p:nvPr/>
      </p:nvGrpSpPr>
      <p:grpSpPr>
        <a:xfrm>
          <a:off x="0" y="0"/>
          <a:ext cx="0" cy="0"/>
          <a:chOff x="0" y="0"/>
          <a:chExt cx="0" cy="0"/>
        </a:xfrm>
      </p:grpSpPr>
      <p:sp>
        <p:nvSpPr>
          <p:cNvPr id="6" name="Slide Number Placeholder 1"/>
          <p:cNvSpPr txBox="1">
            <a:spLocks/>
          </p:cNvSpPr>
          <p:nvPr userDrawn="1"/>
        </p:nvSpPr>
        <p:spPr>
          <a:xfrm>
            <a:off x="0" y="6247643"/>
            <a:ext cx="693853" cy="598860"/>
          </a:xfrm>
          <a:prstGeom prst="rect">
            <a:avLst/>
          </a:prstGeom>
        </p:spPr>
        <p:txBody>
          <a:bodyPr vert="horz" lIns="91440" tIns="45720" rIns="91440" bIns="45720" rtlCol="0" anchor="ctr"/>
          <a:lstStyle>
            <a:defPPr>
              <a:defRPr lang="en-US"/>
            </a:defPPr>
            <a:lvl1pPr marL="0" algn="ctr" defTabSz="457200" rtl="0" eaLnBrk="1" latinLnBrk="0" hangingPunct="1">
              <a:defRPr sz="600" kern="1200">
                <a:solidFill>
                  <a:srgbClr val="8C8C8E"/>
                </a:solidFill>
                <a:latin typeface="Verdana"/>
                <a:ea typeface="+mn-ea"/>
                <a:cs typeface="Verdana"/>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8EB43C4-7051-7042-93B5-8C0653444BA6}" type="slidenum">
              <a:rPr lang="en-US" sz="600" smtClean="0"/>
              <a:pPr/>
              <a:t>‹#›</a:t>
            </a:fld>
            <a:endParaRPr lang="en-US" sz="600" dirty="0"/>
          </a:p>
        </p:txBody>
      </p:sp>
    </p:spTree>
    <p:extLst>
      <p:ext uri="{BB962C8B-B14F-4D97-AF65-F5344CB8AC3E}">
        <p14:creationId xmlns:p14="http://schemas.microsoft.com/office/powerpoint/2010/main" val="34840993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layout 1 (without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53718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layout 2 (with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47568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layout 2 (without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44151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ue Closing Slide (High angle posi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38673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Bullet list (with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502051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90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26320341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Blue Closing Slide (High angle posi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8340153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74458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40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144331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Blue Title Slide (High angle posi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40064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ue Closing Slide (High angle position)">
    <p:spTree>
      <p:nvGrpSpPr>
        <p:cNvPr id="1" name=""/>
        <p:cNvGrpSpPr/>
        <p:nvPr/>
      </p:nvGrpSpPr>
      <p:grpSpPr>
        <a:xfrm>
          <a:off x="0" y="0"/>
          <a:ext cx="0" cy="0"/>
          <a:chOff x="0" y="0"/>
          <a:chExt cx="0" cy="0"/>
        </a:xfrm>
      </p:grpSpPr>
      <p:sp>
        <p:nvSpPr>
          <p:cNvPr id="15" name="Title 1"/>
          <p:cNvSpPr>
            <a:spLocks noGrp="1"/>
          </p:cNvSpPr>
          <p:nvPr userDrawn="1">
            <p:ph type="title" hasCustomPrompt="1"/>
          </p:nvPr>
        </p:nvSpPr>
        <p:spPr>
          <a:xfrm>
            <a:off x="609600" y="2756226"/>
            <a:ext cx="10972800" cy="1666649"/>
          </a:xfrm>
          <a:prstGeom prst="rect">
            <a:avLst/>
          </a:prstGeom>
        </p:spPr>
        <p:txBody>
          <a:bodyPr anchor="ctr"/>
          <a:lstStyle>
            <a:lvl1pPr algn="l">
              <a:defRPr sz="3200" baseline="0">
                <a:solidFill>
                  <a:schemeClr val="accent2"/>
                </a:solidFill>
                <a:latin typeface="Verdana"/>
                <a:cs typeface="Verdana"/>
              </a:defRPr>
            </a:lvl1pPr>
          </a:lstStyle>
          <a:p>
            <a:r>
              <a:rPr lang="en-US" dirty="0"/>
              <a:t>Title (Verdana 32pt)</a:t>
            </a:r>
          </a:p>
        </p:txBody>
      </p:sp>
      <p:sp>
        <p:nvSpPr>
          <p:cNvPr id="9" name="Slide Number Placeholder 1"/>
          <p:cNvSpPr>
            <a:spLocks noGrp="1"/>
          </p:cNvSpPr>
          <p:nvPr userDrawn="1">
            <p:ph type="sldNum" sz="quarter" idx="4"/>
          </p:nvPr>
        </p:nvSpPr>
        <p:spPr>
          <a:xfrm>
            <a:off x="0" y="6247643"/>
            <a:ext cx="693853" cy="598860"/>
          </a:xfrm>
          <a:prstGeom prst="rect">
            <a:avLst/>
          </a:prstGeom>
        </p:spPr>
        <p:txBody>
          <a:bodyPr vert="horz" lIns="91440" tIns="45720" rIns="91440" bIns="45720" rtlCol="0" anchor="ctr"/>
          <a:lstStyle>
            <a:lvl1pPr algn="ctr">
              <a:defRPr sz="100" baseline="30000">
                <a:solidFill>
                  <a:schemeClr val="bg1"/>
                </a:solidFill>
                <a:latin typeface="Verdana"/>
                <a:cs typeface="Verdana"/>
              </a:defRPr>
            </a:lvl1pPr>
          </a:lstStyle>
          <a:p>
            <a:pPr defTabSz="457200"/>
            <a:fld id="{78EB43C4-7051-7042-93B5-8C0653444BA6}" type="slidenum">
              <a:rPr lang="en-US" smtClean="0">
                <a:solidFill>
                  <a:srgbClr val="FFFFFF"/>
                </a:solidFill>
              </a:rPr>
              <a:pPr defTabSz="457200"/>
              <a:t>‹#›</a:t>
            </a:fld>
            <a:endParaRPr lang="en-US">
              <a:solidFill>
                <a:srgbClr val="FFFFFF"/>
              </a:solidFill>
            </a:endParaRPr>
          </a:p>
        </p:txBody>
      </p:sp>
      <p:sp>
        <p:nvSpPr>
          <p:cNvPr id="5" name="Rectangle 4"/>
          <p:cNvSpPr/>
          <p:nvPr userDrawn="1"/>
        </p:nvSpPr>
        <p:spPr>
          <a:xfrm flipH="1">
            <a:off x="0" y="0"/>
            <a:ext cx="12192000" cy="1861754"/>
          </a:xfrm>
          <a:prstGeom prst="rect">
            <a:avLst/>
          </a:prstGeom>
          <a:solidFill>
            <a:srgbClr val="8CC6EC"/>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en-US" sz="1800" dirty="0">
              <a:solidFill>
                <a:srgbClr val="FFFFFF"/>
              </a:solidFill>
            </a:endParaRPr>
          </a:p>
        </p:txBody>
      </p:sp>
      <p:pic>
        <p:nvPicPr>
          <p:cNvPr id="8" name="Picture 7" descr="bd_3_rgb_lbg_1_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318752" y="5680961"/>
            <a:ext cx="2873248" cy="1173480"/>
          </a:xfrm>
          <a:prstGeom prst="rect">
            <a:avLst/>
          </a:prstGeom>
        </p:spPr>
      </p:pic>
      <p:sp>
        <p:nvSpPr>
          <p:cNvPr id="10" name="Subtitle 2"/>
          <p:cNvSpPr txBox="1">
            <a:spLocks/>
          </p:cNvSpPr>
          <p:nvPr userDrawn="1"/>
        </p:nvSpPr>
        <p:spPr>
          <a:xfrm>
            <a:off x="644691" y="6312180"/>
            <a:ext cx="8534400" cy="206131"/>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r>
              <a:rPr lang="en-US" sz="800" i="1" dirty="0">
                <a:solidFill>
                  <a:srgbClr val="404041"/>
                </a:solidFill>
                <a:latin typeface="Verdana"/>
                <a:cs typeface="Verdana"/>
              </a:rPr>
              <a:t>Confidential—For Internal Use Only</a:t>
            </a:r>
          </a:p>
        </p:txBody>
      </p:sp>
      <p:grpSp>
        <p:nvGrpSpPr>
          <p:cNvPr id="11" name="Group 10"/>
          <p:cNvGrpSpPr/>
          <p:nvPr userDrawn="1"/>
        </p:nvGrpSpPr>
        <p:grpSpPr>
          <a:xfrm>
            <a:off x="-1" y="699567"/>
            <a:ext cx="12191999" cy="2053635"/>
            <a:chOff x="0" y="1620955"/>
            <a:chExt cx="9143999" cy="1699428"/>
          </a:xfrm>
        </p:grpSpPr>
        <p:sp>
          <p:nvSpPr>
            <p:cNvPr id="12" name="Isosceles Triangle 11"/>
            <p:cNvSpPr/>
            <p:nvPr userDrawn="1"/>
          </p:nvSpPr>
          <p:spPr>
            <a:xfrm rot="5400000" flipH="1">
              <a:off x="1240847" y="1028557"/>
              <a:ext cx="737756" cy="3219450"/>
            </a:xfrm>
            <a:prstGeom prst="triangle">
              <a:avLst/>
            </a:prstGeom>
            <a:solidFill>
              <a:srgbClr val="02397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a:solidFill>
                  <a:srgbClr val="FFFFFF"/>
                </a:solidFill>
              </a:endParaRPr>
            </a:p>
          </p:txBody>
        </p:sp>
        <p:sp>
          <p:nvSpPr>
            <p:cNvPr id="13" name="Isosceles Triangle 12"/>
            <p:cNvSpPr/>
            <p:nvPr userDrawn="1"/>
          </p:nvSpPr>
          <p:spPr>
            <a:xfrm rot="16200000" flipH="1">
              <a:off x="4590648" y="-1232969"/>
              <a:ext cx="1699428" cy="7407275"/>
            </a:xfrm>
            <a:prstGeom prst="triangle">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800" dirty="0">
                <a:solidFill>
                  <a:srgbClr val="FFFFFF"/>
                </a:solidFill>
              </a:endParaRPr>
            </a:p>
          </p:txBody>
        </p:sp>
      </p:grpSp>
    </p:spTree>
    <p:extLst>
      <p:ext uri="{BB962C8B-B14F-4D97-AF65-F5344CB8AC3E}">
        <p14:creationId xmlns:p14="http://schemas.microsoft.com/office/powerpoint/2010/main" val="27421780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Bullet list (with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009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28140105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Bullet list (with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112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785128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Bullet list (with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214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6377626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slide (Whi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464175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0"/>
          </p:nvPr>
        </p:nvSpPr>
        <p:spPr>
          <a:xfrm>
            <a:off x="0" y="6731290"/>
            <a:ext cx="106307" cy="119593"/>
          </a:xfrm>
          <a:prstGeom prst="rect">
            <a:avLst/>
          </a:prstGeom>
        </p:spPr>
        <p:txBody>
          <a:bodyPr/>
          <a:lstStyle>
            <a:lvl1pPr>
              <a:defRPr sz="100" baseline="30000">
                <a:solidFill>
                  <a:schemeClr val="bg1"/>
                </a:solidFill>
                <a:latin typeface="Verdana"/>
                <a:cs typeface="Verdana"/>
              </a:defRPr>
            </a:lvl1pPr>
          </a:lstStyle>
          <a:p>
            <a:pPr defTabSz="457200"/>
            <a:fld id="{78EB43C4-7051-7042-93B5-8C0653444BA6}" type="slidenum">
              <a:rPr lang="en-US" smtClean="0">
                <a:solidFill>
                  <a:srgbClr val="FFFFFF"/>
                </a:solidFill>
              </a:rPr>
              <a:pPr defTabSz="457200"/>
              <a:t>‹#›</a:t>
            </a:fld>
            <a:endParaRPr lang="en-US">
              <a:solidFill>
                <a:srgbClr val="FFFFFF"/>
              </a:solidFill>
            </a:endParaRPr>
          </a:p>
        </p:txBody>
      </p:sp>
    </p:spTree>
    <p:extLst>
      <p:ext uri="{BB962C8B-B14F-4D97-AF65-F5344CB8AC3E}">
        <p14:creationId xmlns:p14="http://schemas.microsoft.com/office/powerpoint/2010/main" val="28217071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Blue Closing Slide (High angle position)">
    <p:spTree>
      <p:nvGrpSpPr>
        <p:cNvPr id="1" name=""/>
        <p:cNvGrpSpPr/>
        <p:nvPr/>
      </p:nvGrpSpPr>
      <p:grpSpPr>
        <a:xfrm>
          <a:off x="0" y="0"/>
          <a:ext cx="0" cy="0"/>
          <a:chOff x="0" y="0"/>
          <a:chExt cx="0" cy="0"/>
        </a:xfrm>
      </p:grpSpPr>
      <p:sp>
        <p:nvSpPr>
          <p:cNvPr id="9" name="Slide Number Placeholder 1"/>
          <p:cNvSpPr>
            <a:spLocks noGrp="1"/>
          </p:cNvSpPr>
          <p:nvPr userDrawn="1">
            <p:ph type="sldNum" sz="quarter" idx="10"/>
          </p:nvPr>
        </p:nvSpPr>
        <p:spPr>
          <a:xfrm>
            <a:off x="0" y="6248400"/>
            <a:ext cx="694267" cy="598488"/>
          </a:xfrm>
          <a:prstGeom prst="rect">
            <a:avLst/>
          </a:prstGeom>
        </p:spPr>
        <p:txBody>
          <a:bodyPr vert="horz" lIns="91440" tIns="45720" rIns="91440" bIns="45720" rtlCol="0" anchor="ctr"/>
          <a:lstStyle>
            <a:lvl1pPr algn="ctr" fontAlgn="auto">
              <a:spcBef>
                <a:spcPts val="0"/>
              </a:spcBef>
              <a:spcAft>
                <a:spcPts val="0"/>
              </a:spcAft>
              <a:defRPr sz="133" baseline="30000" smtClean="0">
                <a:solidFill>
                  <a:schemeClr val="bg1"/>
                </a:solidFill>
                <a:latin typeface="Verdana"/>
                <a:ea typeface="+mn-ea"/>
                <a:cs typeface="Verdana"/>
              </a:defRPr>
            </a:lvl1pPr>
          </a:lstStyle>
          <a:p>
            <a:pPr>
              <a:defRPr/>
            </a:pPr>
            <a:fld id="{ACB90B10-4806-5F4F-9322-F1C82FE0D257}" type="slidenum">
              <a:rPr lang="en-US" smtClean="0"/>
              <a:pPr>
                <a:defRPr/>
              </a:pPr>
              <a:t>‹#›</a:t>
            </a:fld>
            <a:endParaRPr lang="en-US" dirty="0"/>
          </a:p>
        </p:txBody>
      </p:sp>
      <p:pic>
        <p:nvPicPr>
          <p:cNvPr id="10" name="Picture 4" descr="bd_3_rgb_lbg_1_5.png"/>
          <p:cNvPicPr>
            <a:picLocks/>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319686" y="5296600"/>
            <a:ext cx="2872316" cy="15646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Subtitle 2"/>
          <p:cNvSpPr txBox="1">
            <a:spLocks/>
          </p:cNvSpPr>
          <p:nvPr userDrawn="1"/>
        </p:nvSpPr>
        <p:spPr>
          <a:xfrm>
            <a:off x="595739" y="6301016"/>
            <a:ext cx="8534400" cy="206131"/>
          </a:xfrm>
          <a:prstGeom prst="rect">
            <a:avLst/>
          </a:prstGeom>
        </p:spPr>
        <p:txBody>
          <a:bodyPr vert="horz" lIns="121913" tIns="60957" rIns="121913" bIns="60957"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r>
              <a:rPr lang="en-US" sz="1067" i="0" dirty="0" smtClean="0">
                <a:solidFill>
                  <a:schemeClr val="tx1"/>
                </a:solidFill>
                <a:latin typeface="Verdana"/>
                <a:cs typeface="Verdana"/>
              </a:rPr>
              <a:t>© 2017 BD. BD and the BD Logo are trademarks of Becton, Dickinson and Company.</a:t>
            </a:r>
            <a:endParaRPr lang="en-US" sz="1067" i="0" dirty="0">
              <a:solidFill>
                <a:schemeClr val="tx1"/>
              </a:solidFill>
              <a:latin typeface="Verdana"/>
              <a:cs typeface="Verdana"/>
            </a:endParaRPr>
          </a:p>
        </p:txBody>
      </p:sp>
      <p:sp>
        <p:nvSpPr>
          <p:cNvPr id="24" name="Rectangle 23"/>
          <p:cNvSpPr/>
          <p:nvPr userDrawn="1"/>
        </p:nvSpPr>
        <p:spPr>
          <a:xfrm flipH="1">
            <a:off x="0" y="0"/>
            <a:ext cx="12192000" cy="1665288"/>
          </a:xfrm>
          <a:prstGeom prst="rect">
            <a:avLst/>
          </a:prstGeom>
          <a:solidFill>
            <a:srgbClr val="8CC6E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dirty="0"/>
          </a:p>
        </p:txBody>
      </p:sp>
      <p:sp>
        <p:nvSpPr>
          <p:cNvPr id="25" name="Title 1"/>
          <p:cNvSpPr>
            <a:spLocks noGrp="1"/>
          </p:cNvSpPr>
          <p:nvPr>
            <p:ph type="title"/>
          </p:nvPr>
        </p:nvSpPr>
        <p:spPr>
          <a:xfrm>
            <a:off x="609600" y="2756226"/>
            <a:ext cx="10972800" cy="1666649"/>
          </a:xfrm>
          <a:prstGeom prst="rect">
            <a:avLst/>
          </a:prstGeom>
        </p:spPr>
        <p:txBody>
          <a:bodyPr anchor="ctr"/>
          <a:lstStyle>
            <a:lvl1pPr algn="l">
              <a:defRPr sz="4267" baseline="0">
                <a:solidFill>
                  <a:schemeClr val="accent2"/>
                </a:solidFill>
                <a:latin typeface="Verdana"/>
                <a:cs typeface="Verdana"/>
              </a:defRPr>
            </a:lvl1pPr>
          </a:lstStyle>
          <a:p>
            <a:r>
              <a:rPr lang="en-US" smtClean="0"/>
              <a:t>Click to edit Master title style</a:t>
            </a:r>
            <a:endParaRPr lang="en-US" dirty="0"/>
          </a:p>
        </p:txBody>
      </p:sp>
      <p:grpSp>
        <p:nvGrpSpPr>
          <p:cNvPr id="26" name="Group 25"/>
          <p:cNvGrpSpPr/>
          <p:nvPr userDrawn="1"/>
        </p:nvGrpSpPr>
        <p:grpSpPr>
          <a:xfrm>
            <a:off x="1" y="482600"/>
            <a:ext cx="12191999" cy="2158728"/>
            <a:chOff x="0" y="1620955"/>
            <a:chExt cx="9143999" cy="1699428"/>
          </a:xfrm>
        </p:grpSpPr>
        <p:sp>
          <p:nvSpPr>
            <p:cNvPr id="27" name="Isosceles Triangle 26"/>
            <p:cNvSpPr/>
            <p:nvPr userDrawn="1"/>
          </p:nvSpPr>
          <p:spPr>
            <a:xfrm rot="5400000" flipH="1">
              <a:off x="1240847" y="1028557"/>
              <a:ext cx="737756" cy="3219450"/>
            </a:xfrm>
            <a:prstGeom prst="triangle">
              <a:avLst/>
            </a:prstGeom>
            <a:solidFill>
              <a:srgbClr val="02397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a:p>
          </p:txBody>
        </p:sp>
        <p:sp>
          <p:nvSpPr>
            <p:cNvPr id="28" name="Isosceles Triangle 27"/>
            <p:cNvSpPr/>
            <p:nvPr userDrawn="1"/>
          </p:nvSpPr>
          <p:spPr>
            <a:xfrm rot="16200000" flipH="1">
              <a:off x="4590648" y="-1232969"/>
              <a:ext cx="1699428" cy="7407275"/>
            </a:xfrm>
            <a:prstGeom prst="triangle">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dirty="0"/>
            </a:p>
          </p:txBody>
        </p:sp>
      </p:grpSp>
    </p:spTree>
    <p:extLst>
      <p:ext uri="{BB962C8B-B14F-4D97-AF65-F5344CB8AC3E}">
        <p14:creationId xmlns:p14="http://schemas.microsoft.com/office/powerpoint/2010/main" val="27524160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ullet list (with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23017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502221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41123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ue Title Slide (High angle posi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2116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ullet list (with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31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4585337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slide (Whi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056242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0"/>
          </p:nvPr>
        </p:nvSpPr>
        <p:spPr>
          <a:xfrm>
            <a:off x="0" y="6731290"/>
            <a:ext cx="106307" cy="119593"/>
          </a:xfrm>
          <a:prstGeom prst="rect">
            <a:avLst/>
          </a:prstGeom>
        </p:spPr>
        <p:txBody>
          <a:bodyPr/>
          <a:lstStyle>
            <a:lvl1pPr>
              <a:defRPr sz="100" baseline="30000">
                <a:solidFill>
                  <a:schemeClr val="bg1"/>
                </a:solidFill>
                <a:latin typeface="Verdana"/>
                <a:cs typeface="Verdana"/>
              </a:defRPr>
            </a:lvl1pPr>
          </a:lstStyle>
          <a:p>
            <a:pPr defTabSz="457200"/>
            <a:fld id="{78EB43C4-7051-7042-93B5-8C0653444BA6}" type="slidenum">
              <a:rPr lang="en-US" smtClean="0">
                <a:solidFill>
                  <a:srgbClr val="FFFFFF"/>
                </a:solidFill>
              </a:rPr>
              <a:pPr defTabSz="457200"/>
              <a:t>‹#›</a:t>
            </a:fld>
            <a:endParaRPr lang="en-US">
              <a:solidFill>
                <a:srgbClr val="FFFFFF"/>
              </a:solidFill>
            </a:endParaRPr>
          </a:p>
        </p:txBody>
      </p:sp>
    </p:spTree>
    <p:extLst>
      <p:ext uri="{BB962C8B-B14F-4D97-AF65-F5344CB8AC3E}">
        <p14:creationId xmlns:p14="http://schemas.microsoft.com/office/powerpoint/2010/main" val="41688013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Bullet list (with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41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19459058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564955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Bullet list (with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98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4001732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ue Title Slide (High angle posi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51928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llet list (with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804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41137769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list (without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78460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 list with image (with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14832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3" Type="http://schemas.openxmlformats.org/officeDocument/2006/relationships/slideLayout" Target="../slideLayouts/slideLayout8.xml"/><Relationship Id="rId21" Type="http://schemas.openxmlformats.org/officeDocument/2006/relationships/vmlDrawing" Target="../drawings/vmlDrawing5.v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image" Target="../media/image1.emf"/><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oleObject" Target="../embeddings/oleObject5.bin"/><Relationship Id="rId10" Type="http://schemas.openxmlformats.org/officeDocument/2006/relationships/slideLayout" Target="../slideLayouts/slideLayout15.xml"/><Relationship Id="rId19" Type="http://schemas.openxmlformats.org/officeDocument/2006/relationships/slideLayout" Target="../slideLayouts/slideLayout2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tags" Target="../tags/tag6.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slideLayout" Target="../slideLayouts/slideLayout28.xml"/><Relationship Id="rId1" Type="http://schemas.openxmlformats.org/officeDocument/2006/relationships/slideLayout" Target="../slideLayouts/slideLayout27.xml"/><Relationship Id="rId5" Type="http://schemas.openxmlformats.org/officeDocument/2006/relationships/theme" Target="../theme/theme4.xml"/><Relationship Id="rId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30717161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76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4125114114"/>
      </p:ext>
    </p:extLst>
  </p:cSld>
  <p:clrMap bg1="lt1" tx1="dk1" bg2="lt2" tx2="dk2" accent1="accent1" accent2="accent2" accent3="accent3" accent4="accent4" accent5="accent5" accent6="accent6" hlink="hlink" folHlink="folHlink"/>
  <p:sldLayoutIdLst>
    <p:sldLayoutId id="2147483662" r:id="rId1"/>
    <p:sldLayoutId id="2147483672" r:id="rId2"/>
    <p:sldLayoutId id="2147483673" r:id="rId3"/>
    <p:sldLayoutId id="2147483900" r:id="rId4"/>
    <p:sldLayoutId id="2147483902"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ext uri="{D42A27DB-BD31-4B8C-83A1-F6EECF244321}">
                <p14:modId xmlns:p14="http://schemas.microsoft.com/office/powerpoint/2010/main" val="6445656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7024"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2933280031"/>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 id="2147483917" r:id="rId14"/>
    <p:sldLayoutId id="2147483918" r:id="rId15"/>
    <p:sldLayoutId id="2147483919" r:id="rId16"/>
    <p:sldLayoutId id="2147483920" r:id="rId17"/>
    <p:sldLayoutId id="2147483921" r:id="rId18"/>
    <p:sldLayoutId id="2147483930" r:id="rId19"/>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6742093"/>
      </p:ext>
    </p:extLst>
  </p:cSld>
  <p:clrMap bg1="lt1" tx1="dk1" bg2="lt2" tx2="dk2" accent1="accent1" accent2="accent2" accent3="accent3" accent4="accent4" accent5="accent5" accent6="accent6" hlink="hlink" folHlink="folHlink"/>
  <p:sldLayoutIdLst>
    <p:sldLayoutId id="2147483923" r:id="rId1"/>
    <p:sldLayoutId id="2147483924" r:id="rId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6497445"/>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slideLayout" Target="../slideLayouts/slideLayout16.xml"/><Relationship Id="rId7" Type="http://schemas.openxmlformats.org/officeDocument/2006/relationships/image" Target="../media/image8.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10" Type="http://schemas.openxmlformats.org/officeDocument/2006/relationships/image" Target="../media/image6.png"/><Relationship Id="rId4" Type="http://schemas.openxmlformats.org/officeDocument/2006/relationships/notesSlide" Target="../notesSlides/notesSlide5.xml"/><Relationship Id="rId9" Type="http://schemas.openxmlformats.org/officeDocument/2006/relationships/image" Target="../media/image23.png"/></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6.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image" Target="../media/image6.png"/><Relationship Id="rId5" Type="http://schemas.openxmlformats.org/officeDocument/2006/relationships/image" Target="../media/image23.png"/><Relationship Id="rId10" Type="http://schemas.openxmlformats.org/officeDocument/2006/relationships/image" Target="../media/image24.png"/><Relationship Id="rId4" Type="http://schemas.openxmlformats.org/officeDocument/2006/relationships/notesSlide" Target="../notesSlides/notesSlide6.xml"/><Relationship Id="rId9" Type="http://schemas.openxmlformats.org/officeDocument/2006/relationships/image" Target="../media/image11.svg"/></Relationships>
</file>

<file path=ppt/slides/_rels/slide12.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29.png"/><Relationship Id="rId3" Type="http://schemas.openxmlformats.org/officeDocument/2006/relationships/slideLayout" Target="../slideLayouts/slideLayout23.xml"/><Relationship Id="rId7" Type="http://schemas.openxmlformats.org/officeDocument/2006/relationships/image" Target="../media/image8.png"/><Relationship Id="rId12" Type="http://schemas.openxmlformats.org/officeDocument/2006/relationships/image" Target="../media/image28.jpeg"/><Relationship Id="rId2" Type="http://schemas.openxmlformats.org/officeDocument/2006/relationships/tags" Target="../tags/tag22.xml"/><Relationship Id="rId16" Type="http://schemas.openxmlformats.org/officeDocument/2006/relationships/image" Target="../media/image32.jpeg"/><Relationship Id="rId1" Type="http://schemas.openxmlformats.org/officeDocument/2006/relationships/vmlDrawing" Target="../drawings/vmlDrawing21.vml"/><Relationship Id="rId6" Type="http://schemas.openxmlformats.org/officeDocument/2006/relationships/image" Target="../media/image6.png"/><Relationship Id="rId11" Type="http://schemas.openxmlformats.org/officeDocument/2006/relationships/image" Target="../media/image27.png"/><Relationship Id="rId5" Type="http://schemas.openxmlformats.org/officeDocument/2006/relationships/image" Target="../media/image4.emf"/><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oleObject" Target="../embeddings/oleObject21.bin"/><Relationship Id="rId9" Type="http://schemas.openxmlformats.org/officeDocument/2006/relationships/image" Target="../media/image25.jpeg"/><Relationship Id="rId14" Type="http://schemas.openxmlformats.org/officeDocument/2006/relationships/image" Target="../media/image30.jpeg"/></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6.xml"/><Relationship Id="rId6" Type="http://schemas.openxmlformats.org/officeDocument/2006/relationships/image" Target="../media/image6.png"/><Relationship Id="rId5" Type="http://schemas.openxmlformats.org/officeDocument/2006/relationships/image" Target="../media/image11.svg"/><Relationship Id="rId4" Type="http://schemas.openxmlformats.org/officeDocument/2006/relationships/image" Target="../media/image8.png"/></Relationships>
</file>

<file path=ppt/slides/_rels/slide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36.png"/><Relationship Id="rId7" Type="http://schemas.openxmlformats.org/officeDocument/2006/relationships/image" Target="../media/image38.png"/><Relationship Id="rId2" Type="http://schemas.openxmlformats.org/officeDocument/2006/relationships/image" Target="../media/image35.png"/><Relationship Id="rId1" Type="http://schemas.openxmlformats.org/officeDocument/2006/relationships/slideLayout" Target="../slideLayouts/slideLayout16.xml"/><Relationship Id="rId6" Type="http://schemas.openxmlformats.org/officeDocument/2006/relationships/image" Target="../media/image11.svg"/><Relationship Id="rId5" Type="http://schemas.openxmlformats.org/officeDocument/2006/relationships/image" Target="../media/image8.png"/><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1.sv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8.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6.png"/></Relationships>
</file>

<file path=ppt/slides/_rels/slide16.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slideLayout" Target="../slideLayouts/slideLayout16.xml"/><Relationship Id="rId7" Type="http://schemas.openxmlformats.org/officeDocument/2006/relationships/image" Target="../media/image8.png"/><Relationship Id="rId12" Type="http://schemas.openxmlformats.org/officeDocument/2006/relationships/image" Target="../media/image46.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6.png"/><Relationship Id="rId11" Type="http://schemas.openxmlformats.org/officeDocument/2006/relationships/image" Target="../media/image45.png"/><Relationship Id="rId5" Type="http://schemas.openxmlformats.org/officeDocument/2006/relationships/image" Target="../media/image42.emf"/><Relationship Id="rId10" Type="http://schemas.openxmlformats.org/officeDocument/2006/relationships/image" Target="../media/image44.png"/><Relationship Id="rId4" Type="http://schemas.openxmlformats.org/officeDocument/2006/relationships/oleObject" Target="../embeddings/oleObject22.bin"/><Relationship Id="rId9" Type="http://schemas.openxmlformats.org/officeDocument/2006/relationships/image" Target="../media/image43.png"/></Relationships>
</file>

<file path=ppt/slides/_rels/slide17.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51.png"/><Relationship Id="rId3" Type="http://schemas.openxmlformats.org/officeDocument/2006/relationships/slideLayout" Target="../slideLayouts/slideLayout3.xml"/><Relationship Id="rId7" Type="http://schemas.openxmlformats.org/officeDocument/2006/relationships/image" Target="../media/image47.png"/><Relationship Id="rId12" Type="http://schemas.openxmlformats.org/officeDocument/2006/relationships/image" Target="../media/image50.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6.png"/><Relationship Id="rId11" Type="http://schemas.openxmlformats.org/officeDocument/2006/relationships/image" Target="../media/image49.png"/><Relationship Id="rId5" Type="http://schemas.openxmlformats.org/officeDocument/2006/relationships/image" Target="../media/image4.emf"/><Relationship Id="rId10" Type="http://schemas.openxmlformats.org/officeDocument/2006/relationships/image" Target="../media/image48.png"/><Relationship Id="rId4" Type="http://schemas.openxmlformats.org/officeDocument/2006/relationships/oleObject" Target="../embeddings/oleObject23.bin"/><Relationship Id="rId9" Type="http://schemas.openxmlformats.org/officeDocument/2006/relationships/image" Target="../media/image11.svg"/></Relationships>
</file>

<file path=ppt/slides/_rels/slide18.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26.png"/><Relationship Id="rId18" Type="http://schemas.openxmlformats.org/officeDocument/2006/relationships/image" Target="../media/image61.jpeg"/><Relationship Id="rId3" Type="http://schemas.openxmlformats.org/officeDocument/2006/relationships/image" Target="../media/image8.png"/><Relationship Id="rId21" Type="http://schemas.openxmlformats.org/officeDocument/2006/relationships/image" Target="../media/image64.png"/><Relationship Id="rId7" Type="http://schemas.openxmlformats.org/officeDocument/2006/relationships/image" Target="../media/image52.jpeg"/><Relationship Id="rId12" Type="http://schemas.openxmlformats.org/officeDocument/2006/relationships/image" Target="../media/image57.png"/><Relationship Id="rId17" Type="http://schemas.openxmlformats.org/officeDocument/2006/relationships/hyperlink" Target="http://www.cardinal.com/index.asp" TargetMode="External"/><Relationship Id="rId2" Type="http://schemas.openxmlformats.org/officeDocument/2006/relationships/notesSlide" Target="../notesSlides/notesSlide7.xml"/><Relationship Id="rId16" Type="http://schemas.openxmlformats.org/officeDocument/2006/relationships/image" Target="../media/image60.png"/><Relationship Id="rId20" Type="http://schemas.openxmlformats.org/officeDocument/2006/relationships/image" Target="../media/image63.png"/><Relationship Id="rId1" Type="http://schemas.openxmlformats.org/officeDocument/2006/relationships/slideLayout" Target="../slideLayouts/slideLayout18.xml"/><Relationship Id="rId6" Type="http://schemas.openxmlformats.org/officeDocument/2006/relationships/image" Target="../media/image20.svg"/><Relationship Id="rId11" Type="http://schemas.openxmlformats.org/officeDocument/2006/relationships/image" Target="../media/image56.jpeg"/><Relationship Id="rId5" Type="http://schemas.openxmlformats.org/officeDocument/2006/relationships/image" Target="../media/image13.png"/><Relationship Id="rId15" Type="http://schemas.openxmlformats.org/officeDocument/2006/relationships/image" Target="../media/image59.png"/><Relationship Id="rId10" Type="http://schemas.openxmlformats.org/officeDocument/2006/relationships/image" Target="../media/image55.jpeg"/><Relationship Id="rId19" Type="http://schemas.openxmlformats.org/officeDocument/2006/relationships/image" Target="../media/image62.png"/><Relationship Id="rId4" Type="http://schemas.openxmlformats.org/officeDocument/2006/relationships/image" Target="../media/image11.svg"/><Relationship Id="rId9" Type="http://schemas.openxmlformats.org/officeDocument/2006/relationships/image" Target="../media/image54.jpeg"/><Relationship Id="rId14" Type="http://schemas.openxmlformats.org/officeDocument/2006/relationships/image" Target="../media/image58.png"/><Relationship Id="rId22"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11.svg"/><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8.png"/><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2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8.png"/><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2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8.png"/><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2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3" Type="http://schemas.openxmlformats.org/officeDocument/2006/relationships/image" Target="../media/image11.svg"/><Relationship Id="rId7"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Layout" Target="../slideLayouts/slideLayout16.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18.png"/></Relationships>
</file>

<file path=ppt/slides/_rels/slide26.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64.png"/><Relationship Id="rId18" Type="http://schemas.openxmlformats.org/officeDocument/2006/relationships/image" Target="../media/image61.jpeg"/><Relationship Id="rId3" Type="http://schemas.openxmlformats.org/officeDocument/2006/relationships/slideLayout" Target="../slideLayouts/slideLayout18.xml"/><Relationship Id="rId21" Type="http://schemas.openxmlformats.org/officeDocument/2006/relationships/image" Target="../media/image13.png"/><Relationship Id="rId7" Type="http://schemas.openxmlformats.org/officeDocument/2006/relationships/image" Target="../media/image8.png"/><Relationship Id="rId12" Type="http://schemas.openxmlformats.org/officeDocument/2006/relationships/image" Target="../media/image53.png"/><Relationship Id="rId17" Type="http://schemas.openxmlformats.org/officeDocument/2006/relationships/hyperlink" Target="http://www.cardinal.com/index.asp" TargetMode="External"/><Relationship Id="rId2" Type="http://schemas.openxmlformats.org/officeDocument/2006/relationships/tags" Target="../tags/tag25.xml"/><Relationship Id="rId16" Type="http://schemas.openxmlformats.org/officeDocument/2006/relationships/image" Target="../media/image58.png"/><Relationship Id="rId20" Type="http://schemas.openxmlformats.org/officeDocument/2006/relationships/image" Target="../media/image70.png"/><Relationship Id="rId1" Type="http://schemas.openxmlformats.org/officeDocument/2006/relationships/vmlDrawing" Target="../drawings/vmlDrawing24.vml"/><Relationship Id="rId6" Type="http://schemas.openxmlformats.org/officeDocument/2006/relationships/image" Target="../media/image6.png"/><Relationship Id="rId11" Type="http://schemas.openxmlformats.org/officeDocument/2006/relationships/image" Target="../media/image26.png"/><Relationship Id="rId5" Type="http://schemas.openxmlformats.org/officeDocument/2006/relationships/image" Target="../media/image4.emf"/><Relationship Id="rId15" Type="http://schemas.openxmlformats.org/officeDocument/2006/relationships/image" Target="../media/image60.png"/><Relationship Id="rId10" Type="http://schemas.openxmlformats.org/officeDocument/2006/relationships/image" Target="../media/image54.jpeg"/><Relationship Id="rId19" Type="http://schemas.openxmlformats.org/officeDocument/2006/relationships/image" Target="../media/image62.png"/><Relationship Id="rId4" Type="http://schemas.openxmlformats.org/officeDocument/2006/relationships/oleObject" Target="../embeddings/oleObject24.bin"/><Relationship Id="rId9" Type="http://schemas.openxmlformats.org/officeDocument/2006/relationships/image" Target="../media/image52.jpeg"/><Relationship Id="rId14" Type="http://schemas.openxmlformats.org/officeDocument/2006/relationships/image" Target="../media/image59.png"/><Relationship Id="rId22" Type="http://schemas.openxmlformats.org/officeDocument/2006/relationships/image" Target="../media/image20.svg"/></Relationships>
</file>

<file path=ppt/slides/_rels/slide27.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8.png"/><Relationship Id="rId3" Type="http://schemas.openxmlformats.org/officeDocument/2006/relationships/slideLayout" Target="../slideLayouts/slideLayout18.xml"/><Relationship Id="rId7" Type="http://schemas.openxmlformats.org/officeDocument/2006/relationships/image" Target="../media/image6.png"/><Relationship Id="rId12" Type="http://schemas.openxmlformats.org/officeDocument/2006/relationships/image" Target="../media/image74.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4.emf"/><Relationship Id="rId11" Type="http://schemas.openxmlformats.org/officeDocument/2006/relationships/image" Target="../media/image73.png"/><Relationship Id="rId5" Type="http://schemas.openxmlformats.org/officeDocument/2006/relationships/oleObject" Target="../embeddings/oleObject25.bin"/><Relationship Id="rId10" Type="http://schemas.openxmlformats.org/officeDocument/2006/relationships/image" Target="../media/image72.png"/><Relationship Id="rId4" Type="http://schemas.openxmlformats.org/officeDocument/2006/relationships/notesSlide" Target="../notesSlides/notesSlide9.xml"/><Relationship Id="rId9" Type="http://schemas.microsoft.com/office/2007/relationships/hdphoto" Target="../media/hdphoto1.wdp"/><Relationship Id="rId14" Type="http://schemas.openxmlformats.org/officeDocument/2006/relationships/image" Target="../media/image11.svg"/></Relationships>
</file>

<file path=ppt/slides/_rels/slide2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8.png"/><Relationship Id="rId1" Type="http://schemas.openxmlformats.org/officeDocument/2006/relationships/slideLayout" Target="../slideLayouts/slideLayout26.xml"/><Relationship Id="rId5" Type="http://schemas.openxmlformats.org/officeDocument/2006/relationships/image" Target="../media/image6.png"/><Relationship Id="rId4" Type="http://schemas.openxmlformats.org/officeDocument/2006/relationships/image" Target="../media/image75.png"/></Relationships>
</file>

<file path=ppt/slides/_rels/slide2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77.png"/><Relationship Id="rId7" Type="http://schemas.openxmlformats.org/officeDocument/2006/relationships/image" Target="../media/image80.png"/><Relationship Id="rId2" Type="http://schemas.openxmlformats.org/officeDocument/2006/relationships/image" Target="../media/image76.png"/><Relationship Id="rId1" Type="http://schemas.openxmlformats.org/officeDocument/2006/relationships/slideLayout" Target="../slideLayouts/slideLayout18.xml"/><Relationship Id="rId6" Type="http://schemas.openxmlformats.org/officeDocument/2006/relationships/image" Target="../media/image79.png"/><Relationship Id="rId5" Type="http://schemas.openxmlformats.org/officeDocument/2006/relationships/image" Target="../media/image88.svg"/><Relationship Id="rId10" Type="http://schemas.openxmlformats.org/officeDocument/2006/relationships/image" Target="../media/image6.png"/><Relationship Id="rId4" Type="http://schemas.openxmlformats.org/officeDocument/2006/relationships/image" Target="../media/image78.png"/><Relationship Id="rId9" Type="http://schemas.openxmlformats.org/officeDocument/2006/relationships/image" Target="../media/image11.svg"/></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8.png"/><Relationship Id="rId7" Type="http://schemas.openxmlformats.org/officeDocument/2006/relationships/image" Target="../media/image10.jpeg"/><Relationship Id="rId12"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13.svg"/><Relationship Id="rId11" Type="http://schemas.openxmlformats.org/officeDocument/2006/relationships/image" Target="../media/image18.svg"/><Relationship Id="rId5" Type="http://schemas.openxmlformats.org/officeDocument/2006/relationships/image" Target="../media/image9.png"/><Relationship Id="rId10" Type="http://schemas.openxmlformats.org/officeDocument/2006/relationships/image" Target="../media/image12.png"/><Relationship Id="rId4" Type="http://schemas.openxmlformats.org/officeDocument/2006/relationships/image" Target="../media/image11.svg"/><Relationship Id="rId9" Type="http://schemas.openxmlformats.org/officeDocument/2006/relationships/image" Target="../media/image16.sv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8.png"/><Relationship Id="rId3" Type="http://schemas.openxmlformats.org/officeDocument/2006/relationships/slideLayout" Target="../slideLayouts/slideLayout16.xml"/><Relationship Id="rId7" Type="http://schemas.openxmlformats.org/officeDocument/2006/relationships/image" Target="../media/image6.png"/><Relationship Id="rId12" Type="http://schemas.openxmlformats.org/officeDocument/2006/relationships/image" Target="../media/image15.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11" Type="http://schemas.openxmlformats.org/officeDocument/2006/relationships/image" Target="../media/image22.svg"/><Relationship Id="rId5" Type="http://schemas.openxmlformats.org/officeDocument/2006/relationships/oleObject" Target="../embeddings/oleObject15.bin"/><Relationship Id="rId15" Type="http://schemas.openxmlformats.org/officeDocument/2006/relationships/image" Target="../media/image16.png"/><Relationship Id="rId10" Type="http://schemas.openxmlformats.org/officeDocument/2006/relationships/image" Target="../media/image14.png"/><Relationship Id="rId4" Type="http://schemas.openxmlformats.org/officeDocument/2006/relationships/notesSlide" Target="../notesSlides/notesSlide2.xml"/><Relationship Id="rId9" Type="http://schemas.openxmlformats.org/officeDocument/2006/relationships/image" Target="../media/image20.svg"/><Relationship Id="rId14" Type="http://schemas.openxmlformats.org/officeDocument/2006/relationships/image" Target="../media/image11.sv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7.png"/><Relationship Id="rId1" Type="http://schemas.openxmlformats.org/officeDocument/2006/relationships/slideLayout" Target="../slideLayouts/slideLayout16.xml"/><Relationship Id="rId5" Type="http://schemas.openxmlformats.org/officeDocument/2006/relationships/image" Target="../media/image6.png"/><Relationship Id="rId4" Type="http://schemas.openxmlformats.org/officeDocument/2006/relationships/image" Target="../media/image11.svg"/></Relationships>
</file>

<file path=ppt/slides/_rels/slide6.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slideLayout" Target="../slideLayouts/slideLayout16.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6.bin"/><Relationship Id="rId9" Type="http://schemas.openxmlformats.org/officeDocument/2006/relationships/image" Target="../media/image6.pn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16.xml"/><Relationship Id="rId7" Type="http://schemas.openxmlformats.org/officeDocument/2006/relationships/image" Target="../media/image11.sv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7.bin"/><Relationship Id="rId9"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6.png"/><Relationship Id="rId5" Type="http://schemas.openxmlformats.org/officeDocument/2006/relationships/image" Target="../media/image20.png"/><Relationship Id="rId4" Type="http://schemas.openxmlformats.org/officeDocument/2006/relationships/image" Target="../media/image11.svg"/></Relationships>
</file>

<file path=ppt/slides/_rels/slide9.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slideLayout" Target="../slideLayouts/slideLayout16.xml"/><Relationship Id="rId7" Type="http://schemas.openxmlformats.org/officeDocument/2006/relationships/image" Target="../media/image21.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11" Type="http://schemas.openxmlformats.org/officeDocument/2006/relationships/image" Target="../media/image6.png"/><Relationship Id="rId5" Type="http://schemas.openxmlformats.org/officeDocument/2006/relationships/oleObject" Target="../embeddings/oleObject18.bin"/><Relationship Id="rId10" Type="http://schemas.openxmlformats.org/officeDocument/2006/relationships/image" Target="../media/image11.svg"/><Relationship Id="rId4" Type="http://schemas.openxmlformats.org/officeDocument/2006/relationships/notesSlide" Target="../notesSlides/notesSlide4.xml"/><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B06B4A6C-B498-4F50-A640-C51A1A69276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20391" y="2709000"/>
            <a:ext cx="3751219" cy="1440000"/>
          </a:xfrm>
          <a:prstGeom prst="rect">
            <a:avLst/>
          </a:prstGeom>
        </p:spPr>
      </p:pic>
      <p:pic>
        <p:nvPicPr>
          <p:cNvPr id="2" name="Picture 1"/>
          <p:cNvPicPr>
            <a:picLocks noChangeAspect="1"/>
          </p:cNvPicPr>
          <p:nvPr/>
        </p:nvPicPr>
        <p:blipFill>
          <a:blip r:embed="rId3"/>
          <a:stretch>
            <a:fillRect/>
          </a:stretch>
        </p:blipFill>
        <p:spPr>
          <a:xfrm>
            <a:off x="76200" y="6629400"/>
            <a:ext cx="4619050" cy="195171"/>
          </a:xfrm>
          <a:prstGeom prst="rect">
            <a:avLst/>
          </a:prstGeom>
        </p:spPr>
      </p:pic>
    </p:spTree>
    <p:extLst>
      <p:ext uri="{BB962C8B-B14F-4D97-AF65-F5344CB8AC3E}">
        <p14:creationId xmlns:p14="http://schemas.microsoft.com/office/powerpoint/2010/main" val="3917567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 xmlns:a16="http://schemas.microsoft.com/office/drawing/2014/main" id="{33993689-3073-43E1-904B-CF34DADA84DF}"/>
              </a:ext>
            </a:extLst>
          </p:cNvPr>
          <p:cNvSpPr/>
          <p:nvPr/>
        </p:nvSpPr>
        <p:spPr>
          <a:xfrm>
            <a:off x="-1" y="2666998"/>
            <a:ext cx="4876801" cy="3124199"/>
          </a:xfrm>
          <a:prstGeom prst="rect">
            <a:avLst/>
          </a:prstGeom>
          <a:solidFill>
            <a:srgbClr val="E4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5" name="Object 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9422"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25589" y="1589"/>
                        <a:ext cx="1587" cy="1587"/>
                      </a:xfrm>
                      <a:prstGeom prst="rect">
                        <a:avLst/>
                      </a:prstGeom>
                    </p:spPr>
                  </p:pic>
                </p:oleObj>
              </mc:Fallback>
            </mc:AlternateContent>
          </a:graphicData>
        </a:graphic>
      </p:graphicFrame>
      <p:pic>
        <p:nvPicPr>
          <p:cNvPr id="22" name="Graphic 21">
            <a:extLst>
              <a:ext uri="{FF2B5EF4-FFF2-40B4-BE49-F238E27FC236}">
                <a16:creationId xmlns="" xmlns:a16="http://schemas.microsoft.com/office/drawing/2014/main" id="{334F7D5F-CFB6-4B6D-A21D-10F30839BA55}"/>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11345612" y="6490506"/>
            <a:ext cx="720740" cy="276876"/>
          </a:xfrm>
          <a:prstGeom prst="rect">
            <a:avLst/>
          </a:prstGeom>
        </p:spPr>
      </p:pic>
      <p:sp>
        <p:nvSpPr>
          <p:cNvPr id="32" name="Rectangle 31">
            <a:extLst>
              <a:ext uri="{FF2B5EF4-FFF2-40B4-BE49-F238E27FC236}">
                <a16:creationId xmlns="" xmlns:a16="http://schemas.microsoft.com/office/drawing/2014/main" id="{C74FBF37-DCF1-41E5-8FAE-9E08A9364C85}"/>
              </a:ext>
            </a:extLst>
          </p:cNvPr>
          <p:cNvSpPr/>
          <p:nvPr/>
        </p:nvSpPr>
        <p:spPr>
          <a:xfrm>
            <a:off x="326053" y="3166761"/>
            <a:ext cx="4445267" cy="301621"/>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Other processes: </a:t>
            </a:r>
            <a:r>
              <a:rPr kumimoji="0" lang="en-US" sz="1400" b="1"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Manual Manufacturing </a:t>
            </a:r>
            <a:endParaRPr kumimoji="0" lang="en-US" sz="1600" b="1"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3" name="Rectangle 32">
            <a:extLst>
              <a:ext uri="{FF2B5EF4-FFF2-40B4-BE49-F238E27FC236}">
                <a16:creationId xmlns="" xmlns:a16="http://schemas.microsoft.com/office/drawing/2014/main" id="{A32F3DBE-9F5B-4E15-A1B3-25E0D27247DF}"/>
              </a:ext>
            </a:extLst>
          </p:cNvPr>
          <p:cNvSpPr/>
          <p:nvPr/>
        </p:nvSpPr>
        <p:spPr>
          <a:xfrm>
            <a:off x="326053" y="3632849"/>
            <a:ext cx="4445268" cy="14265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Reliant 3rd Party Sourced Components and</a:t>
            </a:r>
            <a:br>
              <a:rPr kumimoji="0" lang="en-US" sz="14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4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or Manufacturing</a:t>
            </a:r>
          </a:p>
          <a:p>
            <a:pPr marL="177800" marR="0" lvl="1" indent="-177800"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3rd party saline pre-mixed bag</a:t>
            </a:r>
          </a:p>
          <a:p>
            <a:pPr marL="177800" marR="0" lvl="1" indent="-177800"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3rd party syringe components</a:t>
            </a:r>
          </a:p>
          <a:p>
            <a:pPr marL="0" marR="0" lvl="0" indent="0" algn="l" defTabSz="914400" rtl="0" eaLnBrk="1" fontAlgn="auto" latinLnBrk="0" hangingPunct="1">
              <a:lnSpc>
                <a:spcPct val="85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Human Interaction</a:t>
            </a:r>
          </a:p>
          <a:p>
            <a:pPr marL="177800" marR="0" lvl="1" indent="-177800"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Syringe tip filling</a:t>
            </a:r>
          </a:p>
          <a:p>
            <a:pPr marL="177800" marR="0" lvl="1" indent="-177800"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Higher frequency of hands touching product</a:t>
            </a:r>
          </a:p>
        </p:txBody>
      </p:sp>
      <p:cxnSp>
        <p:nvCxnSpPr>
          <p:cNvPr id="34" name="Straight Connector 33">
            <a:extLst>
              <a:ext uri="{FF2B5EF4-FFF2-40B4-BE49-F238E27FC236}">
                <a16:creationId xmlns="" xmlns:a16="http://schemas.microsoft.com/office/drawing/2014/main" id="{EEE31570-5AD3-4F94-BB44-7011E64CD3AB}"/>
              </a:ext>
            </a:extLst>
          </p:cNvPr>
          <p:cNvCxnSpPr>
            <a:cxnSpLocks/>
          </p:cNvCxnSpPr>
          <p:nvPr/>
        </p:nvCxnSpPr>
        <p:spPr>
          <a:xfrm flipH="1">
            <a:off x="423765" y="4423271"/>
            <a:ext cx="414823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 xmlns:a16="http://schemas.microsoft.com/office/drawing/2014/main" id="{728CC272-FF2C-4A63-9B69-9E2849C31A6C}"/>
              </a:ext>
            </a:extLst>
          </p:cNvPr>
          <p:cNvSpPr txBox="1">
            <a:spLocks/>
          </p:cNvSpPr>
          <p:nvPr/>
        </p:nvSpPr>
        <p:spPr>
          <a:xfrm>
            <a:off x="6281129" y="694161"/>
            <a:ext cx="4604621" cy="978394"/>
          </a:xfrm>
          <a:prstGeom prst="rect">
            <a:avLst/>
          </a:prstGeom>
        </p:spPr>
        <p:txBody>
          <a:bodyPr vert="horz" lIns="91440" tIns="45720" rIns="9144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85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5F6062"/>
                </a:solidFill>
                <a:effectLst/>
                <a:uLnTx/>
                <a:uFillTx/>
                <a:latin typeface="Verdana" panose="020B0604030504040204" pitchFamily="34" charset="0"/>
                <a:ea typeface="Verdana" panose="020B0604030504040204" pitchFamily="34" charset="0"/>
                <a:cs typeface="Verdana" panose="020B0604030504040204" pitchFamily="34" charset="0"/>
              </a:rPr>
              <a:t>3</a:t>
            </a:r>
            <a:r>
              <a:rPr kumimoji="0" lang="en-US" sz="1200" b="1" i="0" u="none" strike="noStrike" kern="1200" cap="none" spc="0" normalizeH="0" baseline="30000" noProof="0" dirty="0">
                <a:ln>
                  <a:noFill/>
                </a:ln>
                <a:solidFill>
                  <a:srgbClr val="5F6062"/>
                </a:solidFill>
                <a:effectLst/>
                <a:uLnTx/>
                <a:uFillTx/>
                <a:latin typeface="Verdana" panose="020B0604030504040204" pitchFamily="34" charset="0"/>
                <a:ea typeface="Verdana" panose="020B0604030504040204" pitchFamily="34" charset="0"/>
                <a:cs typeface="Verdana" panose="020B0604030504040204" pitchFamily="34" charset="0"/>
              </a:rPr>
              <a:t>rd</a:t>
            </a:r>
            <a:r>
              <a:rPr kumimoji="0" lang="en-US" sz="1200" b="1" i="0" u="none" strike="noStrike" kern="1200" cap="none" spc="0" normalizeH="0" baseline="0" noProof="0" dirty="0">
                <a:ln>
                  <a:noFill/>
                </a:ln>
                <a:solidFill>
                  <a:srgbClr val="5F6062"/>
                </a:solidFill>
                <a:effectLst/>
                <a:uLnTx/>
                <a:uFillTx/>
                <a:latin typeface="Verdana" panose="020B0604030504040204" pitchFamily="34" charset="0"/>
                <a:ea typeface="Verdana" panose="020B0604030504040204" pitchFamily="34" charset="0"/>
                <a:cs typeface="Verdana" panose="020B0604030504040204" pitchFamily="34" charset="0"/>
              </a:rPr>
              <a:t> Party Sourcing: </a:t>
            </a:r>
          </a:p>
          <a:p>
            <a:pPr lvl="0" algn="l">
              <a:lnSpc>
                <a:spcPct val="85000"/>
              </a:lnSpc>
              <a:spcBef>
                <a:spcPts val="600"/>
              </a:spcBef>
              <a:defRPr/>
            </a:pPr>
            <a:r>
              <a:rPr lang="en-US" sz="1200" dirty="0">
                <a:solidFill>
                  <a:srgbClr val="5F6062"/>
                </a:solidFill>
                <a:latin typeface="Verdana" panose="020B0604030504040204" pitchFamily="34" charset="0"/>
                <a:ea typeface="Verdana" panose="020B0604030504040204" pitchFamily="34" charset="0"/>
                <a:cs typeface="Verdana" panose="020B0604030504040204" pitchFamily="34" charset="0"/>
              </a:rPr>
              <a:t>Unlike </a:t>
            </a:r>
            <a:r>
              <a:rPr lang="en-US" sz="1200" dirty="0" smtClean="0">
                <a:solidFill>
                  <a:srgbClr val="5F6062"/>
                </a:solidFill>
                <a:latin typeface="Verdana" panose="020B0604030504040204" pitchFamily="34" charset="0"/>
                <a:ea typeface="Verdana" panose="020B0604030504040204" pitchFamily="34" charset="0"/>
                <a:cs typeface="Verdana" panose="020B0604030504040204" pitchFamily="34" charset="0"/>
              </a:rPr>
              <a:t>BD PosiFlush™, </a:t>
            </a:r>
            <a:r>
              <a:rPr lang="en-US" sz="1200" dirty="0">
                <a:solidFill>
                  <a:srgbClr val="5F6062"/>
                </a:solidFill>
                <a:latin typeface="Verdana" panose="020B0604030504040204" pitchFamily="34" charset="0"/>
                <a:ea typeface="Verdana" panose="020B0604030504040204" pitchFamily="34" charset="0"/>
                <a:cs typeface="Verdana" panose="020B0604030504040204" pitchFamily="34" charset="0"/>
              </a:rPr>
              <a:t>other pre-filled flush syringe manufacturers use a semi-automated or manual manufacturing process, relying on multiple vendors to provide auxiliary products in order to manufacture, and ultimately, deliver the final product to the end user.</a:t>
            </a:r>
          </a:p>
          <a:p>
            <a:pPr marL="0" marR="0" lvl="0" indent="0" algn="l" defTabSz="914400" rtl="0" eaLnBrk="1" fontAlgn="auto" latinLnBrk="0" hangingPunct="1">
              <a:lnSpc>
                <a:spcPct val="85000"/>
              </a:lnSpc>
              <a:spcBef>
                <a:spcPts val="600"/>
              </a:spcBef>
              <a:spcAft>
                <a:spcPts val="0"/>
              </a:spcAft>
              <a:buClrTx/>
              <a:buSzTx/>
              <a:buFontTx/>
              <a:buNone/>
              <a:tabLst/>
              <a:defRPr/>
            </a:pPr>
            <a:endParaRPr kumimoji="0" lang="en-US" sz="1200" b="0" i="0" u="none" strike="noStrike" kern="1200" cap="none" spc="0" normalizeH="0" baseline="0" noProof="0" dirty="0">
              <a:ln>
                <a:noFill/>
              </a:ln>
              <a:solidFill>
                <a:srgbClr val="5F6062"/>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1" name="Title 1">
            <a:extLst>
              <a:ext uri="{FF2B5EF4-FFF2-40B4-BE49-F238E27FC236}">
                <a16:creationId xmlns="" xmlns:a16="http://schemas.microsoft.com/office/drawing/2014/main" id="{F3D485E4-E138-4B45-94CD-4F6DC9153109}"/>
              </a:ext>
            </a:extLst>
          </p:cNvPr>
          <p:cNvSpPr txBox="1">
            <a:spLocks/>
          </p:cNvSpPr>
          <p:nvPr/>
        </p:nvSpPr>
        <p:spPr>
          <a:xfrm>
            <a:off x="990601" y="694161"/>
            <a:ext cx="4969314" cy="115964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85000"/>
              </a:lnSpc>
            </a:pPr>
            <a:r>
              <a:rPr lang="en-US" sz="1400" spc="400" dirty="0">
                <a:solidFill>
                  <a:prstClr val="black"/>
                </a:solidFill>
                <a:latin typeface="Verdana" panose="020B0604030504040204" pitchFamily="34" charset="0"/>
                <a:ea typeface="Verdana" panose="020B0604030504040204" pitchFamily="34" charset="0"/>
                <a:cs typeface="Verdana" panose="020B0604030504040204" pitchFamily="34" charset="0"/>
              </a:rPr>
              <a:t>OTHER MANUFACTURING PROCESSES INTRODUCE A HIGHER FREQUENCY OF HANDS TOUCHING THE PRODUCT, </a:t>
            </a:r>
            <a:r>
              <a:rPr lang="en-US" sz="1400" b="1" spc="400" dirty="0">
                <a:solidFill>
                  <a:srgbClr val="05589C"/>
                </a:solidFill>
                <a:latin typeface="Verdana" panose="020B0604030504040204" pitchFamily="34" charset="0"/>
                <a:ea typeface="Verdana" panose="020B0604030504040204" pitchFamily="34" charset="0"/>
                <a:cs typeface="Verdana" panose="020B0604030504040204" pitchFamily="34" charset="0"/>
              </a:rPr>
              <a:t>POTENTIALLY INCREASING THE RISK OF LIFE THREATENING CONTAMINATION </a:t>
            </a:r>
          </a:p>
        </p:txBody>
      </p:sp>
      <p:cxnSp>
        <p:nvCxnSpPr>
          <p:cNvPr id="25" name="Straight Connector 2">
            <a:extLst>
              <a:ext uri="{FF2B5EF4-FFF2-40B4-BE49-F238E27FC236}">
                <a16:creationId xmlns="" xmlns:a16="http://schemas.microsoft.com/office/drawing/2014/main" id="{7F005837-FC13-4D7B-89C1-E67D6DC04F2B}"/>
              </a:ext>
            </a:extLst>
          </p:cNvPr>
          <p:cNvCxnSpPr/>
          <p:nvPr/>
        </p:nvCxnSpPr>
        <p:spPr>
          <a:xfrm flipV="1">
            <a:off x="6058619" y="606470"/>
            <a:ext cx="0" cy="133502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 xmlns:a16="http://schemas.microsoft.com/office/drawing/2014/main" id="{7D9CC8D4-41F9-4308-BDCA-61362FF5BEAC}"/>
              </a:ext>
            </a:extLst>
          </p:cNvPr>
          <p:cNvPicPr>
            <a:picLocks noChangeAspect="1"/>
          </p:cNvPicPr>
          <p:nvPr/>
        </p:nvPicPr>
        <p:blipFill rotWithShape="1">
          <a:blip r:embed="rId9"/>
          <a:srcRect t="22448" r="561" b="-43"/>
          <a:stretch/>
        </p:blipFill>
        <p:spPr>
          <a:xfrm>
            <a:off x="4974879" y="2667000"/>
            <a:ext cx="7217122" cy="3124199"/>
          </a:xfrm>
          <a:prstGeom prst="rect">
            <a:avLst/>
          </a:prstGeom>
        </p:spPr>
      </p:pic>
      <p:sp>
        <p:nvSpPr>
          <p:cNvPr id="3" name="TextBox 2"/>
          <p:cNvSpPr txBox="1"/>
          <p:nvPr/>
        </p:nvSpPr>
        <p:spPr>
          <a:xfrm>
            <a:off x="-43318" y="6235222"/>
            <a:ext cx="4920118" cy="646331"/>
          </a:xfrm>
          <a:prstGeom prst="rect">
            <a:avLst/>
          </a:prstGeom>
          <a:noFill/>
        </p:spPr>
        <p:txBody>
          <a:bodyPr wrap="square" rtlCol="0">
            <a:spAutoFit/>
          </a:bodyPr>
          <a:lstStyle/>
          <a:p>
            <a:r>
              <a:rPr lang="en-US" sz="600" dirty="0"/>
              <a:t>From Asbury Park Press, </a:t>
            </a:r>
            <a:r>
              <a:rPr lang="en-US" sz="600" dirty="0" smtClean="0"/>
              <a:t>August 17, 2017 </a:t>
            </a:r>
            <a:r>
              <a:rPr lang="en-US" sz="600" dirty="0"/>
              <a:t>© </a:t>
            </a:r>
            <a:r>
              <a:rPr lang="en-US" sz="600" dirty="0" smtClean="0"/>
              <a:t>2016</a:t>
            </a:r>
            <a:endParaRPr lang="en-US" sz="600" dirty="0"/>
          </a:p>
          <a:p>
            <a:r>
              <a:rPr lang="en-US" sz="600" dirty="0"/>
              <a:t>Gannett-Community Publishing. All rights reserved. Used by permission and protected by the Copyright Laws of the United States. </a:t>
            </a:r>
            <a:r>
              <a:rPr lang="en-US" sz="600" dirty="0" smtClean="0"/>
              <a:t>The printing</a:t>
            </a:r>
            <a:r>
              <a:rPr lang="en-US" sz="600" dirty="0"/>
              <a:t>, copying, redistribution, or retransmission of this Content without express written permission is prohibited." If the Content is </a:t>
            </a:r>
            <a:r>
              <a:rPr lang="en-US" sz="600" dirty="0" smtClean="0"/>
              <a:t>printed in </a:t>
            </a:r>
            <a:r>
              <a:rPr lang="en-US" sz="600" dirty="0"/>
              <a:t>a tangible media, the credit notice shall accompany the first or last page the Content appears in. If the Content is reprinted in digital </a:t>
            </a:r>
            <a:r>
              <a:rPr lang="en-US" sz="600" dirty="0" smtClean="0"/>
              <a:t>format, the </a:t>
            </a:r>
            <a:r>
              <a:rPr lang="en-US" sz="600" dirty="0"/>
              <a:t>credit notice and a home page link to the website of Asbury Park Press shall appear in close proximity to the Content (before or after). </a:t>
            </a:r>
            <a:r>
              <a:rPr lang="en-US" sz="600" dirty="0" smtClean="0"/>
              <a:t>If the </a:t>
            </a:r>
            <a:r>
              <a:rPr lang="en-US" sz="600" dirty="0"/>
              <a:t>Content appears in a film or video program the credit notice shall appear in “rolling credits” at the beginning or end of the program</a:t>
            </a:r>
          </a:p>
        </p:txBody>
      </p:sp>
      <p:pic>
        <p:nvPicPr>
          <p:cNvPr id="13" name="Picture 12"/>
          <p:cNvPicPr>
            <a:picLocks noChangeAspect="1"/>
          </p:cNvPicPr>
          <p:nvPr/>
        </p:nvPicPr>
        <p:blipFill>
          <a:blip r:embed="rId10"/>
          <a:stretch>
            <a:fillRect/>
          </a:stretch>
        </p:blipFill>
        <p:spPr>
          <a:xfrm>
            <a:off x="6353750" y="6629400"/>
            <a:ext cx="4619050" cy="195171"/>
          </a:xfrm>
          <a:prstGeom prst="rect">
            <a:avLst/>
          </a:prstGeom>
        </p:spPr>
      </p:pic>
    </p:spTree>
    <p:extLst>
      <p:ext uri="{BB962C8B-B14F-4D97-AF65-F5344CB8AC3E}">
        <p14:creationId xmlns:p14="http://schemas.microsoft.com/office/powerpoint/2010/main" val="232464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0-#ppt_w/2"/>
                                          </p:val>
                                        </p:tav>
                                        <p:tav tm="100000">
                                          <p:val>
                                            <p:strVal val="#ppt_x"/>
                                          </p:val>
                                        </p:tav>
                                      </p:tavLst>
                                    </p:anim>
                                    <p:anim calcmode="lin" valueType="num">
                                      <p:cBhvr additive="base">
                                        <p:cTn id="8" dur="500" fill="hold"/>
                                        <p:tgtEl>
                                          <p:spTgt spid="3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500"/>
                                        <p:tgtEl>
                                          <p:spTgt spid="3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fade">
                                      <p:cBhvr>
                                        <p:cTn id="15" dur="500"/>
                                        <p:tgtEl>
                                          <p:spTgt spid="33"/>
                                        </p:tgtEl>
                                      </p:cBhvr>
                                    </p:animEffect>
                                  </p:childTnLst>
                                </p:cTn>
                              </p:par>
                              <p:par>
                                <p:cTn id="16" presetID="10" presetClass="entr" presetSubtype="0" fill="hold" nodeType="with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500"/>
                                        <p:tgtEl>
                                          <p:spTgt spid="34"/>
                                        </p:tgtEl>
                                      </p:cBhvr>
                                    </p:animEffect>
                                  </p:childTnLst>
                                </p:cTn>
                              </p:par>
                              <p:par>
                                <p:cTn id="19" presetID="2" presetClass="entr" presetSubtype="2" decel="10000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1+#ppt_w/2"/>
                                          </p:val>
                                        </p:tav>
                                        <p:tav tm="100000">
                                          <p:val>
                                            <p:strVal val="#ppt_x"/>
                                          </p:val>
                                        </p:tav>
                                      </p:tavLst>
                                    </p:anim>
                                    <p:anim calcmode="lin" valueType="num">
                                      <p:cBhvr additive="base">
                                        <p:cTn id="22" dur="500" fill="hold"/>
                                        <p:tgtEl>
                                          <p:spTgt spid="12"/>
                                        </p:tgtEl>
                                        <p:attrNameLst>
                                          <p:attrName>ppt_y</p:attrName>
                                        </p:attrNameLst>
                                      </p:cBhvr>
                                      <p:tavLst>
                                        <p:tav tm="0">
                                          <p:val>
                                            <p:strVal val="#ppt_y"/>
                                          </p:val>
                                        </p:tav>
                                        <p:tav tm="100000">
                                          <p:val>
                                            <p:strVal val="#ppt_y"/>
                                          </p:val>
                                        </p:tav>
                                      </p:tavLst>
                                    </p:anim>
                                  </p:childTnLst>
                                </p:cTn>
                              </p:par>
                              <p:par>
                                <p:cTn id="23" presetID="10" presetClass="entr" presetSubtype="0" fill="hold" grpId="0"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2" grpId="0"/>
      <p:bldP spid="33" grpId="0"/>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 xmlns:a16="http://schemas.microsoft.com/office/drawing/2014/main" id="{33993689-3073-43E1-904B-CF34DADA84DF}"/>
              </a:ext>
            </a:extLst>
          </p:cNvPr>
          <p:cNvSpPr/>
          <p:nvPr/>
        </p:nvSpPr>
        <p:spPr>
          <a:xfrm>
            <a:off x="-1" y="2666998"/>
            <a:ext cx="4876801" cy="3124199"/>
          </a:xfrm>
          <a:prstGeom prst="rect">
            <a:avLst/>
          </a:prstGeom>
          <a:solidFill>
            <a:srgbClr val="E4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a:extLst>
              <a:ext uri="{FF2B5EF4-FFF2-40B4-BE49-F238E27FC236}">
                <a16:creationId xmlns="" xmlns:a16="http://schemas.microsoft.com/office/drawing/2014/main" id="{7D9CC8D4-41F9-4308-BDCA-61362FF5BEAC}"/>
              </a:ext>
            </a:extLst>
          </p:cNvPr>
          <p:cNvPicPr>
            <a:picLocks noChangeAspect="1"/>
          </p:cNvPicPr>
          <p:nvPr/>
        </p:nvPicPr>
        <p:blipFill rotWithShape="1">
          <a:blip r:embed="rId5"/>
          <a:srcRect t="22448" r="561" b="-43"/>
          <a:stretch/>
        </p:blipFill>
        <p:spPr>
          <a:xfrm>
            <a:off x="4974879" y="2666998"/>
            <a:ext cx="7217122" cy="3124199"/>
          </a:xfrm>
          <a:prstGeom prst="rect">
            <a:avLst/>
          </a:prstGeom>
        </p:spPr>
      </p:pic>
      <p:graphicFrame>
        <p:nvGraphicFramePr>
          <p:cNvPr id="5" name="Object 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0443"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25589" y="1589"/>
                        <a:ext cx="1587" cy="1587"/>
                      </a:xfrm>
                      <a:prstGeom prst="rect">
                        <a:avLst/>
                      </a:prstGeom>
                    </p:spPr>
                  </p:pic>
                </p:oleObj>
              </mc:Fallback>
            </mc:AlternateContent>
          </a:graphicData>
        </a:graphic>
      </p:graphicFrame>
      <p:pic>
        <p:nvPicPr>
          <p:cNvPr id="22" name="Graphic 21">
            <a:extLst>
              <a:ext uri="{FF2B5EF4-FFF2-40B4-BE49-F238E27FC236}">
                <a16:creationId xmlns="" xmlns:a16="http://schemas.microsoft.com/office/drawing/2014/main" id="{334F7D5F-CFB6-4B6D-A21D-10F30839BA55}"/>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11277600" y="6477000"/>
            <a:ext cx="720740" cy="276876"/>
          </a:xfrm>
          <a:prstGeom prst="rect">
            <a:avLst/>
          </a:prstGeom>
        </p:spPr>
      </p:pic>
      <p:sp>
        <p:nvSpPr>
          <p:cNvPr id="32" name="Rectangle 31">
            <a:extLst>
              <a:ext uri="{FF2B5EF4-FFF2-40B4-BE49-F238E27FC236}">
                <a16:creationId xmlns="" xmlns:a16="http://schemas.microsoft.com/office/drawing/2014/main" id="{C74FBF37-DCF1-41E5-8FAE-9E08A9364C85}"/>
              </a:ext>
            </a:extLst>
          </p:cNvPr>
          <p:cNvSpPr/>
          <p:nvPr/>
        </p:nvSpPr>
        <p:spPr>
          <a:xfrm>
            <a:off x="326053" y="3166761"/>
            <a:ext cx="4445267" cy="301621"/>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Other processes: </a:t>
            </a:r>
            <a:r>
              <a:rPr kumimoji="0" lang="en-US" sz="1400" b="1"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Manual Manufacturing </a:t>
            </a:r>
            <a:endParaRPr kumimoji="0" lang="en-US" sz="1600" b="1"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3" name="Rectangle 32">
            <a:extLst>
              <a:ext uri="{FF2B5EF4-FFF2-40B4-BE49-F238E27FC236}">
                <a16:creationId xmlns="" xmlns:a16="http://schemas.microsoft.com/office/drawing/2014/main" id="{A32F3DBE-9F5B-4E15-A1B3-25E0D27247DF}"/>
              </a:ext>
            </a:extLst>
          </p:cNvPr>
          <p:cNvSpPr/>
          <p:nvPr/>
        </p:nvSpPr>
        <p:spPr>
          <a:xfrm>
            <a:off x="326053" y="3632849"/>
            <a:ext cx="4445268" cy="142652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Reliant 3rd Party Sourced Components and</a:t>
            </a:r>
            <a:br>
              <a:rPr kumimoji="0" lang="en-US" sz="14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4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or Manufacturing</a:t>
            </a:r>
          </a:p>
          <a:p>
            <a:pPr marL="177800" marR="0" lvl="1" indent="-177800"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3rd party saline pre-mixed bag</a:t>
            </a:r>
          </a:p>
          <a:p>
            <a:pPr marL="177800" marR="0" lvl="1" indent="-177800"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3rd party syringe components</a:t>
            </a:r>
          </a:p>
          <a:p>
            <a:pPr marL="0" marR="0" lvl="0" indent="0" algn="l" defTabSz="914400" rtl="0" eaLnBrk="1" fontAlgn="auto" latinLnBrk="0" hangingPunct="1">
              <a:lnSpc>
                <a:spcPct val="85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Human Interaction</a:t>
            </a:r>
          </a:p>
          <a:p>
            <a:pPr marL="177800" marR="0" lvl="1" indent="-177800"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Syringe tip filling</a:t>
            </a:r>
          </a:p>
          <a:p>
            <a:pPr marL="177800" marR="0" lvl="1" indent="-177800"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Higher frequency of hands touching product</a:t>
            </a:r>
          </a:p>
        </p:txBody>
      </p:sp>
      <p:cxnSp>
        <p:nvCxnSpPr>
          <p:cNvPr id="34" name="Straight Connector 33">
            <a:extLst>
              <a:ext uri="{FF2B5EF4-FFF2-40B4-BE49-F238E27FC236}">
                <a16:creationId xmlns="" xmlns:a16="http://schemas.microsoft.com/office/drawing/2014/main" id="{EEE31570-5AD3-4F94-BB44-7011E64CD3AB}"/>
              </a:ext>
            </a:extLst>
          </p:cNvPr>
          <p:cNvCxnSpPr>
            <a:cxnSpLocks/>
          </p:cNvCxnSpPr>
          <p:nvPr/>
        </p:nvCxnSpPr>
        <p:spPr>
          <a:xfrm flipH="1">
            <a:off x="423765" y="4423271"/>
            <a:ext cx="414823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1" name="Title 1">
            <a:extLst>
              <a:ext uri="{FF2B5EF4-FFF2-40B4-BE49-F238E27FC236}">
                <a16:creationId xmlns="" xmlns:a16="http://schemas.microsoft.com/office/drawing/2014/main" id="{F3D485E4-E138-4B45-94CD-4F6DC9153109}"/>
              </a:ext>
            </a:extLst>
          </p:cNvPr>
          <p:cNvSpPr txBox="1">
            <a:spLocks/>
          </p:cNvSpPr>
          <p:nvPr/>
        </p:nvSpPr>
        <p:spPr>
          <a:xfrm>
            <a:off x="1524000" y="694161"/>
            <a:ext cx="9541921" cy="115964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85000"/>
              </a:lnSpc>
            </a:pPr>
            <a:r>
              <a:rPr lang="en-US" sz="1600" spc="400" dirty="0">
                <a:solidFill>
                  <a:prstClr val="black"/>
                </a:solidFill>
                <a:latin typeface="Verdana" panose="020B0604030504040204" pitchFamily="34" charset="0"/>
                <a:ea typeface="Verdana" panose="020B0604030504040204" pitchFamily="34" charset="0"/>
                <a:cs typeface="Verdana" panose="020B0604030504040204" pitchFamily="34" charset="0"/>
              </a:rPr>
              <a:t>BD’S FULLY-AUTOMATED MANUFACTURING PROCESS ELIMINATES THE HUMAN TOUCH ASSOCIATED WITH A MANUAL PROCESS,</a:t>
            </a:r>
            <a:r>
              <a:rPr lang="en-US" sz="200" spc="4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800" b="1" dirty="0">
                <a:solidFill>
                  <a:srgbClr val="05589C"/>
                </a:solidFill>
                <a:latin typeface="Verdana" panose="020B0604030504040204" pitchFamily="34" charset="0"/>
                <a:ea typeface="Verdana" panose="020B0604030504040204" pitchFamily="34" charset="0"/>
                <a:cs typeface="Verdana" panose="020B0604030504040204" pitchFamily="34" charset="0"/>
              </a:rPr>
              <a:t>WHICH MAY HELP REDUCE POTENTIALLY</a:t>
            </a:r>
            <a:br>
              <a:rPr lang="en-US" sz="1800" b="1" dirty="0">
                <a:solidFill>
                  <a:srgbClr val="05589C"/>
                </a:solidFill>
                <a:latin typeface="Verdana" panose="020B0604030504040204" pitchFamily="34" charset="0"/>
                <a:ea typeface="Verdana" panose="020B0604030504040204" pitchFamily="34" charset="0"/>
                <a:cs typeface="Verdana" panose="020B0604030504040204" pitchFamily="34" charset="0"/>
              </a:rPr>
            </a:br>
            <a:r>
              <a:rPr lang="en-US" sz="1800" b="1" dirty="0">
                <a:solidFill>
                  <a:srgbClr val="05589C"/>
                </a:solidFill>
                <a:latin typeface="Verdana" panose="020B0604030504040204" pitchFamily="34" charset="0"/>
                <a:ea typeface="Verdana" panose="020B0604030504040204" pitchFamily="34" charset="0"/>
                <a:cs typeface="Verdana" panose="020B0604030504040204" pitchFamily="34" charset="0"/>
              </a:rPr>
              <a:t>LIFE THREATENING CONTAMINATION</a:t>
            </a:r>
            <a:endParaRPr lang="pt-PT" sz="1800" b="1" dirty="0">
              <a:solidFill>
                <a:srgbClr val="05589C"/>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Rectangle 7">
            <a:extLst>
              <a:ext uri="{FF2B5EF4-FFF2-40B4-BE49-F238E27FC236}">
                <a16:creationId xmlns="" xmlns:a16="http://schemas.microsoft.com/office/drawing/2014/main" id="{79E1CFBE-0797-4D66-8CC1-8D9D32A65087}"/>
              </a:ext>
            </a:extLst>
          </p:cNvPr>
          <p:cNvSpPr/>
          <p:nvPr/>
        </p:nvSpPr>
        <p:spPr>
          <a:xfrm>
            <a:off x="0" y="1955864"/>
            <a:ext cx="12192000" cy="4303070"/>
          </a:xfrm>
          <a:prstGeom prst="rect">
            <a:avLst/>
          </a:prstGeom>
          <a:solidFill>
            <a:srgbClr val="8CC6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Isosceles Triangle 36">
            <a:extLst>
              <a:ext uri="{FF2B5EF4-FFF2-40B4-BE49-F238E27FC236}">
                <a16:creationId xmlns="" xmlns:a16="http://schemas.microsoft.com/office/drawing/2014/main" id="{90449D5F-A938-4602-9CED-C55DF3D01B61}"/>
              </a:ext>
            </a:extLst>
          </p:cNvPr>
          <p:cNvSpPr/>
          <p:nvPr/>
        </p:nvSpPr>
        <p:spPr>
          <a:xfrm rot="17917487" flipH="1">
            <a:off x="2151850" y="-34692"/>
            <a:ext cx="3420166" cy="4726032"/>
          </a:xfrm>
          <a:custGeom>
            <a:avLst/>
            <a:gdLst>
              <a:gd name="connsiteX0" fmla="*/ 0 w 3621821"/>
              <a:gd name="connsiteY0" fmla="*/ 4726032 h 4726032"/>
              <a:gd name="connsiteX1" fmla="*/ 2577433 w 3621821"/>
              <a:gd name="connsiteY1" fmla="*/ 0 h 4726032"/>
              <a:gd name="connsiteX2" fmla="*/ 3621821 w 3621821"/>
              <a:gd name="connsiteY2" fmla="*/ 4726032 h 4726032"/>
              <a:gd name="connsiteX3" fmla="*/ 0 w 3621821"/>
              <a:gd name="connsiteY3" fmla="*/ 4726032 h 4726032"/>
              <a:gd name="connsiteX0" fmla="*/ 0 w 3420166"/>
              <a:gd name="connsiteY0" fmla="*/ 4726032 h 4726032"/>
              <a:gd name="connsiteX1" fmla="*/ 2577433 w 3420166"/>
              <a:gd name="connsiteY1" fmla="*/ 0 h 4726032"/>
              <a:gd name="connsiteX2" fmla="*/ 3420166 w 3420166"/>
              <a:gd name="connsiteY2" fmla="*/ 3437458 h 4726032"/>
              <a:gd name="connsiteX3" fmla="*/ 0 w 3420166"/>
              <a:gd name="connsiteY3" fmla="*/ 4726032 h 4726032"/>
            </a:gdLst>
            <a:ahLst/>
            <a:cxnLst>
              <a:cxn ang="0">
                <a:pos x="connsiteX0" y="connsiteY0"/>
              </a:cxn>
              <a:cxn ang="0">
                <a:pos x="connsiteX1" y="connsiteY1"/>
              </a:cxn>
              <a:cxn ang="0">
                <a:pos x="connsiteX2" y="connsiteY2"/>
              </a:cxn>
              <a:cxn ang="0">
                <a:pos x="connsiteX3" y="connsiteY3"/>
              </a:cxn>
            </a:cxnLst>
            <a:rect l="l" t="t" r="r" b="b"/>
            <a:pathLst>
              <a:path w="3420166" h="4726032">
                <a:moveTo>
                  <a:pt x="0" y="4726032"/>
                </a:moveTo>
                <a:lnTo>
                  <a:pt x="2577433" y="0"/>
                </a:lnTo>
                <a:lnTo>
                  <a:pt x="3420166" y="3437458"/>
                </a:lnTo>
                <a:lnTo>
                  <a:pt x="0" y="4726032"/>
                </a:lnTo>
                <a:close/>
              </a:path>
            </a:pathLst>
          </a:custGeom>
          <a:solidFill>
            <a:srgbClr val="02397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Isosceles Triangle 37">
            <a:extLst>
              <a:ext uri="{FF2B5EF4-FFF2-40B4-BE49-F238E27FC236}">
                <a16:creationId xmlns="" xmlns:a16="http://schemas.microsoft.com/office/drawing/2014/main" id="{B2E12F7C-769C-4B53-B11C-8EA309C23128}"/>
              </a:ext>
            </a:extLst>
          </p:cNvPr>
          <p:cNvSpPr/>
          <p:nvPr/>
        </p:nvSpPr>
        <p:spPr>
          <a:xfrm rot="6671822" flipH="1">
            <a:off x="69997" y="602888"/>
            <a:ext cx="5193214" cy="7807431"/>
          </a:xfrm>
          <a:custGeom>
            <a:avLst/>
            <a:gdLst>
              <a:gd name="connsiteX0" fmla="*/ 0 w 7650326"/>
              <a:gd name="connsiteY0" fmla="*/ 9865512 h 9865512"/>
              <a:gd name="connsiteX1" fmla="*/ 3825163 w 7650326"/>
              <a:gd name="connsiteY1" fmla="*/ 0 h 9865512"/>
              <a:gd name="connsiteX2" fmla="*/ 7650326 w 7650326"/>
              <a:gd name="connsiteY2" fmla="*/ 9865512 h 9865512"/>
              <a:gd name="connsiteX3" fmla="*/ 0 w 7650326"/>
              <a:gd name="connsiteY3" fmla="*/ 9865512 h 9865512"/>
              <a:gd name="connsiteX0" fmla="*/ 0 w 6829055"/>
              <a:gd name="connsiteY0" fmla="*/ 9865512 h 9865512"/>
              <a:gd name="connsiteX1" fmla="*/ 3825163 w 6829055"/>
              <a:gd name="connsiteY1" fmla="*/ 0 h 9865512"/>
              <a:gd name="connsiteX2" fmla="*/ 6829055 w 6829055"/>
              <a:gd name="connsiteY2" fmla="*/ 7803446 h 9865512"/>
              <a:gd name="connsiteX3" fmla="*/ 0 w 6829055"/>
              <a:gd name="connsiteY3" fmla="*/ 9865512 h 9865512"/>
              <a:gd name="connsiteX0" fmla="*/ 0 w 5235625"/>
              <a:gd name="connsiteY0" fmla="*/ 5756772 h 7803446"/>
              <a:gd name="connsiteX1" fmla="*/ 2231733 w 5235625"/>
              <a:gd name="connsiteY1" fmla="*/ 0 h 7803446"/>
              <a:gd name="connsiteX2" fmla="*/ 5235625 w 5235625"/>
              <a:gd name="connsiteY2" fmla="*/ 7803446 h 7803446"/>
              <a:gd name="connsiteX3" fmla="*/ 0 w 5235625"/>
              <a:gd name="connsiteY3" fmla="*/ 5756772 h 7803446"/>
              <a:gd name="connsiteX0" fmla="*/ 0 w 5193214"/>
              <a:gd name="connsiteY0" fmla="*/ 5756772 h 7807431"/>
              <a:gd name="connsiteX1" fmla="*/ 2231733 w 5193214"/>
              <a:gd name="connsiteY1" fmla="*/ 0 h 7807431"/>
              <a:gd name="connsiteX2" fmla="*/ 5193214 w 5193214"/>
              <a:gd name="connsiteY2" fmla="*/ 7807431 h 7807431"/>
              <a:gd name="connsiteX3" fmla="*/ 0 w 5193214"/>
              <a:gd name="connsiteY3" fmla="*/ 5756772 h 7807431"/>
            </a:gdLst>
            <a:ahLst/>
            <a:cxnLst>
              <a:cxn ang="0">
                <a:pos x="connsiteX0" y="connsiteY0"/>
              </a:cxn>
              <a:cxn ang="0">
                <a:pos x="connsiteX1" y="connsiteY1"/>
              </a:cxn>
              <a:cxn ang="0">
                <a:pos x="connsiteX2" y="connsiteY2"/>
              </a:cxn>
              <a:cxn ang="0">
                <a:pos x="connsiteX3" y="connsiteY3"/>
              </a:cxn>
            </a:cxnLst>
            <a:rect l="l" t="t" r="r" b="b"/>
            <a:pathLst>
              <a:path w="5193214" h="7807431">
                <a:moveTo>
                  <a:pt x="0" y="5756772"/>
                </a:moveTo>
                <a:lnTo>
                  <a:pt x="2231733" y="0"/>
                </a:lnTo>
                <a:lnTo>
                  <a:pt x="5193214" y="7807431"/>
                </a:lnTo>
                <a:lnTo>
                  <a:pt x="0" y="5756772"/>
                </a:lnTo>
                <a:close/>
              </a:path>
            </a:pathLst>
          </a:custGeom>
          <a:solidFill>
            <a:srgbClr val="05589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5" name="Picture 38">
            <a:extLst>
              <a:ext uri="{FF2B5EF4-FFF2-40B4-BE49-F238E27FC236}">
                <a16:creationId xmlns="" xmlns:a16="http://schemas.microsoft.com/office/drawing/2014/main" id="{0A192688-FB17-4606-89BE-1D49DF3B7BD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06956" y="2615048"/>
            <a:ext cx="7989544" cy="2860753"/>
          </a:xfrm>
          <a:prstGeom prst="rect">
            <a:avLst/>
          </a:prstGeom>
        </p:spPr>
      </p:pic>
      <p:sp>
        <p:nvSpPr>
          <p:cNvPr id="16" name="Title 1">
            <a:extLst>
              <a:ext uri="{FF2B5EF4-FFF2-40B4-BE49-F238E27FC236}">
                <a16:creationId xmlns="" xmlns:a16="http://schemas.microsoft.com/office/drawing/2014/main" id="{73969E65-079D-4635-A2E2-85F5CDC0D36A}"/>
              </a:ext>
            </a:extLst>
          </p:cNvPr>
          <p:cNvSpPr txBox="1">
            <a:spLocks/>
          </p:cNvSpPr>
          <p:nvPr/>
        </p:nvSpPr>
        <p:spPr>
          <a:xfrm>
            <a:off x="6992439" y="2432829"/>
            <a:ext cx="5073913" cy="3349140"/>
          </a:xfrm>
          <a:prstGeom prst="rect">
            <a:avLst/>
          </a:prstGeom>
          <a:no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5000"/>
              </a:lnSpc>
              <a:defRPr/>
            </a:pPr>
            <a:r>
              <a:rPr lang="en-US" sz="4000" b="1" dirty="0">
                <a:solidFill>
                  <a:srgbClr val="05589C"/>
                </a:solidFill>
                <a:latin typeface="Verdana" panose="020B0604030504040204" pitchFamily="34" charset="0"/>
                <a:ea typeface="Verdana" panose="020B0604030504040204" pitchFamily="34" charset="0"/>
                <a:cs typeface="Verdana" panose="020B0604030504040204" pitchFamily="34" charset="0"/>
              </a:rPr>
              <a:t>OVER 8 BILLION </a:t>
            </a:r>
            <a:r>
              <a:rPr lang="en-US" sz="2800" b="1" dirty="0">
                <a:solidFill>
                  <a:srgbClr val="05589C"/>
                </a:solidFill>
                <a:latin typeface="Verdana" panose="020B0604030504040204" pitchFamily="34" charset="0"/>
                <a:ea typeface="Verdana" panose="020B0604030504040204" pitchFamily="34" charset="0"/>
                <a:cs typeface="Verdana" panose="020B0604030504040204" pitchFamily="34" charset="0"/>
              </a:rPr>
              <a:t/>
            </a:r>
            <a:br>
              <a:rPr lang="en-US" sz="2800" b="1" dirty="0">
                <a:solidFill>
                  <a:srgbClr val="05589C"/>
                </a:solidFill>
                <a:latin typeface="Verdana" panose="020B0604030504040204" pitchFamily="34" charset="0"/>
                <a:ea typeface="Verdana" panose="020B0604030504040204" pitchFamily="34" charset="0"/>
                <a:cs typeface="Verdana" panose="020B0604030504040204" pitchFamily="34" charset="0"/>
              </a:rPr>
            </a:br>
            <a:r>
              <a:rPr lang="en-US" sz="2400" b="1" dirty="0">
                <a:solidFill>
                  <a:schemeClr val="bg1"/>
                </a:solidFill>
                <a:latin typeface="Verdana" panose="020B0604030504040204" pitchFamily="34" charset="0"/>
                <a:ea typeface="Verdana" panose="020B0604030504040204" pitchFamily="34" charset="0"/>
                <a:cs typeface="Verdana" panose="020B0604030504040204" pitchFamily="34" charset="0"/>
              </a:rPr>
              <a:t>BD </a:t>
            </a:r>
            <a:r>
              <a:rPr lang="en-US" sz="2400" b="1" dirty="0" err="1">
                <a:solidFill>
                  <a:schemeClr val="bg1"/>
                </a:solidFill>
                <a:latin typeface="Verdana" panose="020B0604030504040204" pitchFamily="34" charset="0"/>
                <a:ea typeface="Verdana" panose="020B0604030504040204" pitchFamily="34" charset="0"/>
                <a:cs typeface="Verdana" panose="020B0604030504040204" pitchFamily="34" charset="0"/>
              </a:rPr>
              <a:t>PosiFlush</a:t>
            </a:r>
            <a:r>
              <a:rPr lang="en-US" sz="2400" b="1" dirty="0">
                <a:solidFill>
                  <a:schemeClr val="bg1"/>
                </a:solidFill>
                <a:latin typeface="Verdana" panose="020B0604030504040204" pitchFamily="34" charset="0"/>
                <a:ea typeface="Verdana" panose="020B0604030504040204" pitchFamily="34" charset="0"/>
                <a:cs typeface="Verdana" panose="020B0604030504040204" pitchFamily="34" charset="0"/>
              </a:rPr>
              <a:t>™ Sterile Path Syringes Produced with </a:t>
            </a:r>
            <a:br>
              <a:rPr lang="en-US" sz="2400" b="1"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4000" b="1" dirty="0">
                <a:solidFill>
                  <a:srgbClr val="05589C"/>
                </a:solidFill>
                <a:latin typeface="Verdana" panose="020B0604030504040204" pitchFamily="34" charset="0"/>
                <a:ea typeface="Verdana" panose="020B0604030504040204" pitchFamily="34" charset="0"/>
                <a:cs typeface="Verdana" panose="020B0604030504040204" pitchFamily="34" charset="0"/>
              </a:rPr>
              <a:t>NO RECALLS</a:t>
            </a:r>
            <a:r>
              <a:rPr lang="en-US" sz="2800" b="1" dirty="0">
                <a:solidFill>
                  <a:schemeClr val="bg1"/>
                </a:solidFill>
                <a:latin typeface="Verdana" panose="020B0604030504040204" pitchFamily="34" charset="0"/>
                <a:ea typeface="Verdana" panose="020B0604030504040204" pitchFamily="34" charset="0"/>
                <a:cs typeface="Verdana" panose="020B0604030504040204" pitchFamily="34" charset="0"/>
              </a:rPr>
              <a:t>,</a:t>
            </a:r>
            <a:br>
              <a:rPr lang="en-US" sz="2800" b="1"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2400" b="1" dirty="0">
                <a:solidFill>
                  <a:schemeClr val="bg1"/>
                </a:solidFill>
                <a:latin typeface="Verdana" panose="020B0604030504040204" pitchFamily="34" charset="0"/>
                <a:ea typeface="Verdana" panose="020B0604030504040204" pitchFamily="34" charset="0"/>
                <a:cs typeface="Verdana" panose="020B0604030504040204" pitchFamily="34" charset="0"/>
              </a:rPr>
              <a:t>giving BD the a</a:t>
            </a:r>
            <a:r>
              <a:rPr lang="en-US" sz="2400" b="1" dirty="0">
                <a:solidFill>
                  <a:srgbClr val="FFFFFF"/>
                </a:solidFill>
                <a:latin typeface="Verdana" panose="020B0604030504040204" pitchFamily="34" charset="0"/>
                <a:ea typeface="Verdana" panose="020B0604030504040204" pitchFamily="34" charset="0"/>
                <a:cs typeface="Verdana" panose="020B0604030504040204" pitchFamily="34" charset="0"/>
              </a:rPr>
              <a:t>bility </a:t>
            </a:r>
            <a:br>
              <a:rPr lang="en-US" sz="2400" b="1" dirty="0">
                <a:solidFill>
                  <a:srgbClr val="FFFFFF"/>
                </a:solidFill>
                <a:latin typeface="Verdana" panose="020B0604030504040204" pitchFamily="34" charset="0"/>
                <a:ea typeface="Verdana" panose="020B0604030504040204" pitchFamily="34" charset="0"/>
                <a:cs typeface="Verdana" panose="020B0604030504040204" pitchFamily="34" charset="0"/>
              </a:rPr>
            </a:br>
            <a:r>
              <a:rPr lang="en-US" sz="2400" b="1" dirty="0">
                <a:solidFill>
                  <a:srgbClr val="FFFFFF"/>
                </a:solidFill>
                <a:latin typeface="Verdana" panose="020B0604030504040204" pitchFamily="34" charset="0"/>
                <a:ea typeface="Verdana" panose="020B0604030504040204" pitchFamily="34" charset="0"/>
                <a:cs typeface="Verdana" panose="020B0604030504040204" pitchFamily="34" charset="0"/>
              </a:rPr>
              <a:t>to provide guaranteed supply to support your operational needs</a:t>
            </a:r>
            <a:endParaRPr lang="en-US" sz="28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pic>
        <p:nvPicPr>
          <p:cNvPr id="17" name="Picture 16"/>
          <p:cNvPicPr>
            <a:picLocks noChangeAspect="1"/>
          </p:cNvPicPr>
          <p:nvPr/>
        </p:nvPicPr>
        <p:blipFill>
          <a:blip r:embed="rId11"/>
          <a:stretch>
            <a:fillRect/>
          </a:stretch>
        </p:blipFill>
        <p:spPr>
          <a:xfrm>
            <a:off x="76200" y="6629400"/>
            <a:ext cx="4619050" cy="195171"/>
          </a:xfrm>
          <a:prstGeom prst="rect">
            <a:avLst/>
          </a:prstGeom>
        </p:spPr>
      </p:pic>
    </p:spTree>
    <p:extLst>
      <p:ext uri="{BB962C8B-B14F-4D97-AF65-F5344CB8AC3E}">
        <p14:creationId xmlns:p14="http://schemas.microsoft.com/office/powerpoint/2010/main" val="3671568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1+#ppt_w/2"/>
                                          </p:val>
                                        </p:tav>
                                        <p:tav tm="100000">
                                          <p:val>
                                            <p:strVal val="#ppt_x"/>
                                          </p:val>
                                        </p:tav>
                                      </p:tavLst>
                                    </p:anim>
                                    <p:anim calcmode="lin" valueType="num">
                                      <p:cBhvr additive="base">
                                        <p:cTn id="12" dur="500" fill="hold"/>
                                        <p:tgtEl>
                                          <p:spTgt spid="12"/>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0-#ppt_w/2"/>
                                          </p:val>
                                        </p:tav>
                                        <p:tav tm="100000">
                                          <p:val>
                                            <p:strVal val="#ppt_x"/>
                                          </p:val>
                                        </p:tav>
                                      </p:tavLst>
                                    </p:anim>
                                    <p:anim calcmode="lin" valueType="num">
                                      <p:cBhvr additive="base">
                                        <p:cTn id="16" dur="500" fill="hold"/>
                                        <p:tgtEl>
                                          <p:spTgt spid="13"/>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250"/>
                                  </p:stCondLst>
                                  <p:childTnLst>
                                    <p:set>
                                      <p:cBhvr>
                                        <p:cTn id="18" dur="1" fill="hold">
                                          <p:stCondLst>
                                            <p:cond delay="0"/>
                                          </p:stCondLst>
                                        </p:cTn>
                                        <p:tgtEl>
                                          <p:spTgt spid="15"/>
                                        </p:tgtEl>
                                        <p:attrNameLst>
                                          <p:attrName>style.visibility</p:attrName>
                                        </p:attrNameLst>
                                      </p:cBhvr>
                                      <p:to>
                                        <p:strVal val="visible"/>
                                      </p:to>
                                    </p:set>
                                    <p:anim calcmode="lin" valueType="num">
                                      <p:cBhvr additive="base">
                                        <p:cTn id="19" dur="500" fill="hold"/>
                                        <p:tgtEl>
                                          <p:spTgt spid="15"/>
                                        </p:tgtEl>
                                        <p:attrNameLst>
                                          <p:attrName>ppt_x</p:attrName>
                                        </p:attrNameLst>
                                      </p:cBhvr>
                                      <p:tavLst>
                                        <p:tav tm="0">
                                          <p:val>
                                            <p:strVal val="0-#ppt_w/2"/>
                                          </p:val>
                                        </p:tav>
                                        <p:tav tm="100000">
                                          <p:val>
                                            <p:strVal val="#ppt_x"/>
                                          </p:val>
                                        </p:tav>
                                      </p:tavLst>
                                    </p:anim>
                                    <p:anim calcmode="lin" valueType="num">
                                      <p:cBhvr additive="base">
                                        <p:cTn id="20" dur="500" fill="hold"/>
                                        <p:tgtEl>
                                          <p:spTgt spid="15"/>
                                        </p:tgtEl>
                                        <p:attrNameLst>
                                          <p:attrName>ppt_y</p:attrName>
                                        </p:attrNameLst>
                                      </p:cBhvr>
                                      <p:tavLst>
                                        <p:tav tm="0">
                                          <p:val>
                                            <p:strVal val="#ppt_y"/>
                                          </p:val>
                                        </p:tav>
                                        <p:tav tm="100000">
                                          <p:val>
                                            <p:strVal val="#ppt_y"/>
                                          </p:val>
                                        </p:tav>
                                      </p:tavLst>
                                    </p:anim>
                                  </p:childTnLst>
                                </p:cTn>
                              </p:par>
                              <p:par>
                                <p:cTn id="21" presetID="10"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516271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4" name="Picture 113"/>
          <p:cNvPicPr>
            <a:picLocks noChangeAspect="1"/>
          </p:cNvPicPr>
          <p:nvPr/>
        </p:nvPicPr>
        <p:blipFill>
          <a:blip r:embed="rId6"/>
          <a:stretch>
            <a:fillRect/>
          </a:stretch>
        </p:blipFill>
        <p:spPr>
          <a:xfrm>
            <a:off x="76200" y="6629400"/>
            <a:ext cx="4619050" cy="195171"/>
          </a:xfrm>
          <a:prstGeom prst="rect">
            <a:avLst/>
          </a:prstGeom>
        </p:spPr>
      </p:pic>
      <p:grpSp>
        <p:nvGrpSpPr>
          <p:cNvPr id="5" name="Group 4">
            <a:extLst>
              <a:ext uri="{FF2B5EF4-FFF2-40B4-BE49-F238E27FC236}">
                <a16:creationId xmlns="" xmlns:a16="http://schemas.microsoft.com/office/drawing/2014/main" id="{FC016FE7-E9B8-4914-ACE3-C2FBD3980C81}"/>
              </a:ext>
            </a:extLst>
          </p:cNvPr>
          <p:cNvGrpSpPr/>
          <p:nvPr/>
        </p:nvGrpSpPr>
        <p:grpSpPr>
          <a:xfrm>
            <a:off x="3124200" y="6324600"/>
            <a:ext cx="6437215" cy="262930"/>
            <a:chOff x="1008013" y="6352773"/>
            <a:chExt cx="6437215" cy="262930"/>
          </a:xfrm>
        </p:grpSpPr>
        <p:sp>
          <p:nvSpPr>
            <p:cNvPr id="127" name="TextBox 126">
              <a:extLst>
                <a:ext uri="{FF2B5EF4-FFF2-40B4-BE49-F238E27FC236}">
                  <a16:creationId xmlns="" xmlns:a16="http://schemas.microsoft.com/office/drawing/2014/main" id="{3B788C6A-F9EE-4B76-93F4-E329F5A9079A}"/>
                </a:ext>
              </a:extLst>
            </p:cNvPr>
            <p:cNvSpPr txBox="1"/>
            <p:nvPr/>
          </p:nvSpPr>
          <p:spPr>
            <a:xfrm>
              <a:off x="1194569" y="6388026"/>
              <a:ext cx="1262295" cy="204782"/>
            </a:xfrm>
            <a:prstGeom prst="rect">
              <a:avLst/>
            </a:prstGeom>
            <a:noFill/>
          </p:spPr>
          <p:txBody>
            <a:bodyPr wrap="square" lIns="73262" tIns="36631" rIns="73262" bIns="36631"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Manufacturer</a:t>
              </a:r>
            </a:p>
          </p:txBody>
        </p:sp>
        <p:sp>
          <p:nvSpPr>
            <p:cNvPr id="129" name="TextBox 128">
              <a:extLst>
                <a:ext uri="{FF2B5EF4-FFF2-40B4-BE49-F238E27FC236}">
                  <a16:creationId xmlns="" xmlns:a16="http://schemas.microsoft.com/office/drawing/2014/main" id="{BBE3104B-DED9-483D-9111-F8369089F22E}"/>
                </a:ext>
              </a:extLst>
            </p:cNvPr>
            <p:cNvSpPr txBox="1"/>
            <p:nvPr/>
          </p:nvSpPr>
          <p:spPr>
            <a:xfrm>
              <a:off x="2735391" y="6388026"/>
              <a:ext cx="1262295" cy="204782"/>
            </a:xfrm>
            <a:prstGeom prst="rect">
              <a:avLst/>
            </a:prstGeom>
            <a:noFill/>
          </p:spPr>
          <p:txBody>
            <a:bodyPr wrap="square" lIns="73262" tIns="36631" rIns="73262" bIns="36631"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Distributor</a:t>
              </a:r>
            </a:p>
          </p:txBody>
        </p:sp>
        <p:sp>
          <p:nvSpPr>
            <p:cNvPr id="87" name="TextBox 86">
              <a:extLst>
                <a:ext uri="{FF2B5EF4-FFF2-40B4-BE49-F238E27FC236}">
                  <a16:creationId xmlns="" xmlns:a16="http://schemas.microsoft.com/office/drawing/2014/main" id="{FEC9A2A0-CD31-4A90-A1FB-DC984A7DA37D}"/>
                </a:ext>
              </a:extLst>
            </p:cNvPr>
            <p:cNvSpPr txBox="1"/>
            <p:nvPr/>
          </p:nvSpPr>
          <p:spPr>
            <a:xfrm>
              <a:off x="4076314" y="6388026"/>
              <a:ext cx="1262295" cy="204782"/>
            </a:xfrm>
            <a:prstGeom prst="rect">
              <a:avLst/>
            </a:prstGeom>
            <a:noFill/>
          </p:spPr>
          <p:txBody>
            <a:bodyPr wrap="square" lIns="73262" tIns="36631" rIns="73262" bIns="36631"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Exit Year</a:t>
              </a:r>
            </a:p>
          </p:txBody>
        </p:sp>
        <p:sp>
          <p:nvSpPr>
            <p:cNvPr id="95" name="TextBox 94">
              <a:extLst>
                <a:ext uri="{FF2B5EF4-FFF2-40B4-BE49-F238E27FC236}">
                  <a16:creationId xmlns="" xmlns:a16="http://schemas.microsoft.com/office/drawing/2014/main" id="{D08D1392-70D9-4AD9-9E8B-D1C744E78684}"/>
                </a:ext>
              </a:extLst>
            </p:cNvPr>
            <p:cNvSpPr txBox="1"/>
            <p:nvPr/>
          </p:nvSpPr>
          <p:spPr>
            <a:xfrm>
              <a:off x="5301196" y="6388026"/>
              <a:ext cx="2144032" cy="204782"/>
            </a:xfrm>
            <a:prstGeom prst="rect">
              <a:avLst/>
            </a:prstGeom>
            <a:noFill/>
          </p:spPr>
          <p:txBody>
            <a:bodyPr wrap="square" lIns="73262" tIns="36631" rIns="73262" bIns="36631"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Still on Market (recalled)</a:t>
              </a:r>
            </a:p>
          </p:txBody>
        </p:sp>
        <p:sp>
          <p:nvSpPr>
            <p:cNvPr id="79" name="Oval 78">
              <a:extLst>
                <a:ext uri="{FF2B5EF4-FFF2-40B4-BE49-F238E27FC236}">
                  <a16:creationId xmlns="" xmlns:a16="http://schemas.microsoft.com/office/drawing/2014/main" id="{B70443F8-135B-4DE8-8C05-6EF0EA8E17A6}"/>
                </a:ext>
              </a:extLst>
            </p:cNvPr>
            <p:cNvSpPr/>
            <p:nvPr/>
          </p:nvSpPr>
          <p:spPr>
            <a:xfrm>
              <a:off x="3833122" y="6352773"/>
              <a:ext cx="259359" cy="259359"/>
            </a:xfrm>
            <a:prstGeom prst="ellips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Freeform 11">
              <a:extLst>
                <a:ext uri="{FF2B5EF4-FFF2-40B4-BE49-F238E27FC236}">
                  <a16:creationId xmlns="" xmlns:a16="http://schemas.microsoft.com/office/drawing/2014/main" id="{B61698F0-E9F7-45F9-85A6-487533F2E0D6}"/>
                </a:ext>
              </a:extLst>
            </p:cNvPr>
            <p:cNvSpPr>
              <a:spLocks noEditPoints="1"/>
            </p:cNvSpPr>
            <p:nvPr/>
          </p:nvSpPr>
          <p:spPr bwMode="auto">
            <a:xfrm>
              <a:off x="3888243" y="6413706"/>
              <a:ext cx="141548" cy="129066"/>
            </a:xfrm>
            <a:custGeom>
              <a:avLst/>
              <a:gdLst>
                <a:gd name="T0" fmla="*/ 1768 w 2150"/>
                <a:gd name="T1" fmla="*/ 287 h 1959"/>
                <a:gd name="T2" fmla="*/ 1075 w 2150"/>
                <a:gd name="T3" fmla="*/ 0 h 1959"/>
                <a:gd name="T4" fmla="*/ 383 w 2150"/>
                <a:gd name="T5" fmla="*/ 287 h 1959"/>
                <a:gd name="T6" fmla="*/ 383 w 2150"/>
                <a:gd name="T7" fmla="*/ 1672 h 1959"/>
                <a:gd name="T8" fmla="*/ 1075 w 2150"/>
                <a:gd name="T9" fmla="*/ 1959 h 1959"/>
                <a:gd name="T10" fmla="*/ 1768 w 2150"/>
                <a:gd name="T11" fmla="*/ 1672 h 1959"/>
                <a:gd name="T12" fmla="*/ 1768 w 2150"/>
                <a:gd name="T13" fmla="*/ 287 h 1959"/>
                <a:gd name="T14" fmla="*/ 1701 w 2150"/>
                <a:gd name="T15" fmla="*/ 1605 h 1959"/>
                <a:gd name="T16" fmla="*/ 1075 w 2150"/>
                <a:gd name="T17" fmla="*/ 1864 h 1959"/>
                <a:gd name="T18" fmla="*/ 449 w 2150"/>
                <a:gd name="T19" fmla="*/ 1605 h 1959"/>
                <a:gd name="T20" fmla="*/ 190 w 2150"/>
                <a:gd name="T21" fmla="*/ 979 h 1959"/>
                <a:gd name="T22" fmla="*/ 449 w 2150"/>
                <a:gd name="T23" fmla="*/ 354 h 1959"/>
                <a:gd name="T24" fmla="*/ 1075 w 2150"/>
                <a:gd name="T25" fmla="*/ 95 h 1959"/>
                <a:gd name="T26" fmla="*/ 1701 w 2150"/>
                <a:gd name="T27" fmla="*/ 354 h 1959"/>
                <a:gd name="T28" fmla="*/ 1960 w 2150"/>
                <a:gd name="T29" fmla="*/ 979 h 1959"/>
                <a:gd name="T30" fmla="*/ 1701 w 2150"/>
                <a:gd name="T31" fmla="*/ 1605 h 1959"/>
                <a:gd name="T32" fmla="*/ 1373 w 2150"/>
                <a:gd name="T33" fmla="*/ 751 h 1959"/>
                <a:gd name="T34" fmla="*/ 1134 w 2150"/>
                <a:gd name="T35" fmla="*/ 990 h 1959"/>
                <a:gd name="T36" fmla="*/ 1373 w 2150"/>
                <a:gd name="T37" fmla="*/ 1228 h 1959"/>
                <a:gd name="T38" fmla="*/ 1373 w 2150"/>
                <a:gd name="T39" fmla="*/ 1295 h 1959"/>
                <a:gd name="T40" fmla="*/ 1339 w 2150"/>
                <a:gd name="T41" fmla="*/ 1308 h 1959"/>
                <a:gd name="T42" fmla="*/ 1306 w 2150"/>
                <a:gd name="T43" fmla="*/ 1295 h 1959"/>
                <a:gd name="T44" fmla="*/ 1068 w 2150"/>
                <a:gd name="T45" fmla="*/ 1056 h 1959"/>
                <a:gd name="T46" fmla="*/ 829 w 2150"/>
                <a:gd name="T47" fmla="*/ 1295 h 1959"/>
                <a:gd name="T48" fmla="*/ 796 w 2150"/>
                <a:gd name="T49" fmla="*/ 1308 h 1959"/>
                <a:gd name="T50" fmla="*/ 762 w 2150"/>
                <a:gd name="T51" fmla="*/ 1295 h 1959"/>
                <a:gd name="T52" fmla="*/ 762 w 2150"/>
                <a:gd name="T53" fmla="*/ 1228 h 1959"/>
                <a:gd name="T54" fmla="*/ 1001 w 2150"/>
                <a:gd name="T55" fmla="*/ 990 h 1959"/>
                <a:gd name="T56" fmla="*/ 762 w 2150"/>
                <a:gd name="T57" fmla="*/ 751 h 1959"/>
                <a:gd name="T58" fmla="*/ 762 w 2150"/>
                <a:gd name="T59" fmla="*/ 684 h 1959"/>
                <a:gd name="T60" fmla="*/ 829 w 2150"/>
                <a:gd name="T61" fmla="*/ 684 h 1959"/>
                <a:gd name="T62" fmla="*/ 1068 w 2150"/>
                <a:gd name="T63" fmla="*/ 923 h 1959"/>
                <a:gd name="T64" fmla="*/ 1306 w 2150"/>
                <a:gd name="T65" fmla="*/ 684 h 1959"/>
                <a:gd name="T66" fmla="*/ 1373 w 2150"/>
                <a:gd name="T67" fmla="*/ 684 h 1959"/>
                <a:gd name="T68" fmla="*/ 1373 w 2150"/>
                <a:gd name="T69" fmla="*/ 751 h 1959"/>
                <a:gd name="T70" fmla="*/ 1373 w 2150"/>
                <a:gd name="T71" fmla="*/ 751 h 1959"/>
                <a:gd name="T72" fmla="*/ 1373 w 2150"/>
                <a:gd name="T73" fmla="*/ 751 h 1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50" h="1959">
                  <a:moveTo>
                    <a:pt x="1768" y="287"/>
                  </a:moveTo>
                  <a:cubicBezTo>
                    <a:pt x="1583" y="102"/>
                    <a:pt x="1337" y="0"/>
                    <a:pt x="1075" y="0"/>
                  </a:cubicBezTo>
                  <a:cubicBezTo>
                    <a:pt x="813" y="0"/>
                    <a:pt x="567" y="102"/>
                    <a:pt x="383" y="287"/>
                  </a:cubicBezTo>
                  <a:cubicBezTo>
                    <a:pt x="0" y="669"/>
                    <a:pt x="0" y="1290"/>
                    <a:pt x="383" y="1672"/>
                  </a:cubicBezTo>
                  <a:cubicBezTo>
                    <a:pt x="567" y="1857"/>
                    <a:pt x="813" y="1959"/>
                    <a:pt x="1075" y="1959"/>
                  </a:cubicBezTo>
                  <a:cubicBezTo>
                    <a:pt x="1337" y="1959"/>
                    <a:pt x="1583" y="1857"/>
                    <a:pt x="1768" y="1672"/>
                  </a:cubicBezTo>
                  <a:cubicBezTo>
                    <a:pt x="2150" y="1290"/>
                    <a:pt x="2150" y="669"/>
                    <a:pt x="1768" y="287"/>
                  </a:cubicBezTo>
                  <a:close/>
                  <a:moveTo>
                    <a:pt x="1701" y="1605"/>
                  </a:moveTo>
                  <a:cubicBezTo>
                    <a:pt x="1534" y="1772"/>
                    <a:pt x="1311" y="1864"/>
                    <a:pt x="1075" y="1864"/>
                  </a:cubicBezTo>
                  <a:cubicBezTo>
                    <a:pt x="839" y="1864"/>
                    <a:pt x="616" y="1772"/>
                    <a:pt x="449" y="1605"/>
                  </a:cubicBezTo>
                  <a:cubicBezTo>
                    <a:pt x="283" y="1439"/>
                    <a:pt x="190" y="1216"/>
                    <a:pt x="190" y="979"/>
                  </a:cubicBezTo>
                  <a:cubicBezTo>
                    <a:pt x="190" y="743"/>
                    <a:pt x="283" y="520"/>
                    <a:pt x="449" y="354"/>
                  </a:cubicBezTo>
                  <a:cubicBezTo>
                    <a:pt x="616" y="187"/>
                    <a:pt x="839" y="95"/>
                    <a:pt x="1075" y="95"/>
                  </a:cubicBezTo>
                  <a:cubicBezTo>
                    <a:pt x="1311" y="95"/>
                    <a:pt x="1534" y="187"/>
                    <a:pt x="1701" y="354"/>
                  </a:cubicBezTo>
                  <a:cubicBezTo>
                    <a:pt x="1868" y="520"/>
                    <a:pt x="1960" y="744"/>
                    <a:pt x="1960" y="979"/>
                  </a:cubicBezTo>
                  <a:cubicBezTo>
                    <a:pt x="1960" y="1215"/>
                    <a:pt x="1868" y="1439"/>
                    <a:pt x="1701" y="1605"/>
                  </a:cubicBezTo>
                  <a:close/>
                  <a:moveTo>
                    <a:pt x="1373" y="751"/>
                  </a:moveTo>
                  <a:cubicBezTo>
                    <a:pt x="1134" y="990"/>
                    <a:pt x="1134" y="990"/>
                    <a:pt x="1134" y="990"/>
                  </a:cubicBezTo>
                  <a:cubicBezTo>
                    <a:pt x="1373" y="1228"/>
                    <a:pt x="1373" y="1228"/>
                    <a:pt x="1373" y="1228"/>
                  </a:cubicBezTo>
                  <a:cubicBezTo>
                    <a:pt x="1391" y="1246"/>
                    <a:pt x="1391" y="1277"/>
                    <a:pt x="1373" y="1295"/>
                  </a:cubicBezTo>
                  <a:cubicBezTo>
                    <a:pt x="1363" y="1305"/>
                    <a:pt x="1352" y="1308"/>
                    <a:pt x="1339" y="1308"/>
                  </a:cubicBezTo>
                  <a:cubicBezTo>
                    <a:pt x="1327" y="1308"/>
                    <a:pt x="1316" y="1302"/>
                    <a:pt x="1306" y="1295"/>
                  </a:cubicBezTo>
                  <a:cubicBezTo>
                    <a:pt x="1068" y="1056"/>
                    <a:pt x="1068" y="1056"/>
                    <a:pt x="1068" y="1056"/>
                  </a:cubicBezTo>
                  <a:cubicBezTo>
                    <a:pt x="829" y="1295"/>
                    <a:pt x="829" y="1295"/>
                    <a:pt x="829" y="1295"/>
                  </a:cubicBezTo>
                  <a:cubicBezTo>
                    <a:pt x="819" y="1305"/>
                    <a:pt x="808" y="1308"/>
                    <a:pt x="796" y="1308"/>
                  </a:cubicBezTo>
                  <a:cubicBezTo>
                    <a:pt x="783" y="1308"/>
                    <a:pt x="773" y="1302"/>
                    <a:pt x="762" y="1295"/>
                  </a:cubicBezTo>
                  <a:cubicBezTo>
                    <a:pt x="744" y="1277"/>
                    <a:pt x="744" y="1246"/>
                    <a:pt x="762" y="1228"/>
                  </a:cubicBezTo>
                  <a:cubicBezTo>
                    <a:pt x="1001" y="990"/>
                    <a:pt x="1001" y="990"/>
                    <a:pt x="1001" y="990"/>
                  </a:cubicBezTo>
                  <a:cubicBezTo>
                    <a:pt x="762" y="751"/>
                    <a:pt x="762" y="751"/>
                    <a:pt x="762" y="751"/>
                  </a:cubicBezTo>
                  <a:cubicBezTo>
                    <a:pt x="744" y="733"/>
                    <a:pt x="744" y="703"/>
                    <a:pt x="762" y="684"/>
                  </a:cubicBezTo>
                  <a:cubicBezTo>
                    <a:pt x="780" y="666"/>
                    <a:pt x="811" y="666"/>
                    <a:pt x="829" y="684"/>
                  </a:cubicBezTo>
                  <a:cubicBezTo>
                    <a:pt x="1068" y="923"/>
                    <a:pt x="1068" y="923"/>
                    <a:pt x="1068" y="923"/>
                  </a:cubicBezTo>
                  <a:cubicBezTo>
                    <a:pt x="1306" y="684"/>
                    <a:pt x="1306" y="684"/>
                    <a:pt x="1306" y="684"/>
                  </a:cubicBezTo>
                  <a:cubicBezTo>
                    <a:pt x="1324" y="666"/>
                    <a:pt x="1355" y="666"/>
                    <a:pt x="1373" y="684"/>
                  </a:cubicBezTo>
                  <a:cubicBezTo>
                    <a:pt x="1391" y="703"/>
                    <a:pt x="1391" y="731"/>
                    <a:pt x="1373" y="751"/>
                  </a:cubicBezTo>
                  <a:close/>
                  <a:moveTo>
                    <a:pt x="1373" y="751"/>
                  </a:moveTo>
                  <a:cubicBezTo>
                    <a:pt x="1373" y="751"/>
                    <a:pt x="1373" y="751"/>
                    <a:pt x="1373" y="75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89" name="Oval 88">
              <a:extLst>
                <a:ext uri="{FF2B5EF4-FFF2-40B4-BE49-F238E27FC236}">
                  <a16:creationId xmlns="" xmlns:a16="http://schemas.microsoft.com/office/drawing/2014/main" id="{A76A7D17-6F4D-4E12-8CF8-4EA77F48859F}"/>
                </a:ext>
              </a:extLst>
            </p:cNvPr>
            <p:cNvSpPr/>
            <p:nvPr/>
          </p:nvSpPr>
          <p:spPr>
            <a:xfrm>
              <a:off x="5037206" y="6352773"/>
              <a:ext cx="262930" cy="262930"/>
            </a:xfrm>
            <a:prstGeom prst="ellipse">
              <a:avLst/>
            </a:prstGeom>
            <a:solidFill>
              <a:srgbClr val="055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90" name="Group 4">
              <a:extLst>
                <a:ext uri="{FF2B5EF4-FFF2-40B4-BE49-F238E27FC236}">
                  <a16:creationId xmlns="" xmlns:a16="http://schemas.microsoft.com/office/drawing/2014/main" id="{20F5B047-5766-4BCE-8FE5-F0FE21C93B12}"/>
                </a:ext>
              </a:extLst>
            </p:cNvPr>
            <p:cNvGrpSpPr>
              <a:grpSpLocks noChangeAspect="1"/>
            </p:cNvGrpSpPr>
            <p:nvPr/>
          </p:nvGrpSpPr>
          <p:grpSpPr bwMode="auto">
            <a:xfrm>
              <a:off x="5108324" y="6417114"/>
              <a:ext cx="127592" cy="111478"/>
              <a:chOff x="-1" y="3"/>
              <a:chExt cx="4529" cy="3957"/>
            </a:xfrm>
            <a:solidFill>
              <a:schemeClr val="bg1"/>
            </a:solidFill>
          </p:grpSpPr>
          <p:sp>
            <p:nvSpPr>
              <p:cNvPr id="92" name="Freeform 5">
                <a:extLst>
                  <a:ext uri="{FF2B5EF4-FFF2-40B4-BE49-F238E27FC236}">
                    <a16:creationId xmlns="" xmlns:a16="http://schemas.microsoft.com/office/drawing/2014/main" id="{B6725C9A-0280-42F3-AEE9-DF56F5F4C64F}"/>
                  </a:ext>
                </a:extLst>
              </p:cNvPr>
              <p:cNvSpPr>
                <a:spLocks noEditPoints="1"/>
              </p:cNvSpPr>
              <p:nvPr/>
            </p:nvSpPr>
            <p:spPr bwMode="auto">
              <a:xfrm>
                <a:off x="-1" y="3"/>
                <a:ext cx="4529" cy="3957"/>
              </a:xfrm>
              <a:custGeom>
                <a:avLst/>
                <a:gdLst>
                  <a:gd name="T0" fmla="*/ 896 w 1696"/>
                  <a:gd name="T1" fmla="*/ 27 h 1481"/>
                  <a:gd name="T2" fmla="*/ 849 w 1696"/>
                  <a:gd name="T3" fmla="*/ 0 h 1481"/>
                  <a:gd name="T4" fmla="*/ 802 w 1696"/>
                  <a:gd name="T5" fmla="*/ 27 h 1481"/>
                  <a:gd name="T6" fmla="*/ 9 w 1696"/>
                  <a:gd name="T7" fmla="*/ 1399 h 1481"/>
                  <a:gd name="T8" fmla="*/ 9 w 1696"/>
                  <a:gd name="T9" fmla="*/ 1453 h 1481"/>
                  <a:gd name="T10" fmla="*/ 57 w 1696"/>
                  <a:gd name="T11" fmla="*/ 1481 h 1481"/>
                  <a:gd name="T12" fmla="*/ 1641 w 1696"/>
                  <a:gd name="T13" fmla="*/ 1481 h 1481"/>
                  <a:gd name="T14" fmla="*/ 1696 w 1696"/>
                  <a:gd name="T15" fmla="*/ 1426 h 1481"/>
                  <a:gd name="T16" fmla="*/ 1687 w 1696"/>
                  <a:gd name="T17" fmla="*/ 1395 h 1481"/>
                  <a:gd name="T18" fmla="*/ 896 w 1696"/>
                  <a:gd name="T19" fmla="*/ 27 h 1481"/>
                  <a:gd name="T20" fmla="*/ 151 w 1696"/>
                  <a:gd name="T21" fmla="*/ 1372 h 1481"/>
                  <a:gd name="T22" fmla="*/ 849 w 1696"/>
                  <a:gd name="T23" fmla="*/ 163 h 1481"/>
                  <a:gd name="T24" fmla="*/ 1547 w 1696"/>
                  <a:gd name="T25" fmla="*/ 1372 h 1481"/>
                  <a:gd name="T26" fmla="*/ 151 w 1696"/>
                  <a:gd name="T27" fmla="*/ 1372 h 1481"/>
                  <a:gd name="T28" fmla="*/ 151 w 1696"/>
                  <a:gd name="T29" fmla="*/ 1372 h 1481"/>
                  <a:gd name="T30" fmla="*/ 151 w 1696"/>
                  <a:gd name="T31" fmla="*/ 1372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6" h="1481">
                    <a:moveTo>
                      <a:pt x="896" y="27"/>
                    </a:moveTo>
                    <a:cubicBezTo>
                      <a:pt x="886" y="10"/>
                      <a:pt x="868" y="0"/>
                      <a:pt x="849" y="0"/>
                    </a:cubicBezTo>
                    <a:cubicBezTo>
                      <a:pt x="830" y="0"/>
                      <a:pt x="812" y="10"/>
                      <a:pt x="802" y="27"/>
                    </a:cubicBezTo>
                    <a:cubicBezTo>
                      <a:pt x="9" y="1399"/>
                      <a:pt x="9" y="1399"/>
                      <a:pt x="9" y="1399"/>
                    </a:cubicBezTo>
                    <a:cubicBezTo>
                      <a:pt x="0" y="1416"/>
                      <a:pt x="0" y="1436"/>
                      <a:pt x="9" y="1453"/>
                    </a:cubicBezTo>
                    <a:cubicBezTo>
                      <a:pt x="19" y="1471"/>
                      <a:pt x="38" y="1481"/>
                      <a:pt x="57" y="1481"/>
                    </a:cubicBezTo>
                    <a:cubicBezTo>
                      <a:pt x="1641" y="1481"/>
                      <a:pt x="1641" y="1481"/>
                      <a:pt x="1641" y="1481"/>
                    </a:cubicBezTo>
                    <a:cubicBezTo>
                      <a:pt x="1671" y="1481"/>
                      <a:pt x="1696" y="1456"/>
                      <a:pt x="1696" y="1426"/>
                    </a:cubicBezTo>
                    <a:cubicBezTo>
                      <a:pt x="1696" y="1414"/>
                      <a:pt x="1692" y="1404"/>
                      <a:pt x="1687" y="1395"/>
                    </a:cubicBezTo>
                    <a:lnTo>
                      <a:pt x="896" y="27"/>
                    </a:lnTo>
                    <a:close/>
                    <a:moveTo>
                      <a:pt x="151" y="1372"/>
                    </a:moveTo>
                    <a:cubicBezTo>
                      <a:pt x="849" y="163"/>
                      <a:pt x="849" y="163"/>
                      <a:pt x="849" y="163"/>
                    </a:cubicBezTo>
                    <a:cubicBezTo>
                      <a:pt x="1547" y="1372"/>
                      <a:pt x="1547" y="1372"/>
                      <a:pt x="1547" y="1372"/>
                    </a:cubicBezTo>
                    <a:lnTo>
                      <a:pt x="151" y="1372"/>
                    </a:lnTo>
                    <a:close/>
                    <a:moveTo>
                      <a:pt x="151" y="1372"/>
                    </a:moveTo>
                    <a:cubicBezTo>
                      <a:pt x="151" y="1372"/>
                      <a:pt x="151" y="1372"/>
                      <a:pt x="151" y="13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93" name="Freeform 6">
                <a:extLst>
                  <a:ext uri="{FF2B5EF4-FFF2-40B4-BE49-F238E27FC236}">
                    <a16:creationId xmlns="" xmlns:a16="http://schemas.microsoft.com/office/drawing/2014/main" id="{AE369B34-2176-458A-B6AC-AA0BBE393D5C}"/>
                  </a:ext>
                </a:extLst>
              </p:cNvPr>
              <p:cNvSpPr>
                <a:spLocks noEditPoints="1"/>
              </p:cNvSpPr>
              <p:nvPr/>
            </p:nvSpPr>
            <p:spPr bwMode="auto">
              <a:xfrm>
                <a:off x="2119" y="1293"/>
                <a:ext cx="291" cy="1406"/>
              </a:xfrm>
              <a:custGeom>
                <a:avLst/>
                <a:gdLst>
                  <a:gd name="T0" fmla="*/ 0 w 109"/>
                  <a:gd name="T1" fmla="*/ 55 h 526"/>
                  <a:gd name="T2" fmla="*/ 0 w 109"/>
                  <a:gd name="T3" fmla="*/ 472 h 526"/>
                  <a:gd name="T4" fmla="*/ 54 w 109"/>
                  <a:gd name="T5" fmla="*/ 526 h 526"/>
                  <a:gd name="T6" fmla="*/ 109 w 109"/>
                  <a:gd name="T7" fmla="*/ 472 h 526"/>
                  <a:gd name="T8" fmla="*/ 109 w 109"/>
                  <a:gd name="T9" fmla="*/ 55 h 526"/>
                  <a:gd name="T10" fmla="*/ 54 w 109"/>
                  <a:gd name="T11" fmla="*/ 0 h 526"/>
                  <a:gd name="T12" fmla="*/ 0 w 109"/>
                  <a:gd name="T13" fmla="*/ 55 h 526"/>
                  <a:gd name="T14" fmla="*/ 0 w 109"/>
                  <a:gd name="T15" fmla="*/ 55 h 526"/>
                  <a:gd name="T16" fmla="*/ 0 w 109"/>
                  <a:gd name="T17" fmla="*/ 5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526">
                    <a:moveTo>
                      <a:pt x="0" y="55"/>
                    </a:moveTo>
                    <a:cubicBezTo>
                      <a:pt x="0" y="472"/>
                      <a:pt x="0" y="472"/>
                      <a:pt x="0" y="472"/>
                    </a:cubicBezTo>
                    <a:cubicBezTo>
                      <a:pt x="0" y="502"/>
                      <a:pt x="24" y="526"/>
                      <a:pt x="54" y="526"/>
                    </a:cubicBezTo>
                    <a:cubicBezTo>
                      <a:pt x="84" y="526"/>
                      <a:pt x="109" y="502"/>
                      <a:pt x="109" y="472"/>
                    </a:cubicBezTo>
                    <a:cubicBezTo>
                      <a:pt x="109" y="55"/>
                      <a:pt x="109" y="55"/>
                      <a:pt x="109" y="55"/>
                    </a:cubicBezTo>
                    <a:cubicBezTo>
                      <a:pt x="109" y="25"/>
                      <a:pt x="84" y="0"/>
                      <a:pt x="54" y="0"/>
                    </a:cubicBezTo>
                    <a:cubicBezTo>
                      <a:pt x="24" y="0"/>
                      <a:pt x="0" y="25"/>
                      <a:pt x="0" y="55"/>
                    </a:cubicBezTo>
                    <a:close/>
                    <a:moveTo>
                      <a:pt x="0" y="55"/>
                    </a:moveTo>
                    <a:cubicBezTo>
                      <a:pt x="0" y="55"/>
                      <a:pt x="0" y="55"/>
                      <a:pt x="0"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94" name="Freeform 7">
                <a:extLst>
                  <a:ext uri="{FF2B5EF4-FFF2-40B4-BE49-F238E27FC236}">
                    <a16:creationId xmlns="" xmlns:a16="http://schemas.microsoft.com/office/drawing/2014/main" id="{39A661BB-6F04-415C-B420-5B85810936FC}"/>
                  </a:ext>
                </a:extLst>
              </p:cNvPr>
              <p:cNvSpPr>
                <a:spLocks noEditPoints="1"/>
              </p:cNvSpPr>
              <p:nvPr/>
            </p:nvSpPr>
            <p:spPr bwMode="auto">
              <a:xfrm>
                <a:off x="2119" y="2894"/>
                <a:ext cx="291" cy="387"/>
              </a:xfrm>
              <a:custGeom>
                <a:avLst/>
                <a:gdLst>
                  <a:gd name="T0" fmla="*/ 54 w 109"/>
                  <a:gd name="T1" fmla="*/ 0 h 145"/>
                  <a:gd name="T2" fmla="*/ 0 w 109"/>
                  <a:gd name="T3" fmla="*/ 54 h 145"/>
                  <a:gd name="T4" fmla="*/ 0 w 109"/>
                  <a:gd name="T5" fmla="*/ 90 h 145"/>
                  <a:gd name="T6" fmla="*/ 54 w 109"/>
                  <a:gd name="T7" fmla="*/ 145 h 145"/>
                  <a:gd name="T8" fmla="*/ 109 w 109"/>
                  <a:gd name="T9" fmla="*/ 90 h 145"/>
                  <a:gd name="T10" fmla="*/ 109 w 109"/>
                  <a:gd name="T11" fmla="*/ 54 h 145"/>
                  <a:gd name="T12" fmla="*/ 54 w 109"/>
                  <a:gd name="T13" fmla="*/ 0 h 145"/>
                  <a:gd name="T14" fmla="*/ 54 w 109"/>
                  <a:gd name="T15" fmla="*/ 0 h 145"/>
                  <a:gd name="T16" fmla="*/ 54 w 109"/>
                  <a:gd name="T1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145">
                    <a:moveTo>
                      <a:pt x="54" y="0"/>
                    </a:moveTo>
                    <a:cubicBezTo>
                      <a:pt x="24" y="0"/>
                      <a:pt x="0" y="24"/>
                      <a:pt x="0" y="54"/>
                    </a:cubicBezTo>
                    <a:cubicBezTo>
                      <a:pt x="0" y="90"/>
                      <a:pt x="0" y="90"/>
                      <a:pt x="0" y="90"/>
                    </a:cubicBezTo>
                    <a:cubicBezTo>
                      <a:pt x="0" y="120"/>
                      <a:pt x="24" y="145"/>
                      <a:pt x="54" y="145"/>
                    </a:cubicBezTo>
                    <a:cubicBezTo>
                      <a:pt x="84" y="145"/>
                      <a:pt x="109" y="120"/>
                      <a:pt x="109" y="90"/>
                    </a:cubicBezTo>
                    <a:cubicBezTo>
                      <a:pt x="109" y="54"/>
                      <a:pt x="109" y="54"/>
                      <a:pt x="109" y="54"/>
                    </a:cubicBezTo>
                    <a:cubicBezTo>
                      <a:pt x="109" y="24"/>
                      <a:pt x="84" y="0"/>
                      <a:pt x="54" y="0"/>
                    </a:cubicBezTo>
                    <a:close/>
                    <a:moveTo>
                      <a:pt x="54" y="0"/>
                    </a:moveTo>
                    <a:cubicBezTo>
                      <a:pt x="54" y="0"/>
                      <a:pt x="54" y="0"/>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cxnSp>
          <p:nvCxnSpPr>
            <p:cNvPr id="211" name="Straight Connector 210">
              <a:extLst>
                <a:ext uri="{FF2B5EF4-FFF2-40B4-BE49-F238E27FC236}">
                  <a16:creationId xmlns="" xmlns:a16="http://schemas.microsoft.com/office/drawing/2014/main" id="{30E428EA-5C8E-45A3-BD27-839E68B1E6C0}"/>
                </a:ext>
              </a:extLst>
            </p:cNvPr>
            <p:cNvCxnSpPr>
              <a:cxnSpLocks/>
            </p:cNvCxnSpPr>
            <p:nvPr/>
          </p:nvCxnSpPr>
          <p:spPr>
            <a:xfrm>
              <a:off x="1008013" y="6498560"/>
              <a:ext cx="186556"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 xmlns:a16="http://schemas.microsoft.com/office/drawing/2014/main" id="{8F5756E1-05E2-4D32-B8B5-51B2184AE3BB}"/>
                </a:ext>
              </a:extLst>
            </p:cNvPr>
            <p:cNvCxnSpPr>
              <a:cxnSpLocks/>
            </p:cNvCxnSpPr>
            <p:nvPr/>
          </p:nvCxnSpPr>
          <p:spPr>
            <a:xfrm>
              <a:off x="2548835" y="6490506"/>
              <a:ext cx="186556" cy="0"/>
            </a:xfrm>
            <a:prstGeom prst="line">
              <a:avLst/>
            </a:prstGeom>
            <a:ln w="571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91" name="Rectangle 290">
            <a:extLst>
              <a:ext uri="{FF2B5EF4-FFF2-40B4-BE49-F238E27FC236}">
                <a16:creationId xmlns="" xmlns:a16="http://schemas.microsoft.com/office/drawing/2014/main" id="{1F99BC09-AC26-465A-BC03-BCAE475C0FF2}"/>
              </a:ext>
            </a:extLst>
          </p:cNvPr>
          <p:cNvSpPr/>
          <p:nvPr/>
        </p:nvSpPr>
        <p:spPr>
          <a:xfrm>
            <a:off x="9402797" y="4423898"/>
            <a:ext cx="2235327" cy="1517244"/>
          </a:xfrm>
          <a:prstGeom prst="rect">
            <a:avLst/>
          </a:prstGeom>
          <a:solidFill>
            <a:srgbClr val="F26926">
              <a:alpha val="9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PT" dirty="0"/>
          </a:p>
        </p:txBody>
      </p:sp>
      <p:sp>
        <p:nvSpPr>
          <p:cNvPr id="271" name="Rectangle 270">
            <a:extLst>
              <a:ext uri="{FF2B5EF4-FFF2-40B4-BE49-F238E27FC236}">
                <a16:creationId xmlns="" xmlns:a16="http://schemas.microsoft.com/office/drawing/2014/main" id="{32B969B4-4114-417E-BA4D-8FB6E48EFB20}"/>
              </a:ext>
            </a:extLst>
          </p:cNvPr>
          <p:cNvSpPr/>
          <p:nvPr/>
        </p:nvSpPr>
        <p:spPr>
          <a:xfrm>
            <a:off x="7263587" y="4426462"/>
            <a:ext cx="1624605" cy="1514680"/>
          </a:xfrm>
          <a:prstGeom prst="rect">
            <a:avLst/>
          </a:prstGeom>
          <a:solidFill>
            <a:srgbClr val="F26926">
              <a:alpha val="9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PT" dirty="0"/>
          </a:p>
        </p:txBody>
      </p:sp>
      <p:sp>
        <p:nvSpPr>
          <p:cNvPr id="6" name="Title 1">
            <a:extLst>
              <a:ext uri="{FF2B5EF4-FFF2-40B4-BE49-F238E27FC236}">
                <a16:creationId xmlns="" xmlns:a16="http://schemas.microsoft.com/office/drawing/2014/main" id="{7BF720EE-83FD-44BD-A97C-C947DD12B0DB}"/>
              </a:ext>
            </a:extLst>
          </p:cNvPr>
          <p:cNvSpPr txBox="1">
            <a:spLocks/>
          </p:cNvSpPr>
          <p:nvPr/>
        </p:nvSpPr>
        <p:spPr>
          <a:xfrm>
            <a:off x="1828800" y="154314"/>
            <a:ext cx="8534400" cy="68428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gn="ctr">
              <a:lnSpc>
                <a:spcPct val="85000"/>
              </a:lnSpc>
              <a:defRPr/>
            </a:pPr>
            <a:r>
              <a:rPr kumimoji="0" lang="en-US" sz="18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BD </a:t>
            </a:r>
            <a:r>
              <a:rPr lang="en-US" sz="1800" b="1" dirty="0">
                <a:solidFill>
                  <a:srgbClr val="05589C"/>
                </a:solidFill>
                <a:latin typeface="Verdana" panose="020B0604030504040204" pitchFamily="34" charset="0"/>
                <a:ea typeface="Verdana" panose="020B0604030504040204" pitchFamily="34" charset="0"/>
                <a:cs typeface="Verdana" panose="020B0604030504040204" pitchFamily="34" charset="0"/>
              </a:rPr>
              <a:t>STERILE PATH SYRINGES HAVE </a:t>
            </a:r>
            <a:r>
              <a:rPr kumimoji="0" lang="en-US" sz="18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REMAINED UNAFFECTED THROUGHOUT A MARKET HISTORY OF EXITS AND RECALLS</a:t>
            </a:r>
          </a:p>
        </p:txBody>
      </p:sp>
      <p:cxnSp>
        <p:nvCxnSpPr>
          <p:cNvPr id="67" name="Straight Connector 66">
            <a:extLst>
              <a:ext uri="{FF2B5EF4-FFF2-40B4-BE49-F238E27FC236}">
                <a16:creationId xmlns="" xmlns:a16="http://schemas.microsoft.com/office/drawing/2014/main" id="{DFF15D58-DC0D-4D4F-A7B0-B591E65F5728}"/>
              </a:ext>
            </a:extLst>
          </p:cNvPr>
          <p:cNvCxnSpPr>
            <a:cxnSpLocks/>
          </p:cNvCxnSpPr>
          <p:nvPr/>
        </p:nvCxnSpPr>
        <p:spPr>
          <a:xfrm>
            <a:off x="0" y="1520339"/>
            <a:ext cx="1219200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 xmlns:a16="http://schemas.microsoft.com/office/drawing/2014/main" id="{A3050F84-4C45-4C4D-99BD-E4CBCBD6FFE3}"/>
              </a:ext>
            </a:extLst>
          </p:cNvPr>
          <p:cNvSpPr txBox="1"/>
          <p:nvPr/>
        </p:nvSpPr>
        <p:spPr>
          <a:xfrm>
            <a:off x="4832631" y="1164847"/>
            <a:ext cx="1870086" cy="327782"/>
          </a:xfrm>
          <a:prstGeom prst="rect">
            <a:avLst/>
          </a:prstGeom>
          <a:noFill/>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pt-PT"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2004/2005</a:t>
            </a:r>
          </a:p>
        </p:txBody>
      </p:sp>
      <p:sp>
        <p:nvSpPr>
          <p:cNvPr id="84" name="TextBox 83">
            <a:extLst>
              <a:ext uri="{FF2B5EF4-FFF2-40B4-BE49-F238E27FC236}">
                <a16:creationId xmlns="" xmlns:a16="http://schemas.microsoft.com/office/drawing/2014/main" id="{A374FBAE-839B-4CFD-89C1-B2A5ACF175F6}"/>
              </a:ext>
            </a:extLst>
          </p:cNvPr>
          <p:cNvSpPr txBox="1"/>
          <p:nvPr/>
        </p:nvSpPr>
        <p:spPr>
          <a:xfrm>
            <a:off x="7279404" y="1164847"/>
            <a:ext cx="1432293" cy="327782"/>
          </a:xfrm>
          <a:prstGeom prst="rect">
            <a:avLst/>
          </a:prstGeom>
          <a:noFill/>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pt-PT"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2007</a:t>
            </a:r>
          </a:p>
        </p:txBody>
      </p:sp>
      <p:pic>
        <p:nvPicPr>
          <p:cNvPr id="124" name="Graphic 123">
            <a:extLst>
              <a:ext uri="{FF2B5EF4-FFF2-40B4-BE49-F238E27FC236}">
                <a16:creationId xmlns="" xmlns:a16="http://schemas.microsoft.com/office/drawing/2014/main" id="{890298BC-A073-4E33-8214-5B380FDFB19B}"/>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11345612" y="6490506"/>
            <a:ext cx="720740" cy="276876"/>
          </a:xfrm>
          <a:prstGeom prst="rect">
            <a:avLst/>
          </a:prstGeom>
        </p:spPr>
      </p:pic>
      <p:sp>
        <p:nvSpPr>
          <p:cNvPr id="159" name="TextBox 50">
            <a:extLst>
              <a:ext uri="{FF2B5EF4-FFF2-40B4-BE49-F238E27FC236}">
                <a16:creationId xmlns="" xmlns:a16="http://schemas.microsoft.com/office/drawing/2014/main" id="{3FA0D2E9-32FB-4F05-87EE-B8E50AFE0361}"/>
              </a:ext>
            </a:extLst>
          </p:cNvPr>
          <p:cNvSpPr txBox="1"/>
          <p:nvPr/>
        </p:nvSpPr>
        <p:spPr>
          <a:xfrm>
            <a:off x="2655576" y="1622046"/>
            <a:ext cx="1717586" cy="877163"/>
          </a:xfrm>
          <a:prstGeom prst="rect">
            <a:avLst/>
          </a:prstGeom>
          <a:noFill/>
          <a:ln>
            <a:noFill/>
          </a:ln>
        </p:spPr>
        <p:txBody>
          <a:bodyPr wrap="square" rtlCol="0">
            <a:spAutoFit/>
          </a:bodyPr>
          <a:lstStyle/>
          <a:p>
            <a:pPr marL="0" marR="0" lvl="0" indent="0" algn="l" defTabSz="914400" rtl="0" eaLnBrk="1" fontAlgn="auto" latinLnBrk="0" hangingPunct="1">
              <a:lnSpc>
                <a:spcPct val="85000"/>
              </a:lnSpc>
              <a:spcBef>
                <a:spcPts val="1200"/>
              </a:spcBef>
              <a:spcAft>
                <a:spcPts val="0"/>
              </a:spcAft>
              <a:buClr>
                <a:srgbClr val="14C0F3"/>
              </a:buClr>
              <a:buSzTx/>
              <a:buFontTx/>
              <a:buNone/>
              <a:tabLst/>
              <a:defRPr/>
            </a:pPr>
            <a:r>
              <a:rPr kumimoji="0" lang="en-US" sz="12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Recalled all </a:t>
            </a:r>
            <a:r>
              <a:rPr kumimoji="0" lang="en-US" sz="1200" b="1" i="0" u="none" strike="noStrike" kern="1200" cap="none" spc="0" normalizeH="0" baseline="0" noProof="0" dirty="0" smtClean="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pre-filled flush syringe products </a:t>
            </a:r>
            <a:r>
              <a:rPr kumimoji="0" lang="en-US" sz="12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due </a:t>
            </a:r>
            <a:r>
              <a:rPr kumimoji="0" lang="en-US" sz="1200" b="1" i="0" u="none" strike="noStrike" kern="1200" cap="none" spc="0" normalizeH="0" baseline="0" noProof="0" dirty="0" smtClean="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to </a:t>
            </a:r>
            <a:r>
              <a:rPr kumimoji="0" lang="en-US" sz="12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contamination</a:t>
            </a:r>
            <a:r>
              <a:rPr kumimoji="0" lang="en-US" sz="1200" b="1" i="0" u="none" strike="noStrike" kern="1200" cap="none" spc="0" normalizeH="0" baseline="3000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7</a:t>
            </a:r>
            <a:endParaRPr kumimoji="0" lang="en-US" sz="1200" b="0" i="0" u="none" strike="noStrike" kern="1200" cap="none" spc="0" normalizeH="0" baseline="3000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75" name="TextBox 174">
            <a:extLst>
              <a:ext uri="{FF2B5EF4-FFF2-40B4-BE49-F238E27FC236}">
                <a16:creationId xmlns="" xmlns:a16="http://schemas.microsoft.com/office/drawing/2014/main" id="{2BD602A6-D2C6-4F7D-A864-2AF8E1D3FE39}"/>
              </a:ext>
            </a:extLst>
          </p:cNvPr>
          <p:cNvSpPr txBox="1"/>
          <p:nvPr/>
        </p:nvSpPr>
        <p:spPr>
          <a:xfrm>
            <a:off x="2638789" y="1164847"/>
            <a:ext cx="1523034" cy="327782"/>
          </a:xfrm>
          <a:prstGeom prst="rect">
            <a:avLst/>
          </a:prstGeom>
          <a:noFill/>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pt-PT"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2003</a:t>
            </a:r>
          </a:p>
        </p:txBody>
      </p:sp>
      <p:pic>
        <p:nvPicPr>
          <p:cNvPr id="157" name="Picture 156">
            <a:extLst>
              <a:ext uri="{FF2B5EF4-FFF2-40B4-BE49-F238E27FC236}">
                <a16:creationId xmlns="" xmlns:a16="http://schemas.microsoft.com/office/drawing/2014/main" id="{B78DACB4-07B8-4EFA-9949-2900076C132B}"/>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b="58009"/>
          <a:stretch/>
        </p:blipFill>
        <p:spPr>
          <a:xfrm>
            <a:off x="2736240" y="920731"/>
            <a:ext cx="1010907" cy="242567"/>
          </a:xfrm>
          <a:prstGeom prst="rect">
            <a:avLst/>
          </a:prstGeom>
        </p:spPr>
      </p:pic>
      <p:grpSp>
        <p:nvGrpSpPr>
          <p:cNvPr id="12" name="Group 11">
            <a:extLst>
              <a:ext uri="{FF2B5EF4-FFF2-40B4-BE49-F238E27FC236}">
                <a16:creationId xmlns="" xmlns:a16="http://schemas.microsoft.com/office/drawing/2014/main" id="{8EE2D67C-B445-413A-B7F3-45A0ED4979C5}"/>
              </a:ext>
            </a:extLst>
          </p:cNvPr>
          <p:cNvGrpSpPr/>
          <p:nvPr/>
        </p:nvGrpSpPr>
        <p:grpSpPr>
          <a:xfrm>
            <a:off x="4848137" y="1622046"/>
            <a:ext cx="2259093" cy="1658916"/>
            <a:chOff x="6360324" y="3456663"/>
            <a:chExt cx="2259093" cy="1658916"/>
          </a:xfrm>
        </p:grpSpPr>
        <p:sp>
          <p:nvSpPr>
            <p:cNvPr id="205" name="TextBox 50">
              <a:extLst>
                <a:ext uri="{FF2B5EF4-FFF2-40B4-BE49-F238E27FC236}">
                  <a16:creationId xmlns="" xmlns:a16="http://schemas.microsoft.com/office/drawing/2014/main" id="{51420254-A839-4D2C-A094-08BE3DE3929C}"/>
                </a:ext>
              </a:extLst>
            </p:cNvPr>
            <p:cNvSpPr txBox="1"/>
            <p:nvPr/>
          </p:nvSpPr>
          <p:spPr>
            <a:xfrm>
              <a:off x="6360324" y="3456663"/>
              <a:ext cx="2259093" cy="1658916"/>
            </a:xfrm>
            <a:prstGeom prst="rect">
              <a:avLst/>
            </a:prstGeom>
            <a:noFill/>
            <a:ln>
              <a:noFill/>
            </a:ln>
          </p:spPr>
          <p:txBody>
            <a:bodyPr wrap="square" rtlCol="0">
              <a:spAutoFit/>
            </a:bodyPr>
            <a:lstStyle/>
            <a:p>
              <a:pPr marL="0" marR="0" lvl="0" indent="0" algn="l" defTabSz="914400" rtl="0" eaLnBrk="1" fontAlgn="auto" latinLnBrk="0" hangingPunct="1">
                <a:lnSpc>
                  <a:spcPct val="85000"/>
                </a:lnSpc>
                <a:spcBef>
                  <a:spcPts val="1200"/>
                </a:spcBef>
                <a:spcAft>
                  <a:spcPts val="0"/>
                </a:spcAft>
                <a:buClr>
                  <a:srgbClr val="14C0F3"/>
                </a:buClr>
                <a:buSzTx/>
                <a:buFontTx/>
                <a:buNone/>
                <a:tabLst/>
                <a:defRPr/>
              </a:pPr>
              <a:r>
                <a:rPr kumimoji="0" lang="en-US" sz="12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Class 1 Recall by FDA </a:t>
              </a:r>
              <a:br>
                <a:rPr kumimoji="0" lang="en-US" sz="12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due to device marketed without 510k clearance and is suspected to be contaminated with P. </a:t>
              </a:r>
              <a:r>
                <a:rPr kumimoji="0" lang="en-US" sz="12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Fluorescens</a:t>
              </a:r>
              <a:endPar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85000"/>
                </a:lnSpc>
                <a:spcBef>
                  <a:spcPts val="1200"/>
                </a:spcBef>
                <a:spcAft>
                  <a:spcPts val="0"/>
                </a:spcAft>
                <a:buClr>
                  <a:srgbClr val="14C0F3"/>
                </a:buClr>
                <a:buSzTx/>
                <a:buFontTx/>
                <a:buNone/>
                <a:tabLst/>
                <a:defRPr/>
              </a:pPr>
              <a:r>
                <a:rPr kumimoji="0" lang="en-US" sz="12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36 cases </a:t>
              </a: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of rapid and </a:t>
              </a:r>
              <a:b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delayed-onset P. </a:t>
              </a:r>
              <a:r>
                <a:rPr kumimoji="0" lang="en-US" sz="12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Fluorescens</a:t>
              </a: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in 4 states</a:t>
              </a:r>
              <a:r>
                <a:rPr kumimoji="0" lang="en-US" sz="1200" b="0" i="0" u="none" strike="noStrike" kern="1200" cap="none" spc="0" normalizeH="0" baseline="3000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7</a:t>
              </a:r>
            </a:p>
          </p:txBody>
        </p:sp>
        <p:cxnSp>
          <p:nvCxnSpPr>
            <p:cNvPr id="207" name="Straight Connector 206">
              <a:extLst>
                <a:ext uri="{FF2B5EF4-FFF2-40B4-BE49-F238E27FC236}">
                  <a16:creationId xmlns="" xmlns:a16="http://schemas.microsoft.com/office/drawing/2014/main" id="{E2C8952D-42D7-4540-B2F7-F8BBD8AE73DB}"/>
                </a:ext>
              </a:extLst>
            </p:cNvPr>
            <p:cNvCxnSpPr>
              <a:cxnSpLocks/>
            </p:cNvCxnSpPr>
            <p:nvPr/>
          </p:nvCxnSpPr>
          <p:spPr>
            <a:xfrm>
              <a:off x="6459156" y="4503770"/>
              <a:ext cx="192365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13" name="Rectangle 33">
            <a:extLst>
              <a:ext uri="{FF2B5EF4-FFF2-40B4-BE49-F238E27FC236}">
                <a16:creationId xmlns="" xmlns:a16="http://schemas.microsoft.com/office/drawing/2014/main" id="{7EC82490-618C-409E-96BC-391C02121433}"/>
              </a:ext>
            </a:extLst>
          </p:cNvPr>
          <p:cNvSpPr>
            <a:spLocks noChangeArrowheads="1"/>
          </p:cNvSpPr>
          <p:nvPr/>
        </p:nvSpPr>
        <p:spPr bwMode="auto">
          <a:xfrm>
            <a:off x="4813606" y="873119"/>
            <a:ext cx="1538540" cy="338554"/>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a:spcBef>
                <a:spcPct val="20000"/>
              </a:spcBef>
              <a:buClr>
                <a:srgbClr val="61A0D7"/>
              </a:buClr>
              <a:buFont typeface="Arial" charset="0"/>
              <a:buChar char="•"/>
              <a:defRPr sz="3200" b="1">
                <a:solidFill>
                  <a:srgbClr val="595959"/>
                </a:solidFill>
                <a:latin typeface="Calibri" pitchFamily="34" charset="0"/>
                <a:ea typeface="ＭＳ Ｐゴシック" pitchFamily="34" charset="-128"/>
                <a:cs typeface="Calibri" pitchFamily="34" charset="0"/>
              </a:defRPr>
            </a:lvl1pPr>
            <a:lvl2pPr marL="742950" indent="-285750">
              <a:spcBef>
                <a:spcPct val="20000"/>
              </a:spcBef>
              <a:buClr>
                <a:srgbClr val="61A0D7"/>
              </a:buClr>
              <a:buFont typeface="Arial" charset="0"/>
              <a:buChar char="–"/>
              <a:defRPr sz="2800">
                <a:solidFill>
                  <a:srgbClr val="595959"/>
                </a:solidFill>
                <a:latin typeface="Calibri" pitchFamily="34" charset="0"/>
                <a:ea typeface="ＭＳ Ｐゴシック" pitchFamily="34" charset="-128"/>
              </a:defRPr>
            </a:lvl2pPr>
            <a:lvl3pPr marL="1143000" indent="-228600">
              <a:spcBef>
                <a:spcPct val="20000"/>
              </a:spcBef>
              <a:buClr>
                <a:srgbClr val="61A0D7"/>
              </a:buClr>
              <a:buFont typeface="Arial" charset="0"/>
              <a:buChar char="•"/>
              <a:defRPr sz="2400">
                <a:solidFill>
                  <a:srgbClr val="595959"/>
                </a:solidFill>
                <a:latin typeface="Calibri" pitchFamily="34" charset="0"/>
                <a:ea typeface="ＭＳ Ｐゴシック" pitchFamily="34" charset="-128"/>
              </a:defRPr>
            </a:lvl3pPr>
            <a:lvl4pPr marL="16002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4pPr>
            <a:lvl5pPr marL="20574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9pPr>
          </a:lstStyle>
          <a:p>
            <a:pPr marL="0" marR="0" lvl="0" indent="0" algn="ctr" defTabSz="457200" rtl="0" eaLnBrk="0" fontAlgn="base" latinLnBrk="0" hangingPunct="0">
              <a:lnSpc>
                <a:spcPct val="100000"/>
              </a:lnSpc>
              <a:spcBef>
                <a:spcPct val="0"/>
              </a:spcBef>
              <a:spcAft>
                <a:spcPct val="0"/>
              </a:spcAft>
              <a:buClrTx/>
              <a:buSzTx/>
              <a:buFont typeface="Arial" charset="0"/>
              <a:buNone/>
              <a:tabLst/>
              <a:defRPr/>
            </a:pPr>
            <a:r>
              <a:rPr kumimoji="0" lang="en-US" altLang="en-US" sz="1600" b="1" i="0" u="none" strike="noStrike" kern="1200" cap="none" spc="0" normalizeH="0" baseline="0" noProof="0" dirty="0">
                <a:ln>
                  <a:noFill/>
                </a:ln>
                <a:solidFill>
                  <a:srgbClr val="404041"/>
                </a:solidFill>
                <a:effectLst/>
                <a:uLnTx/>
                <a:uFillTx/>
                <a:latin typeface="Arial" charset="0"/>
                <a:ea typeface="ＭＳ Ｐゴシック" pitchFamily="34" charset="-128"/>
              </a:rPr>
              <a:t>IV Flush, LLC</a:t>
            </a:r>
          </a:p>
        </p:txBody>
      </p:sp>
      <p:pic>
        <p:nvPicPr>
          <p:cNvPr id="215" name="Picture 54" descr="logo">
            <a:extLst>
              <a:ext uri="{FF2B5EF4-FFF2-40B4-BE49-F238E27FC236}">
                <a16:creationId xmlns="" xmlns:a16="http://schemas.microsoft.com/office/drawing/2014/main" id="{4542A2A6-103A-4C00-B894-BC67B6D6ACC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4706" t="1" r="39412" b="48551"/>
          <a:stretch/>
        </p:blipFill>
        <p:spPr bwMode="auto">
          <a:xfrm>
            <a:off x="7346652" y="933758"/>
            <a:ext cx="1044452" cy="179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6" name="TextBox 50">
            <a:extLst>
              <a:ext uri="{FF2B5EF4-FFF2-40B4-BE49-F238E27FC236}">
                <a16:creationId xmlns="" xmlns:a16="http://schemas.microsoft.com/office/drawing/2014/main" id="{13B3DD7D-2889-4280-B424-ABE39663679C}"/>
              </a:ext>
            </a:extLst>
          </p:cNvPr>
          <p:cNvSpPr txBox="1"/>
          <p:nvPr/>
        </p:nvSpPr>
        <p:spPr>
          <a:xfrm>
            <a:off x="7288418" y="1622046"/>
            <a:ext cx="1971996" cy="1818959"/>
          </a:xfrm>
          <a:prstGeom prst="rect">
            <a:avLst/>
          </a:prstGeom>
          <a:noFill/>
          <a:ln>
            <a:noFill/>
          </a:ln>
        </p:spPr>
        <p:txBody>
          <a:bodyPr wrap="square" rtlCol="0">
            <a:spAutoFit/>
          </a:bodyPr>
          <a:lstStyle/>
          <a:p>
            <a:pPr marL="0" marR="0" lvl="0" indent="0" algn="l" defTabSz="914400" rtl="0" eaLnBrk="1" fontAlgn="auto" latinLnBrk="0" hangingPunct="1">
              <a:lnSpc>
                <a:spcPct val="85000"/>
              </a:lnSpc>
              <a:spcBef>
                <a:spcPts val="1200"/>
              </a:spcBef>
              <a:spcAft>
                <a:spcPts val="0"/>
              </a:spcAft>
              <a:buClr>
                <a:srgbClr val="14C0F3"/>
              </a:buClr>
              <a:buSzTx/>
              <a:buFontTx/>
              <a:buNone/>
              <a:tabLst/>
              <a:defRPr/>
            </a:pPr>
            <a:r>
              <a:rPr kumimoji="0" lang="en-US" sz="12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1.3 million saline flush syringes recalled </a:t>
            </a: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due to silicone particles floating in the fluid, which may have resulted in phlebitis and/or damage to </a:t>
            </a:r>
            <a:b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vital organs such </a:t>
            </a:r>
            <a:b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as the brain, </a:t>
            </a:r>
            <a:b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kidneys and </a:t>
            </a:r>
            <a:r>
              <a:rPr kumimoji="0" lang="en-US" sz="1200" b="0" i="0" u="none" strike="noStrike" kern="1200" cap="none" spc="0" normalizeH="0" baseline="0" noProof="0" dirty="0" smtClean="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heart</a:t>
            </a:r>
            <a:r>
              <a:rPr lang="en-US" sz="1200" baseline="30000" dirty="0" smtClean="0">
                <a:solidFill>
                  <a:srgbClr val="404041"/>
                </a:solidFill>
                <a:latin typeface="Verdana" panose="020B0604030504040204" pitchFamily="34" charset="0"/>
                <a:ea typeface="Verdana" panose="020B0604030504040204" pitchFamily="34" charset="0"/>
                <a:cs typeface="Verdana" panose="020B0604030504040204" pitchFamily="34" charset="0"/>
              </a:rPr>
              <a:t>20</a:t>
            </a:r>
            <a:endParaRPr kumimoji="0" lang="en-US" sz="1200" b="0" i="0" u="none" strike="noStrike" kern="1200" cap="none" spc="0" normalizeH="0" baseline="3000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179" name="Straight Connector 178">
            <a:extLst>
              <a:ext uri="{FF2B5EF4-FFF2-40B4-BE49-F238E27FC236}">
                <a16:creationId xmlns="" xmlns:a16="http://schemas.microsoft.com/office/drawing/2014/main" id="{0569B6DC-2CE9-44F5-9CCC-6866DB2B6EB2}"/>
              </a:ext>
            </a:extLst>
          </p:cNvPr>
          <p:cNvCxnSpPr>
            <a:cxnSpLocks/>
          </p:cNvCxnSpPr>
          <p:nvPr/>
        </p:nvCxnSpPr>
        <p:spPr>
          <a:xfrm>
            <a:off x="4946123" y="1520339"/>
            <a:ext cx="986365" cy="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 xmlns:a16="http://schemas.microsoft.com/office/drawing/2014/main" id="{65C91D5E-A28C-4E00-83D7-E7CF28B2D650}"/>
              </a:ext>
            </a:extLst>
          </p:cNvPr>
          <p:cNvCxnSpPr>
            <a:cxnSpLocks/>
          </p:cNvCxnSpPr>
          <p:nvPr/>
        </p:nvCxnSpPr>
        <p:spPr>
          <a:xfrm>
            <a:off x="7384523" y="1520339"/>
            <a:ext cx="986365" cy="0"/>
          </a:xfrm>
          <a:prstGeom prst="line">
            <a:avLst/>
          </a:prstGeom>
          <a:ln w="57150">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 xmlns:a16="http://schemas.microsoft.com/office/drawing/2014/main" id="{7F438915-23B5-4292-A5A3-01C05AC958B0}"/>
              </a:ext>
            </a:extLst>
          </p:cNvPr>
          <p:cNvCxnSpPr>
            <a:cxnSpLocks/>
          </p:cNvCxnSpPr>
          <p:nvPr/>
        </p:nvCxnSpPr>
        <p:spPr>
          <a:xfrm>
            <a:off x="2752062" y="1520339"/>
            <a:ext cx="986365"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 xmlns:a16="http://schemas.microsoft.com/office/drawing/2014/main" id="{6A1A9A4E-79C2-4D77-913E-EA61CF247A79}"/>
              </a:ext>
            </a:extLst>
          </p:cNvPr>
          <p:cNvGrpSpPr/>
          <p:nvPr/>
        </p:nvGrpSpPr>
        <p:grpSpPr>
          <a:xfrm>
            <a:off x="-51182" y="6019800"/>
            <a:ext cx="12243181" cy="276999"/>
            <a:chOff x="-51182" y="5652692"/>
            <a:chExt cx="12243181" cy="355231"/>
          </a:xfrm>
        </p:grpSpPr>
        <p:sp>
          <p:nvSpPr>
            <p:cNvPr id="221" name="Rectangle 220">
              <a:extLst>
                <a:ext uri="{FF2B5EF4-FFF2-40B4-BE49-F238E27FC236}">
                  <a16:creationId xmlns="" xmlns:a16="http://schemas.microsoft.com/office/drawing/2014/main" id="{565FDE31-96E3-476C-AD83-90DDEB5E5540}"/>
                </a:ext>
              </a:extLst>
            </p:cNvPr>
            <p:cNvSpPr/>
            <p:nvPr/>
          </p:nvSpPr>
          <p:spPr>
            <a:xfrm>
              <a:off x="-51182" y="5660726"/>
              <a:ext cx="12243181" cy="291708"/>
            </a:xfrm>
            <a:prstGeom prst="rect">
              <a:avLst/>
            </a:prstGeom>
            <a:solidFill>
              <a:srgbClr val="E4E5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8" name="Rectangle 217">
              <a:extLst>
                <a:ext uri="{FF2B5EF4-FFF2-40B4-BE49-F238E27FC236}">
                  <a16:creationId xmlns="" xmlns:a16="http://schemas.microsoft.com/office/drawing/2014/main" id="{B90EB29C-F28D-42BF-BA88-622C792215E6}"/>
                </a:ext>
              </a:extLst>
            </p:cNvPr>
            <p:cNvSpPr/>
            <p:nvPr/>
          </p:nvSpPr>
          <p:spPr>
            <a:xfrm>
              <a:off x="3856021" y="5652692"/>
              <a:ext cx="4141134" cy="35523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4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SSUE – SUPPORTING EVIDENCE</a:t>
              </a:r>
            </a:p>
          </p:txBody>
        </p:sp>
      </p:grpSp>
      <p:grpSp>
        <p:nvGrpSpPr>
          <p:cNvPr id="85" name="Group 84">
            <a:extLst>
              <a:ext uri="{FF2B5EF4-FFF2-40B4-BE49-F238E27FC236}">
                <a16:creationId xmlns="" xmlns:a16="http://schemas.microsoft.com/office/drawing/2014/main" id="{FCAE05C5-B8FD-4358-934F-016B336E810D}"/>
              </a:ext>
            </a:extLst>
          </p:cNvPr>
          <p:cNvGrpSpPr/>
          <p:nvPr/>
        </p:nvGrpSpPr>
        <p:grpSpPr>
          <a:xfrm>
            <a:off x="6880004" y="869181"/>
            <a:ext cx="345600" cy="345600"/>
            <a:chOff x="9670612" y="958287"/>
            <a:chExt cx="638664" cy="638664"/>
          </a:xfrm>
        </p:grpSpPr>
        <p:sp>
          <p:nvSpPr>
            <p:cNvPr id="289" name="Oval 288">
              <a:extLst>
                <a:ext uri="{FF2B5EF4-FFF2-40B4-BE49-F238E27FC236}">
                  <a16:creationId xmlns="" xmlns:a16="http://schemas.microsoft.com/office/drawing/2014/main" id="{267B9887-B0DD-47C5-B726-D48CE3F0291A}"/>
                </a:ext>
              </a:extLst>
            </p:cNvPr>
            <p:cNvSpPr/>
            <p:nvPr/>
          </p:nvSpPr>
          <p:spPr>
            <a:xfrm>
              <a:off x="9670612" y="958287"/>
              <a:ext cx="638664" cy="638664"/>
            </a:xfrm>
            <a:prstGeom prst="ellipse">
              <a:avLst/>
            </a:prstGeom>
            <a:solidFill>
              <a:srgbClr val="055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78" name="Group 4">
              <a:extLst>
                <a:ext uri="{FF2B5EF4-FFF2-40B4-BE49-F238E27FC236}">
                  <a16:creationId xmlns="" xmlns:a16="http://schemas.microsoft.com/office/drawing/2014/main" id="{EA576CD1-2FD4-431D-ABF8-CC69518395FA}"/>
                </a:ext>
              </a:extLst>
            </p:cNvPr>
            <p:cNvGrpSpPr>
              <a:grpSpLocks noChangeAspect="1"/>
            </p:cNvGrpSpPr>
            <p:nvPr/>
          </p:nvGrpSpPr>
          <p:grpSpPr bwMode="auto">
            <a:xfrm>
              <a:off x="9843355" y="1114574"/>
              <a:ext cx="309924" cy="270782"/>
              <a:chOff x="-1" y="3"/>
              <a:chExt cx="4529" cy="3957"/>
            </a:xfrm>
            <a:solidFill>
              <a:schemeClr val="bg1"/>
            </a:solidFill>
          </p:grpSpPr>
          <p:sp>
            <p:nvSpPr>
              <p:cNvPr id="80" name="Freeform 5">
                <a:extLst>
                  <a:ext uri="{FF2B5EF4-FFF2-40B4-BE49-F238E27FC236}">
                    <a16:creationId xmlns="" xmlns:a16="http://schemas.microsoft.com/office/drawing/2014/main" id="{97CBE80B-56E0-4B3E-A2EC-782BF8002FF4}"/>
                  </a:ext>
                </a:extLst>
              </p:cNvPr>
              <p:cNvSpPr>
                <a:spLocks noEditPoints="1"/>
              </p:cNvSpPr>
              <p:nvPr/>
            </p:nvSpPr>
            <p:spPr bwMode="auto">
              <a:xfrm>
                <a:off x="-1" y="3"/>
                <a:ext cx="4529" cy="3957"/>
              </a:xfrm>
              <a:custGeom>
                <a:avLst/>
                <a:gdLst>
                  <a:gd name="T0" fmla="*/ 896 w 1696"/>
                  <a:gd name="T1" fmla="*/ 27 h 1481"/>
                  <a:gd name="T2" fmla="*/ 849 w 1696"/>
                  <a:gd name="T3" fmla="*/ 0 h 1481"/>
                  <a:gd name="T4" fmla="*/ 802 w 1696"/>
                  <a:gd name="T5" fmla="*/ 27 h 1481"/>
                  <a:gd name="T6" fmla="*/ 9 w 1696"/>
                  <a:gd name="T7" fmla="*/ 1399 h 1481"/>
                  <a:gd name="T8" fmla="*/ 9 w 1696"/>
                  <a:gd name="T9" fmla="*/ 1453 h 1481"/>
                  <a:gd name="T10" fmla="*/ 57 w 1696"/>
                  <a:gd name="T11" fmla="*/ 1481 h 1481"/>
                  <a:gd name="T12" fmla="*/ 1641 w 1696"/>
                  <a:gd name="T13" fmla="*/ 1481 h 1481"/>
                  <a:gd name="T14" fmla="*/ 1696 w 1696"/>
                  <a:gd name="T15" fmla="*/ 1426 h 1481"/>
                  <a:gd name="T16" fmla="*/ 1687 w 1696"/>
                  <a:gd name="T17" fmla="*/ 1395 h 1481"/>
                  <a:gd name="T18" fmla="*/ 896 w 1696"/>
                  <a:gd name="T19" fmla="*/ 27 h 1481"/>
                  <a:gd name="T20" fmla="*/ 151 w 1696"/>
                  <a:gd name="T21" fmla="*/ 1372 h 1481"/>
                  <a:gd name="T22" fmla="*/ 849 w 1696"/>
                  <a:gd name="T23" fmla="*/ 163 h 1481"/>
                  <a:gd name="T24" fmla="*/ 1547 w 1696"/>
                  <a:gd name="T25" fmla="*/ 1372 h 1481"/>
                  <a:gd name="T26" fmla="*/ 151 w 1696"/>
                  <a:gd name="T27" fmla="*/ 1372 h 1481"/>
                  <a:gd name="T28" fmla="*/ 151 w 1696"/>
                  <a:gd name="T29" fmla="*/ 1372 h 1481"/>
                  <a:gd name="T30" fmla="*/ 151 w 1696"/>
                  <a:gd name="T31" fmla="*/ 1372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6" h="1481">
                    <a:moveTo>
                      <a:pt x="896" y="27"/>
                    </a:moveTo>
                    <a:cubicBezTo>
                      <a:pt x="886" y="10"/>
                      <a:pt x="868" y="0"/>
                      <a:pt x="849" y="0"/>
                    </a:cubicBezTo>
                    <a:cubicBezTo>
                      <a:pt x="830" y="0"/>
                      <a:pt x="812" y="10"/>
                      <a:pt x="802" y="27"/>
                    </a:cubicBezTo>
                    <a:cubicBezTo>
                      <a:pt x="9" y="1399"/>
                      <a:pt x="9" y="1399"/>
                      <a:pt x="9" y="1399"/>
                    </a:cubicBezTo>
                    <a:cubicBezTo>
                      <a:pt x="0" y="1416"/>
                      <a:pt x="0" y="1436"/>
                      <a:pt x="9" y="1453"/>
                    </a:cubicBezTo>
                    <a:cubicBezTo>
                      <a:pt x="19" y="1471"/>
                      <a:pt x="38" y="1481"/>
                      <a:pt x="57" y="1481"/>
                    </a:cubicBezTo>
                    <a:cubicBezTo>
                      <a:pt x="1641" y="1481"/>
                      <a:pt x="1641" y="1481"/>
                      <a:pt x="1641" y="1481"/>
                    </a:cubicBezTo>
                    <a:cubicBezTo>
                      <a:pt x="1671" y="1481"/>
                      <a:pt x="1696" y="1456"/>
                      <a:pt x="1696" y="1426"/>
                    </a:cubicBezTo>
                    <a:cubicBezTo>
                      <a:pt x="1696" y="1414"/>
                      <a:pt x="1692" y="1404"/>
                      <a:pt x="1687" y="1395"/>
                    </a:cubicBezTo>
                    <a:lnTo>
                      <a:pt x="896" y="27"/>
                    </a:lnTo>
                    <a:close/>
                    <a:moveTo>
                      <a:pt x="151" y="1372"/>
                    </a:moveTo>
                    <a:cubicBezTo>
                      <a:pt x="849" y="163"/>
                      <a:pt x="849" y="163"/>
                      <a:pt x="849" y="163"/>
                    </a:cubicBezTo>
                    <a:cubicBezTo>
                      <a:pt x="1547" y="1372"/>
                      <a:pt x="1547" y="1372"/>
                      <a:pt x="1547" y="1372"/>
                    </a:cubicBezTo>
                    <a:lnTo>
                      <a:pt x="151" y="1372"/>
                    </a:lnTo>
                    <a:close/>
                    <a:moveTo>
                      <a:pt x="151" y="1372"/>
                    </a:moveTo>
                    <a:cubicBezTo>
                      <a:pt x="151" y="1372"/>
                      <a:pt x="151" y="1372"/>
                      <a:pt x="151" y="13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82" name="Freeform 6">
                <a:extLst>
                  <a:ext uri="{FF2B5EF4-FFF2-40B4-BE49-F238E27FC236}">
                    <a16:creationId xmlns="" xmlns:a16="http://schemas.microsoft.com/office/drawing/2014/main" id="{0AF2FE37-4E02-4F87-902D-8C4F22EA2C68}"/>
                  </a:ext>
                </a:extLst>
              </p:cNvPr>
              <p:cNvSpPr>
                <a:spLocks noEditPoints="1"/>
              </p:cNvSpPr>
              <p:nvPr/>
            </p:nvSpPr>
            <p:spPr bwMode="auto">
              <a:xfrm>
                <a:off x="2119" y="1293"/>
                <a:ext cx="291" cy="1406"/>
              </a:xfrm>
              <a:custGeom>
                <a:avLst/>
                <a:gdLst>
                  <a:gd name="T0" fmla="*/ 0 w 109"/>
                  <a:gd name="T1" fmla="*/ 55 h 526"/>
                  <a:gd name="T2" fmla="*/ 0 w 109"/>
                  <a:gd name="T3" fmla="*/ 472 h 526"/>
                  <a:gd name="T4" fmla="*/ 54 w 109"/>
                  <a:gd name="T5" fmla="*/ 526 h 526"/>
                  <a:gd name="T6" fmla="*/ 109 w 109"/>
                  <a:gd name="T7" fmla="*/ 472 h 526"/>
                  <a:gd name="T8" fmla="*/ 109 w 109"/>
                  <a:gd name="T9" fmla="*/ 55 h 526"/>
                  <a:gd name="T10" fmla="*/ 54 w 109"/>
                  <a:gd name="T11" fmla="*/ 0 h 526"/>
                  <a:gd name="T12" fmla="*/ 0 w 109"/>
                  <a:gd name="T13" fmla="*/ 55 h 526"/>
                  <a:gd name="T14" fmla="*/ 0 w 109"/>
                  <a:gd name="T15" fmla="*/ 55 h 526"/>
                  <a:gd name="T16" fmla="*/ 0 w 109"/>
                  <a:gd name="T17" fmla="*/ 5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526">
                    <a:moveTo>
                      <a:pt x="0" y="55"/>
                    </a:moveTo>
                    <a:cubicBezTo>
                      <a:pt x="0" y="472"/>
                      <a:pt x="0" y="472"/>
                      <a:pt x="0" y="472"/>
                    </a:cubicBezTo>
                    <a:cubicBezTo>
                      <a:pt x="0" y="502"/>
                      <a:pt x="24" y="526"/>
                      <a:pt x="54" y="526"/>
                    </a:cubicBezTo>
                    <a:cubicBezTo>
                      <a:pt x="84" y="526"/>
                      <a:pt x="109" y="502"/>
                      <a:pt x="109" y="472"/>
                    </a:cubicBezTo>
                    <a:cubicBezTo>
                      <a:pt x="109" y="55"/>
                      <a:pt x="109" y="55"/>
                      <a:pt x="109" y="55"/>
                    </a:cubicBezTo>
                    <a:cubicBezTo>
                      <a:pt x="109" y="25"/>
                      <a:pt x="84" y="0"/>
                      <a:pt x="54" y="0"/>
                    </a:cubicBezTo>
                    <a:cubicBezTo>
                      <a:pt x="24" y="0"/>
                      <a:pt x="0" y="25"/>
                      <a:pt x="0" y="55"/>
                    </a:cubicBezTo>
                    <a:close/>
                    <a:moveTo>
                      <a:pt x="0" y="55"/>
                    </a:moveTo>
                    <a:cubicBezTo>
                      <a:pt x="0" y="55"/>
                      <a:pt x="0" y="55"/>
                      <a:pt x="0"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83" name="Freeform 7">
                <a:extLst>
                  <a:ext uri="{FF2B5EF4-FFF2-40B4-BE49-F238E27FC236}">
                    <a16:creationId xmlns="" xmlns:a16="http://schemas.microsoft.com/office/drawing/2014/main" id="{3155637C-237C-4E91-A4B6-08C0E12E8E40}"/>
                  </a:ext>
                </a:extLst>
              </p:cNvPr>
              <p:cNvSpPr>
                <a:spLocks noEditPoints="1"/>
              </p:cNvSpPr>
              <p:nvPr/>
            </p:nvSpPr>
            <p:spPr bwMode="auto">
              <a:xfrm>
                <a:off x="2119" y="2894"/>
                <a:ext cx="291" cy="387"/>
              </a:xfrm>
              <a:custGeom>
                <a:avLst/>
                <a:gdLst>
                  <a:gd name="T0" fmla="*/ 54 w 109"/>
                  <a:gd name="T1" fmla="*/ 0 h 145"/>
                  <a:gd name="T2" fmla="*/ 0 w 109"/>
                  <a:gd name="T3" fmla="*/ 54 h 145"/>
                  <a:gd name="T4" fmla="*/ 0 w 109"/>
                  <a:gd name="T5" fmla="*/ 90 h 145"/>
                  <a:gd name="T6" fmla="*/ 54 w 109"/>
                  <a:gd name="T7" fmla="*/ 145 h 145"/>
                  <a:gd name="T8" fmla="*/ 109 w 109"/>
                  <a:gd name="T9" fmla="*/ 90 h 145"/>
                  <a:gd name="T10" fmla="*/ 109 w 109"/>
                  <a:gd name="T11" fmla="*/ 54 h 145"/>
                  <a:gd name="T12" fmla="*/ 54 w 109"/>
                  <a:gd name="T13" fmla="*/ 0 h 145"/>
                  <a:gd name="T14" fmla="*/ 54 w 109"/>
                  <a:gd name="T15" fmla="*/ 0 h 145"/>
                  <a:gd name="T16" fmla="*/ 54 w 109"/>
                  <a:gd name="T1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145">
                    <a:moveTo>
                      <a:pt x="54" y="0"/>
                    </a:moveTo>
                    <a:cubicBezTo>
                      <a:pt x="24" y="0"/>
                      <a:pt x="0" y="24"/>
                      <a:pt x="0" y="54"/>
                    </a:cubicBezTo>
                    <a:cubicBezTo>
                      <a:pt x="0" y="90"/>
                      <a:pt x="0" y="90"/>
                      <a:pt x="0" y="90"/>
                    </a:cubicBezTo>
                    <a:cubicBezTo>
                      <a:pt x="0" y="120"/>
                      <a:pt x="24" y="145"/>
                      <a:pt x="54" y="145"/>
                    </a:cubicBezTo>
                    <a:cubicBezTo>
                      <a:pt x="84" y="145"/>
                      <a:pt x="109" y="120"/>
                      <a:pt x="109" y="90"/>
                    </a:cubicBezTo>
                    <a:cubicBezTo>
                      <a:pt x="109" y="54"/>
                      <a:pt x="109" y="54"/>
                      <a:pt x="109" y="54"/>
                    </a:cubicBezTo>
                    <a:cubicBezTo>
                      <a:pt x="109" y="24"/>
                      <a:pt x="84" y="0"/>
                      <a:pt x="54" y="0"/>
                    </a:cubicBezTo>
                    <a:close/>
                    <a:moveTo>
                      <a:pt x="54" y="0"/>
                    </a:moveTo>
                    <a:cubicBezTo>
                      <a:pt x="54" y="0"/>
                      <a:pt x="54" y="0"/>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grpSp>
        <p:nvGrpSpPr>
          <p:cNvPr id="10" name="Group 9">
            <a:extLst>
              <a:ext uri="{FF2B5EF4-FFF2-40B4-BE49-F238E27FC236}">
                <a16:creationId xmlns="" xmlns:a16="http://schemas.microsoft.com/office/drawing/2014/main" id="{8A795E2C-ABA6-4C2D-A438-BC978FC46A64}"/>
              </a:ext>
            </a:extLst>
          </p:cNvPr>
          <p:cNvGrpSpPr/>
          <p:nvPr/>
        </p:nvGrpSpPr>
        <p:grpSpPr>
          <a:xfrm>
            <a:off x="4488923" y="878483"/>
            <a:ext cx="345600" cy="345600"/>
            <a:chOff x="6179441" y="990600"/>
            <a:chExt cx="638664" cy="638664"/>
          </a:xfrm>
        </p:grpSpPr>
        <p:sp>
          <p:nvSpPr>
            <p:cNvPr id="288" name="Oval 287">
              <a:extLst>
                <a:ext uri="{FF2B5EF4-FFF2-40B4-BE49-F238E27FC236}">
                  <a16:creationId xmlns="" xmlns:a16="http://schemas.microsoft.com/office/drawing/2014/main" id="{6624E859-B521-488D-9EE0-416CCE82D787}"/>
                </a:ext>
              </a:extLst>
            </p:cNvPr>
            <p:cNvSpPr/>
            <p:nvPr/>
          </p:nvSpPr>
          <p:spPr>
            <a:xfrm>
              <a:off x="6179441" y="990600"/>
              <a:ext cx="638664" cy="638664"/>
            </a:xfrm>
            <a:prstGeom prst="ellips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Freeform 11">
              <a:extLst>
                <a:ext uri="{FF2B5EF4-FFF2-40B4-BE49-F238E27FC236}">
                  <a16:creationId xmlns="" xmlns:a16="http://schemas.microsoft.com/office/drawing/2014/main" id="{F12EA4F5-FEE7-412B-88D9-05C44FEF2FBE}"/>
                </a:ext>
              </a:extLst>
            </p:cNvPr>
            <p:cNvSpPr>
              <a:spLocks noEditPoints="1"/>
            </p:cNvSpPr>
            <p:nvPr/>
          </p:nvSpPr>
          <p:spPr bwMode="auto">
            <a:xfrm>
              <a:off x="6328480" y="1140645"/>
              <a:ext cx="348558" cy="317821"/>
            </a:xfrm>
            <a:custGeom>
              <a:avLst/>
              <a:gdLst>
                <a:gd name="T0" fmla="*/ 1768 w 2150"/>
                <a:gd name="T1" fmla="*/ 287 h 1959"/>
                <a:gd name="T2" fmla="*/ 1075 w 2150"/>
                <a:gd name="T3" fmla="*/ 0 h 1959"/>
                <a:gd name="T4" fmla="*/ 383 w 2150"/>
                <a:gd name="T5" fmla="*/ 287 h 1959"/>
                <a:gd name="T6" fmla="*/ 383 w 2150"/>
                <a:gd name="T7" fmla="*/ 1672 h 1959"/>
                <a:gd name="T8" fmla="*/ 1075 w 2150"/>
                <a:gd name="T9" fmla="*/ 1959 h 1959"/>
                <a:gd name="T10" fmla="*/ 1768 w 2150"/>
                <a:gd name="T11" fmla="*/ 1672 h 1959"/>
                <a:gd name="T12" fmla="*/ 1768 w 2150"/>
                <a:gd name="T13" fmla="*/ 287 h 1959"/>
                <a:gd name="T14" fmla="*/ 1701 w 2150"/>
                <a:gd name="T15" fmla="*/ 1605 h 1959"/>
                <a:gd name="T16" fmla="*/ 1075 w 2150"/>
                <a:gd name="T17" fmla="*/ 1864 h 1959"/>
                <a:gd name="T18" fmla="*/ 449 w 2150"/>
                <a:gd name="T19" fmla="*/ 1605 h 1959"/>
                <a:gd name="T20" fmla="*/ 190 w 2150"/>
                <a:gd name="T21" fmla="*/ 979 h 1959"/>
                <a:gd name="T22" fmla="*/ 449 w 2150"/>
                <a:gd name="T23" fmla="*/ 354 h 1959"/>
                <a:gd name="T24" fmla="*/ 1075 w 2150"/>
                <a:gd name="T25" fmla="*/ 95 h 1959"/>
                <a:gd name="T26" fmla="*/ 1701 w 2150"/>
                <a:gd name="T27" fmla="*/ 354 h 1959"/>
                <a:gd name="T28" fmla="*/ 1960 w 2150"/>
                <a:gd name="T29" fmla="*/ 979 h 1959"/>
                <a:gd name="T30" fmla="*/ 1701 w 2150"/>
                <a:gd name="T31" fmla="*/ 1605 h 1959"/>
                <a:gd name="T32" fmla="*/ 1373 w 2150"/>
                <a:gd name="T33" fmla="*/ 751 h 1959"/>
                <a:gd name="T34" fmla="*/ 1134 w 2150"/>
                <a:gd name="T35" fmla="*/ 990 h 1959"/>
                <a:gd name="T36" fmla="*/ 1373 w 2150"/>
                <a:gd name="T37" fmla="*/ 1228 h 1959"/>
                <a:gd name="T38" fmla="*/ 1373 w 2150"/>
                <a:gd name="T39" fmla="*/ 1295 h 1959"/>
                <a:gd name="T40" fmla="*/ 1339 w 2150"/>
                <a:gd name="T41" fmla="*/ 1308 h 1959"/>
                <a:gd name="T42" fmla="*/ 1306 w 2150"/>
                <a:gd name="T43" fmla="*/ 1295 h 1959"/>
                <a:gd name="T44" fmla="*/ 1068 w 2150"/>
                <a:gd name="T45" fmla="*/ 1056 h 1959"/>
                <a:gd name="T46" fmla="*/ 829 w 2150"/>
                <a:gd name="T47" fmla="*/ 1295 h 1959"/>
                <a:gd name="T48" fmla="*/ 796 w 2150"/>
                <a:gd name="T49" fmla="*/ 1308 h 1959"/>
                <a:gd name="T50" fmla="*/ 762 w 2150"/>
                <a:gd name="T51" fmla="*/ 1295 h 1959"/>
                <a:gd name="T52" fmla="*/ 762 w 2150"/>
                <a:gd name="T53" fmla="*/ 1228 h 1959"/>
                <a:gd name="T54" fmla="*/ 1001 w 2150"/>
                <a:gd name="T55" fmla="*/ 990 h 1959"/>
                <a:gd name="T56" fmla="*/ 762 w 2150"/>
                <a:gd name="T57" fmla="*/ 751 h 1959"/>
                <a:gd name="T58" fmla="*/ 762 w 2150"/>
                <a:gd name="T59" fmla="*/ 684 h 1959"/>
                <a:gd name="T60" fmla="*/ 829 w 2150"/>
                <a:gd name="T61" fmla="*/ 684 h 1959"/>
                <a:gd name="T62" fmla="*/ 1068 w 2150"/>
                <a:gd name="T63" fmla="*/ 923 h 1959"/>
                <a:gd name="T64" fmla="*/ 1306 w 2150"/>
                <a:gd name="T65" fmla="*/ 684 h 1959"/>
                <a:gd name="T66" fmla="*/ 1373 w 2150"/>
                <a:gd name="T67" fmla="*/ 684 h 1959"/>
                <a:gd name="T68" fmla="*/ 1373 w 2150"/>
                <a:gd name="T69" fmla="*/ 751 h 1959"/>
                <a:gd name="T70" fmla="*/ 1373 w 2150"/>
                <a:gd name="T71" fmla="*/ 751 h 1959"/>
                <a:gd name="T72" fmla="*/ 1373 w 2150"/>
                <a:gd name="T73" fmla="*/ 751 h 1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50" h="1959">
                  <a:moveTo>
                    <a:pt x="1768" y="287"/>
                  </a:moveTo>
                  <a:cubicBezTo>
                    <a:pt x="1583" y="102"/>
                    <a:pt x="1337" y="0"/>
                    <a:pt x="1075" y="0"/>
                  </a:cubicBezTo>
                  <a:cubicBezTo>
                    <a:pt x="813" y="0"/>
                    <a:pt x="567" y="102"/>
                    <a:pt x="383" y="287"/>
                  </a:cubicBezTo>
                  <a:cubicBezTo>
                    <a:pt x="0" y="669"/>
                    <a:pt x="0" y="1290"/>
                    <a:pt x="383" y="1672"/>
                  </a:cubicBezTo>
                  <a:cubicBezTo>
                    <a:pt x="567" y="1857"/>
                    <a:pt x="813" y="1959"/>
                    <a:pt x="1075" y="1959"/>
                  </a:cubicBezTo>
                  <a:cubicBezTo>
                    <a:pt x="1337" y="1959"/>
                    <a:pt x="1583" y="1857"/>
                    <a:pt x="1768" y="1672"/>
                  </a:cubicBezTo>
                  <a:cubicBezTo>
                    <a:pt x="2150" y="1290"/>
                    <a:pt x="2150" y="669"/>
                    <a:pt x="1768" y="287"/>
                  </a:cubicBezTo>
                  <a:close/>
                  <a:moveTo>
                    <a:pt x="1701" y="1605"/>
                  </a:moveTo>
                  <a:cubicBezTo>
                    <a:pt x="1534" y="1772"/>
                    <a:pt x="1311" y="1864"/>
                    <a:pt x="1075" y="1864"/>
                  </a:cubicBezTo>
                  <a:cubicBezTo>
                    <a:pt x="839" y="1864"/>
                    <a:pt x="616" y="1772"/>
                    <a:pt x="449" y="1605"/>
                  </a:cubicBezTo>
                  <a:cubicBezTo>
                    <a:pt x="283" y="1439"/>
                    <a:pt x="190" y="1216"/>
                    <a:pt x="190" y="979"/>
                  </a:cubicBezTo>
                  <a:cubicBezTo>
                    <a:pt x="190" y="743"/>
                    <a:pt x="283" y="520"/>
                    <a:pt x="449" y="354"/>
                  </a:cubicBezTo>
                  <a:cubicBezTo>
                    <a:pt x="616" y="187"/>
                    <a:pt x="839" y="95"/>
                    <a:pt x="1075" y="95"/>
                  </a:cubicBezTo>
                  <a:cubicBezTo>
                    <a:pt x="1311" y="95"/>
                    <a:pt x="1534" y="187"/>
                    <a:pt x="1701" y="354"/>
                  </a:cubicBezTo>
                  <a:cubicBezTo>
                    <a:pt x="1868" y="520"/>
                    <a:pt x="1960" y="744"/>
                    <a:pt x="1960" y="979"/>
                  </a:cubicBezTo>
                  <a:cubicBezTo>
                    <a:pt x="1960" y="1215"/>
                    <a:pt x="1868" y="1439"/>
                    <a:pt x="1701" y="1605"/>
                  </a:cubicBezTo>
                  <a:close/>
                  <a:moveTo>
                    <a:pt x="1373" y="751"/>
                  </a:moveTo>
                  <a:cubicBezTo>
                    <a:pt x="1134" y="990"/>
                    <a:pt x="1134" y="990"/>
                    <a:pt x="1134" y="990"/>
                  </a:cubicBezTo>
                  <a:cubicBezTo>
                    <a:pt x="1373" y="1228"/>
                    <a:pt x="1373" y="1228"/>
                    <a:pt x="1373" y="1228"/>
                  </a:cubicBezTo>
                  <a:cubicBezTo>
                    <a:pt x="1391" y="1246"/>
                    <a:pt x="1391" y="1277"/>
                    <a:pt x="1373" y="1295"/>
                  </a:cubicBezTo>
                  <a:cubicBezTo>
                    <a:pt x="1363" y="1305"/>
                    <a:pt x="1352" y="1308"/>
                    <a:pt x="1339" y="1308"/>
                  </a:cubicBezTo>
                  <a:cubicBezTo>
                    <a:pt x="1327" y="1308"/>
                    <a:pt x="1316" y="1302"/>
                    <a:pt x="1306" y="1295"/>
                  </a:cubicBezTo>
                  <a:cubicBezTo>
                    <a:pt x="1068" y="1056"/>
                    <a:pt x="1068" y="1056"/>
                    <a:pt x="1068" y="1056"/>
                  </a:cubicBezTo>
                  <a:cubicBezTo>
                    <a:pt x="829" y="1295"/>
                    <a:pt x="829" y="1295"/>
                    <a:pt x="829" y="1295"/>
                  </a:cubicBezTo>
                  <a:cubicBezTo>
                    <a:pt x="819" y="1305"/>
                    <a:pt x="808" y="1308"/>
                    <a:pt x="796" y="1308"/>
                  </a:cubicBezTo>
                  <a:cubicBezTo>
                    <a:pt x="783" y="1308"/>
                    <a:pt x="773" y="1302"/>
                    <a:pt x="762" y="1295"/>
                  </a:cubicBezTo>
                  <a:cubicBezTo>
                    <a:pt x="744" y="1277"/>
                    <a:pt x="744" y="1246"/>
                    <a:pt x="762" y="1228"/>
                  </a:cubicBezTo>
                  <a:cubicBezTo>
                    <a:pt x="1001" y="990"/>
                    <a:pt x="1001" y="990"/>
                    <a:pt x="1001" y="990"/>
                  </a:cubicBezTo>
                  <a:cubicBezTo>
                    <a:pt x="762" y="751"/>
                    <a:pt x="762" y="751"/>
                    <a:pt x="762" y="751"/>
                  </a:cubicBezTo>
                  <a:cubicBezTo>
                    <a:pt x="744" y="733"/>
                    <a:pt x="744" y="703"/>
                    <a:pt x="762" y="684"/>
                  </a:cubicBezTo>
                  <a:cubicBezTo>
                    <a:pt x="780" y="666"/>
                    <a:pt x="811" y="666"/>
                    <a:pt x="829" y="684"/>
                  </a:cubicBezTo>
                  <a:cubicBezTo>
                    <a:pt x="1068" y="923"/>
                    <a:pt x="1068" y="923"/>
                    <a:pt x="1068" y="923"/>
                  </a:cubicBezTo>
                  <a:cubicBezTo>
                    <a:pt x="1306" y="684"/>
                    <a:pt x="1306" y="684"/>
                    <a:pt x="1306" y="684"/>
                  </a:cubicBezTo>
                  <a:cubicBezTo>
                    <a:pt x="1324" y="666"/>
                    <a:pt x="1355" y="666"/>
                    <a:pt x="1373" y="684"/>
                  </a:cubicBezTo>
                  <a:cubicBezTo>
                    <a:pt x="1391" y="703"/>
                    <a:pt x="1391" y="731"/>
                    <a:pt x="1373" y="751"/>
                  </a:cubicBezTo>
                  <a:close/>
                  <a:moveTo>
                    <a:pt x="1373" y="751"/>
                  </a:moveTo>
                  <a:cubicBezTo>
                    <a:pt x="1373" y="751"/>
                    <a:pt x="1373" y="751"/>
                    <a:pt x="1373" y="75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nvGrpSpPr>
          <p:cNvPr id="96" name="Group 95">
            <a:extLst>
              <a:ext uri="{FF2B5EF4-FFF2-40B4-BE49-F238E27FC236}">
                <a16:creationId xmlns="" xmlns:a16="http://schemas.microsoft.com/office/drawing/2014/main" id="{4DE1D95B-FAFE-4B7C-BFD3-21B19A7F2D69}"/>
              </a:ext>
            </a:extLst>
          </p:cNvPr>
          <p:cNvGrpSpPr/>
          <p:nvPr/>
        </p:nvGrpSpPr>
        <p:grpSpPr>
          <a:xfrm>
            <a:off x="2286000" y="878220"/>
            <a:ext cx="345600" cy="345600"/>
            <a:chOff x="6179441" y="990600"/>
            <a:chExt cx="638664" cy="638664"/>
          </a:xfrm>
        </p:grpSpPr>
        <p:sp>
          <p:nvSpPr>
            <p:cNvPr id="97" name="Oval 96">
              <a:extLst>
                <a:ext uri="{FF2B5EF4-FFF2-40B4-BE49-F238E27FC236}">
                  <a16:creationId xmlns="" xmlns:a16="http://schemas.microsoft.com/office/drawing/2014/main" id="{F023A4B2-9AA8-48EE-944F-C5F700D44697}"/>
                </a:ext>
              </a:extLst>
            </p:cNvPr>
            <p:cNvSpPr/>
            <p:nvPr/>
          </p:nvSpPr>
          <p:spPr>
            <a:xfrm>
              <a:off x="6179441" y="990600"/>
              <a:ext cx="638664" cy="638664"/>
            </a:xfrm>
            <a:prstGeom prst="ellips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8" name="Freeform 11">
              <a:extLst>
                <a:ext uri="{FF2B5EF4-FFF2-40B4-BE49-F238E27FC236}">
                  <a16:creationId xmlns="" xmlns:a16="http://schemas.microsoft.com/office/drawing/2014/main" id="{D6370652-9996-4D74-A1FA-40310D63145B}"/>
                </a:ext>
              </a:extLst>
            </p:cNvPr>
            <p:cNvSpPr>
              <a:spLocks noEditPoints="1"/>
            </p:cNvSpPr>
            <p:nvPr/>
          </p:nvSpPr>
          <p:spPr bwMode="auto">
            <a:xfrm>
              <a:off x="6328480" y="1140645"/>
              <a:ext cx="348558" cy="317821"/>
            </a:xfrm>
            <a:custGeom>
              <a:avLst/>
              <a:gdLst>
                <a:gd name="T0" fmla="*/ 1768 w 2150"/>
                <a:gd name="T1" fmla="*/ 287 h 1959"/>
                <a:gd name="T2" fmla="*/ 1075 w 2150"/>
                <a:gd name="T3" fmla="*/ 0 h 1959"/>
                <a:gd name="T4" fmla="*/ 383 w 2150"/>
                <a:gd name="T5" fmla="*/ 287 h 1959"/>
                <a:gd name="T6" fmla="*/ 383 w 2150"/>
                <a:gd name="T7" fmla="*/ 1672 h 1959"/>
                <a:gd name="T8" fmla="*/ 1075 w 2150"/>
                <a:gd name="T9" fmla="*/ 1959 h 1959"/>
                <a:gd name="T10" fmla="*/ 1768 w 2150"/>
                <a:gd name="T11" fmla="*/ 1672 h 1959"/>
                <a:gd name="T12" fmla="*/ 1768 w 2150"/>
                <a:gd name="T13" fmla="*/ 287 h 1959"/>
                <a:gd name="T14" fmla="*/ 1701 w 2150"/>
                <a:gd name="T15" fmla="*/ 1605 h 1959"/>
                <a:gd name="T16" fmla="*/ 1075 w 2150"/>
                <a:gd name="T17" fmla="*/ 1864 h 1959"/>
                <a:gd name="T18" fmla="*/ 449 w 2150"/>
                <a:gd name="T19" fmla="*/ 1605 h 1959"/>
                <a:gd name="T20" fmla="*/ 190 w 2150"/>
                <a:gd name="T21" fmla="*/ 979 h 1959"/>
                <a:gd name="T22" fmla="*/ 449 w 2150"/>
                <a:gd name="T23" fmla="*/ 354 h 1959"/>
                <a:gd name="T24" fmla="*/ 1075 w 2150"/>
                <a:gd name="T25" fmla="*/ 95 h 1959"/>
                <a:gd name="T26" fmla="*/ 1701 w 2150"/>
                <a:gd name="T27" fmla="*/ 354 h 1959"/>
                <a:gd name="T28" fmla="*/ 1960 w 2150"/>
                <a:gd name="T29" fmla="*/ 979 h 1959"/>
                <a:gd name="T30" fmla="*/ 1701 w 2150"/>
                <a:gd name="T31" fmla="*/ 1605 h 1959"/>
                <a:gd name="T32" fmla="*/ 1373 w 2150"/>
                <a:gd name="T33" fmla="*/ 751 h 1959"/>
                <a:gd name="T34" fmla="*/ 1134 w 2150"/>
                <a:gd name="T35" fmla="*/ 990 h 1959"/>
                <a:gd name="T36" fmla="*/ 1373 w 2150"/>
                <a:gd name="T37" fmla="*/ 1228 h 1959"/>
                <a:gd name="T38" fmla="*/ 1373 w 2150"/>
                <a:gd name="T39" fmla="*/ 1295 h 1959"/>
                <a:gd name="T40" fmla="*/ 1339 w 2150"/>
                <a:gd name="T41" fmla="*/ 1308 h 1959"/>
                <a:gd name="T42" fmla="*/ 1306 w 2150"/>
                <a:gd name="T43" fmla="*/ 1295 h 1959"/>
                <a:gd name="T44" fmla="*/ 1068 w 2150"/>
                <a:gd name="T45" fmla="*/ 1056 h 1959"/>
                <a:gd name="T46" fmla="*/ 829 w 2150"/>
                <a:gd name="T47" fmla="*/ 1295 h 1959"/>
                <a:gd name="T48" fmla="*/ 796 w 2150"/>
                <a:gd name="T49" fmla="*/ 1308 h 1959"/>
                <a:gd name="T50" fmla="*/ 762 w 2150"/>
                <a:gd name="T51" fmla="*/ 1295 h 1959"/>
                <a:gd name="T52" fmla="*/ 762 w 2150"/>
                <a:gd name="T53" fmla="*/ 1228 h 1959"/>
                <a:gd name="T54" fmla="*/ 1001 w 2150"/>
                <a:gd name="T55" fmla="*/ 990 h 1959"/>
                <a:gd name="T56" fmla="*/ 762 w 2150"/>
                <a:gd name="T57" fmla="*/ 751 h 1959"/>
                <a:gd name="T58" fmla="*/ 762 w 2150"/>
                <a:gd name="T59" fmla="*/ 684 h 1959"/>
                <a:gd name="T60" fmla="*/ 829 w 2150"/>
                <a:gd name="T61" fmla="*/ 684 h 1959"/>
                <a:gd name="T62" fmla="*/ 1068 w 2150"/>
                <a:gd name="T63" fmla="*/ 923 h 1959"/>
                <a:gd name="T64" fmla="*/ 1306 w 2150"/>
                <a:gd name="T65" fmla="*/ 684 h 1959"/>
                <a:gd name="T66" fmla="*/ 1373 w 2150"/>
                <a:gd name="T67" fmla="*/ 684 h 1959"/>
                <a:gd name="T68" fmla="*/ 1373 w 2150"/>
                <a:gd name="T69" fmla="*/ 751 h 1959"/>
                <a:gd name="T70" fmla="*/ 1373 w 2150"/>
                <a:gd name="T71" fmla="*/ 751 h 1959"/>
                <a:gd name="T72" fmla="*/ 1373 w 2150"/>
                <a:gd name="T73" fmla="*/ 751 h 1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50" h="1959">
                  <a:moveTo>
                    <a:pt x="1768" y="287"/>
                  </a:moveTo>
                  <a:cubicBezTo>
                    <a:pt x="1583" y="102"/>
                    <a:pt x="1337" y="0"/>
                    <a:pt x="1075" y="0"/>
                  </a:cubicBezTo>
                  <a:cubicBezTo>
                    <a:pt x="813" y="0"/>
                    <a:pt x="567" y="102"/>
                    <a:pt x="383" y="287"/>
                  </a:cubicBezTo>
                  <a:cubicBezTo>
                    <a:pt x="0" y="669"/>
                    <a:pt x="0" y="1290"/>
                    <a:pt x="383" y="1672"/>
                  </a:cubicBezTo>
                  <a:cubicBezTo>
                    <a:pt x="567" y="1857"/>
                    <a:pt x="813" y="1959"/>
                    <a:pt x="1075" y="1959"/>
                  </a:cubicBezTo>
                  <a:cubicBezTo>
                    <a:pt x="1337" y="1959"/>
                    <a:pt x="1583" y="1857"/>
                    <a:pt x="1768" y="1672"/>
                  </a:cubicBezTo>
                  <a:cubicBezTo>
                    <a:pt x="2150" y="1290"/>
                    <a:pt x="2150" y="669"/>
                    <a:pt x="1768" y="287"/>
                  </a:cubicBezTo>
                  <a:close/>
                  <a:moveTo>
                    <a:pt x="1701" y="1605"/>
                  </a:moveTo>
                  <a:cubicBezTo>
                    <a:pt x="1534" y="1772"/>
                    <a:pt x="1311" y="1864"/>
                    <a:pt x="1075" y="1864"/>
                  </a:cubicBezTo>
                  <a:cubicBezTo>
                    <a:pt x="839" y="1864"/>
                    <a:pt x="616" y="1772"/>
                    <a:pt x="449" y="1605"/>
                  </a:cubicBezTo>
                  <a:cubicBezTo>
                    <a:pt x="283" y="1439"/>
                    <a:pt x="190" y="1216"/>
                    <a:pt x="190" y="979"/>
                  </a:cubicBezTo>
                  <a:cubicBezTo>
                    <a:pt x="190" y="743"/>
                    <a:pt x="283" y="520"/>
                    <a:pt x="449" y="354"/>
                  </a:cubicBezTo>
                  <a:cubicBezTo>
                    <a:pt x="616" y="187"/>
                    <a:pt x="839" y="95"/>
                    <a:pt x="1075" y="95"/>
                  </a:cubicBezTo>
                  <a:cubicBezTo>
                    <a:pt x="1311" y="95"/>
                    <a:pt x="1534" y="187"/>
                    <a:pt x="1701" y="354"/>
                  </a:cubicBezTo>
                  <a:cubicBezTo>
                    <a:pt x="1868" y="520"/>
                    <a:pt x="1960" y="744"/>
                    <a:pt x="1960" y="979"/>
                  </a:cubicBezTo>
                  <a:cubicBezTo>
                    <a:pt x="1960" y="1215"/>
                    <a:pt x="1868" y="1439"/>
                    <a:pt x="1701" y="1605"/>
                  </a:cubicBezTo>
                  <a:close/>
                  <a:moveTo>
                    <a:pt x="1373" y="751"/>
                  </a:moveTo>
                  <a:cubicBezTo>
                    <a:pt x="1134" y="990"/>
                    <a:pt x="1134" y="990"/>
                    <a:pt x="1134" y="990"/>
                  </a:cubicBezTo>
                  <a:cubicBezTo>
                    <a:pt x="1373" y="1228"/>
                    <a:pt x="1373" y="1228"/>
                    <a:pt x="1373" y="1228"/>
                  </a:cubicBezTo>
                  <a:cubicBezTo>
                    <a:pt x="1391" y="1246"/>
                    <a:pt x="1391" y="1277"/>
                    <a:pt x="1373" y="1295"/>
                  </a:cubicBezTo>
                  <a:cubicBezTo>
                    <a:pt x="1363" y="1305"/>
                    <a:pt x="1352" y="1308"/>
                    <a:pt x="1339" y="1308"/>
                  </a:cubicBezTo>
                  <a:cubicBezTo>
                    <a:pt x="1327" y="1308"/>
                    <a:pt x="1316" y="1302"/>
                    <a:pt x="1306" y="1295"/>
                  </a:cubicBezTo>
                  <a:cubicBezTo>
                    <a:pt x="1068" y="1056"/>
                    <a:pt x="1068" y="1056"/>
                    <a:pt x="1068" y="1056"/>
                  </a:cubicBezTo>
                  <a:cubicBezTo>
                    <a:pt x="829" y="1295"/>
                    <a:pt x="829" y="1295"/>
                    <a:pt x="829" y="1295"/>
                  </a:cubicBezTo>
                  <a:cubicBezTo>
                    <a:pt x="819" y="1305"/>
                    <a:pt x="808" y="1308"/>
                    <a:pt x="796" y="1308"/>
                  </a:cubicBezTo>
                  <a:cubicBezTo>
                    <a:pt x="783" y="1308"/>
                    <a:pt x="773" y="1302"/>
                    <a:pt x="762" y="1295"/>
                  </a:cubicBezTo>
                  <a:cubicBezTo>
                    <a:pt x="744" y="1277"/>
                    <a:pt x="744" y="1246"/>
                    <a:pt x="762" y="1228"/>
                  </a:cubicBezTo>
                  <a:cubicBezTo>
                    <a:pt x="1001" y="990"/>
                    <a:pt x="1001" y="990"/>
                    <a:pt x="1001" y="990"/>
                  </a:cubicBezTo>
                  <a:cubicBezTo>
                    <a:pt x="762" y="751"/>
                    <a:pt x="762" y="751"/>
                    <a:pt x="762" y="751"/>
                  </a:cubicBezTo>
                  <a:cubicBezTo>
                    <a:pt x="744" y="733"/>
                    <a:pt x="744" y="703"/>
                    <a:pt x="762" y="684"/>
                  </a:cubicBezTo>
                  <a:cubicBezTo>
                    <a:pt x="780" y="666"/>
                    <a:pt x="811" y="666"/>
                    <a:pt x="829" y="684"/>
                  </a:cubicBezTo>
                  <a:cubicBezTo>
                    <a:pt x="1068" y="923"/>
                    <a:pt x="1068" y="923"/>
                    <a:pt x="1068" y="923"/>
                  </a:cubicBezTo>
                  <a:cubicBezTo>
                    <a:pt x="1306" y="684"/>
                    <a:pt x="1306" y="684"/>
                    <a:pt x="1306" y="684"/>
                  </a:cubicBezTo>
                  <a:cubicBezTo>
                    <a:pt x="1324" y="666"/>
                    <a:pt x="1355" y="666"/>
                    <a:pt x="1373" y="684"/>
                  </a:cubicBezTo>
                  <a:cubicBezTo>
                    <a:pt x="1391" y="703"/>
                    <a:pt x="1391" y="731"/>
                    <a:pt x="1373" y="751"/>
                  </a:cubicBezTo>
                  <a:close/>
                  <a:moveTo>
                    <a:pt x="1373" y="751"/>
                  </a:moveTo>
                  <a:cubicBezTo>
                    <a:pt x="1373" y="751"/>
                    <a:pt x="1373" y="751"/>
                    <a:pt x="1373" y="75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sp>
        <p:nvSpPr>
          <p:cNvPr id="103" name="TextBox 102">
            <a:extLst>
              <a:ext uri="{FF2B5EF4-FFF2-40B4-BE49-F238E27FC236}">
                <a16:creationId xmlns="" xmlns:a16="http://schemas.microsoft.com/office/drawing/2014/main" id="{AE81FFBD-B76F-4DB4-80B1-657526AFEDEF}"/>
              </a:ext>
            </a:extLst>
          </p:cNvPr>
          <p:cNvSpPr txBox="1"/>
          <p:nvPr/>
        </p:nvSpPr>
        <p:spPr>
          <a:xfrm>
            <a:off x="9405983" y="1164847"/>
            <a:ext cx="933240" cy="327782"/>
          </a:xfrm>
          <a:prstGeom prst="rect">
            <a:avLst/>
          </a:prstGeom>
          <a:noFill/>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pt-PT"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2008</a:t>
            </a:r>
          </a:p>
        </p:txBody>
      </p:sp>
      <p:sp>
        <p:nvSpPr>
          <p:cNvPr id="104" name="TextBox 50">
            <a:extLst>
              <a:ext uri="{FF2B5EF4-FFF2-40B4-BE49-F238E27FC236}">
                <a16:creationId xmlns="" xmlns:a16="http://schemas.microsoft.com/office/drawing/2014/main" id="{1BB283A7-A31F-4224-85BA-76A9D46526C8}"/>
              </a:ext>
            </a:extLst>
          </p:cNvPr>
          <p:cNvSpPr txBox="1"/>
          <p:nvPr/>
        </p:nvSpPr>
        <p:spPr>
          <a:xfrm>
            <a:off x="9416479" y="1622046"/>
            <a:ext cx="1641651" cy="1387303"/>
          </a:xfrm>
          <a:prstGeom prst="rect">
            <a:avLst/>
          </a:prstGeom>
          <a:noFill/>
          <a:ln>
            <a:noFill/>
          </a:ln>
        </p:spPr>
        <p:txBody>
          <a:bodyPr wrap="square" rtlCol="0">
            <a:spAutoFit/>
          </a:bodyPr>
          <a:lstStyle/>
          <a:p>
            <a:pPr marL="0" marR="0" lvl="0" indent="0" algn="l" defTabSz="914400" rtl="0" eaLnBrk="1" fontAlgn="auto" latinLnBrk="0" hangingPunct="1">
              <a:lnSpc>
                <a:spcPct val="85000"/>
              </a:lnSpc>
              <a:spcBef>
                <a:spcPts val="1200"/>
              </a:spcBef>
              <a:spcAft>
                <a:spcPts val="0"/>
              </a:spcAft>
              <a:buClr>
                <a:srgbClr val="14C0F3"/>
              </a:buClr>
              <a:buSzTx/>
              <a:buFontTx/>
              <a:buNone/>
              <a:tabLst/>
              <a:defRPr/>
            </a:pPr>
            <a:r>
              <a:rPr lang="en-US" sz="1100" b="1" dirty="0">
                <a:solidFill>
                  <a:srgbClr val="404041"/>
                </a:solidFill>
                <a:latin typeface="Verdana" panose="020B0604030504040204" pitchFamily="34" charset="0"/>
                <a:ea typeface="Verdana" panose="020B0604030504040204" pitchFamily="34" charset="0"/>
                <a:cs typeface="Verdana" panose="020B0604030504040204" pitchFamily="34" charset="0"/>
              </a:rPr>
              <a:t>R</a:t>
            </a:r>
            <a:r>
              <a:rPr kumimoji="0" lang="en-US" sz="1100" b="1"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ecall</a:t>
            </a:r>
            <a:r>
              <a:rPr kumimoji="0" lang="en-US" sz="11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conducted due to “heparin-like” substance </a:t>
            </a:r>
            <a:r>
              <a:rPr kumimoji="0" lang="en-US" sz="11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found Active Pharmaceutical ingredient supplied by SPL (oversulfated chondrotain sulfate)</a:t>
            </a:r>
            <a:r>
              <a:rPr kumimoji="0" lang="en-US" sz="1100" b="0" i="0" u="none" strike="noStrike" kern="1200" cap="none" spc="0" normalizeH="0" baseline="3000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7</a:t>
            </a:r>
          </a:p>
        </p:txBody>
      </p:sp>
      <p:cxnSp>
        <p:nvCxnSpPr>
          <p:cNvPr id="106" name="Straight Connector 105">
            <a:extLst>
              <a:ext uri="{FF2B5EF4-FFF2-40B4-BE49-F238E27FC236}">
                <a16:creationId xmlns="" xmlns:a16="http://schemas.microsoft.com/office/drawing/2014/main" id="{D5244C0D-3CC3-41D4-9EAB-169A21DA6FC0}"/>
              </a:ext>
            </a:extLst>
          </p:cNvPr>
          <p:cNvCxnSpPr>
            <a:cxnSpLocks/>
          </p:cNvCxnSpPr>
          <p:nvPr/>
        </p:nvCxnSpPr>
        <p:spPr>
          <a:xfrm>
            <a:off x="9518709" y="1514658"/>
            <a:ext cx="986365" cy="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pic>
        <p:nvPicPr>
          <p:cNvPr id="107" name="Picture 42">
            <a:extLst>
              <a:ext uri="{FF2B5EF4-FFF2-40B4-BE49-F238E27FC236}">
                <a16:creationId xmlns="" xmlns:a16="http://schemas.microsoft.com/office/drawing/2014/main" id="{0D8DFD89-53A5-4843-B7B3-FFEF82F1BE8C}"/>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6305" t="20236" r="74954" b="73672"/>
          <a:stretch/>
        </p:blipFill>
        <p:spPr bwMode="auto">
          <a:xfrm>
            <a:off x="9518709" y="832436"/>
            <a:ext cx="1019736" cy="248740"/>
          </a:xfrm>
          <a:prstGeom prst="rect">
            <a:avLst/>
          </a:prstGeom>
          <a:noFill/>
          <a:ln>
            <a:noFill/>
          </a:ln>
          <a:effectLst/>
          <a:extLst>
            <a:ext uri="{909E8E84-426E-40DD-AFC4-6F175D3DCCD1}">
              <a14:hiddenFill xmlns:a14="http://schemas.microsoft.com/office/drawing/2010/main">
                <a:solidFill>
                  <a:srgbClr val="A1BD6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BBD83"/>
                  </a:outerShdw>
                </a:effectLst>
              </a14:hiddenEffects>
            </a:ext>
          </a:extLst>
        </p:spPr>
      </p:pic>
      <p:grpSp>
        <p:nvGrpSpPr>
          <p:cNvPr id="108" name="Group 107">
            <a:extLst>
              <a:ext uri="{FF2B5EF4-FFF2-40B4-BE49-F238E27FC236}">
                <a16:creationId xmlns="" xmlns:a16="http://schemas.microsoft.com/office/drawing/2014/main" id="{0A23C5F0-CD5E-4F04-86FB-B7D38E16361A}"/>
              </a:ext>
            </a:extLst>
          </p:cNvPr>
          <p:cNvGrpSpPr/>
          <p:nvPr/>
        </p:nvGrpSpPr>
        <p:grpSpPr>
          <a:xfrm>
            <a:off x="9060923" y="810231"/>
            <a:ext cx="345600" cy="345600"/>
            <a:chOff x="9670612" y="958287"/>
            <a:chExt cx="638664" cy="638664"/>
          </a:xfrm>
        </p:grpSpPr>
        <p:sp>
          <p:nvSpPr>
            <p:cNvPr id="109" name="Oval 108">
              <a:extLst>
                <a:ext uri="{FF2B5EF4-FFF2-40B4-BE49-F238E27FC236}">
                  <a16:creationId xmlns="" xmlns:a16="http://schemas.microsoft.com/office/drawing/2014/main" id="{958B0456-5AF1-4597-A8D6-F20568DEAD39}"/>
                </a:ext>
              </a:extLst>
            </p:cNvPr>
            <p:cNvSpPr/>
            <p:nvPr/>
          </p:nvSpPr>
          <p:spPr>
            <a:xfrm>
              <a:off x="9670612" y="958287"/>
              <a:ext cx="638664" cy="638664"/>
            </a:xfrm>
            <a:prstGeom prst="ellipse">
              <a:avLst/>
            </a:prstGeom>
            <a:solidFill>
              <a:srgbClr val="055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10" name="Group 4">
              <a:extLst>
                <a:ext uri="{FF2B5EF4-FFF2-40B4-BE49-F238E27FC236}">
                  <a16:creationId xmlns="" xmlns:a16="http://schemas.microsoft.com/office/drawing/2014/main" id="{F9D45283-6168-439C-B1B7-DA91A059C99B}"/>
                </a:ext>
              </a:extLst>
            </p:cNvPr>
            <p:cNvGrpSpPr>
              <a:grpSpLocks noChangeAspect="1"/>
            </p:cNvGrpSpPr>
            <p:nvPr/>
          </p:nvGrpSpPr>
          <p:grpSpPr bwMode="auto">
            <a:xfrm>
              <a:off x="9843355" y="1114574"/>
              <a:ext cx="309924" cy="270782"/>
              <a:chOff x="-1" y="3"/>
              <a:chExt cx="4529" cy="3957"/>
            </a:xfrm>
            <a:solidFill>
              <a:schemeClr val="bg1"/>
            </a:solidFill>
          </p:grpSpPr>
          <p:sp>
            <p:nvSpPr>
              <p:cNvPr id="111" name="Freeform 5">
                <a:extLst>
                  <a:ext uri="{FF2B5EF4-FFF2-40B4-BE49-F238E27FC236}">
                    <a16:creationId xmlns="" xmlns:a16="http://schemas.microsoft.com/office/drawing/2014/main" id="{185E46DD-F774-4143-A72B-CB7EF3950C01}"/>
                  </a:ext>
                </a:extLst>
              </p:cNvPr>
              <p:cNvSpPr>
                <a:spLocks noEditPoints="1"/>
              </p:cNvSpPr>
              <p:nvPr/>
            </p:nvSpPr>
            <p:spPr bwMode="auto">
              <a:xfrm>
                <a:off x="-1" y="3"/>
                <a:ext cx="4529" cy="3957"/>
              </a:xfrm>
              <a:custGeom>
                <a:avLst/>
                <a:gdLst>
                  <a:gd name="T0" fmla="*/ 896 w 1696"/>
                  <a:gd name="T1" fmla="*/ 27 h 1481"/>
                  <a:gd name="T2" fmla="*/ 849 w 1696"/>
                  <a:gd name="T3" fmla="*/ 0 h 1481"/>
                  <a:gd name="T4" fmla="*/ 802 w 1696"/>
                  <a:gd name="T5" fmla="*/ 27 h 1481"/>
                  <a:gd name="T6" fmla="*/ 9 w 1696"/>
                  <a:gd name="T7" fmla="*/ 1399 h 1481"/>
                  <a:gd name="T8" fmla="*/ 9 w 1696"/>
                  <a:gd name="T9" fmla="*/ 1453 h 1481"/>
                  <a:gd name="T10" fmla="*/ 57 w 1696"/>
                  <a:gd name="T11" fmla="*/ 1481 h 1481"/>
                  <a:gd name="T12" fmla="*/ 1641 w 1696"/>
                  <a:gd name="T13" fmla="*/ 1481 h 1481"/>
                  <a:gd name="T14" fmla="*/ 1696 w 1696"/>
                  <a:gd name="T15" fmla="*/ 1426 h 1481"/>
                  <a:gd name="T16" fmla="*/ 1687 w 1696"/>
                  <a:gd name="T17" fmla="*/ 1395 h 1481"/>
                  <a:gd name="T18" fmla="*/ 896 w 1696"/>
                  <a:gd name="T19" fmla="*/ 27 h 1481"/>
                  <a:gd name="T20" fmla="*/ 151 w 1696"/>
                  <a:gd name="T21" fmla="*/ 1372 h 1481"/>
                  <a:gd name="T22" fmla="*/ 849 w 1696"/>
                  <a:gd name="T23" fmla="*/ 163 h 1481"/>
                  <a:gd name="T24" fmla="*/ 1547 w 1696"/>
                  <a:gd name="T25" fmla="*/ 1372 h 1481"/>
                  <a:gd name="T26" fmla="*/ 151 w 1696"/>
                  <a:gd name="T27" fmla="*/ 1372 h 1481"/>
                  <a:gd name="T28" fmla="*/ 151 w 1696"/>
                  <a:gd name="T29" fmla="*/ 1372 h 1481"/>
                  <a:gd name="T30" fmla="*/ 151 w 1696"/>
                  <a:gd name="T31" fmla="*/ 1372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6" h="1481">
                    <a:moveTo>
                      <a:pt x="896" y="27"/>
                    </a:moveTo>
                    <a:cubicBezTo>
                      <a:pt x="886" y="10"/>
                      <a:pt x="868" y="0"/>
                      <a:pt x="849" y="0"/>
                    </a:cubicBezTo>
                    <a:cubicBezTo>
                      <a:pt x="830" y="0"/>
                      <a:pt x="812" y="10"/>
                      <a:pt x="802" y="27"/>
                    </a:cubicBezTo>
                    <a:cubicBezTo>
                      <a:pt x="9" y="1399"/>
                      <a:pt x="9" y="1399"/>
                      <a:pt x="9" y="1399"/>
                    </a:cubicBezTo>
                    <a:cubicBezTo>
                      <a:pt x="0" y="1416"/>
                      <a:pt x="0" y="1436"/>
                      <a:pt x="9" y="1453"/>
                    </a:cubicBezTo>
                    <a:cubicBezTo>
                      <a:pt x="19" y="1471"/>
                      <a:pt x="38" y="1481"/>
                      <a:pt x="57" y="1481"/>
                    </a:cubicBezTo>
                    <a:cubicBezTo>
                      <a:pt x="1641" y="1481"/>
                      <a:pt x="1641" y="1481"/>
                      <a:pt x="1641" y="1481"/>
                    </a:cubicBezTo>
                    <a:cubicBezTo>
                      <a:pt x="1671" y="1481"/>
                      <a:pt x="1696" y="1456"/>
                      <a:pt x="1696" y="1426"/>
                    </a:cubicBezTo>
                    <a:cubicBezTo>
                      <a:pt x="1696" y="1414"/>
                      <a:pt x="1692" y="1404"/>
                      <a:pt x="1687" y="1395"/>
                    </a:cubicBezTo>
                    <a:lnTo>
                      <a:pt x="896" y="27"/>
                    </a:lnTo>
                    <a:close/>
                    <a:moveTo>
                      <a:pt x="151" y="1372"/>
                    </a:moveTo>
                    <a:cubicBezTo>
                      <a:pt x="849" y="163"/>
                      <a:pt x="849" y="163"/>
                      <a:pt x="849" y="163"/>
                    </a:cubicBezTo>
                    <a:cubicBezTo>
                      <a:pt x="1547" y="1372"/>
                      <a:pt x="1547" y="1372"/>
                      <a:pt x="1547" y="1372"/>
                    </a:cubicBezTo>
                    <a:lnTo>
                      <a:pt x="151" y="1372"/>
                    </a:lnTo>
                    <a:close/>
                    <a:moveTo>
                      <a:pt x="151" y="1372"/>
                    </a:moveTo>
                    <a:cubicBezTo>
                      <a:pt x="151" y="1372"/>
                      <a:pt x="151" y="1372"/>
                      <a:pt x="151" y="13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12" name="Freeform 6">
                <a:extLst>
                  <a:ext uri="{FF2B5EF4-FFF2-40B4-BE49-F238E27FC236}">
                    <a16:creationId xmlns="" xmlns:a16="http://schemas.microsoft.com/office/drawing/2014/main" id="{7A97111E-8D38-4BC1-9719-39E53CD12517}"/>
                  </a:ext>
                </a:extLst>
              </p:cNvPr>
              <p:cNvSpPr>
                <a:spLocks noEditPoints="1"/>
              </p:cNvSpPr>
              <p:nvPr/>
            </p:nvSpPr>
            <p:spPr bwMode="auto">
              <a:xfrm>
                <a:off x="2119" y="1293"/>
                <a:ext cx="291" cy="1406"/>
              </a:xfrm>
              <a:custGeom>
                <a:avLst/>
                <a:gdLst>
                  <a:gd name="T0" fmla="*/ 0 w 109"/>
                  <a:gd name="T1" fmla="*/ 55 h 526"/>
                  <a:gd name="T2" fmla="*/ 0 w 109"/>
                  <a:gd name="T3" fmla="*/ 472 h 526"/>
                  <a:gd name="T4" fmla="*/ 54 w 109"/>
                  <a:gd name="T5" fmla="*/ 526 h 526"/>
                  <a:gd name="T6" fmla="*/ 109 w 109"/>
                  <a:gd name="T7" fmla="*/ 472 h 526"/>
                  <a:gd name="T8" fmla="*/ 109 w 109"/>
                  <a:gd name="T9" fmla="*/ 55 h 526"/>
                  <a:gd name="T10" fmla="*/ 54 w 109"/>
                  <a:gd name="T11" fmla="*/ 0 h 526"/>
                  <a:gd name="T12" fmla="*/ 0 w 109"/>
                  <a:gd name="T13" fmla="*/ 55 h 526"/>
                  <a:gd name="T14" fmla="*/ 0 w 109"/>
                  <a:gd name="T15" fmla="*/ 55 h 526"/>
                  <a:gd name="T16" fmla="*/ 0 w 109"/>
                  <a:gd name="T17" fmla="*/ 5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526">
                    <a:moveTo>
                      <a:pt x="0" y="55"/>
                    </a:moveTo>
                    <a:cubicBezTo>
                      <a:pt x="0" y="472"/>
                      <a:pt x="0" y="472"/>
                      <a:pt x="0" y="472"/>
                    </a:cubicBezTo>
                    <a:cubicBezTo>
                      <a:pt x="0" y="502"/>
                      <a:pt x="24" y="526"/>
                      <a:pt x="54" y="526"/>
                    </a:cubicBezTo>
                    <a:cubicBezTo>
                      <a:pt x="84" y="526"/>
                      <a:pt x="109" y="502"/>
                      <a:pt x="109" y="472"/>
                    </a:cubicBezTo>
                    <a:cubicBezTo>
                      <a:pt x="109" y="55"/>
                      <a:pt x="109" y="55"/>
                      <a:pt x="109" y="55"/>
                    </a:cubicBezTo>
                    <a:cubicBezTo>
                      <a:pt x="109" y="25"/>
                      <a:pt x="84" y="0"/>
                      <a:pt x="54" y="0"/>
                    </a:cubicBezTo>
                    <a:cubicBezTo>
                      <a:pt x="24" y="0"/>
                      <a:pt x="0" y="25"/>
                      <a:pt x="0" y="55"/>
                    </a:cubicBezTo>
                    <a:close/>
                    <a:moveTo>
                      <a:pt x="0" y="55"/>
                    </a:moveTo>
                    <a:cubicBezTo>
                      <a:pt x="0" y="55"/>
                      <a:pt x="0" y="55"/>
                      <a:pt x="0"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13" name="Freeform 7">
                <a:extLst>
                  <a:ext uri="{FF2B5EF4-FFF2-40B4-BE49-F238E27FC236}">
                    <a16:creationId xmlns="" xmlns:a16="http://schemas.microsoft.com/office/drawing/2014/main" id="{D669F90D-8D84-47C5-8966-2FAA81119C0F}"/>
                  </a:ext>
                </a:extLst>
              </p:cNvPr>
              <p:cNvSpPr>
                <a:spLocks noEditPoints="1"/>
              </p:cNvSpPr>
              <p:nvPr/>
            </p:nvSpPr>
            <p:spPr bwMode="auto">
              <a:xfrm>
                <a:off x="2119" y="2894"/>
                <a:ext cx="291" cy="387"/>
              </a:xfrm>
              <a:custGeom>
                <a:avLst/>
                <a:gdLst>
                  <a:gd name="T0" fmla="*/ 54 w 109"/>
                  <a:gd name="T1" fmla="*/ 0 h 145"/>
                  <a:gd name="T2" fmla="*/ 0 w 109"/>
                  <a:gd name="T3" fmla="*/ 54 h 145"/>
                  <a:gd name="T4" fmla="*/ 0 w 109"/>
                  <a:gd name="T5" fmla="*/ 90 h 145"/>
                  <a:gd name="T6" fmla="*/ 54 w 109"/>
                  <a:gd name="T7" fmla="*/ 145 h 145"/>
                  <a:gd name="T8" fmla="*/ 109 w 109"/>
                  <a:gd name="T9" fmla="*/ 90 h 145"/>
                  <a:gd name="T10" fmla="*/ 109 w 109"/>
                  <a:gd name="T11" fmla="*/ 54 h 145"/>
                  <a:gd name="T12" fmla="*/ 54 w 109"/>
                  <a:gd name="T13" fmla="*/ 0 h 145"/>
                  <a:gd name="T14" fmla="*/ 54 w 109"/>
                  <a:gd name="T15" fmla="*/ 0 h 145"/>
                  <a:gd name="T16" fmla="*/ 54 w 109"/>
                  <a:gd name="T1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145">
                    <a:moveTo>
                      <a:pt x="54" y="0"/>
                    </a:moveTo>
                    <a:cubicBezTo>
                      <a:pt x="24" y="0"/>
                      <a:pt x="0" y="24"/>
                      <a:pt x="0" y="54"/>
                    </a:cubicBezTo>
                    <a:cubicBezTo>
                      <a:pt x="0" y="90"/>
                      <a:pt x="0" y="90"/>
                      <a:pt x="0" y="90"/>
                    </a:cubicBezTo>
                    <a:cubicBezTo>
                      <a:pt x="0" y="120"/>
                      <a:pt x="24" y="145"/>
                      <a:pt x="54" y="145"/>
                    </a:cubicBezTo>
                    <a:cubicBezTo>
                      <a:pt x="84" y="145"/>
                      <a:pt x="109" y="120"/>
                      <a:pt x="109" y="90"/>
                    </a:cubicBezTo>
                    <a:cubicBezTo>
                      <a:pt x="109" y="54"/>
                      <a:pt x="109" y="54"/>
                      <a:pt x="109" y="54"/>
                    </a:cubicBezTo>
                    <a:cubicBezTo>
                      <a:pt x="109" y="24"/>
                      <a:pt x="84" y="0"/>
                      <a:pt x="54" y="0"/>
                    </a:cubicBezTo>
                    <a:close/>
                    <a:moveTo>
                      <a:pt x="54" y="0"/>
                    </a:moveTo>
                    <a:cubicBezTo>
                      <a:pt x="54" y="0"/>
                      <a:pt x="54" y="0"/>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cxnSp>
        <p:nvCxnSpPr>
          <p:cNvPr id="219" name="Straight Connector 218">
            <a:extLst>
              <a:ext uri="{FF2B5EF4-FFF2-40B4-BE49-F238E27FC236}">
                <a16:creationId xmlns="" xmlns:a16="http://schemas.microsoft.com/office/drawing/2014/main" id="{F884088B-AB78-42A5-90D2-0BDF72BB174F}"/>
              </a:ext>
            </a:extLst>
          </p:cNvPr>
          <p:cNvCxnSpPr>
            <a:cxnSpLocks/>
          </p:cNvCxnSpPr>
          <p:nvPr/>
        </p:nvCxnSpPr>
        <p:spPr>
          <a:xfrm>
            <a:off x="0" y="4343400"/>
            <a:ext cx="1219200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20" name="TextBox 50">
            <a:extLst>
              <a:ext uri="{FF2B5EF4-FFF2-40B4-BE49-F238E27FC236}">
                <a16:creationId xmlns="" xmlns:a16="http://schemas.microsoft.com/office/drawing/2014/main" id="{ED366249-9A1D-4D73-9652-EE5EF7415D68}"/>
              </a:ext>
            </a:extLst>
          </p:cNvPr>
          <p:cNvSpPr txBox="1"/>
          <p:nvPr/>
        </p:nvSpPr>
        <p:spPr>
          <a:xfrm>
            <a:off x="4971085" y="4423898"/>
            <a:ext cx="1590779" cy="955646"/>
          </a:xfrm>
          <a:prstGeom prst="rect">
            <a:avLst/>
          </a:prstGeom>
          <a:noFill/>
          <a:ln>
            <a:noFill/>
          </a:ln>
        </p:spPr>
        <p:txBody>
          <a:bodyPr wrap="square" rtlCol="0">
            <a:spAutoFit/>
          </a:bodyPr>
          <a:lstStyle/>
          <a:p>
            <a:pPr marL="0" marR="0" lvl="0" indent="0" algn="l" defTabSz="914400" rtl="0" eaLnBrk="1" fontAlgn="auto" latinLnBrk="0" hangingPunct="1">
              <a:lnSpc>
                <a:spcPct val="85000"/>
              </a:lnSpc>
              <a:spcBef>
                <a:spcPts val="1200"/>
              </a:spcBef>
              <a:spcAft>
                <a:spcPts val="0"/>
              </a:spcAft>
              <a:buClr>
                <a:srgbClr val="14C0F3"/>
              </a:buClr>
              <a:buSzTx/>
              <a:buFontTx/>
              <a:buNone/>
              <a:tabLst/>
              <a:defRPr/>
            </a:pPr>
            <a:r>
              <a:rPr kumimoji="0" lang="en-US" sz="11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Recall conducted </a:t>
            </a:r>
            <a:r>
              <a:rPr kumimoji="0" lang="en-US" sz="11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due to “heparin-like” substances found in their heparin lock flush syringes</a:t>
            </a:r>
            <a:r>
              <a:rPr kumimoji="0" lang="en-US" sz="1100" b="0" i="0" u="none" strike="noStrike" kern="1200" cap="none" spc="0" normalizeH="0" baseline="3000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7</a:t>
            </a:r>
          </a:p>
        </p:txBody>
      </p:sp>
      <p:pic>
        <p:nvPicPr>
          <p:cNvPr id="226" name="Picture 225">
            <a:extLst>
              <a:ext uri="{FF2B5EF4-FFF2-40B4-BE49-F238E27FC236}">
                <a16:creationId xmlns="" xmlns:a16="http://schemas.microsoft.com/office/drawing/2014/main" id="{CC4D8F7C-8AE6-4C0C-A673-85B41067686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075030" y="3740065"/>
            <a:ext cx="1016735" cy="203347"/>
          </a:xfrm>
          <a:prstGeom prst="rect">
            <a:avLst/>
          </a:prstGeom>
        </p:spPr>
      </p:pic>
      <p:grpSp>
        <p:nvGrpSpPr>
          <p:cNvPr id="231" name="Group 230">
            <a:extLst>
              <a:ext uri="{FF2B5EF4-FFF2-40B4-BE49-F238E27FC236}">
                <a16:creationId xmlns="" xmlns:a16="http://schemas.microsoft.com/office/drawing/2014/main" id="{C9BCEC3D-F05E-4F69-955C-C66ACC11AA92}"/>
              </a:ext>
            </a:extLst>
          </p:cNvPr>
          <p:cNvGrpSpPr/>
          <p:nvPr/>
        </p:nvGrpSpPr>
        <p:grpSpPr>
          <a:xfrm>
            <a:off x="4601509" y="3668938"/>
            <a:ext cx="345600" cy="345600"/>
            <a:chOff x="9670612" y="958287"/>
            <a:chExt cx="638664" cy="638664"/>
          </a:xfrm>
        </p:grpSpPr>
        <p:sp>
          <p:nvSpPr>
            <p:cNvPr id="232" name="Oval 231">
              <a:extLst>
                <a:ext uri="{FF2B5EF4-FFF2-40B4-BE49-F238E27FC236}">
                  <a16:creationId xmlns="" xmlns:a16="http://schemas.microsoft.com/office/drawing/2014/main" id="{1083162F-8CFD-42D5-81A4-8B2DC16B5BB4}"/>
                </a:ext>
              </a:extLst>
            </p:cNvPr>
            <p:cNvSpPr/>
            <p:nvPr/>
          </p:nvSpPr>
          <p:spPr>
            <a:xfrm>
              <a:off x="9670612" y="958287"/>
              <a:ext cx="638664" cy="638664"/>
            </a:xfrm>
            <a:prstGeom prst="ellipse">
              <a:avLst/>
            </a:prstGeom>
            <a:solidFill>
              <a:srgbClr val="055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33" name="Group 4">
              <a:extLst>
                <a:ext uri="{FF2B5EF4-FFF2-40B4-BE49-F238E27FC236}">
                  <a16:creationId xmlns="" xmlns:a16="http://schemas.microsoft.com/office/drawing/2014/main" id="{D550B2B7-2866-4C56-9DA3-70CCC37129A4}"/>
                </a:ext>
              </a:extLst>
            </p:cNvPr>
            <p:cNvGrpSpPr>
              <a:grpSpLocks noChangeAspect="1"/>
            </p:cNvGrpSpPr>
            <p:nvPr/>
          </p:nvGrpSpPr>
          <p:grpSpPr bwMode="auto">
            <a:xfrm>
              <a:off x="9843355" y="1114574"/>
              <a:ext cx="309924" cy="270782"/>
              <a:chOff x="-1" y="3"/>
              <a:chExt cx="4529" cy="3957"/>
            </a:xfrm>
            <a:solidFill>
              <a:schemeClr val="bg1"/>
            </a:solidFill>
          </p:grpSpPr>
          <p:sp>
            <p:nvSpPr>
              <p:cNvPr id="234" name="Freeform 5">
                <a:extLst>
                  <a:ext uri="{FF2B5EF4-FFF2-40B4-BE49-F238E27FC236}">
                    <a16:creationId xmlns="" xmlns:a16="http://schemas.microsoft.com/office/drawing/2014/main" id="{7C6FD2D8-5530-468A-9433-4FDF32E2E7CD}"/>
                  </a:ext>
                </a:extLst>
              </p:cNvPr>
              <p:cNvSpPr>
                <a:spLocks noEditPoints="1"/>
              </p:cNvSpPr>
              <p:nvPr/>
            </p:nvSpPr>
            <p:spPr bwMode="auto">
              <a:xfrm>
                <a:off x="-1" y="3"/>
                <a:ext cx="4529" cy="3957"/>
              </a:xfrm>
              <a:custGeom>
                <a:avLst/>
                <a:gdLst>
                  <a:gd name="T0" fmla="*/ 896 w 1696"/>
                  <a:gd name="T1" fmla="*/ 27 h 1481"/>
                  <a:gd name="T2" fmla="*/ 849 w 1696"/>
                  <a:gd name="T3" fmla="*/ 0 h 1481"/>
                  <a:gd name="T4" fmla="*/ 802 w 1696"/>
                  <a:gd name="T5" fmla="*/ 27 h 1481"/>
                  <a:gd name="T6" fmla="*/ 9 w 1696"/>
                  <a:gd name="T7" fmla="*/ 1399 h 1481"/>
                  <a:gd name="T8" fmla="*/ 9 w 1696"/>
                  <a:gd name="T9" fmla="*/ 1453 h 1481"/>
                  <a:gd name="T10" fmla="*/ 57 w 1696"/>
                  <a:gd name="T11" fmla="*/ 1481 h 1481"/>
                  <a:gd name="T12" fmla="*/ 1641 w 1696"/>
                  <a:gd name="T13" fmla="*/ 1481 h 1481"/>
                  <a:gd name="T14" fmla="*/ 1696 w 1696"/>
                  <a:gd name="T15" fmla="*/ 1426 h 1481"/>
                  <a:gd name="T16" fmla="*/ 1687 w 1696"/>
                  <a:gd name="T17" fmla="*/ 1395 h 1481"/>
                  <a:gd name="T18" fmla="*/ 896 w 1696"/>
                  <a:gd name="T19" fmla="*/ 27 h 1481"/>
                  <a:gd name="T20" fmla="*/ 151 w 1696"/>
                  <a:gd name="T21" fmla="*/ 1372 h 1481"/>
                  <a:gd name="T22" fmla="*/ 849 w 1696"/>
                  <a:gd name="T23" fmla="*/ 163 h 1481"/>
                  <a:gd name="T24" fmla="*/ 1547 w 1696"/>
                  <a:gd name="T25" fmla="*/ 1372 h 1481"/>
                  <a:gd name="T26" fmla="*/ 151 w 1696"/>
                  <a:gd name="T27" fmla="*/ 1372 h 1481"/>
                  <a:gd name="T28" fmla="*/ 151 w 1696"/>
                  <a:gd name="T29" fmla="*/ 1372 h 1481"/>
                  <a:gd name="T30" fmla="*/ 151 w 1696"/>
                  <a:gd name="T31" fmla="*/ 1372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6" h="1481">
                    <a:moveTo>
                      <a:pt x="896" y="27"/>
                    </a:moveTo>
                    <a:cubicBezTo>
                      <a:pt x="886" y="10"/>
                      <a:pt x="868" y="0"/>
                      <a:pt x="849" y="0"/>
                    </a:cubicBezTo>
                    <a:cubicBezTo>
                      <a:pt x="830" y="0"/>
                      <a:pt x="812" y="10"/>
                      <a:pt x="802" y="27"/>
                    </a:cubicBezTo>
                    <a:cubicBezTo>
                      <a:pt x="9" y="1399"/>
                      <a:pt x="9" y="1399"/>
                      <a:pt x="9" y="1399"/>
                    </a:cubicBezTo>
                    <a:cubicBezTo>
                      <a:pt x="0" y="1416"/>
                      <a:pt x="0" y="1436"/>
                      <a:pt x="9" y="1453"/>
                    </a:cubicBezTo>
                    <a:cubicBezTo>
                      <a:pt x="19" y="1471"/>
                      <a:pt x="38" y="1481"/>
                      <a:pt x="57" y="1481"/>
                    </a:cubicBezTo>
                    <a:cubicBezTo>
                      <a:pt x="1641" y="1481"/>
                      <a:pt x="1641" y="1481"/>
                      <a:pt x="1641" y="1481"/>
                    </a:cubicBezTo>
                    <a:cubicBezTo>
                      <a:pt x="1671" y="1481"/>
                      <a:pt x="1696" y="1456"/>
                      <a:pt x="1696" y="1426"/>
                    </a:cubicBezTo>
                    <a:cubicBezTo>
                      <a:pt x="1696" y="1414"/>
                      <a:pt x="1692" y="1404"/>
                      <a:pt x="1687" y="1395"/>
                    </a:cubicBezTo>
                    <a:lnTo>
                      <a:pt x="896" y="27"/>
                    </a:lnTo>
                    <a:close/>
                    <a:moveTo>
                      <a:pt x="151" y="1372"/>
                    </a:moveTo>
                    <a:cubicBezTo>
                      <a:pt x="849" y="163"/>
                      <a:pt x="849" y="163"/>
                      <a:pt x="849" y="163"/>
                    </a:cubicBezTo>
                    <a:cubicBezTo>
                      <a:pt x="1547" y="1372"/>
                      <a:pt x="1547" y="1372"/>
                      <a:pt x="1547" y="1372"/>
                    </a:cubicBezTo>
                    <a:lnTo>
                      <a:pt x="151" y="1372"/>
                    </a:lnTo>
                    <a:close/>
                    <a:moveTo>
                      <a:pt x="151" y="1372"/>
                    </a:moveTo>
                    <a:cubicBezTo>
                      <a:pt x="151" y="1372"/>
                      <a:pt x="151" y="1372"/>
                      <a:pt x="151" y="13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235" name="Freeform 6">
                <a:extLst>
                  <a:ext uri="{FF2B5EF4-FFF2-40B4-BE49-F238E27FC236}">
                    <a16:creationId xmlns="" xmlns:a16="http://schemas.microsoft.com/office/drawing/2014/main" id="{0F977A7F-0476-45E9-9091-EED65E00453F}"/>
                  </a:ext>
                </a:extLst>
              </p:cNvPr>
              <p:cNvSpPr>
                <a:spLocks noEditPoints="1"/>
              </p:cNvSpPr>
              <p:nvPr/>
            </p:nvSpPr>
            <p:spPr bwMode="auto">
              <a:xfrm>
                <a:off x="2119" y="1293"/>
                <a:ext cx="291" cy="1406"/>
              </a:xfrm>
              <a:custGeom>
                <a:avLst/>
                <a:gdLst>
                  <a:gd name="T0" fmla="*/ 0 w 109"/>
                  <a:gd name="T1" fmla="*/ 55 h 526"/>
                  <a:gd name="T2" fmla="*/ 0 w 109"/>
                  <a:gd name="T3" fmla="*/ 472 h 526"/>
                  <a:gd name="T4" fmla="*/ 54 w 109"/>
                  <a:gd name="T5" fmla="*/ 526 h 526"/>
                  <a:gd name="T6" fmla="*/ 109 w 109"/>
                  <a:gd name="T7" fmla="*/ 472 h 526"/>
                  <a:gd name="T8" fmla="*/ 109 w 109"/>
                  <a:gd name="T9" fmla="*/ 55 h 526"/>
                  <a:gd name="T10" fmla="*/ 54 w 109"/>
                  <a:gd name="T11" fmla="*/ 0 h 526"/>
                  <a:gd name="T12" fmla="*/ 0 w 109"/>
                  <a:gd name="T13" fmla="*/ 55 h 526"/>
                  <a:gd name="T14" fmla="*/ 0 w 109"/>
                  <a:gd name="T15" fmla="*/ 55 h 526"/>
                  <a:gd name="T16" fmla="*/ 0 w 109"/>
                  <a:gd name="T17" fmla="*/ 5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526">
                    <a:moveTo>
                      <a:pt x="0" y="55"/>
                    </a:moveTo>
                    <a:cubicBezTo>
                      <a:pt x="0" y="472"/>
                      <a:pt x="0" y="472"/>
                      <a:pt x="0" y="472"/>
                    </a:cubicBezTo>
                    <a:cubicBezTo>
                      <a:pt x="0" y="502"/>
                      <a:pt x="24" y="526"/>
                      <a:pt x="54" y="526"/>
                    </a:cubicBezTo>
                    <a:cubicBezTo>
                      <a:pt x="84" y="526"/>
                      <a:pt x="109" y="502"/>
                      <a:pt x="109" y="472"/>
                    </a:cubicBezTo>
                    <a:cubicBezTo>
                      <a:pt x="109" y="55"/>
                      <a:pt x="109" y="55"/>
                      <a:pt x="109" y="55"/>
                    </a:cubicBezTo>
                    <a:cubicBezTo>
                      <a:pt x="109" y="25"/>
                      <a:pt x="84" y="0"/>
                      <a:pt x="54" y="0"/>
                    </a:cubicBezTo>
                    <a:cubicBezTo>
                      <a:pt x="24" y="0"/>
                      <a:pt x="0" y="25"/>
                      <a:pt x="0" y="55"/>
                    </a:cubicBezTo>
                    <a:close/>
                    <a:moveTo>
                      <a:pt x="0" y="55"/>
                    </a:moveTo>
                    <a:cubicBezTo>
                      <a:pt x="0" y="55"/>
                      <a:pt x="0" y="55"/>
                      <a:pt x="0"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236" name="Freeform 7">
                <a:extLst>
                  <a:ext uri="{FF2B5EF4-FFF2-40B4-BE49-F238E27FC236}">
                    <a16:creationId xmlns="" xmlns:a16="http://schemas.microsoft.com/office/drawing/2014/main" id="{9F867DBD-CEEA-4CA9-AED8-FB49B743DC55}"/>
                  </a:ext>
                </a:extLst>
              </p:cNvPr>
              <p:cNvSpPr>
                <a:spLocks noEditPoints="1"/>
              </p:cNvSpPr>
              <p:nvPr/>
            </p:nvSpPr>
            <p:spPr bwMode="auto">
              <a:xfrm>
                <a:off x="2119" y="2894"/>
                <a:ext cx="291" cy="387"/>
              </a:xfrm>
              <a:custGeom>
                <a:avLst/>
                <a:gdLst>
                  <a:gd name="T0" fmla="*/ 54 w 109"/>
                  <a:gd name="T1" fmla="*/ 0 h 145"/>
                  <a:gd name="T2" fmla="*/ 0 w 109"/>
                  <a:gd name="T3" fmla="*/ 54 h 145"/>
                  <a:gd name="T4" fmla="*/ 0 w 109"/>
                  <a:gd name="T5" fmla="*/ 90 h 145"/>
                  <a:gd name="T6" fmla="*/ 54 w 109"/>
                  <a:gd name="T7" fmla="*/ 145 h 145"/>
                  <a:gd name="T8" fmla="*/ 109 w 109"/>
                  <a:gd name="T9" fmla="*/ 90 h 145"/>
                  <a:gd name="T10" fmla="*/ 109 w 109"/>
                  <a:gd name="T11" fmla="*/ 54 h 145"/>
                  <a:gd name="T12" fmla="*/ 54 w 109"/>
                  <a:gd name="T13" fmla="*/ 0 h 145"/>
                  <a:gd name="T14" fmla="*/ 54 w 109"/>
                  <a:gd name="T15" fmla="*/ 0 h 145"/>
                  <a:gd name="T16" fmla="*/ 54 w 109"/>
                  <a:gd name="T1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145">
                    <a:moveTo>
                      <a:pt x="54" y="0"/>
                    </a:moveTo>
                    <a:cubicBezTo>
                      <a:pt x="24" y="0"/>
                      <a:pt x="0" y="24"/>
                      <a:pt x="0" y="54"/>
                    </a:cubicBezTo>
                    <a:cubicBezTo>
                      <a:pt x="0" y="90"/>
                      <a:pt x="0" y="90"/>
                      <a:pt x="0" y="90"/>
                    </a:cubicBezTo>
                    <a:cubicBezTo>
                      <a:pt x="0" y="120"/>
                      <a:pt x="24" y="145"/>
                      <a:pt x="54" y="145"/>
                    </a:cubicBezTo>
                    <a:cubicBezTo>
                      <a:pt x="84" y="145"/>
                      <a:pt x="109" y="120"/>
                      <a:pt x="109" y="90"/>
                    </a:cubicBezTo>
                    <a:cubicBezTo>
                      <a:pt x="109" y="54"/>
                      <a:pt x="109" y="54"/>
                      <a:pt x="109" y="54"/>
                    </a:cubicBezTo>
                    <a:cubicBezTo>
                      <a:pt x="109" y="24"/>
                      <a:pt x="84" y="0"/>
                      <a:pt x="54" y="0"/>
                    </a:cubicBezTo>
                    <a:close/>
                    <a:moveTo>
                      <a:pt x="54" y="0"/>
                    </a:moveTo>
                    <a:cubicBezTo>
                      <a:pt x="54" y="0"/>
                      <a:pt x="54" y="0"/>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sp>
        <p:nvSpPr>
          <p:cNvPr id="237" name="TextBox 236">
            <a:extLst>
              <a:ext uri="{FF2B5EF4-FFF2-40B4-BE49-F238E27FC236}">
                <a16:creationId xmlns="" xmlns:a16="http://schemas.microsoft.com/office/drawing/2014/main" id="{0EA8EABC-D319-4AC4-99E6-B96F1A795D8E}"/>
              </a:ext>
            </a:extLst>
          </p:cNvPr>
          <p:cNvSpPr txBox="1"/>
          <p:nvPr/>
        </p:nvSpPr>
        <p:spPr>
          <a:xfrm>
            <a:off x="4971085" y="4014325"/>
            <a:ext cx="1523034" cy="327782"/>
          </a:xfrm>
          <a:prstGeom prst="rect">
            <a:avLst/>
          </a:prstGeom>
          <a:noFill/>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pt-PT"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2008</a:t>
            </a:r>
          </a:p>
        </p:txBody>
      </p:sp>
      <p:cxnSp>
        <p:nvCxnSpPr>
          <p:cNvPr id="238" name="Straight Connector 237">
            <a:extLst>
              <a:ext uri="{FF2B5EF4-FFF2-40B4-BE49-F238E27FC236}">
                <a16:creationId xmlns="" xmlns:a16="http://schemas.microsoft.com/office/drawing/2014/main" id="{AE2DAA93-9AFF-47C0-AC0D-B500AFD3AC59}"/>
              </a:ext>
            </a:extLst>
          </p:cNvPr>
          <p:cNvCxnSpPr>
            <a:cxnSpLocks/>
          </p:cNvCxnSpPr>
          <p:nvPr/>
        </p:nvCxnSpPr>
        <p:spPr>
          <a:xfrm>
            <a:off x="5067571" y="4343400"/>
            <a:ext cx="986365"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66" name="TextBox 265">
            <a:extLst>
              <a:ext uri="{FF2B5EF4-FFF2-40B4-BE49-F238E27FC236}">
                <a16:creationId xmlns="" xmlns:a16="http://schemas.microsoft.com/office/drawing/2014/main" id="{14E6DB3F-D23D-4624-9F05-11E844E9B520}"/>
              </a:ext>
            </a:extLst>
          </p:cNvPr>
          <p:cNvSpPr txBox="1"/>
          <p:nvPr/>
        </p:nvSpPr>
        <p:spPr>
          <a:xfrm>
            <a:off x="7276287" y="4024714"/>
            <a:ext cx="842188" cy="327782"/>
          </a:xfrm>
          <a:prstGeom prst="rect">
            <a:avLst/>
          </a:prstGeom>
          <a:noFill/>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pt-PT"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2014</a:t>
            </a:r>
          </a:p>
        </p:txBody>
      </p:sp>
      <p:cxnSp>
        <p:nvCxnSpPr>
          <p:cNvPr id="267" name="Straight Connector 266">
            <a:extLst>
              <a:ext uri="{FF2B5EF4-FFF2-40B4-BE49-F238E27FC236}">
                <a16:creationId xmlns="" xmlns:a16="http://schemas.microsoft.com/office/drawing/2014/main" id="{624774AB-4202-422D-A5C9-6F4C10919231}"/>
              </a:ext>
            </a:extLst>
          </p:cNvPr>
          <p:cNvCxnSpPr>
            <a:cxnSpLocks/>
          </p:cNvCxnSpPr>
          <p:nvPr/>
        </p:nvCxnSpPr>
        <p:spPr>
          <a:xfrm>
            <a:off x="7389344" y="4353789"/>
            <a:ext cx="986365"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 xmlns:a16="http://schemas.microsoft.com/office/drawing/2014/main" id="{F3FDEC7C-7BC6-4075-ADBF-7A139204D10A}"/>
              </a:ext>
            </a:extLst>
          </p:cNvPr>
          <p:cNvSpPr/>
          <p:nvPr/>
        </p:nvSpPr>
        <p:spPr>
          <a:xfrm>
            <a:off x="7289004" y="4460842"/>
            <a:ext cx="1588346" cy="955646"/>
          </a:xfrm>
          <a:prstGeom prst="rect">
            <a:avLst/>
          </a:prstGeom>
        </p:spPr>
        <p:txBody>
          <a:bodyPr wrap="square">
            <a:spAutoFit/>
          </a:bodyPr>
          <a:lstStyle/>
          <a:p>
            <a:pPr>
              <a:lnSpc>
                <a:spcPct val="85000"/>
              </a:lnSpc>
            </a:pPr>
            <a:r>
              <a:rPr lang="en-US" sz="1100" b="1" dirty="0">
                <a:solidFill>
                  <a:schemeClr val="bg1"/>
                </a:solidFill>
                <a:latin typeface="Verdana" panose="020B0604030504040204" pitchFamily="34" charset="0"/>
                <a:ea typeface="Verdana" panose="020B0604030504040204" pitchFamily="34" charset="0"/>
                <a:cs typeface="Verdana" panose="020B0604030504040204" pitchFamily="34" charset="0"/>
              </a:rPr>
              <a:t>Saline bag shortage  </a:t>
            </a:r>
            <a:r>
              <a:rPr lang="en-US" sz="1100" dirty="0">
                <a:solidFill>
                  <a:schemeClr val="bg1"/>
                </a:solidFill>
                <a:latin typeface="Verdana" panose="020B0604030504040204" pitchFamily="34" charset="0"/>
                <a:ea typeface="Verdana" panose="020B0604030504040204" pitchFamily="34" charset="0"/>
                <a:cs typeface="Verdana" panose="020B0604030504040204" pitchFamily="34" charset="0"/>
              </a:rPr>
              <a:t>with Baxter and Hospira begins, increasing the demand for </a:t>
            </a:r>
            <a:br>
              <a:rPr lang="en-US" sz="110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1100" dirty="0">
                <a:solidFill>
                  <a:schemeClr val="bg1"/>
                </a:solidFill>
                <a:latin typeface="Verdana" panose="020B0604030504040204" pitchFamily="34" charset="0"/>
                <a:ea typeface="Verdana" panose="020B0604030504040204" pitchFamily="34" charset="0"/>
                <a:cs typeface="Verdana" panose="020B0604030504040204" pitchFamily="34" charset="0"/>
              </a:rPr>
              <a:t>pre-filled flush</a:t>
            </a:r>
            <a:endParaRPr lang="pt-PT" sz="11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72" name="TextBox 271">
            <a:extLst>
              <a:ext uri="{FF2B5EF4-FFF2-40B4-BE49-F238E27FC236}">
                <a16:creationId xmlns="" xmlns:a16="http://schemas.microsoft.com/office/drawing/2014/main" id="{64386674-CF0B-41FF-A717-3CA568CE78FE}"/>
              </a:ext>
            </a:extLst>
          </p:cNvPr>
          <p:cNvSpPr txBox="1"/>
          <p:nvPr/>
        </p:nvSpPr>
        <p:spPr>
          <a:xfrm>
            <a:off x="9417065" y="4024714"/>
            <a:ext cx="1432293" cy="327782"/>
          </a:xfrm>
          <a:prstGeom prst="rect">
            <a:avLst/>
          </a:prstGeom>
          <a:noFill/>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pt-PT"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2016</a:t>
            </a:r>
          </a:p>
        </p:txBody>
      </p:sp>
      <p:sp>
        <p:nvSpPr>
          <p:cNvPr id="273" name="TextBox 50">
            <a:extLst>
              <a:ext uri="{FF2B5EF4-FFF2-40B4-BE49-F238E27FC236}">
                <a16:creationId xmlns="" xmlns:a16="http://schemas.microsoft.com/office/drawing/2014/main" id="{F60E6275-BB46-424A-94C5-9EF21CBEB8A3}"/>
              </a:ext>
            </a:extLst>
          </p:cNvPr>
          <p:cNvSpPr txBox="1"/>
          <p:nvPr/>
        </p:nvSpPr>
        <p:spPr>
          <a:xfrm>
            <a:off x="9420873" y="4447794"/>
            <a:ext cx="2147104" cy="1099532"/>
          </a:xfrm>
          <a:prstGeom prst="rect">
            <a:avLst/>
          </a:prstGeom>
          <a:noFill/>
          <a:ln>
            <a:noFill/>
          </a:ln>
        </p:spPr>
        <p:txBody>
          <a:bodyPr wrap="square" rtlCol="0">
            <a:spAutoFit/>
          </a:bodyPr>
          <a:lstStyle/>
          <a:p>
            <a:pPr lvl="0">
              <a:lnSpc>
                <a:spcPct val="85000"/>
              </a:lnSpc>
              <a:spcBef>
                <a:spcPts val="1200"/>
              </a:spcBef>
              <a:buClr>
                <a:srgbClr val="14C0F3"/>
              </a:buClr>
              <a:defRPr/>
            </a:pPr>
            <a:r>
              <a:rPr kumimoji="0" lang="en-US" sz="11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Class 1 Recall by FDA due to potential link </a:t>
            </a:r>
            <a:br>
              <a:rPr kumimoji="0" lang="en-US" sz="11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1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to Burkholderia cepacia bloodstream </a:t>
            </a:r>
            <a:r>
              <a:rPr kumimoji="0" lang="en-US" sz="1100" b="1"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infections.</a:t>
            </a:r>
            <a:r>
              <a:rPr lang="en-US" sz="1100" baseline="30000" dirty="0">
                <a:solidFill>
                  <a:schemeClr val="bg1"/>
                </a:solidFill>
                <a:latin typeface="Verdana" panose="020B0604030504040204" pitchFamily="34" charset="0"/>
                <a:ea typeface="Verdana" panose="020B0604030504040204" pitchFamily="34" charset="0"/>
                <a:cs typeface="Verdana" panose="020B0604030504040204" pitchFamily="34" charset="0"/>
              </a:rPr>
              <a:t> 7</a:t>
            </a:r>
            <a:r>
              <a:rPr kumimoji="0" lang="en-US" sz="1100" b="1"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100" b="0"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Over 164 cases in 5 states &amp; 59 healthcare facilities; 7 of those infected have </a:t>
            </a:r>
            <a:r>
              <a:rPr kumimoji="0" lang="en-US" sz="1100" b="0"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died</a:t>
            </a:r>
            <a:r>
              <a:rPr lang="en-US" sz="1100" baseline="30000" dirty="0">
                <a:solidFill>
                  <a:schemeClr val="bg1"/>
                </a:solidFill>
                <a:latin typeface="Verdana" panose="020B0604030504040204" pitchFamily="34" charset="0"/>
                <a:ea typeface="Verdana" panose="020B0604030504040204" pitchFamily="34" charset="0"/>
                <a:cs typeface="Verdana" panose="020B0604030504040204" pitchFamily="34" charset="0"/>
              </a:rPr>
              <a:t>3</a:t>
            </a:r>
            <a:endParaRPr kumimoji="0" lang="en-US" sz="1100" b="0" i="0" u="none" strike="noStrike" kern="1200" cap="none" spc="0" normalizeH="0" baseline="3000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277" name="Picture 276">
            <a:extLst>
              <a:ext uri="{FF2B5EF4-FFF2-40B4-BE49-F238E27FC236}">
                <a16:creationId xmlns="" xmlns:a16="http://schemas.microsoft.com/office/drawing/2014/main" id="{B9C47A44-E704-474E-B449-5879C4068F74}"/>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401962" y="3699656"/>
            <a:ext cx="511033" cy="336146"/>
          </a:xfrm>
          <a:prstGeom prst="rect">
            <a:avLst/>
          </a:prstGeom>
        </p:spPr>
      </p:pic>
      <p:grpSp>
        <p:nvGrpSpPr>
          <p:cNvPr id="282" name="Group 281">
            <a:extLst>
              <a:ext uri="{FF2B5EF4-FFF2-40B4-BE49-F238E27FC236}">
                <a16:creationId xmlns="" xmlns:a16="http://schemas.microsoft.com/office/drawing/2014/main" id="{144209F7-3F77-4A1A-8F6D-EF8F19818FF0}"/>
              </a:ext>
            </a:extLst>
          </p:cNvPr>
          <p:cNvGrpSpPr/>
          <p:nvPr/>
        </p:nvGrpSpPr>
        <p:grpSpPr>
          <a:xfrm>
            <a:off x="9071465" y="3687764"/>
            <a:ext cx="345600" cy="345600"/>
            <a:chOff x="9670612" y="958287"/>
            <a:chExt cx="638664" cy="638664"/>
          </a:xfrm>
        </p:grpSpPr>
        <p:sp>
          <p:nvSpPr>
            <p:cNvPr id="283" name="Oval 282">
              <a:extLst>
                <a:ext uri="{FF2B5EF4-FFF2-40B4-BE49-F238E27FC236}">
                  <a16:creationId xmlns="" xmlns:a16="http://schemas.microsoft.com/office/drawing/2014/main" id="{1D97B86F-3156-4211-8CC4-CEAF56B3A0CC}"/>
                </a:ext>
              </a:extLst>
            </p:cNvPr>
            <p:cNvSpPr/>
            <p:nvPr/>
          </p:nvSpPr>
          <p:spPr>
            <a:xfrm>
              <a:off x="9670612" y="958287"/>
              <a:ext cx="638664" cy="638664"/>
            </a:xfrm>
            <a:prstGeom prst="ellipse">
              <a:avLst/>
            </a:prstGeom>
            <a:solidFill>
              <a:srgbClr val="055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84" name="Group 4">
              <a:extLst>
                <a:ext uri="{FF2B5EF4-FFF2-40B4-BE49-F238E27FC236}">
                  <a16:creationId xmlns="" xmlns:a16="http://schemas.microsoft.com/office/drawing/2014/main" id="{81FF8C89-4B9E-4587-84DB-B0309A174AFD}"/>
                </a:ext>
              </a:extLst>
            </p:cNvPr>
            <p:cNvGrpSpPr>
              <a:grpSpLocks noChangeAspect="1"/>
            </p:cNvGrpSpPr>
            <p:nvPr/>
          </p:nvGrpSpPr>
          <p:grpSpPr bwMode="auto">
            <a:xfrm>
              <a:off x="9843355" y="1114574"/>
              <a:ext cx="309924" cy="270782"/>
              <a:chOff x="-1" y="3"/>
              <a:chExt cx="4529" cy="3957"/>
            </a:xfrm>
            <a:solidFill>
              <a:schemeClr val="bg1"/>
            </a:solidFill>
          </p:grpSpPr>
          <p:sp>
            <p:nvSpPr>
              <p:cNvPr id="285" name="Freeform 5">
                <a:extLst>
                  <a:ext uri="{FF2B5EF4-FFF2-40B4-BE49-F238E27FC236}">
                    <a16:creationId xmlns="" xmlns:a16="http://schemas.microsoft.com/office/drawing/2014/main" id="{3EC5157B-3833-4249-9B16-15CCEC421500}"/>
                  </a:ext>
                </a:extLst>
              </p:cNvPr>
              <p:cNvSpPr>
                <a:spLocks noEditPoints="1"/>
              </p:cNvSpPr>
              <p:nvPr/>
            </p:nvSpPr>
            <p:spPr bwMode="auto">
              <a:xfrm>
                <a:off x="-1" y="3"/>
                <a:ext cx="4529" cy="3957"/>
              </a:xfrm>
              <a:custGeom>
                <a:avLst/>
                <a:gdLst>
                  <a:gd name="T0" fmla="*/ 896 w 1696"/>
                  <a:gd name="T1" fmla="*/ 27 h 1481"/>
                  <a:gd name="T2" fmla="*/ 849 w 1696"/>
                  <a:gd name="T3" fmla="*/ 0 h 1481"/>
                  <a:gd name="T4" fmla="*/ 802 w 1696"/>
                  <a:gd name="T5" fmla="*/ 27 h 1481"/>
                  <a:gd name="T6" fmla="*/ 9 w 1696"/>
                  <a:gd name="T7" fmla="*/ 1399 h 1481"/>
                  <a:gd name="T8" fmla="*/ 9 w 1696"/>
                  <a:gd name="T9" fmla="*/ 1453 h 1481"/>
                  <a:gd name="T10" fmla="*/ 57 w 1696"/>
                  <a:gd name="T11" fmla="*/ 1481 h 1481"/>
                  <a:gd name="T12" fmla="*/ 1641 w 1696"/>
                  <a:gd name="T13" fmla="*/ 1481 h 1481"/>
                  <a:gd name="T14" fmla="*/ 1696 w 1696"/>
                  <a:gd name="T15" fmla="*/ 1426 h 1481"/>
                  <a:gd name="T16" fmla="*/ 1687 w 1696"/>
                  <a:gd name="T17" fmla="*/ 1395 h 1481"/>
                  <a:gd name="T18" fmla="*/ 896 w 1696"/>
                  <a:gd name="T19" fmla="*/ 27 h 1481"/>
                  <a:gd name="T20" fmla="*/ 151 w 1696"/>
                  <a:gd name="T21" fmla="*/ 1372 h 1481"/>
                  <a:gd name="T22" fmla="*/ 849 w 1696"/>
                  <a:gd name="T23" fmla="*/ 163 h 1481"/>
                  <a:gd name="T24" fmla="*/ 1547 w 1696"/>
                  <a:gd name="T25" fmla="*/ 1372 h 1481"/>
                  <a:gd name="T26" fmla="*/ 151 w 1696"/>
                  <a:gd name="T27" fmla="*/ 1372 h 1481"/>
                  <a:gd name="T28" fmla="*/ 151 w 1696"/>
                  <a:gd name="T29" fmla="*/ 1372 h 1481"/>
                  <a:gd name="T30" fmla="*/ 151 w 1696"/>
                  <a:gd name="T31" fmla="*/ 1372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6" h="1481">
                    <a:moveTo>
                      <a:pt x="896" y="27"/>
                    </a:moveTo>
                    <a:cubicBezTo>
                      <a:pt x="886" y="10"/>
                      <a:pt x="868" y="0"/>
                      <a:pt x="849" y="0"/>
                    </a:cubicBezTo>
                    <a:cubicBezTo>
                      <a:pt x="830" y="0"/>
                      <a:pt x="812" y="10"/>
                      <a:pt x="802" y="27"/>
                    </a:cubicBezTo>
                    <a:cubicBezTo>
                      <a:pt x="9" y="1399"/>
                      <a:pt x="9" y="1399"/>
                      <a:pt x="9" y="1399"/>
                    </a:cubicBezTo>
                    <a:cubicBezTo>
                      <a:pt x="0" y="1416"/>
                      <a:pt x="0" y="1436"/>
                      <a:pt x="9" y="1453"/>
                    </a:cubicBezTo>
                    <a:cubicBezTo>
                      <a:pt x="19" y="1471"/>
                      <a:pt x="38" y="1481"/>
                      <a:pt x="57" y="1481"/>
                    </a:cubicBezTo>
                    <a:cubicBezTo>
                      <a:pt x="1641" y="1481"/>
                      <a:pt x="1641" y="1481"/>
                      <a:pt x="1641" y="1481"/>
                    </a:cubicBezTo>
                    <a:cubicBezTo>
                      <a:pt x="1671" y="1481"/>
                      <a:pt x="1696" y="1456"/>
                      <a:pt x="1696" y="1426"/>
                    </a:cubicBezTo>
                    <a:cubicBezTo>
                      <a:pt x="1696" y="1414"/>
                      <a:pt x="1692" y="1404"/>
                      <a:pt x="1687" y="1395"/>
                    </a:cubicBezTo>
                    <a:lnTo>
                      <a:pt x="896" y="27"/>
                    </a:lnTo>
                    <a:close/>
                    <a:moveTo>
                      <a:pt x="151" y="1372"/>
                    </a:moveTo>
                    <a:cubicBezTo>
                      <a:pt x="849" y="163"/>
                      <a:pt x="849" y="163"/>
                      <a:pt x="849" y="163"/>
                    </a:cubicBezTo>
                    <a:cubicBezTo>
                      <a:pt x="1547" y="1372"/>
                      <a:pt x="1547" y="1372"/>
                      <a:pt x="1547" y="1372"/>
                    </a:cubicBezTo>
                    <a:lnTo>
                      <a:pt x="151" y="1372"/>
                    </a:lnTo>
                    <a:close/>
                    <a:moveTo>
                      <a:pt x="151" y="1372"/>
                    </a:moveTo>
                    <a:cubicBezTo>
                      <a:pt x="151" y="1372"/>
                      <a:pt x="151" y="1372"/>
                      <a:pt x="151" y="13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286" name="Freeform 6">
                <a:extLst>
                  <a:ext uri="{FF2B5EF4-FFF2-40B4-BE49-F238E27FC236}">
                    <a16:creationId xmlns="" xmlns:a16="http://schemas.microsoft.com/office/drawing/2014/main" id="{5C13E293-F8C9-4909-953B-10C5349D0270}"/>
                  </a:ext>
                </a:extLst>
              </p:cNvPr>
              <p:cNvSpPr>
                <a:spLocks noEditPoints="1"/>
              </p:cNvSpPr>
              <p:nvPr/>
            </p:nvSpPr>
            <p:spPr bwMode="auto">
              <a:xfrm>
                <a:off x="2119" y="1293"/>
                <a:ext cx="291" cy="1406"/>
              </a:xfrm>
              <a:custGeom>
                <a:avLst/>
                <a:gdLst>
                  <a:gd name="T0" fmla="*/ 0 w 109"/>
                  <a:gd name="T1" fmla="*/ 55 h 526"/>
                  <a:gd name="T2" fmla="*/ 0 w 109"/>
                  <a:gd name="T3" fmla="*/ 472 h 526"/>
                  <a:gd name="T4" fmla="*/ 54 w 109"/>
                  <a:gd name="T5" fmla="*/ 526 h 526"/>
                  <a:gd name="T6" fmla="*/ 109 w 109"/>
                  <a:gd name="T7" fmla="*/ 472 h 526"/>
                  <a:gd name="T8" fmla="*/ 109 w 109"/>
                  <a:gd name="T9" fmla="*/ 55 h 526"/>
                  <a:gd name="T10" fmla="*/ 54 w 109"/>
                  <a:gd name="T11" fmla="*/ 0 h 526"/>
                  <a:gd name="T12" fmla="*/ 0 w 109"/>
                  <a:gd name="T13" fmla="*/ 55 h 526"/>
                  <a:gd name="T14" fmla="*/ 0 w 109"/>
                  <a:gd name="T15" fmla="*/ 55 h 526"/>
                  <a:gd name="T16" fmla="*/ 0 w 109"/>
                  <a:gd name="T17" fmla="*/ 5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526">
                    <a:moveTo>
                      <a:pt x="0" y="55"/>
                    </a:moveTo>
                    <a:cubicBezTo>
                      <a:pt x="0" y="472"/>
                      <a:pt x="0" y="472"/>
                      <a:pt x="0" y="472"/>
                    </a:cubicBezTo>
                    <a:cubicBezTo>
                      <a:pt x="0" y="502"/>
                      <a:pt x="24" y="526"/>
                      <a:pt x="54" y="526"/>
                    </a:cubicBezTo>
                    <a:cubicBezTo>
                      <a:pt x="84" y="526"/>
                      <a:pt x="109" y="502"/>
                      <a:pt x="109" y="472"/>
                    </a:cubicBezTo>
                    <a:cubicBezTo>
                      <a:pt x="109" y="55"/>
                      <a:pt x="109" y="55"/>
                      <a:pt x="109" y="55"/>
                    </a:cubicBezTo>
                    <a:cubicBezTo>
                      <a:pt x="109" y="25"/>
                      <a:pt x="84" y="0"/>
                      <a:pt x="54" y="0"/>
                    </a:cubicBezTo>
                    <a:cubicBezTo>
                      <a:pt x="24" y="0"/>
                      <a:pt x="0" y="25"/>
                      <a:pt x="0" y="55"/>
                    </a:cubicBezTo>
                    <a:close/>
                    <a:moveTo>
                      <a:pt x="0" y="55"/>
                    </a:moveTo>
                    <a:cubicBezTo>
                      <a:pt x="0" y="55"/>
                      <a:pt x="0" y="55"/>
                      <a:pt x="0"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287" name="Freeform 7">
                <a:extLst>
                  <a:ext uri="{FF2B5EF4-FFF2-40B4-BE49-F238E27FC236}">
                    <a16:creationId xmlns="" xmlns:a16="http://schemas.microsoft.com/office/drawing/2014/main" id="{ED6ECAEE-414D-402B-8537-51D7A3B5C526}"/>
                  </a:ext>
                </a:extLst>
              </p:cNvPr>
              <p:cNvSpPr>
                <a:spLocks noEditPoints="1"/>
              </p:cNvSpPr>
              <p:nvPr/>
            </p:nvSpPr>
            <p:spPr bwMode="auto">
              <a:xfrm>
                <a:off x="2119" y="2894"/>
                <a:ext cx="291" cy="387"/>
              </a:xfrm>
              <a:custGeom>
                <a:avLst/>
                <a:gdLst>
                  <a:gd name="T0" fmla="*/ 54 w 109"/>
                  <a:gd name="T1" fmla="*/ 0 h 145"/>
                  <a:gd name="T2" fmla="*/ 0 w 109"/>
                  <a:gd name="T3" fmla="*/ 54 h 145"/>
                  <a:gd name="T4" fmla="*/ 0 w 109"/>
                  <a:gd name="T5" fmla="*/ 90 h 145"/>
                  <a:gd name="T6" fmla="*/ 54 w 109"/>
                  <a:gd name="T7" fmla="*/ 145 h 145"/>
                  <a:gd name="T8" fmla="*/ 109 w 109"/>
                  <a:gd name="T9" fmla="*/ 90 h 145"/>
                  <a:gd name="T10" fmla="*/ 109 w 109"/>
                  <a:gd name="T11" fmla="*/ 54 h 145"/>
                  <a:gd name="T12" fmla="*/ 54 w 109"/>
                  <a:gd name="T13" fmla="*/ 0 h 145"/>
                  <a:gd name="T14" fmla="*/ 54 w 109"/>
                  <a:gd name="T15" fmla="*/ 0 h 145"/>
                  <a:gd name="T16" fmla="*/ 54 w 109"/>
                  <a:gd name="T1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145">
                    <a:moveTo>
                      <a:pt x="54" y="0"/>
                    </a:moveTo>
                    <a:cubicBezTo>
                      <a:pt x="24" y="0"/>
                      <a:pt x="0" y="24"/>
                      <a:pt x="0" y="54"/>
                    </a:cubicBezTo>
                    <a:cubicBezTo>
                      <a:pt x="0" y="90"/>
                      <a:pt x="0" y="90"/>
                      <a:pt x="0" y="90"/>
                    </a:cubicBezTo>
                    <a:cubicBezTo>
                      <a:pt x="0" y="120"/>
                      <a:pt x="24" y="145"/>
                      <a:pt x="54" y="145"/>
                    </a:cubicBezTo>
                    <a:cubicBezTo>
                      <a:pt x="84" y="145"/>
                      <a:pt x="109" y="120"/>
                      <a:pt x="109" y="90"/>
                    </a:cubicBezTo>
                    <a:cubicBezTo>
                      <a:pt x="109" y="54"/>
                      <a:pt x="109" y="54"/>
                      <a:pt x="109" y="54"/>
                    </a:cubicBezTo>
                    <a:cubicBezTo>
                      <a:pt x="109" y="24"/>
                      <a:pt x="84" y="0"/>
                      <a:pt x="54" y="0"/>
                    </a:cubicBezTo>
                    <a:close/>
                    <a:moveTo>
                      <a:pt x="54" y="0"/>
                    </a:moveTo>
                    <a:cubicBezTo>
                      <a:pt x="54" y="0"/>
                      <a:pt x="54" y="0"/>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cxnSp>
        <p:nvCxnSpPr>
          <p:cNvPr id="290" name="Straight Connector 289">
            <a:extLst>
              <a:ext uri="{FF2B5EF4-FFF2-40B4-BE49-F238E27FC236}">
                <a16:creationId xmlns="" xmlns:a16="http://schemas.microsoft.com/office/drawing/2014/main" id="{D822B5C3-93DF-4BB9-BDD8-630F2972B95A}"/>
              </a:ext>
            </a:extLst>
          </p:cNvPr>
          <p:cNvCxnSpPr>
            <a:cxnSpLocks/>
          </p:cNvCxnSpPr>
          <p:nvPr/>
        </p:nvCxnSpPr>
        <p:spPr>
          <a:xfrm>
            <a:off x="9518709" y="4341448"/>
            <a:ext cx="986365"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 xmlns:a16="http://schemas.microsoft.com/office/drawing/2014/main" id="{00FEB247-38FA-4568-A582-2CD4AC9FE681}"/>
              </a:ext>
            </a:extLst>
          </p:cNvPr>
          <p:cNvGrpSpPr/>
          <p:nvPr/>
        </p:nvGrpSpPr>
        <p:grpSpPr>
          <a:xfrm>
            <a:off x="7368346" y="3607374"/>
            <a:ext cx="1065375" cy="313134"/>
            <a:chOff x="5088637" y="3607374"/>
            <a:chExt cx="1065375" cy="313134"/>
          </a:xfrm>
        </p:grpSpPr>
        <p:pic>
          <p:nvPicPr>
            <p:cNvPr id="115" name="Picture 114">
              <a:extLst>
                <a:ext uri="{FF2B5EF4-FFF2-40B4-BE49-F238E27FC236}">
                  <a16:creationId xmlns="" xmlns:a16="http://schemas.microsoft.com/office/drawing/2014/main" id="{38B7F040-CA9D-437D-A010-A4829E0EADF2}"/>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b="58009"/>
            <a:stretch/>
          </p:blipFill>
          <p:spPr>
            <a:xfrm>
              <a:off x="5088637" y="3759656"/>
              <a:ext cx="562005" cy="134853"/>
            </a:xfrm>
            <a:prstGeom prst="rect">
              <a:avLst/>
            </a:prstGeom>
          </p:spPr>
        </p:pic>
        <p:pic>
          <p:nvPicPr>
            <p:cNvPr id="98306" name="Picture 2" descr="Resultado de imagem para hospira">
              <a:extLst>
                <a:ext uri="{FF2B5EF4-FFF2-40B4-BE49-F238E27FC236}">
                  <a16:creationId xmlns="" xmlns:a16="http://schemas.microsoft.com/office/drawing/2014/main" id="{4A28397C-4B82-42DF-800A-A078D3F0CB90}"/>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719848" y="3607374"/>
              <a:ext cx="434164" cy="313134"/>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Rectangle 14">
            <a:extLst>
              <a:ext uri="{FF2B5EF4-FFF2-40B4-BE49-F238E27FC236}">
                <a16:creationId xmlns="" xmlns:a16="http://schemas.microsoft.com/office/drawing/2014/main" id="{95575CD0-6408-4A32-A555-F74F84172264}"/>
              </a:ext>
            </a:extLst>
          </p:cNvPr>
          <p:cNvSpPr/>
          <p:nvPr/>
        </p:nvSpPr>
        <p:spPr>
          <a:xfrm>
            <a:off x="561706" y="4410295"/>
            <a:ext cx="3707656" cy="1522814"/>
          </a:xfrm>
          <a:prstGeom prst="rect">
            <a:avLst/>
          </a:prstGeom>
          <a:solidFill>
            <a:srgbClr val="F26926">
              <a:alpha val="9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PT" dirty="0"/>
          </a:p>
        </p:txBody>
      </p:sp>
      <p:sp>
        <p:nvSpPr>
          <p:cNvPr id="172" name="TextBox 171">
            <a:extLst>
              <a:ext uri="{FF2B5EF4-FFF2-40B4-BE49-F238E27FC236}">
                <a16:creationId xmlns="" xmlns:a16="http://schemas.microsoft.com/office/drawing/2014/main" id="{2EB4E599-4EB1-4446-8589-9076FAF9B3CB}"/>
              </a:ext>
            </a:extLst>
          </p:cNvPr>
          <p:cNvSpPr txBox="1"/>
          <p:nvPr/>
        </p:nvSpPr>
        <p:spPr>
          <a:xfrm>
            <a:off x="550924" y="4003515"/>
            <a:ext cx="1523034" cy="327782"/>
          </a:xfrm>
          <a:prstGeom prst="rect">
            <a:avLst/>
          </a:prstGeom>
          <a:noFill/>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pt-PT"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2008</a:t>
            </a:r>
          </a:p>
        </p:txBody>
      </p:sp>
      <p:cxnSp>
        <p:nvCxnSpPr>
          <p:cNvPr id="177" name="Straight Connector 176">
            <a:extLst>
              <a:ext uri="{FF2B5EF4-FFF2-40B4-BE49-F238E27FC236}">
                <a16:creationId xmlns="" xmlns:a16="http://schemas.microsoft.com/office/drawing/2014/main" id="{5264F783-66C4-43F8-8341-24CB429E7EC9}"/>
              </a:ext>
            </a:extLst>
          </p:cNvPr>
          <p:cNvCxnSpPr>
            <a:cxnSpLocks/>
          </p:cNvCxnSpPr>
          <p:nvPr/>
        </p:nvCxnSpPr>
        <p:spPr>
          <a:xfrm>
            <a:off x="662524" y="4342933"/>
            <a:ext cx="986365" cy="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sp>
        <p:nvSpPr>
          <p:cNvPr id="184" name="Rectangle 48">
            <a:extLst>
              <a:ext uri="{FF2B5EF4-FFF2-40B4-BE49-F238E27FC236}">
                <a16:creationId xmlns="" xmlns:a16="http://schemas.microsoft.com/office/drawing/2014/main" id="{76889A9E-E6E1-4E55-B4D7-A57339FA648C}"/>
              </a:ext>
            </a:extLst>
          </p:cNvPr>
          <p:cNvSpPr>
            <a:spLocks noChangeArrowheads="1"/>
          </p:cNvSpPr>
          <p:nvPr/>
        </p:nvSpPr>
        <p:spPr bwMode="auto">
          <a:xfrm>
            <a:off x="567274" y="3627120"/>
            <a:ext cx="1047750" cy="379413"/>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20000"/>
              </a:spcBef>
              <a:buClr>
                <a:srgbClr val="61A0D7"/>
              </a:buClr>
              <a:buFont typeface="Arial" charset="0"/>
              <a:buChar char="•"/>
              <a:defRPr sz="3200" b="1">
                <a:solidFill>
                  <a:srgbClr val="595959"/>
                </a:solidFill>
                <a:latin typeface="Calibri" pitchFamily="34" charset="0"/>
                <a:ea typeface="ＭＳ Ｐゴシック" pitchFamily="34" charset="-128"/>
                <a:cs typeface="Calibri" pitchFamily="34" charset="0"/>
              </a:defRPr>
            </a:lvl1pPr>
            <a:lvl2pPr marL="742950" indent="-285750">
              <a:spcBef>
                <a:spcPct val="20000"/>
              </a:spcBef>
              <a:buClr>
                <a:srgbClr val="61A0D7"/>
              </a:buClr>
              <a:buFont typeface="Arial" charset="0"/>
              <a:buChar char="–"/>
              <a:defRPr sz="2800">
                <a:solidFill>
                  <a:srgbClr val="595959"/>
                </a:solidFill>
                <a:latin typeface="Calibri" pitchFamily="34" charset="0"/>
                <a:ea typeface="ＭＳ Ｐゴシック" pitchFamily="34" charset="-128"/>
              </a:defRPr>
            </a:lvl2pPr>
            <a:lvl3pPr marL="1143000" indent="-228600">
              <a:spcBef>
                <a:spcPct val="20000"/>
              </a:spcBef>
              <a:buClr>
                <a:srgbClr val="61A0D7"/>
              </a:buClr>
              <a:buFont typeface="Arial" charset="0"/>
              <a:buChar char="•"/>
              <a:defRPr sz="2400">
                <a:solidFill>
                  <a:srgbClr val="595959"/>
                </a:solidFill>
                <a:latin typeface="Calibri" pitchFamily="34" charset="0"/>
                <a:ea typeface="ＭＳ Ｐゴシック" pitchFamily="34" charset="-128"/>
              </a:defRPr>
            </a:lvl3pPr>
            <a:lvl4pPr marL="16002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4pPr>
            <a:lvl5pPr marL="20574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9pPr>
          </a:lstStyle>
          <a:p>
            <a:pPr marL="0" marR="0" lvl="0" indent="0" algn="ctr" defTabSz="457200" rtl="0" eaLnBrk="0" fontAlgn="base" latinLnBrk="0" hangingPunct="0">
              <a:lnSpc>
                <a:spcPct val="100000"/>
              </a:lnSpc>
              <a:spcBef>
                <a:spcPct val="0"/>
              </a:spcBef>
              <a:spcAft>
                <a:spcPct val="0"/>
              </a:spcAft>
              <a:buClrTx/>
              <a:buSzTx/>
              <a:buFont typeface="Arial" charset="0"/>
              <a:buNone/>
              <a:tabLst/>
              <a:defRPr/>
            </a:pPr>
            <a:r>
              <a:rPr kumimoji="0" lang="en-US" altLang="en-US" sz="1800" b="1" i="0" u="none" strike="noStrike" kern="1200" cap="none" spc="0" normalizeH="0" baseline="0" noProof="0" dirty="0">
                <a:ln>
                  <a:noFill/>
                </a:ln>
                <a:solidFill>
                  <a:srgbClr val="FF6600"/>
                </a:solidFill>
                <a:effectLst/>
                <a:uLnTx/>
                <a:uFillTx/>
                <a:latin typeface="Arial" charset="0"/>
                <a:ea typeface="ＭＳ Ｐゴシック" pitchFamily="34" charset="-128"/>
              </a:rPr>
              <a:t>Am2Pat</a:t>
            </a:r>
          </a:p>
        </p:txBody>
      </p:sp>
      <p:grpSp>
        <p:nvGrpSpPr>
          <p:cNvPr id="189" name="Group 188">
            <a:extLst>
              <a:ext uri="{FF2B5EF4-FFF2-40B4-BE49-F238E27FC236}">
                <a16:creationId xmlns="" xmlns:a16="http://schemas.microsoft.com/office/drawing/2014/main" id="{C029957A-FD4F-40C4-94D3-FE2B1C4C6A0D}"/>
              </a:ext>
            </a:extLst>
          </p:cNvPr>
          <p:cNvGrpSpPr/>
          <p:nvPr/>
        </p:nvGrpSpPr>
        <p:grpSpPr>
          <a:xfrm>
            <a:off x="205324" y="3648899"/>
            <a:ext cx="345600" cy="345600"/>
            <a:chOff x="6179441" y="990600"/>
            <a:chExt cx="638664" cy="638664"/>
          </a:xfrm>
        </p:grpSpPr>
        <p:sp>
          <p:nvSpPr>
            <p:cNvPr id="191" name="Oval 190">
              <a:extLst>
                <a:ext uri="{FF2B5EF4-FFF2-40B4-BE49-F238E27FC236}">
                  <a16:creationId xmlns="" xmlns:a16="http://schemas.microsoft.com/office/drawing/2014/main" id="{19A96892-F25F-43ED-9AF2-DB634AFE174A}"/>
                </a:ext>
              </a:extLst>
            </p:cNvPr>
            <p:cNvSpPr/>
            <p:nvPr/>
          </p:nvSpPr>
          <p:spPr>
            <a:xfrm>
              <a:off x="6179441" y="990600"/>
              <a:ext cx="638664" cy="638664"/>
            </a:xfrm>
            <a:prstGeom prst="ellips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6" name="Freeform 11">
              <a:extLst>
                <a:ext uri="{FF2B5EF4-FFF2-40B4-BE49-F238E27FC236}">
                  <a16:creationId xmlns="" xmlns:a16="http://schemas.microsoft.com/office/drawing/2014/main" id="{0FFE186F-B7A0-41C4-A23A-527301C526CC}"/>
                </a:ext>
              </a:extLst>
            </p:cNvPr>
            <p:cNvSpPr>
              <a:spLocks noEditPoints="1"/>
            </p:cNvSpPr>
            <p:nvPr/>
          </p:nvSpPr>
          <p:spPr bwMode="auto">
            <a:xfrm>
              <a:off x="6328480" y="1140645"/>
              <a:ext cx="348558" cy="317821"/>
            </a:xfrm>
            <a:custGeom>
              <a:avLst/>
              <a:gdLst>
                <a:gd name="T0" fmla="*/ 1768 w 2150"/>
                <a:gd name="T1" fmla="*/ 287 h 1959"/>
                <a:gd name="T2" fmla="*/ 1075 w 2150"/>
                <a:gd name="T3" fmla="*/ 0 h 1959"/>
                <a:gd name="T4" fmla="*/ 383 w 2150"/>
                <a:gd name="T5" fmla="*/ 287 h 1959"/>
                <a:gd name="T6" fmla="*/ 383 w 2150"/>
                <a:gd name="T7" fmla="*/ 1672 h 1959"/>
                <a:gd name="T8" fmla="*/ 1075 w 2150"/>
                <a:gd name="T9" fmla="*/ 1959 h 1959"/>
                <a:gd name="T10" fmla="*/ 1768 w 2150"/>
                <a:gd name="T11" fmla="*/ 1672 h 1959"/>
                <a:gd name="T12" fmla="*/ 1768 w 2150"/>
                <a:gd name="T13" fmla="*/ 287 h 1959"/>
                <a:gd name="T14" fmla="*/ 1701 w 2150"/>
                <a:gd name="T15" fmla="*/ 1605 h 1959"/>
                <a:gd name="T16" fmla="*/ 1075 w 2150"/>
                <a:gd name="T17" fmla="*/ 1864 h 1959"/>
                <a:gd name="T18" fmla="*/ 449 w 2150"/>
                <a:gd name="T19" fmla="*/ 1605 h 1959"/>
                <a:gd name="T20" fmla="*/ 190 w 2150"/>
                <a:gd name="T21" fmla="*/ 979 h 1959"/>
                <a:gd name="T22" fmla="*/ 449 w 2150"/>
                <a:gd name="T23" fmla="*/ 354 h 1959"/>
                <a:gd name="T24" fmla="*/ 1075 w 2150"/>
                <a:gd name="T25" fmla="*/ 95 h 1959"/>
                <a:gd name="T26" fmla="*/ 1701 w 2150"/>
                <a:gd name="T27" fmla="*/ 354 h 1959"/>
                <a:gd name="T28" fmla="*/ 1960 w 2150"/>
                <a:gd name="T29" fmla="*/ 979 h 1959"/>
                <a:gd name="T30" fmla="*/ 1701 w 2150"/>
                <a:gd name="T31" fmla="*/ 1605 h 1959"/>
                <a:gd name="T32" fmla="*/ 1373 w 2150"/>
                <a:gd name="T33" fmla="*/ 751 h 1959"/>
                <a:gd name="T34" fmla="*/ 1134 w 2150"/>
                <a:gd name="T35" fmla="*/ 990 h 1959"/>
                <a:gd name="T36" fmla="*/ 1373 w 2150"/>
                <a:gd name="T37" fmla="*/ 1228 h 1959"/>
                <a:gd name="T38" fmla="*/ 1373 w 2150"/>
                <a:gd name="T39" fmla="*/ 1295 h 1959"/>
                <a:gd name="T40" fmla="*/ 1339 w 2150"/>
                <a:gd name="T41" fmla="*/ 1308 h 1959"/>
                <a:gd name="T42" fmla="*/ 1306 w 2150"/>
                <a:gd name="T43" fmla="*/ 1295 h 1959"/>
                <a:gd name="T44" fmla="*/ 1068 w 2150"/>
                <a:gd name="T45" fmla="*/ 1056 h 1959"/>
                <a:gd name="T46" fmla="*/ 829 w 2150"/>
                <a:gd name="T47" fmla="*/ 1295 h 1959"/>
                <a:gd name="T48" fmla="*/ 796 w 2150"/>
                <a:gd name="T49" fmla="*/ 1308 h 1959"/>
                <a:gd name="T50" fmla="*/ 762 w 2150"/>
                <a:gd name="T51" fmla="*/ 1295 h 1959"/>
                <a:gd name="T52" fmla="*/ 762 w 2150"/>
                <a:gd name="T53" fmla="*/ 1228 h 1959"/>
                <a:gd name="T54" fmla="*/ 1001 w 2150"/>
                <a:gd name="T55" fmla="*/ 990 h 1959"/>
                <a:gd name="T56" fmla="*/ 762 w 2150"/>
                <a:gd name="T57" fmla="*/ 751 h 1959"/>
                <a:gd name="T58" fmla="*/ 762 w 2150"/>
                <a:gd name="T59" fmla="*/ 684 h 1959"/>
                <a:gd name="T60" fmla="*/ 829 w 2150"/>
                <a:gd name="T61" fmla="*/ 684 h 1959"/>
                <a:gd name="T62" fmla="*/ 1068 w 2150"/>
                <a:gd name="T63" fmla="*/ 923 h 1959"/>
                <a:gd name="T64" fmla="*/ 1306 w 2150"/>
                <a:gd name="T65" fmla="*/ 684 h 1959"/>
                <a:gd name="T66" fmla="*/ 1373 w 2150"/>
                <a:gd name="T67" fmla="*/ 684 h 1959"/>
                <a:gd name="T68" fmla="*/ 1373 w 2150"/>
                <a:gd name="T69" fmla="*/ 751 h 1959"/>
                <a:gd name="T70" fmla="*/ 1373 w 2150"/>
                <a:gd name="T71" fmla="*/ 751 h 1959"/>
                <a:gd name="T72" fmla="*/ 1373 w 2150"/>
                <a:gd name="T73" fmla="*/ 751 h 1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50" h="1959">
                  <a:moveTo>
                    <a:pt x="1768" y="287"/>
                  </a:moveTo>
                  <a:cubicBezTo>
                    <a:pt x="1583" y="102"/>
                    <a:pt x="1337" y="0"/>
                    <a:pt x="1075" y="0"/>
                  </a:cubicBezTo>
                  <a:cubicBezTo>
                    <a:pt x="813" y="0"/>
                    <a:pt x="567" y="102"/>
                    <a:pt x="383" y="287"/>
                  </a:cubicBezTo>
                  <a:cubicBezTo>
                    <a:pt x="0" y="669"/>
                    <a:pt x="0" y="1290"/>
                    <a:pt x="383" y="1672"/>
                  </a:cubicBezTo>
                  <a:cubicBezTo>
                    <a:pt x="567" y="1857"/>
                    <a:pt x="813" y="1959"/>
                    <a:pt x="1075" y="1959"/>
                  </a:cubicBezTo>
                  <a:cubicBezTo>
                    <a:pt x="1337" y="1959"/>
                    <a:pt x="1583" y="1857"/>
                    <a:pt x="1768" y="1672"/>
                  </a:cubicBezTo>
                  <a:cubicBezTo>
                    <a:pt x="2150" y="1290"/>
                    <a:pt x="2150" y="669"/>
                    <a:pt x="1768" y="287"/>
                  </a:cubicBezTo>
                  <a:close/>
                  <a:moveTo>
                    <a:pt x="1701" y="1605"/>
                  </a:moveTo>
                  <a:cubicBezTo>
                    <a:pt x="1534" y="1772"/>
                    <a:pt x="1311" y="1864"/>
                    <a:pt x="1075" y="1864"/>
                  </a:cubicBezTo>
                  <a:cubicBezTo>
                    <a:pt x="839" y="1864"/>
                    <a:pt x="616" y="1772"/>
                    <a:pt x="449" y="1605"/>
                  </a:cubicBezTo>
                  <a:cubicBezTo>
                    <a:pt x="283" y="1439"/>
                    <a:pt x="190" y="1216"/>
                    <a:pt x="190" y="979"/>
                  </a:cubicBezTo>
                  <a:cubicBezTo>
                    <a:pt x="190" y="743"/>
                    <a:pt x="283" y="520"/>
                    <a:pt x="449" y="354"/>
                  </a:cubicBezTo>
                  <a:cubicBezTo>
                    <a:pt x="616" y="187"/>
                    <a:pt x="839" y="95"/>
                    <a:pt x="1075" y="95"/>
                  </a:cubicBezTo>
                  <a:cubicBezTo>
                    <a:pt x="1311" y="95"/>
                    <a:pt x="1534" y="187"/>
                    <a:pt x="1701" y="354"/>
                  </a:cubicBezTo>
                  <a:cubicBezTo>
                    <a:pt x="1868" y="520"/>
                    <a:pt x="1960" y="744"/>
                    <a:pt x="1960" y="979"/>
                  </a:cubicBezTo>
                  <a:cubicBezTo>
                    <a:pt x="1960" y="1215"/>
                    <a:pt x="1868" y="1439"/>
                    <a:pt x="1701" y="1605"/>
                  </a:cubicBezTo>
                  <a:close/>
                  <a:moveTo>
                    <a:pt x="1373" y="751"/>
                  </a:moveTo>
                  <a:cubicBezTo>
                    <a:pt x="1134" y="990"/>
                    <a:pt x="1134" y="990"/>
                    <a:pt x="1134" y="990"/>
                  </a:cubicBezTo>
                  <a:cubicBezTo>
                    <a:pt x="1373" y="1228"/>
                    <a:pt x="1373" y="1228"/>
                    <a:pt x="1373" y="1228"/>
                  </a:cubicBezTo>
                  <a:cubicBezTo>
                    <a:pt x="1391" y="1246"/>
                    <a:pt x="1391" y="1277"/>
                    <a:pt x="1373" y="1295"/>
                  </a:cubicBezTo>
                  <a:cubicBezTo>
                    <a:pt x="1363" y="1305"/>
                    <a:pt x="1352" y="1308"/>
                    <a:pt x="1339" y="1308"/>
                  </a:cubicBezTo>
                  <a:cubicBezTo>
                    <a:pt x="1327" y="1308"/>
                    <a:pt x="1316" y="1302"/>
                    <a:pt x="1306" y="1295"/>
                  </a:cubicBezTo>
                  <a:cubicBezTo>
                    <a:pt x="1068" y="1056"/>
                    <a:pt x="1068" y="1056"/>
                    <a:pt x="1068" y="1056"/>
                  </a:cubicBezTo>
                  <a:cubicBezTo>
                    <a:pt x="829" y="1295"/>
                    <a:pt x="829" y="1295"/>
                    <a:pt x="829" y="1295"/>
                  </a:cubicBezTo>
                  <a:cubicBezTo>
                    <a:pt x="819" y="1305"/>
                    <a:pt x="808" y="1308"/>
                    <a:pt x="796" y="1308"/>
                  </a:cubicBezTo>
                  <a:cubicBezTo>
                    <a:pt x="783" y="1308"/>
                    <a:pt x="773" y="1302"/>
                    <a:pt x="762" y="1295"/>
                  </a:cubicBezTo>
                  <a:cubicBezTo>
                    <a:pt x="744" y="1277"/>
                    <a:pt x="744" y="1246"/>
                    <a:pt x="762" y="1228"/>
                  </a:cubicBezTo>
                  <a:cubicBezTo>
                    <a:pt x="1001" y="990"/>
                    <a:pt x="1001" y="990"/>
                    <a:pt x="1001" y="990"/>
                  </a:cubicBezTo>
                  <a:cubicBezTo>
                    <a:pt x="762" y="751"/>
                    <a:pt x="762" y="751"/>
                    <a:pt x="762" y="751"/>
                  </a:cubicBezTo>
                  <a:cubicBezTo>
                    <a:pt x="744" y="733"/>
                    <a:pt x="744" y="703"/>
                    <a:pt x="762" y="684"/>
                  </a:cubicBezTo>
                  <a:cubicBezTo>
                    <a:pt x="780" y="666"/>
                    <a:pt x="811" y="666"/>
                    <a:pt x="829" y="684"/>
                  </a:cubicBezTo>
                  <a:cubicBezTo>
                    <a:pt x="1068" y="923"/>
                    <a:pt x="1068" y="923"/>
                    <a:pt x="1068" y="923"/>
                  </a:cubicBezTo>
                  <a:cubicBezTo>
                    <a:pt x="1306" y="684"/>
                    <a:pt x="1306" y="684"/>
                    <a:pt x="1306" y="684"/>
                  </a:cubicBezTo>
                  <a:cubicBezTo>
                    <a:pt x="1324" y="666"/>
                    <a:pt x="1355" y="666"/>
                    <a:pt x="1373" y="684"/>
                  </a:cubicBezTo>
                  <a:cubicBezTo>
                    <a:pt x="1391" y="703"/>
                    <a:pt x="1391" y="731"/>
                    <a:pt x="1373" y="751"/>
                  </a:cubicBezTo>
                  <a:close/>
                  <a:moveTo>
                    <a:pt x="1373" y="751"/>
                  </a:moveTo>
                  <a:cubicBezTo>
                    <a:pt x="1373" y="751"/>
                    <a:pt x="1373" y="751"/>
                    <a:pt x="1373" y="75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nvGrpSpPr>
          <p:cNvPr id="203" name="Group 202">
            <a:extLst>
              <a:ext uri="{FF2B5EF4-FFF2-40B4-BE49-F238E27FC236}">
                <a16:creationId xmlns="" xmlns:a16="http://schemas.microsoft.com/office/drawing/2014/main" id="{C0CC8D58-3535-467F-BC45-E0DE827356FF}"/>
              </a:ext>
            </a:extLst>
          </p:cNvPr>
          <p:cNvGrpSpPr/>
          <p:nvPr/>
        </p:nvGrpSpPr>
        <p:grpSpPr>
          <a:xfrm>
            <a:off x="570784" y="4460714"/>
            <a:ext cx="3698577" cy="1278299"/>
            <a:chOff x="3171009" y="3456663"/>
            <a:chExt cx="2658654" cy="1278299"/>
          </a:xfrm>
        </p:grpSpPr>
        <p:sp>
          <p:nvSpPr>
            <p:cNvPr id="204" name="TextBox 50">
              <a:extLst>
                <a:ext uri="{FF2B5EF4-FFF2-40B4-BE49-F238E27FC236}">
                  <a16:creationId xmlns="" xmlns:a16="http://schemas.microsoft.com/office/drawing/2014/main" id="{06B6BBA0-9844-4A72-A2E0-2E89F3EA8E53}"/>
                </a:ext>
              </a:extLst>
            </p:cNvPr>
            <p:cNvSpPr txBox="1"/>
            <p:nvPr/>
          </p:nvSpPr>
          <p:spPr>
            <a:xfrm>
              <a:off x="3171009" y="3456663"/>
              <a:ext cx="2658654" cy="1278299"/>
            </a:xfrm>
            <a:prstGeom prst="rect">
              <a:avLst/>
            </a:prstGeom>
            <a:noFill/>
            <a:ln>
              <a:noFill/>
            </a:ln>
          </p:spPr>
          <p:txBody>
            <a:bodyPr wrap="square" rtlCol="0">
              <a:spAutoFit/>
            </a:bodyPr>
            <a:lstStyle/>
            <a:p>
              <a:pPr marL="0" marR="0" lvl="0" indent="0" algn="l" defTabSz="914400" rtl="0" eaLnBrk="1" fontAlgn="auto" latinLnBrk="0" hangingPunct="1">
                <a:lnSpc>
                  <a:spcPct val="80000"/>
                </a:lnSpc>
                <a:spcBef>
                  <a:spcPts val="800"/>
                </a:spcBef>
                <a:spcAft>
                  <a:spcPts val="0"/>
                </a:spcAft>
                <a:buClr>
                  <a:srgbClr val="14C0F3"/>
                </a:buClr>
                <a:buSzTx/>
                <a:buFontTx/>
                <a:buNone/>
                <a:tabLst/>
                <a:defRPr/>
              </a:pPr>
              <a:r>
                <a:rPr kumimoji="0" lang="en-US" sz="11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AM2PAT begins shipment of syringes labeled “sterile” </a:t>
              </a:r>
              <a:r>
                <a:rPr kumimoji="0" lang="en-US" sz="1100" b="0"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that had not undergone sterility testing which were linked to bacterial infections</a:t>
              </a:r>
            </a:p>
            <a:p>
              <a:pPr marL="0" marR="0" lvl="0" indent="0" algn="l" defTabSz="914400" rtl="0" eaLnBrk="1" fontAlgn="auto" latinLnBrk="0" hangingPunct="1">
                <a:lnSpc>
                  <a:spcPct val="80000"/>
                </a:lnSpc>
                <a:spcBef>
                  <a:spcPts val="800"/>
                </a:spcBef>
                <a:spcAft>
                  <a:spcPts val="0"/>
                </a:spcAft>
                <a:buClr>
                  <a:srgbClr val="14C0F3"/>
                </a:buClr>
                <a:buSzTx/>
                <a:buFontTx/>
                <a:buNone/>
                <a:tabLst/>
                <a:defRPr/>
              </a:pPr>
              <a:r>
                <a:rPr kumimoji="0" lang="en-US" sz="1100" b="0"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Over </a:t>
              </a:r>
              <a:r>
                <a:rPr kumimoji="0" lang="en-US" sz="1100" b="0"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160 </a:t>
              </a:r>
              <a:r>
                <a:rPr kumimoji="0" lang="en-US" sz="1100" b="0"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cases of bacterial infections, some resulting in spinal meningitis and permanent brain damage; </a:t>
              </a:r>
              <a:r>
                <a:rPr kumimoji="0" lang="en-US" sz="1100" b="0"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4 </a:t>
              </a:r>
              <a:r>
                <a:rPr kumimoji="0" lang="en-US" sz="1100" b="0"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of those infected died, including </a:t>
              </a:r>
              <a:br>
                <a:rPr kumimoji="0" lang="en-US" sz="1100" b="0"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100" b="0"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a 2 </a:t>
              </a:r>
              <a:r>
                <a:rPr kumimoji="0" lang="en-US" sz="1100" b="0" i="0" u="none" strike="noStrike" kern="120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year-old</a:t>
              </a:r>
              <a:r>
                <a:rPr lang="en-US" sz="1100" baseline="300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20</a:t>
              </a:r>
              <a:endParaRPr kumimoji="0" lang="en-US" sz="1100" b="0" i="0" u="none" strike="noStrike" kern="1200" cap="none" spc="0" normalizeH="0" baseline="3000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210" name="Straight Connector 209">
              <a:extLst>
                <a:ext uri="{FF2B5EF4-FFF2-40B4-BE49-F238E27FC236}">
                  <a16:creationId xmlns="" xmlns:a16="http://schemas.microsoft.com/office/drawing/2014/main" id="{692D02E6-A8A3-4EE2-8E9E-86218A15350C}"/>
                </a:ext>
              </a:extLst>
            </p:cNvPr>
            <p:cNvCxnSpPr>
              <a:cxnSpLocks/>
            </p:cNvCxnSpPr>
            <p:nvPr/>
          </p:nvCxnSpPr>
          <p:spPr>
            <a:xfrm>
              <a:off x="3267200" y="4076297"/>
              <a:ext cx="2269686"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18" name="TextBox 50">
            <a:extLst>
              <a:ext uri="{FF2B5EF4-FFF2-40B4-BE49-F238E27FC236}">
                <a16:creationId xmlns="" xmlns:a16="http://schemas.microsoft.com/office/drawing/2014/main" id="{3808705E-1E37-4380-BE31-78BDF0F67809}"/>
              </a:ext>
            </a:extLst>
          </p:cNvPr>
          <p:cNvSpPr txBox="1"/>
          <p:nvPr/>
        </p:nvSpPr>
        <p:spPr>
          <a:xfrm>
            <a:off x="566493" y="1609520"/>
            <a:ext cx="1717586" cy="1034129"/>
          </a:xfrm>
          <a:prstGeom prst="rect">
            <a:avLst/>
          </a:prstGeom>
          <a:noFill/>
          <a:ln>
            <a:noFill/>
          </a:ln>
        </p:spPr>
        <p:txBody>
          <a:bodyPr wrap="square" rtlCol="0">
            <a:spAutoFit/>
          </a:bodyPr>
          <a:lstStyle/>
          <a:p>
            <a:pPr lvl="0">
              <a:lnSpc>
                <a:spcPct val="85000"/>
              </a:lnSpc>
              <a:spcBef>
                <a:spcPts val="1200"/>
              </a:spcBef>
              <a:buClr>
                <a:srgbClr val="14C0F3"/>
              </a:buClr>
              <a:defRPr/>
            </a:pPr>
            <a:r>
              <a:rPr lang="en-US" sz="1200" b="1" dirty="0">
                <a:solidFill>
                  <a:srgbClr val="404041"/>
                </a:solidFill>
                <a:latin typeface="Verdana" panose="020B0604030504040204" pitchFamily="34" charset="0"/>
                <a:ea typeface="Verdana" panose="020B0604030504040204" pitchFamily="34" charset="0"/>
                <a:cs typeface="Verdana" panose="020B0604030504040204" pitchFamily="34" charset="0"/>
              </a:rPr>
              <a:t>FDA suspends distribution </a:t>
            </a:r>
            <a:br>
              <a:rPr lang="en-US" sz="1200" b="1" dirty="0">
                <a:solidFill>
                  <a:srgbClr val="404041"/>
                </a:solidFill>
                <a:latin typeface="Verdana" panose="020B0604030504040204" pitchFamily="34" charset="0"/>
                <a:ea typeface="Verdana" panose="020B0604030504040204" pitchFamily="34" charset="0"/>
                <a:cs typeface="Verdana" panose="020B0604030504040204" pitchFamily="34" charset="0"/>
              </a:rPr>
            </a:br>
            <a:r>
              <a:rPr lang="en-US" sz="1200" dirty="0">
                <a:solidFill>
                  <a:srgbClr val="404041"/>
                </a:solidFill>
                <a:latin typeface="Verdana" panose="020B0604030504040204" pitchFamily="34" charset="0"/>
                <a:ea typeface="Verdana" panose="020B0604030504040204" pitchFamily="34" charset="0"/>
                <a:cs typeface="Verdana" panose="020B0604030504040204" pitchFamily="34" charset="0"/>
              </a:rPr>
              <a:t>due to non-compliance/ status of </a:t>
            </a:r>
            <a:r>
              <a:rPr lang="en-US" sz="1200" dirty="0" err="1">
                <a:solidFill>
                  <a:srgbClr val="404041"/>
                </a:solidFill>
                <a:latin typeface="Verdana" panose="020B0604030504040204" pitchFamily="34" charset="0"/>
                <a:ea typeface="Verdana" panose="020B0604030504040204" pitchFamily="34" charset="0"/>
                <a:cs typeface="Verdana" panose="020B0604030504040204" pitchFamily="34" charset="0"/>
              </a:rPr>
              <a:t>Rocap’s</a:t>
            </a:r>
            <a:r>
              <a:rPr lang="en-US" sz="1200" dirty="0">
                <a:solidFill>
                  <a:srgbClr val="404041"/>
                </a:solidFill>
                <a:latin typeface="Verdana" panose="020B0604030504040204" pitchFamily="34" charset="0"/>
                <a:ea typeface="Verdana" panose="020B0604030504040204" pitchFamily="34" charset="0"/>
                <a:cs typeface="Verdana" panose="020B0604030504040204" pitchFamily="34" charset="0"/>
              </a:rPr>
              <a:t> 510k </a:t>
            </a:r>
            <a:r>
              <a:rPr lang="en-US" sz="1200" dirty="0" smtClean="0">
                <a:solidFill>
                  <a:srgbClr val="404041"/>
                </a:solidFill>
                <a:latin typeface="Verdana" panose="020B0604030504040204" pitchFamily="34" charset="0"/>
                <a:ea typeface="Verdana" panose="020B0604030504040204" pitchFamily="34" charset="0"/>
                <a:cs typeface="Verdana" panose="020B0604030504040204" pitchFamily="34" charset="0"/>
              </a:rPr>
              <a:t>submission</a:t>
            </a:r>
            <a:r>
              <a:rPr lang="en-US" sz="1200" baseline="30000" dirty="0" smtClean="0">
                <a:solidFill>
                  <a:srgbClr val="404041"/>
                </a:solidFill>
                <a:latin typeface="Verdana" panose="020B0604030504040204" pitchFamily="34" charset="0"/>
                <a:ea typeface="Verdana" panose="020B0604030504040204" pitchFamily="34" charset="0"/>
                <a:cs typeface="Verdana" panose="020B0604030504040204" pitchFamily="34" charset="0"/>
              </a:rPr>
              <a:t>19</a:t>
            </a:r>
            <a:endParaRPr lang="en-US" sz="1200" baseline="30000" dirty="0">
              <a:solidFill>
                <a:srgbClr val="404041"/>
              </a:solidFill>
              <a:latin typeface="Verdana" panose="020B0604030504040204" pitchFamily="34" charset="0"/>
              <a:ea typeface="Verdana" panose="020B0604030504040204" pitchFamily="34" charset="0"/>
              <a:cs typeface="Verdana" panose="020B0604030504040204" pitchFamily="34" charset="0"/>
            </a:endParaRPr>
          </a:p>
        </p:txBody>
      </p:sp>
      <p:sp>
        <p:nvSpPr>
          <p:cNvPr id="119" name="TextBox 174">
            <a:extLst>
              <a:ext uri="{FF2B5EF4-FFF2-40B4-BE49-F238E27FC236}">
                <a16:creationId xmlns="" xmlns:a16="http://schemas.microsoft.com/office/drawing/2014/main" id="{A945DD63-CD6A-4D8D-A6B8-41F7563DB390}"/>
              </a:ext>
            </a:extLst>
          </p:cNvPr>
          <p:cNvSpPr txBox="1"/>
          <p:nvPr/>
        </p:nvSpPr>
        <p:spPr>
          <a:xfrm>
            <a:off x="549706" y="1152321"/>
            <a:ext cx="1523034" cy="327782"/>
          </a:xfrm>
          <a:prstGeom prst="rect">
            <a:avLst/>
          </a:prstGeom>
          <a:noFill/>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pt-PT"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1999</a:t>
            </a:r>
          </a:p>
        </p:txBody>
      </p:sp>
      <p:cxnSp>
        <p:nvCxnSpPr>
          <p:cNvPr id="120" name="Straight Connector 205">
            <a:extLst>
              <a:ext uri="{FF2B5EF4-FFF2-40B4-BE49-F238E27FC236}">
                <a16:creationId xmlns="" xmlns:a16="http://schemas.microsoft.com/office/drawing/2014/main" id="{CC9F8E10-9701-4CD7-AA48-20A972C6A5BA}"/>
              </a:ext>
            </a:extLst>
          </p:cNvPr>
          <p:cNvCxnSpPr>
            <a:cxnSpLocks/>
          </p:cNvCxnSpPr>
          <p:nvPr/>
        </p:nvCxnSpPr>
        <p:spPr>
          <a:xfrm>
            <a:off x="662979" y="1507813"/>
            <a:ext cx="986365"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21" name="Group 95">
            <a:extLst>
              <a:ext uri="{FF2B5EF4-FFF2-40B4-BE49-F238E27FC236}">
                <a16:creationId xmlns="" xmlns:a16="http://schemas.microsoft.com/office/drawing/2014/main" id="{2B02E7BD-74AC-43A8-AC0F-BB3F7D464036}"/>
              </a:ext>
            </a:extLst>
          </p:cNvPr>
          <p:cNvGrpSpPr/>
          <p:nvPr/>
        </p:nvGrpSpPr>
        <p:grpSpPr>
          <a:xfrm>
            <a:off x="196917" y="865694"/>
            <a:ext cx="345600" cy="345600"/>
            <a:chOff x="6179441" y="990600"/>
            <a:chExt cx="638664" cy="638664"/>
          </a:xfrm>
        </p:grpSpPr>
        <p:sp>
          <p:nvSpPr>
            <p:cNvPr id="122" name="Oval 96">
              <a:extLst>
                <a:ext uri="{FF2B5EF4-FFF2-40B4-BE49-F238E27FC236}">
                  <a16:creationId xmlns="" xmlns:a16="http://schemas.microsoft.com/office/drawing/2014/main" id="{FD2BC8DE-BB59-4C60-BBC0-BF627AC1571E}"/>
                </a:ext>
              </a:extLst>
            </p:cNvPr>
            <p:cNvSpPr/>
            <p:nvPr/>
          </p:nvSpPr>
          <p:spPr>
            <a:xfrm>
              <a:off x="6179441" y="990600"/>
              <a:ext cx="638664" cy="638664"/>
            </a:xfrm>
            <a:prstGeom prst="ellips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Freeform 11">
              <a:extLst>
                <a:ext uri="{FF2B5EF4-FFF2-40B4-BE49-F238E27FC236}">
                  <a16:creationId xmlns="" xmlns:a16="http://schemas.microsoft.com/office/drawing/2014/main" id="{FA5793AA-607B-4696-B439-424C075607F5}"/>
                </a:ext>
              </a:extLst>
            </p:cNvPr>
            <p:cNvSpPr>
              <a:spLocks noEditPoints="1"/>
            </p:cNvSpPr>
            <p:nvPr/>
          </p:nvSpPr>
          <p:spPr bwMode="auto">
            <a:xfrm>
              <a:off x="6328480" y="1140645"/>
              <a:ext cx="348558" cy="317821"/>
            </a:xfrm>
            <a:custGeom>
              <a:avLst/>
              <a:gdLst>
                <a:gd name="T0" fmla="*/ 1768 w 2150"/>
                <a:gd name="T1" fmla="*/ 287 h 1959"/>
                <a:gd name="T2" fmla="*/ 1075 w 2150"/>
                <a:gd name="T3" fmla="*/ 0 h 1959"/>
                <a:gd name="T4" fmla="*/ 383 w 2150"/>
                <a:gd name="T5" fmla="*/ 287 h 1959"/>
                <a:gd name="T6" fmla="*/ 383 w 2150"/>
                <a:gd name="T7" fmla="*/ 1672 h 1959"/>
                <a:gd name="T8" fmla="*/ 1075 w 2150"/>
                <a:gd name="T9" fmla="*/ 1959 h 1959"/>
                <a:gd name="T10" fmla="*/ 1768 w 2150"/>
                <a:gd name="T11" fmla="*/ 1672 h 1959"/>
                <a:gd name="T12" fmla="*/ 1768 w 2150"/>
                <a:gd name="T13" fmla="*/ 287 h 1959"/>
                <a:gd name="T14" fmla="*/ 1701 w 2150"/>
                <a:gd name="T15" fmla="*/ 1605 h 1959"/>
                <a:gd name="T16" fmla="*/ 1075 w 2150"/>
                <a:gd name="T17" fmla="*/ 1864 h 1959"/>
                <a:gd name="T18" fmla="*/ 449 w 2150"/>
                <a:gd name="T19" fmla="*/ 1605 h 1959"/>
                <a:gd name="T20" fmla="*/ 190 w 2150"/>
                <a:gd name="T21" fmla="*/ 979 h 1959"/>
                <a:gd name="T22" fmla="*/ 449 w 2150"/>
                <a:gd name="T23" fmla="*/ 354 h 1959"/>
                <a:gd name="T24" fmla="*/ 1075 w 2150"/>
                <a:gd name="T25" fmla="*/ 95 h 1959"/>
                <a:gd name="T26" fmla="*/ 1701 w 2150"/>
                <a:gd name="T27" fmla="*/ 354 h 1959"/>
                <a:gd name="T28" fmla="*/ 1960 w 2150"/>
                <a:gd name="T29" fmla="*/ 979 h 1959"/>
                <a:gd name="T30" fmla="*/ 1701 w 2150"/>
                <a:gd name="T31" fmla="*/ 1605 h 1959"/>
                <a:gd name="T32" fmla="*/ 1373 w 2150"/>
                <a:gd name="T33" fmla="*/ 751 h 1959"/>
                <a:gd name="T34" fmla="*/ 1134 w 2150"/>
                <a:gd name="T35" fmla="*/ 990 h 1959"/>
                <a:gd name="T36" fmla="*/ 1373 w 2150"/>
                <a:gd name="T37" fmla="*/ 1228 h 1959"/>
                <a:gd name="T38" fmla="*/ 1373 w 2150"/>
                <a:gd name="T39" fmla="*/ 1295 h 1959"/>
                <a:gd name="T40" fmla="*/ 1339 w 2150"/>
                <a:gd name="T41" fmla="*/ 1308 h 1959"/>
                <a:gd name="T42" fmla="*/ 1306 w 2150"/>
                <a:gd name="T43" fmla="*/ 1295 h 1959"/>
                <a:gd name="T44" fmla="*/ 1068 w 2150"/>
                <a:gd name="T45" fmla="*/ 1056 h 1959"/>
                <a:gd name="T46" fmla="*/ 829 w 2150"/>
                <a:gd name="T47" fmla="*/ 1295 h 1959"/>
                <a:gd name="T48" fmla="*/ 796 w 2150"/>
                <a:gd name="T49" fmla="*/ 1308 h 1959"/>
                <a:gd name="T50" fmla="*/ 762 w 2150"/>
                <a:gd name="T51" fmla="*/ 1295 h 1959"/>
                <a:gd name="T52" fmla="*/ 762 w 2150"/>
                <a:gd name="T53" fmla="*/ 1228 h 1959"/>
                <a:gd name="T54" fmla="*/ 1001 w 2150"/>
                <a:gd name="T55" fmla="*/ 990 h 1959"/>
                <a:gd name="T56" fmla="*/ 762 w 2150"/>
                <a:gd name="T57" fmla="*/ 751 h 1959"/>
                <a:gd name="T58" fmla="*/ 762 w 2150"/>
                <a:gd name="T59" fmla="*/ 684 h 1959"/>
                <a:gd name="T60" fmla="*/ 829 w 2150"/>
                <a:gd name="T61" fmla="*/ 684 h 1959"/>
                <a:gd name="T62" fmla="*/ 1068 w 2150"/>
                <a:gd name="T63" fmla="*/ 923 h 1959"/>
                <a:gd name="T64" fmla="*/ 1306 w 2150"/>
                <a:gd name="T65" fmla="*/ 684 h 1959"/>
                <a:gd name="T66" fmla="*/ 1373 w 2150"/>
                <a:gd name="T67" fmla="*/ 684 h 1959"/>
                <a:gd name="T68" fmla="*/ 1373 w 2150"/>
                <a:gd name="T69" fmla="*/ 751 h 1959"/>
                <a:gd name="T70" fmla="*/ 1373 w 2150"/>
                <a:gd name="T71" fmla="*/ 751 h 1959"/>
                <a:gd name="T72" fmla="*/ 1373 w 2150"/>
                <a:gd name="T73" fmla="*/ 751 h 1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50" h="1959">
                  <a:moveTo>
                    <a:pt x="1768" y="287"/>
                  </a:moveTo>
                  <a:cubicBezTo>
                    <a:pt x="1583" y="102"/>
                    <a:pt x="1337" y="0"/>
                    <a:pt x="1075" y="0"/>
                  </a:cubicBezTo>
                  <a:cubicBezTo>
                    <a:pt x="813" y="0"/>
                    <a:pt x="567" y="102"/>
                    <a:pt x="383" y="287"/>
                  </a:cubicBezTo>
                  <a:cubicBezTo>
                    <a:pt x="0" y="669"/>
                    <a:pt x="0" y="1290"/>
                    <a:pt x="383" y="1672"/>
                  </a:cubicBezTo>
                  <a:cubicBezTo>
                    <a:pt x="567" y="1857"/>
                    <a:pt x="813" y="1959"/>
                    <a:pt x="1075" y="1959"/>
                  </a:cubicBezTo>
                  <a:cubicBezTo>
                    <a:pt x="1337" y="1959"/>
                    <a:pt x="1583" y="1857"/>
                    <a:pt x="1768" y="1672"/>
                  </a:cubicBezTo>
                  <a:cubicBezTo>
                    <a:pt x="2150" y="1290"/>
                    <a:pt x="2150" y="669"/>
                    <a:pt x="1768" y="287"/>
                  </a:cubicBezTo>
                  <a:close/>
                  <a:moveTo>
                    <a:pt x="1701" y="1605"/>
                  </a:moveTo>
                  <a:cubicBezTo>
                    <a:pt x="1534" y="1772"/>
                    <a:pt x="1311" y="1864"/>
                    <a:pt x="1075" y="1864"/>
                  </a:cubicBezTo>
                  <a:cubicBezTo>
                    <a:pt x="839" y="1864"/>
                    <a:pt x="616" y="1772"/>
                    <a:pt x="449" y="1605"/>
                  </a:cubicBezTo>
                  <a:cubicBezTo>
                    <a:pt x="283" y="1439"/>
                    <a:pt x="190" y="1216"/>
                    <a:pt x="190" y="979"/>
                  </a:cubicBezTo>
                  <a:cubicBezTo>
                    <a:pt x="190" y="743"/>
                    <a:pt x="283" y="520"/>
                    <a:pt x="449" y="354"/>
                  </a:cubicBezTo>
                  <a:cubicBezTo>
                    <a:pt x="616" y="187"/>
                    <a:pt x="839" y="95"/>
                    <a:pt x="1075" y="95"/>
                  </a:cubicBezTo>
                  <a:cubicBezTo>
                    <a:pt x="1311" y="95"/>
                    <a:pt x="1534" y="187"/>
                    <a:pt x="1701" y="354"/>
                  </a:cubicBezTo>
                  <a:cubicBezTo>
                    <a:pt x="1868" y="520"/>
                    <a:pt x="1960" y="744"/>
                    <a:pt x="1960" y="979"/>
                  </a:cubicBezTo>
                  <a:cubicBezTo>
                    <a:pt x="1960" y="1215"/>
                    <a:pt x="1868" y="1439"/>
                    <a:pt x="1701" y="1605"/>
                  </a:cubicBezTo>
                  <a:close/>
                  <a:moveTo>
                    <a:pt x="1373" y="751"/>
                  </a:moveTo>
                  <a:cubicBezTo>
                    <a:pt x="1134" y="990"/>
                    <a:pt x="1134" y="990"/>
                    <a:pt x="1134" y="990"/>
                  </a:cubicBezTo>
                  <a:cubicBezTo>
                    <a:pt x="1373" y="1228"/>
                    <a:pt x="1373" y="1228"/>
                    <a:pt x="1373" y="1228"/>
                  </a:cubicBezTo>
                  <a:cubicBezTo>
                    <a:pt x="1391" y="1246"/>
                    <a:pt x="1391" y="1277"/>
                    <a:pt x="1373" y="1295"/>
                  </a:cubicBezTo>
                  <a:cubicBezTo>
                    <a:pt x="1363" y="1305"/>
                    <a:pt x="1352" y="1308"/>
                    <a:pt x="1339" y="1308"/>
                  </a:cubicBezTo>
                  <a:cubicBezTo>
                    <a:pt x="1327" y="1308"/>
                    <a:pt x="1316" y="1302"/>
                    <a:pt x="1306" y="1295"/>
                  </a:cubicBezTo>
                  <a:cubicBezTo>
                    <a:pt x="1068" y="1056"/>
                    <a:pt x="1068" y="1056"/>
                    <a:pt x="1068" y="1056"/>
                  </a:cubicBezTo>
                  <a:cubicBezTo>
                    <a:pt x="829" y="1295"/>
                    <a:pt x="829" y="1295"/>
                    <a:pt x="829" y="1295"/>
                  </a:cubicBezTo>
                  <a:cubicBezTo>
                    <a:pt x="819" y="1305"/>
                    <a:pt x="808" y="1308"/>
                    <a:pt x="796" y="1308"/>
                  </a:cubicBezTo>
                  <a:cubicBezTo>
                    <a:pt x="783" y="1308"/>
                    <a:pt x="773" y="1302"/>
                    <a:pt x="762" y="1295"/>
                  </a:cubicBezTo>
                  <a:cubicBezTo>
                    <a:pt x="744" y="1277"/>
                    <a:pt x="744" y="1246"/>
                    <a:pt x="762" y="1228"/>
                  </a:cubicBezTo>
                  <a:cubicBezTo>
                    <a:pt x="1001" y="990"/>
                    <a:pt x="1001" y="990"/>
                    <a:pt x="1001" y="990"/>
                  </a:cubicBezTo>
                  <a:cubicBezTo>
                    <a:pt x="762" y="751"/>
                    <a:pt x="762" y="751"/>
                    <a:pt x="762" y="751"/>
                  </a:cubicBezTo>
                  <a:cubicBezTo>
                    <a:pt x="744" y="733"/>
                    <a:pt x="744" y="703"/>
                    <a:pt x="762" y="684"/>
                  </a:cubicBezTo>
                  <a:cubicBezTo>
                    <a:pt x="780" y="666"/>
                    <a:pt x="811" y="666"/>
                    <a:pt x="829" y="684"/>
                  </a:cubicBezTo>
                  <a:cubicBezTo>
                    <a:pt x="1068" y="923"/>
                    <a:pt x="1068" y="923"/>
                    <a:pt x="1068" y="923"/>
                  </a:cubicBezTo>
                  <a:cubicBezTo>
                    <a:pt x="1306" y="684"/>
                    <a:pt x="1306" y="684"/>
                    <a:pt x="1306" y="684"/>
                  </a:cubicBezTo>
                  <a:cubicBezTo>
                    <a:pt x="1324" y="666"/>
                    <a:pt x="1355" y="666"/>
                    <a:pt x="1373" y="684"/>
                  </a:cubicBezTo>
                  <a:cubicBezTo>
                    <a:pt x="1391" y="703"/>
                    <a:pt x="1391" y="731"/>
                    <a:pt x="1373" y="751"/>
                  </a:cubicBezTo>
                  <a:close/>
                  <a:moveTo>
                    <a:pt x="1373" y="751"/>
                  </a:moveTo>
                  <a:cubicBezTo>
                    <a:pt x="1373" y="751"/>
                    <a:pt x="1373" y="751"/>
                    <a:pt x="1373" y="75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pic>
        <p:nvPicPr>
          <p:cNvPr id="125" name="Picture 21" descr="ROCAP">
            <a:extLst>
              <a:ext uri="{FF2B5EF4-FFF2-40B4-BE49-F238E27FC236}">
                <a16:creationId xmlns="" xmlns:a16="http://schemas.microsoft.com/office/drawing/2014/main" id="{CEBCF729-68FB-4B30-93C4-6055AED198F6}"/>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tretch>
            <a:fillRect/>
          </a:stretch>
        </p:blipFill>
        <p:spPr bwMode="auto">
          <a:xfrm>
            <a:off x="683612" y="839244"/>
            <a:ext cx="627611" cy="290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5714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0-#ppt_h/2"/>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120"/>
                                        </p:tgtEl>
                                        <p:attrNameLst>
                                          <p:attrName>style.visibility</p:attrName>
                                        </p:attrNameLst>
                                      </p:cBhvr>
                                      <p:to>
                                        <p:strVal val="visible"/>
                                      </p:to>
                                    </p:set>
                                    <p:anim calcmode="lin" valueType="num">
                                      <p:cBhvr additive="base">
                                        <p:cTn id="11" dur="500" fill="hold"/>
                                        <p:tgtEl>
                                          <p:spTgt spid="120"/>
                                        </p:tgtEl>
                                        <p:attrNameLst>
                                          <p:attrName>ppt_x</p:attrName>
                                        </p:attrNameLst>
                                      </p:cBhvr>
                                      <p:tavLst>
                                        <p:tav tm="0">
                                          <p:val>
                                            <p:strVal val="1+#ppt_w/2"/>
                                          </p:val>
                                        </p:tav>
                                        <p:tav tm="100000">
                                          <p:val>
                                            <p:strVal val="#ppt_x"/>
                                          </p:val>
                                        </p:tav>
                                      </p:tavLst>
                                    </p:anim>
                                    <p:anim calcmode="lin" valueType="num">
                                      <p:cBhvr additive="base">
                                        <p:cTn id="12" dur="500" fill="hold"/>
                                        <p:tgtEl>
                                          <p:spTgt spid="120"/>
                                        </p:tgtEl>
                                        <p:attrNameLst>
                                          <p:attrName>ppt_y</p:attrName>
                                        </p:attrNameLst>
                                      </p:cBhvr>
                                      <p:tavLst>
                                        <p:tav tm="0">
                                          <p:val>
                                            <p:strVal val="#ppt_y"/>
                                          </p:val>
                                        </p:tav>
                                        <p:tav tm="100000">
                                          <p:val>
                                            <p:strVal val="#ppt_y"/>
                                          </p:val>
                                        </p:tav>
                                      </p:tavLst>
                                    </p:anim>
                                  </p:childTnLst>
                                </p:cTn>
                              </p:par>
                              <p:par>
                                <p:cTn id="13" presetID="53" presetClass="entr" presetSubtype="16" fill="hold" grpId="0" nodeType="withEffect">
                                  <p:stCondLst>
                                    <p:cond delay="0"/>
                                  </p:stCondLst>
                                  <p:childTnLst>
                                    <p:set>
                                      <p:cBhvr>
                                        <p:cTn id="14" dur="1" fill="hold">
                                          <p:stCondLst>
                                            <p:cond delay="0"/>
                                          </p:stCondLst>
                                        </p:cTn>
                                        <p:tgtEl>
                                          <p:spTgt spid="119"/>
                                        </p:tgtEl>
                                        <p:attrNameLst>
                                          <p:attrName>style.visibility</p:attrName>
                                        </p:attrNameLst>
                                      </p:cBhvr>
                                      <p:to>
                                        <p:strVal val="visible"/>
                                      </p:to>
                                    </p:set>
                                    <p:anim calcmode="lin" valueType="num">
                                      <p:cBhvr>
                                        <p:cTn id="15" dur="500" fill="hold"/>
                                        <p:tgtEl>
                                          <p:spTgt spid="119"/>
                                        </p:tgtEl>
                                        <p:attrNameLst>
                                          <p:attrName>ppt_w</p:attrName>
                                        </p:attrNameLst>
                                      </p:cBhvr>
                                      <p:tavLst>
                                        <p:tav tm="0">
                                          <p:val>
                                            <p:fltVal val="0"/>
                                          </p:val>
                                        </p:tav>
                                        <p:tav tm="100000">
                                          <p:val>
                                            <p:strVal val="#ppt_w"/>
                                          </p:val>
                                        </p:tav>
                                      </p:tavLst>
                                    </p:anim>
                                    <p:anim calcmode="lin" valueType="num">
                                      <p:cBhvr>
                                        <p:cTn id="16" dur="500" fill="hold"/>
                                        <p:tgtEl>
                                          <p:spTgt spid="119"/>
                                        </p:tgtEl>
                                        <p:attrNameLst>
                                          <p:attrName>ppt_h</p:attrName>
                                        </p:attrNameLst>
                                      </p:cBhvr>
                                      <p:tavLst>
                                        <p:tav tm="0">
                                          <p:val>
                                            <p:fltVal val="0"/>
                                          </p:val>
                                        </p:tav>
                                        <p:tav tm="100000">
                                          <p:val>
                                            <p:strVal val="#ppt_h"/>
                                          </p:val>
                                        </p:tav>
                                      </p:tavLst>
                                    </p:anim>
                                    <p:animEffect transition="in" filter="fade">
                                      <p:cBhvr>
                                        <p:cTn id="17" dur="500"/>
                                        <p:tgtEl>
                                          <p:spTgt spid="119"/>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18"/>
                                        </p:tgtEl>
                                        <p:attrNameLst>
                                          <p:attrName>style.visibility</p:attrName>
                                        </p:attrNameLst>
                                      </p:cBhvr>
                                      <p:to>
                                        <p:strVal val="visible"/>
                                      </p:to>
                                    </p:set>
                                    <p:animEffect transition="in" filter="fade">
                                      <p:cBhvr>
                                        <p:cTn id="20" dur="500"/>
                                        <p:tgtEl>
                                          <p:spTgt spid="118"/>
                                        </p:tgtEl>
                                      </p:cBhvr>
                                    </p:animEffect>
                                  </p:childTnLst>
                                </p:cTn>
                              </p:par>
                              <p:par>
                                <p:cTn id="21" presetID="53" presetClass="entr" presetSubtype="16" fill="hold" nodeType="withEffect">
                                  <p:stCondLst>
                                    <p:cond delay="0"/>
                                  </p:stCondLst>
                                  <p:childTnLst>
                                    <p:set>
                                      <p:cBhvr>
                                        <p:cTn id="22" dur="1" fill="hold">
                                          <p:stCondLst>
                                            <p:cond delay="0"/>
                                          </p:stCondLst>
                                        </p:cTn>
                                        <p:tgtEl>
                                          <p:spTgt spid="121"/>
                                        </p:tgtEl>
                                        <p:attrNameLst>
                                          <p:attrName>style.visibility</p:attrName>
                                        </p:attrNameLst>
                                      </p:cBhvr>
                                      <p:to>
                                        <p:strVal val="visible"/>
                                      </p:to>
                                    </p:set>
                                    <p:anim calcmode="lin" valueType="num">
                                      <p:cBhvr>
                                        <p:cTn id="23" dur="500" fill="hold"/>
                                        <p:tgtEl>
                                          <p:spTgt spid="121"/>
                                        </p:tgtEl>
                                        <p:attrNameLst>
                                          <p:attrName>ppt_w</p:attrName>
                                        </p:attrNameLst>
                                      </p:cBhvr>
                                      <p:tavLst>
                                        <p:tav tm="0">
                                          <p:val>
                                            <p:fltVal val="0"/>
                                          </p:val>
                                        </p:tav>
                                        <p:tav tm="100000">
                                          <p:val>
                                            <p:strVal val="#ppt_w"/>
                                          </p:val>
                                        </p:tav>
                                      </p:tavLst>
                                    </p:anim>
                                    <p:anim calcmode="lin" valueType="num">
                                      <p:cBhvr>
                                        <p:cTn id="24" dur="500" fill="hold"/>
                                        <p:tgtEl>
                                          <p:spTgt spid="121"/>
                                        </p:tgtEl>
                                        <p:attrNameLst>
                                          <p:attrName>ppt_h</p:attrName>
                                        </p:attrNameLst>
                                      </p:cBhvr>
                                      <p:tavLst>
                                        <p:tav tm="0">
                                          <p:val>
                                            <p:fltVal val="0"/>
                                          </p:val>
                                        </p:tav>
                                        <p:tav tm="100000">
                                          <p:val>
                                            <p:strVal val="#ppt_h"/>
                                          </p:val>
                                        </p:tav>
                                      </p:tavLst>
                                    </p:anim>
                                    <p:animEffect transition="in" filter="fade">
                                      <p:cBhvr>
                                        <p:cTn id="25" dur="500"/>
                                        <p:tgtEl>
                                          <p:spTgt spid="121"/>
                                        </p:tgtEl>
                                      </p:cBhvr>
                                    </p:animEffect>
                                  </p:childTnLst>
                                </p:cTn>
                              </p:par>
                              <p:par>
                                <p:cTn id="26" presetID="53" presetClass="entr" presetSubtype="16" fill="hold" nodeType="withEffect">
                                  <p:stCondLst>
                                    <p:cond delay="0"/>
                                  </p:stCondLst>
                                  <p:childTnLst>
                                    <p:set>
                                      <p:cBhvr>
                                        <p:cTn id="27" dur="1" fill="hold">
                                          <p:stCondLst>
                                            <p:cond delay="0"/>
                                          </p:stCondLst>
                                        </p:cTn>
                                        <p:tgtEl>
                                          <p:spTgt spid="125"/>
                                        </p:tgtEl>
                                        <p:attrNameLst>
                                          <p:attrName>style.visibility</p:attrName>
                                        </p:attrNameLst>
                                      </p:cBhvr>
                                      <p:to>
                                        <p:strVal val="visible"/>
                                      </p:to>
                                    </p:set>
                                    <p:anim calcmode="lin" valueType="num">
                                      <p:cBhvr>
                                        <p:cTn id="28" dur="500" fill="hold"/>
                                        <p:tgtEl>
                                          <p:spTgt spid="125"/>
                                        </p:tgtEl>
                                        <p:attrNameLst>
                                          <p:attrName>ppt_w</p:attrName>
                                        </p:attrNameLst>
                                      </p:cBhvr>
                                      <p:tavLst>
                                        <p:tav tm="0">
                                          <p:val>
                                            <p:fltVal val="0"/>
                                          </p:val>
                                        </p:tav>
                                        <p:tav tm="100000">
                                          <p:val>
                                            <p:strVal val="#ppt_w"/>
                                          </p:val>
                                        </p:tav>
                                      </p:tavLst>
                                    </p:anim>
                                    <p:anim calcmode="lin" valueType="num">
                                      <p:cBhvr>
                                        <p:cTn id="29" dur="500" fill="hold"/>
                                        <p:tgtEl>
                                          <p:spTgt spid="125"/>
                                        </p:tgtEl>
                                        <p:attrNameLst>
                                          <p:attrName>ppt_h</p:attrName>
                                        </p:attrNameLst>
                                      </p:cBhvr>
                                      <p:tavLst>
                                        <p:tav tm="0">
                                          <p:val>
                                            <p:fltVal val="0"/>
                                          </p:val>
                                        </p:tav>
                                        <p:tav tm="100000">
                                          <p:val>
                                            <p:strVal val="#ppt_h"/>
                                          </p:val>
                                        </p:tav>
                                      </p:tavLst>
                                    </p:anim>
                                    <p:animEffect transition="in" filter="fade">
                                      <p:cBhvr>
                                        <p:cTn id="30" dur="500"/>
                                        <p:tgtEl>
                                          <p:spTgt spid="125"/>
                                        </p:tgtEl>
                                      </p:cBhvr>
                                    </p:animEffect>
                                  </p:childTnLst>
                                </p:cTn>
                              </p:par>
                              <p:par>
                                <p:cTn id="31" presetID="22" presetClass="entr" presetSubtype="8" fill="hold" nodeType="withEffect">
                                  <p:stCondLst>
                                    <p:cond delay="0"/>
                                  </p:stCondLst>
                                  <p:childTnLst>
                                    <p:set>
                                      <p:cBhvr>
                                        <p:cTn id="32" dur="1" fill="hold">
                                          <p:stCondLst>
                                            <p:cond delay="0"/>
                                          </p:stCondLst>
                                        </p:cTn>
                                        <p:tgtEl>
                                          <p:spTgt spid="67"/>
                                        </p:tgtEl>
                                        <p:attrNameLst>
                                          <p:attrName>style.visibility</p:attrName>
                                        </p:attrNameLst>
                                      </p:cBhvr>
                                      <p:to>
                                        <p:strVal val="visible"/>
                                      </p:to>
                                    </p:set>
                                    <p:animEffect transition="in" filter="wipe(left)">
                                      <p:cBhvr>
                                        <p:cTn id="33" dur="500"/>
                                        <p:tgtEl>
                                          <p:spTgt spid="67"/>
                                        </p:tgtEl>
                                      </p:cBhvr>
                                    </p:animEffect>
                                  </p:childTnLst>
                                </p:cTn>
                              </p:par>
                              <p:par>
                                <p:cTn id="34" presetID="22" presetClass="entr" presetSubtype="8" fill="hold"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left)">
                                      <p:cBhvr>
                                        <p:cTn id="36" dur="500"/>
                                        <p:tgtEl>
                                          <p:spTgt spid="11"/>
                                        </p:tgtEl>
                                      </p:cBhvr>
                                    </p:animEffect>
                                  </p:childTnLst>
                                </p:cTn>
                              </p:par>
                              <p:par>
                                <p:cTn id="37" presetID="2" presetClass="entr" presetSubtype="2" decel="100000" fill="hold" nodeType="withEffect">
                                  <p:stCondLst>
                                    <p:cond delay="0"/>
                                  </p:stCondLst>
                                  <p:childTnLst>
                                    <p:set>
                                      <p:cBhvr>
                                        <p:cTn id="38" dur="1" fill="hold">
                                          <p:stCondLst>
                                            <p:cond delay="0"/>
                                          </p:stCondLst>
                                        </p:cTn>
                                        <p:tgtEl>
                                          <p:spTgt spid="206"/>
                                        </p:tgtEl>
                                        <p:attrNameLst>
                                          <p:attrName>style.visibility</p:attrName>
                                        </p:attrNameLst>
                                      </p:cBhvr>
                                      <p:to>
                                        <p:strVal val="visible"/>
                                      </p:to>
                                    </p:set>
                                    <p:anim calcmode="lin" valueType="num">
                                      <p:cBhvr additive="base">
                                        <p:cTn id="39" dur="500" fill="hold"/>
                                        <p:tgtEl>
                                          <p:spTgt spid="206"/>
                                        </p:tgtEl>
                                        <p:attrNameLst>
                                          <p:attrName>ppt_x</p:attrName>
                                        </p:attrNameLst>
                                      </p:cBhvr>
                                      <p:tavLst>
                                        <p:tav tm="0">
                                          <p:val>
                                            <p:strVal val="1+#ppt_w/2"/>
                                          </p:val>
                                        </p:tav>
                                        <p:tav tm="100000">
                                          <p:val>
                                            <p:strVal val="#ppt_x"/>
                                          </p:val>
                                        </p:tav>
                                      </p:tavLst>
                                    </p:anim>
                                    <p:anim calcmode="lin" valueType="num">
                                      <p:cBhvr additive="base">
                                        <p:cTn id="40" dur="500" fill="hold"/>
                                        <p:tgtEl>
                                          <p:spTgt spid="206"/>
                                        </p:tgtEl>
                                        <p:attrNameLst>
                                          <p:attrName>ppt_y</p:attrName>
                                        </p:attrNameLst>
                                      </p:cBhvr>
                                      <p:tavLst>
                                        <p:tav tm="0">
                                          <p:val>
                                            <p:strVal val="#ppt_y"/>
                                          </p:val>
                                        </p:tav>
                                        <p:tav tm="100000">
                                          <p:val>
                                            <p:strVal val="#ppt_y"/>
                                          </p:val>
                                        </p:tav>
                                      </p:tavLst>
                                    </p:anim>
                                  </p:childTnLst>
                                </p:cTn>
                              </p:par>
                              <p:par>
                                <p:cTn id="41" presetID="53" presetClass="entr" presetSubtype="16" fill="hold" grpId="0" nodeType="withEffect">
                                  <p:stCondLst>
                                    <p:cond delay="0"/>
                                  </p:stCondLst>
                                  <p:childTnLst>
                                    <p:set>
                                      <p:cBhvr>
                                        <p:cTn id="42" dur="1" fill="hold">
                                          <p:stCondLst>
                                            <p:cond delay="0"/>
                                          </p:stCondLst>
                                        </p:cTn>
                                        <p:tgtEl>
                                          <p:spTgt spid="175"/>
                                        </p:tgtEl>
                                        <p:attrNameLst>
                                          <p:attrName>style.visibility</p:attrName>
                                        </p:attrNameLst>
                                      </p:cBhvr>
                                      <p:to>
                                        <p:strVal val="visible"/>
                                      </p:to>
                                    </p:set>
                                    <p:anim calcmode="lin" valueType="num">
                                      <p:cBhvr>
                                        <p:cTn id="43" dur="500" fill="hold"/>
                                        <p:tgtEl>
                                          <p:spTgt spid="175"/>
                                        </p:tgtEl>
                                        <p:attrNameLst>
                                          <p:attrName>ppt_w</p:attrName>
                                        </p:attrNameLst>
                                      </p:cBhvr>
                                      <p:tavLst>
                                        <p:tav tm="0">
                                          <p:val>
                                            <p:fltVal val="0"/>
                                          </p:val>
                                        </p:tav>
                                        <p:tav tm="100000">
                                          <p:val>
                                            <p:strVal val="#ppt_w"/>
                                          </p:val>
                                        </p:tav>
                                      </p:tavLst>
                                    </p:anim>
                                    <p:anim calcmode="lin" valueType="num">
                                      <p:cBhvr>
                                        <p:cTn id="44" dur="500" fill="hold"/>
                                        <p:tgtEl>
                                          <p:spTgt spid="175"/>
                                        </p:tgtEl>
                                        <p:attrNameLst>
                                          <p:attrName>ppt_h</p:attrName>
                                        </p:attrNameLst>
                                      </p:cBhvr>
                                      <p:tavLst>
                                        <p:tav tm="0">
                                          <p:val>
                                            <p:fltVal val="0"/>
                                          </p:val>
                                        </p:tav>
                                        <p:tav tm="100000">
                                          <p:val>
                                            <p:strVal val="#ppt_h"/>
                                          </p:val>
                                        </p:tav>
                                      </p:tavLst>
                                    </p:anim>
                                    <p:animEffect transition="in" filter="fade">
                                      <p:cBhvr>
                                        <p:cTn id="45" dur="500"/>
                                        <p:tgtEl>
                                          <p:spTgt spid="175"/>
                                        </p:tgtEl>
                                      </p:cBhvr>
                                    </p:animEffect>
                                  </p:childTnLst>
                                </p:cTn>
                              </p:par>
                              <p:par>
                                <p:cTn id="46" presetID="53" presetClass="entr" presetSubtype="16" fill="hold" nodeType="withEffect">
                                  <p:stCondLst>
                                    <p:cond delay="0"/>
                                  </p:stCondLst>
                                  <p:childTnLst>
                                    <p:set>
                                      <p:cBhvr>
                                        <p:cTn id="47" dur="1" fill="hold">
                                          <p:stCondLst>
                                            <p:cond delay="0"/>
                                          </p:stCondLst>
                                        </p:cTn>
                                        <p:tgtEl>
                                          <p:spTgt spid="157"/>
                                        </p:tgtEl>
                                        <p:attrNameLst>
                                          <p:attrName>style.visibility</p:attrName>
                                        </p:attrNameLst>
                                      </p:cBhvr>
                                      <p:to>
                                        <p:strVal val="visible"/>
                                      </p:to>
                                    </p:set>
                                    <p:anim calcmode="lin" valueType="num">
                                      <p:cBhvr>
                                        <p:cTn id="48" dur="500" fill="hold"/>
                                        <p:tgtEl>
                                          <p:spTgt spid="157"/>
                                        </p:tgtEl>
                                        <p:attrNameLst>
                                          <p:attrName>ppt_w</p:attrName>
                                        </p:attrNameLst>
                                      </p:cBhvr>
                                      <p:tavLst>
                                        <p:tav tm="0">
                                          <p:val>
                                            <p:fltVal val="0"/>
                                          </p:val>
                                        </p:tav>
                                        <p:tav tm="100000">
                                          <p:val>
                                            <p:strVal val="#ppt_w"/>
                                          </p:val>
                                        </p:tav>
                                      </p:tavLst>
                                    </p:anim>
                                    <p:anim calcmode="lin" valueType="num">
                                      <p:cBhvr>
                                        <p:cTn id="49" dur="500" fill="hold"/>
                                        <p:tgtEl>
                                          <p:spTgt spid="157"/>
                                        </p:tgtEl>
                                        <p:attrNameLst>
                                          <p:attrName>ppt_h</p:attrName>
                                        </p:attrNameLst>
                                      </p:cBhvr>
                                      <p:tavLst>
                                        <p:tav tm="0">
                                          <p:val>
                                            <p:fltVal val="0"/>
                                          </p:val>
                                        </p:tav>
                                        <p:tav tm="100000">
                                          <p:val>
                                            <p:strVal val="#ppt_h"/>
                                          </p:val>
                                        </p:tav>
                                      </p:tavLst>
                                    </p:anim>
                                    <p:animEffect transition="in" filter="fade">
                                      <p:cBhvr>
                                        <p:cTn id="50" dur="500"/>
                                        <p:tgtEl>
                                          <p:spTgt spid="157"/>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59"/>
                                        </p:tgtEl>
                                        <p:attrNameLst>
                                          <p:attrName>style.visibility</p:attrName>
                                        </p:attrNameLst>
                                      </p:cBhvr>
                                      <p:to>
                                        <p:strVal val="visible"/>
                                      </p:to>
                                    </p:set>
                                    <p:animEffect transition="in" filter="fade">
                                      <p:cBhvr>
                                        <p:cTn id="53" dur="500"/>
                                        <p:tgtEl>
                                          <p:spTgt spid="159"/>
                                        </p:tgtEl>
                                      </p:cBhvr>
                                    </p:animEffect>
                                  </p:childTnLst>
                                </p:cTn>
                              </p:par>
                              <p:par>
                                <p:cTn id="54" presetID="53" presetClass="entr" presetSubtype="16" fill="hold" nodeType="withEffect">
                                  <p:stCondLst>
                                    <p:cond delay="0"/>
                                  </p:stCondLst>
                                  <p:childTnLst>
                                    <p:set>
                                      <p:cBhvr>
                                        <p:cTn id="55" dur="1" fill="hold">
                                          <p:stCondLst>
                                            <p:cond delay="0"/>
                                          </p:stCondLst>
                                        </p:cTn>
                                        <p:tgtEl>
                                          <p:spTgt spid="96"/>
                                        </p:tgtEl>
                                        <p:attrNameLst>
                                          <p:attrName>style.visibility</p:attrName>
                                        </p:attrNameLst>
                                      </p:cBhvr>
                                      <p:to>
                                        <p:strVal val="visible"/>
                                      </p:to>
                                    </p:set>
                                    <p:anim calcmode="lin" valueType="num">
                                      <p:cBhvr>
                                        <p:cTn id="56" dur="500" fill="hold"/>
                                        <p:tgtEl>
                                          <p:spTgt spid="96"/>
                                        </p:tgtEl>
                                        <p:attrNameLst>
                                          <p:attrName>ppt_w</p:attrName>
                                        </p:attrNameLst>
                                      </p:cBhvr>
                                      <p:tavLst>
                                        <p:tav tm="0">
                                          <p:val>
                                            <p:fltVal val="0"/>
                                          </p:val>
                                        </p:tav>
                                        <p:tav tm="100000">
                                          <p:val>
                                            <p:strVal val="#ppt_w"/>
                                          </p:val>
                                        </p:tav>
                                      </p:tavLst>
                                    </p:anim>
                                    <p:anim calcmode="lin" valueType="num">
                                      <p:cBhvr>
                                        <p:cTn id="57" dur="500" fill="hold"/>
                                        <p:tgtEl>
                                          <p:spTgt spid="96"/>
                                        </p:tgtEl>
                                        <p:attrNameLst>
                                          <p:attrName>ppt_h</p:attrName>
                                        </p:attrNameLst>
                                      </p:cBhvr>
                                      <p:tavLst>
                                        <p:tav tm="0">
                                          <p:val>
                                            <p:fltVal val="0"/>
                                          </p:val>
                                        </p:tav>
                                        <p:tav tm="100000">
                                          <p:val>
                                            <p:strVal val="#ppt_h"/>
                                          </p:val>
                                        </p:tav>
                                      </p:tavLst>
                                    </p:anim>
                                    <p:animEffect transition="in" filter="fade">
                                      <p:cBhvr>
                                        <p:cTn id="58" dur="500"/>
                                        <p:tgtEl>
                                          <p:spTgt spid="96"/>
                                        </p:tgtEl>
                                      </p:cBhvr>
                                    </p:animEffect>
                                  </p:childTnLst>
                                </p:cTn>
                              </p:par>
                              <p:par>
                                <p:cTn id="59" presetID="2" presetClass="entr" presetSubtype="2" decel="100000" fill="hold" nodeType="withEffect">
                                  <p:stCondLst>
                                    <p:cond delay="0"/>
                                  </p:stCondLst>
                                  <p:childTnLst>
                                    <p:set>
                                      <p:cBhvr>
                                        <p:cTn id="60" dur="1" fill="hold">
                                          <p:stCondLst>
                                            <p:cond delay="0"/>
                                          </p:stCondLst>
                                        </p:cTn>
                                        <p:tgtEl>
                                          <p:spTgt spid="179"/>
                                        </p:tgtEl>
                                        <p:attrNameLst>
                                          <p:attrName>style.visibility</p:attrName>
                                        </p:attrNameLst>
                                      </p:cBhvr>
                                      <p:to>
                                        <p:strVal val="visible"/>
                                      </p:to>
                                    </p:set>
                                    <p:anim calcmode="lin" valueType="num">
                                      <p:cBhvr additive="base">
                                        <p:cTn id="61" dur="500" fill="hold"/>
                                        <p:tgtEl>
                                          <p:spTgt spid="179"/>
                                        </p:tgtEl>
                                        <p:attrNameLst>
                                          <p:attrName>ppt_x</p:attrName>
                                        </p:attrNameLst>
                                      </p:cBhvr>
                                      <p:tavLst>
                                        <p:tav tm="0">
                                          <p:val>
                                            <p:strVal val="1+#ppt_w/2"/>
                                          </p:val>
                                        </p:tav>
                                        <p:tav tm="100000">
                                          <p:val>
                                            <p:strVal val="#ppt_x"/>
                                          </p:val>
                                        </p:tav>
                                      </p:tavLst>
                                    </p:anim>
                                    <p:anim calcmode="lin" valueType="num">
                                      <p:cBhvr additive="base">
                                        <p:cTn id="62" dur="500" fill="hold"/>
                                        <p:tgtEl>
                                          <p:spTgt spid="179"/>
                                        </p:tgtEl>
                                        <p:attrNameLst>
                                          <p:attrName>ppt_y</p:attrName>
                                        </p:attrNameLst>
                                      </p:cBhvr>
                                      <p:tavLst>
                                        <p:tav tm="0">
                                          <p:val>
                                            <p:strVal val="#ppt_y"/>
                                          </p:val>
                                        </p:tav>
                                        <p:tav tm="100000">
                                          <p:val>
                                            <p:strVal val="#ppt_y"/>
                                          </p:val>
                                        </p:tav>
                                      </p:tavLst>
                                    </p:anim>
                                  </p:childTnLst>
                                </p:cTn>
                              </p:par>
                              <p:par>
                                <p:cTn id="63" presetID="53" presetClass="entr" presetSubtype="16" fill="hold" grpId="0" nodeType="withEffect">
                                  <p:stCondLst>
                                    <p:cond delay="0"/>
                                  </p:stCondLst>
                                  <p:childTnLst>
                                    <p:set>
                                      <p:cBhvr>
                                        <p:cTn id="64" dur="1" fill="hold">
                                          <p:stCondLst>
                                            <p:cond delay="0"/>
                                          </p:stCondLst>
                                        </p:cTn>
                                        <p:tgtEl>
                                          <p:spTgt spid="81"/>
                                        </p:tgtEl>
                                        <p:attrNameLst>
                                          <p:attrName>style.visibility</p:attrName>
                                        </p:attrNameLst>
                                      </p:cBhvr>
                                      <p:to>
                                        <p:strVal val="visible"/>
                                      </p:to>
                                    </p:set>
                                    <p:anim calcmode="lin" valueType="num">
                                      <p:cBhvr>
                                        <p:cTn id="65" dur="500" fill="hold"/>
                                        <p:tgtEl>
                                          <p:spTgt spid="81"/>
                                        </p:tgtEl>
                                        <p:attrNameLst>
                                          <p:attrName>ppt_w</p:attrName>
                                        </p:attrNameLst>
                                      </p:cBhvr>
                                      <p:tavLst>
                                        <p:tav tm="0">
                                          <p:val>
                                            <p:fltVal val="0"/>
                                          </p:val>
                                        </p:tav>
                                        <p:tav tm="100000">
                                          <p:val>
                                            <p:strVal val="#ppt_w"/>
                                          </p:val>
                                        </p:tav>
                                      </p:tavLst>
                                    </p:anim>
                                    <p:anim calcmode="lin" valueType="num">
                                      <p:cBhvr>
                                        <p:cTn id="66" dur="500" fill="hold"/>
                                        <p:tgtEl>
                                          <p:spTgt spid="81"/>
                                        </p:tgtEl>
                                        <p:attrNameLst>
                                          <p:attrName>ppt_h</p:attrName>
                                        </p:attrNameLst>
                                      </p:cBhvr>
                                      <p:tavLst>
                                        <p:tav tm="0">
                                          <p:val>
                                            <p:fltVal val="0"/>
                                          </p:val>
                                        </p:tav>
                                        <p:tav tm="100000">
                                          <p:val>
                                            <p:strVal val="#ppt_h"/>
                                          </p:val>
                                        </p:tav>
                                      </p:tavLst>
                                    </p:anim>
                                    <p:animEffect transition="in" filter="fade">
                                      <p:cBhvr>
                                        <p:cTn id="67" dur="500"/>
                                        <p:tgtEl>
                                          <p:spTgt spid="81"/>
                                        </p:tgtEl>
                                      </p:cBhvr>
                                    </p:animEffect>
                                  </p:childTnLst>
                                </p:cTn>
                              </p:par>
                              <p:par>
                                <p:cTn id="68" presetID="10" presetClass="entr" presetSubtype="0" fill="hold" nodeType="withEffect">
                                  <p:stCondLst>
                                    <p:cond delay="0"/>
                                  </p:stCondLst>
                                  <p:childTnLst>
                                    <p:set>
                                      <p:cBhvr>
                                        <p:cTn id="69" dur="1" fill="hold">
                                          <p:stCondLst>
                                            <p:cond delay="0"/>
                                          </p:stCondLst>
                                        </p:cTn>
                                        <p:tgtEl>
                                          <p:spTgt spid="12"/>
                                        </p:tgtEl>
                                        <p:attrNameLst>
                                          <p:attrName>style.visibility</p:attrName>
                                        </p:attrNameLst>
                                      </p:cBhvr>
                                      <p:to>
                                        <p:strVal val="visible"/>
                                      </p:to>
                                    </p:set>
                                    <p:animEffect transition="in" filter="fade">
                                      <p:cBhvr>
                                        <p:cTn id="70" dur="500"/>
                                        <p:tgtEl>
                                          <p:spTgt spid="12"/>
                                        </p:tgtEl>
                                      </p:cBhvr>
                                    </p:animEffect>
                                  </p:childTnLst>
                                </p:cTn>
                              </p:par>
                              <p:par>
                                <p:cTn id="71" presetID="53" presetClass="entr" presetSubtype="16" fill="hold" nodeType="withEffect">
                                  <p:stCondLst>
                                    <p:cond delay="0"/>
                                  </p:stCondLst>
                                  <p:childTnLst>
                                    <p:set>
                                      <p:cBhvr>
                                        <p:cTn id="72" dur="1" fill="hold">
                                          <p:stCondLst>
                                            <p:cond delay="0"/>
                                          </p:stCondLst>
                                        </p:cTn>
                                        <p:tgtEl>
                                          <p:spTgt spid="10"/>
                                        </p:tgtEl>
                                        <p:attrNameLst>
                                          <p:attrName>style.visibility</p:attrName>
                                        </p:attrNameLst>
                                      </p:cBhvr>
                                      <p:to>
                                        <p:strVal val="visible"/>
                                      </p:to>
                                    </p:set>
                                    <p:anim calcmode="lin" valueType="num">
                                      <p:cBhvr>
                                        <p:cTn id="73" dur="500" fill="hold"/>
                                        <p:tgtEl>
                                          <p:spTgt spid="10"/>
                                        </p:tgtEl>
                                        <p:attrNameLst>
                                          <p:attrName>ppt_w</p:attrName>
                                        </p:attrNameLst>
                                      </p:cBhvr>
                                      <p:tavLst>
                                        <p:tav tm="0">
                                          <p:val>
                                            <p:fltVal val="0"/>
                                          </p:val>
                                        </p:tav>
                                        <p:tav tm="100000">
                                          <p:val>
                                            <p:strVal val="#ppt_w"/>
                                          </p:val>
                                        </p:tav>
                                      </p:tavLst>
                                    </p:anim>
                                    <p:anim calcmode="lin" valueType="num">
                                      <p:cBhvr>
                                        <p:cTn id="74" dur="500" fill="hold"/>
                                        <p:tgtEl>
                                          <p:spTgt spid="10"/>
                                        </p:tgtEl>
                                        <p:attrNameLst>
                                          <p:attrName>ppt_h</p:attrName>
                                        </p:attrNameLst>
                                      </p:cBhvr>
                                      <p:tavLst>
                                        <p:tav tm="0">
                                          <p:val>
                                            <p:fltVal val="0"/>
                                          </p:val>
                                        </p:tav>
                                        <p:tav tm="100000">
                                          <p:val>
                                            <p:strVal val="#ppt_h"/>
                                          </p:val>
                                        </p:tav>
                                      </p:tavLst>
                                    </p:anim>
                                    <p:animEffect transition="in" filter="fade">
                                      <p:cBhvr>
                                        <p:cTn id="75" dur="500"/>
                                        <p:tgtEl>
                                          <p:spTgt spid="10"/>
                                        </p:tgtEl>
                                      </p:cBhvr>
                                    </p:animEffect>
                                  </p:childTnLst>
                                </p:cTn>
                              </p:par>
                              <p:par>
                                <p:cTn id="76" presetID="53" presetClass="entr" presetSubtype="16" fill="hold" grpId="0" nodeType="withEffect">
                                  <p:stCondLst>
                                    <p:cond delay="0"/>
                                  </p:stCondLst>
                                  <p:childTnLst>
                                    <p:set>
                                      <p:cBhvr>
                                        <p:cTn id="77" dur="1" fill="hold">
                                          <p:stCondLst>
                                            <p:cond delay="0"/>
                                          </p:stCondLst>
                                        </p:cTn>
                                        <p:tgtEl>
                                          <p:spTgt spid="84"/>
                                        </p:tgtEl>
                                        <p:attrNameLst>
                                          <p:attrName>style.visibility</p:attrName>
                                        </p:attrNameLst>
                                      </p:cBhvr>
                                      <p:to>
                                        <p:strVal val="visible"/>
                                      </p:to>
                                    </p:set>
                                    <p:anim calcmode="lin" valueType="num">
                                      <p:cBhvr>
                                        <p:cTn id="78" dur="500" fill="hold"/>
                                        <p:tgtEl>
                                          <p:spTgt spid="84"/>
                                        </p:tgtEl>
                                        <p:attrNameLst>
                                          <p:attrName>ppt_w</p:attrName>
                                        </p:attrNameLst>
                                      </p:cBhvr>
                                      <p:tavLst>
                                        <p:tav tm="0">
                                          <p:val>
                                            <p:fltVal val="0"/>
                                          </p:val>
                                        </p:tav>
                                        <p:tav tm="100000">
                                          <p:val>
                                            <p:strVal val="#ppt_w"/>
                                          </p:val>
                                        </p:tav>
                                      </p:tavLst>
                                    </p:anim>
                                    <p:anim calcmode="lin" valueType="num">
                                      <p:cBhvr>
                                        <p:cTn id="79" dur="500" fill="hold"/>
                                        <p:tgtEl>
                                          <p:spTgt spid="84"/>
                                        </p:tgtEl>
                                        <p:attrNameLst>
                                          <p:attrName>ppt_h</p:attrName>
                                        </p:attrNameLst>
                                      </p:cBhvr>
                                      <p:tavLst>
                                        <p:tav tm="0">
                                          <p:val>
                                            <p:fltVal val="0"/>
                                          </p:val>
                                        </p:tav>
                                        <p:tav tm="100000">
                                          <p:val>
                                            <p:strVal val="#ppt_h"/>
                                          </p:val>
                                        </p:tav>
                                      </p:tavLst>
                                    </p:anim>
                                    <p:animEffect transition="in" filter="fade">
                                      <p:cBhvr>
                                        <p:cTn id="80" dur="500"/>
                                        <p:tgtEl>
                                          <p:spTgt spid="84"/>
                                        </p:tgtEl>
                                      </p:cBhvr>
                                    </p:animEffect>
                                  </p:childTnLst>
                                </p:cTn>
                              </p:par>
                              <p:par>
                                <p:cTn id="81" presetID="2" presetClass="entr" presetSubtype="2" decel="100000" fill="hold" nodeType="withEffect">
                                  <p:stCondLst>
                                    <p:cond delay="0"/>
                                  </p:stCondLst>
                                  <p:childTnLst>
                                    <p:set>
                                      <p:cBhvr>
                                        <p:cTn id="82" dur="1" fill="hold">
                                          <p:stCondLst>
                                            <p:cond delay="0"/>
                                          </p:stCondLst>
                                        </p:cTn>
                                        <p:tgtEl>
                                          <p:spTgt spid="198"/>
                                        </p:tgtEl>
                                        <p:attrNameLst>
                                          <p:attrName>style.visibility</p:attrName>
                                        </p:attrNameLst>
                                      </p:cBhvr>
                                      <p:to>
                                        <p:strVal val="visible"/>
                                      </p:to>
                                    </p:set>
                                    <p:anim calcmode="lin" valueType="num">
                                      <p:cBhvr additive="base">
                                        <p:cTn id="83" dur="500" fill="hold"/>
                                        <p:tgtEl>
                                          <p:spTgt spid="198"/>
                                        </p:tgtEl>
                                        <p:attrNameLst>
                                          <p:attrName>ppt_x</p:attrName>
                                        </p:attrNameLst>
                                      </p:cBhvr>
                                      <p:tavLst>
                                        <p:tav tm="0">
                                          <p:val>
                                            <p:strVal val="1+#ppt_w/2"/>
                                          </p:val>
                                        </p:tav>
                                        <p:tav tm="100000">
                                          <p:val>
                                            <p:strVal val="#ppt_x"/>
                                          </p:val>
                                        </p:tav>
                                      </p:tavLst>
                                    </p:anim>
                                    <p:anim calcmode="lin" valueType="num">
                                      <p:cBhvr additive="base">
                                        <p:cTn id="84" dur="500" fill="hold"/>
                                        <p:tgtEl>
                                          <p:spTgt spid="198"/>
                                        </p:tgtEl>
                                        <p:attrNameLst>
                                          <p:attrName>ppt_y</p:attrName>
                                        </p:attrNameLst>
                                      </p:cBhvr>
                                      <p:tavLst>
                                        <p:tav tm="0">
                                          <p:val>
                                            <p:strVal val="#ppt_y"/>
                                          </p:val>
                                        </p:tav>
                                        <p:tav tm="100000">
                                          <p:val>
                                            <p:strVal val="#ppt_y"/>
                                          </p:val>
                                        </p:tav>
                                      </p:tavLst>
                                    </p:anim>
                                  </p:childTnLst>
                                </p:cTn>
                              </p:par>
                              <p:par>
                                <p:cTn id="85" presetID="10" presetClass="entr" presetSubtype="0" fill="hold" grpId="0" nodeType="withEffect">
                                  <p:stCondLst>
                                    <p:cond delay="0"/>
                                  </p:stCondLst>
                                  <p:childTnLst>
                                    <p:set>
                                      <p:cBhvr>
                                        <p:cTn id="86" dur="1" fill="hold">
                                          <p:stCondLst>
                                            <p:cond delay="0"/>
                                          </p:stCondLst>
                                        </p:cTn>
                                        <p:tgtEl>
                                          <p:spTgt spid="216"/>
                                        </p:tgtEl>
                                        <p:attrNameLst>
                                          <p:attrName>style.visibility</p:attrName>
                                        </p:attrNameLst>
                                      </p:cBhvr>
                                      <p:to>
                                        <p:strVal val="visible"/>
                                      </p:to>
                                    </p:set>
                                    <p:animEffect transition="in" filter="fade">
                                      <p:cBhvr>
                                        <p:cTn id="87" dur="500"/>
                                        <p:tgtEl>
                                          <p:spTgt spid="216"/>
                                        </p:tgtEl>
                                      </p:cBhvr>
                                    </p:animEffect>
                                  </p:childTnLst>
                                </p:cTn>
                              </p:par>
                              <p:par>
                                <p:cTn id="88" presetID="53" presetClass="entr" presetSubtype="16" fill="hold" nodeType="withEffect">
                                  <p:stCondLst>
                                    <p:cond delay="0"/>
                                  </p:stCondLst>
                                  <p:childTnLst>
                                    <p:set>
                                      <p:cBhvr>
                                        <p:cTn id="89" dur="1" fill="hold">
                                          <p:stCondLst>
                                            <p:cond delay="0"/>
                                          </p:stCondLst>
                                        </p:cTn>
                                        <p:tgtEl>
                                          <p:spTgt spid="85"/>
                                        </p:tgtEl>
                                        <p:attrNameLst>
                                          <p:attrName>style.visibility</p:attrName>
                                        </p:attrNameLst>
                                      </p:cBhvr>
                                      <p:to>
                                        <p:strVal val="visible"/>
                                      </p:to>
                                    </p:set>
                                    <p:anim calcmode="lin" valueType="num">
                                      <p:cBhvr>
                                        <p:cTn id="90" dur="500" fill="hold"/>
                                        <p:tgtEl>
                                          <p:spTgt spid="85"/>
                                        </p:tgtEl>
                                        <p:attrNameLst>
                                          <p:attrName>ppt_w</p:attrName>
                                        </p:attrNameLst>
                                      </p:cBhvr>
                                      <p:tavLst>
                                        <p:tav tm="0">
                                          <p:val>
                                            <p:fltVal val="0"/>
                                          </p:val>
                                        </p:tav>
                                        <p:tav tm="100000">
                                          <p:val>
                                            <p:strVal val="#ppt_w"/>
                                          </p:val>
                                        </p:tav>
                                      </p:tavLst>
                                    </p:anim>
                                    <p:anim calcmode="lin" valueType="num">
                                      <p:cBhvr>
                                        <p:cTn id="91" dur="500" fill="hold"/>
                                        <p:tgtEl>
                                          <p:spTgt spid="85"/>
                                        </p:tgtEl>
                                        <p:attrNameLst>
                                          <p:attrName>ppt_h</p:attrName>
                                        </p:attrNameLst>
                                      </p:cBhvr>
                                      <p:tavLst>
                                        <p:tav tm="0">
                                          <p:val>
                                            <p:fltVal val="0"/>
                                          </p:val>
                                        </p:tav>
                                        <p:tav tm="100000">
                                          <p:val>
                                            <p:strVal val="#ppt_h"/>
                                          </p:val>
                                        </p:tav>
                                      </p:tavLst>
                                    </p:anim>
                                    <p:animEffect transition="in" filter="fade">
                                      <p:cBhvr>
                                        <p:cTn id="92" dur="500"/>
                                        <p:tgtEl>
                                          <p:spTgt spid="85"/>
                                        </p:tgtEl>
                                      </p:cBhvr>
                                    </p:animEffect>
                                  </p:childTnLst>
                                </p:cTn>
                              </p:par>
                              <p:par>
                                <p:cTn id="93" presetID="53" presetClass="entr" presetSubtype="16" fill="hold" grpId="0" nodeType="withEffect">
                                  <p:stCondLst>
                                    <p:cond delay="0"/>
                                  </p:stCondLst>
                                  <p:childTnLst>
                                    <p:set>
                                      <p:cBhvr>
                                        <p:cTn id="94" dur="1" fill="hold">
                                          <p:stCondLst>
                                            <p:cond delay="0"/>
                                          </p:stCondLst>
                                        </p:cTn>
                                        <p:tgtEl>
                                          <p:spTgt spid="213"/>
                                        </p:tgtEl>
                                        <p:attrNameLst>
                                          <p:attrName>style.visibility</p:attrName>
                                        </p:attrNameLst>
                                      </p:cBhvr>
                                      <p:to>
                                        <p:strVal val="visible"/>
                                      </p:to>
                                    </p:set>
                                    <p:anim calcmode="lin" valueType="num">
                                      <p:cBhvr>
                                        <p:cTn id="95" dur="500" fill="hold"/>
                                        <p:tgtEl>
                                          <p:spTgt spid="213"/>
                                        </p:tgtEl>
                                        <p:attrNameLst>
                                          <p:attrName>ppt_w</p:attrName>
                                        </p:attrNameLst>
                                      </p:cBhvr>
                                      <p:tavLst>
                                        <p:tav tm="0">
                                          <p:val>
                                            <p:fltVal val="0"/>
                                          </p:val>
                                        </p:tav>
                                        <p:tav tm="100000">
                                          <p:val>
                                            <p:strVal val="#ppt_w"/>
                                          </p:val>
                                        </p:tav>
                                      </p:tavLst>
                                    </p:anim>
                                    <p:anim calcmode="lin" valueType="num">
                                      <p:cBhvr>
                                        <p:cTn id="96" dur="500" fill="hold"/>
                                        <p:tgtEl>
                                          <p:spTgt spid="213"/>
                                        </p:tgtEl>
                                        <p:attrNameLst>
                                          <p:attrName>ppt_h</p:attrName>
                                        </p:attrNameLst>
                                      </p:cBhvr>
                                      <p:tavLst>
                                        <p:tav tm="0">
                                          <p:val>
                                            <p:fltVal val="0"/>
                                          </p:val>
                                        </p:tav>
                                        <p:tav tm="100000">
                                          <p:val>
                                            <p:strVal val="#ppt_h"/>
                                          </p:val>
                                        </p:tav>
                                      </p:tavLst>
                                    </p:anim>
                                    <p:animEffect transition="in" filter="fade">
                                      <p:cBhvr>
                                        <p:cTn id="97" dur="500"/>
                                        <p:tgtEl>
                                          <p:spTgt spid="213"/>
                                        </p:tgtEl>
                                      </p:cBhvr>
                                    </p:animEffect>
                                  </p:childTnLst>
                                </p:cTn>
                              </p:par>
                              <p:par>
                                <p:cTn id="98" presetID="53" presetClass="entr" presetSubtype="16" fill="hold" nodeType="withEffect">
                                  <p:stCondLst>
                                    <p:cond delay="0"/>
                                  </p:stCondLst>
                                  <p:childTnLst>
                                    <p:set>
                                      <p:cBhvr>
                                        <p:cTn id="99" dur="1" fill="hold">
                                          <p:stCondLst>
                                            <p:cond delay="0"/>
                                          </p:stCondLst>
                                        </p:cTn>
                                        <p:tgtEl>
                                          <p:spTgt spid="215"/>
                                        </p:tgtEl>
                                        <p:attrNameLst>
                                          <p:attrName>style.visibility</p:attrName>
                                        </p:attrNameLst>
                                      </p:cBhvr>
                                      <p:to>
                                        <p:strVal val="visible"/>
                                      </p:to>
                                    </p:set>
                                    <p:anim calcmode="lin" valueType="num">
                                      <p:cBhvr>
                                        <p:cTn id="100" dur="500" fill="hold"/>
                                        <p:tgtEl>
                                          <p:spTgt spid="215"/>
                                        </p:tgtEl>
                                        <p:attrNameLst>
                                          <p:attrName>ppt_w</p:attrName>
                                        </p:attrNameLst>
                                      </p:cBhvr>
                                      <p:tavLst>
                                        <p:tav tm="0">
                                          <p:val>
                                            <p:fltVal val="0"/>
                                          </p:val>
                                        </p:tav>
                                        <p:tav tm="100000">
                                          <p:val>
                                            <p:strVal val="#ppt_w"/>
                                          </p:val>
                                        </p:tav>
                                      </p:tavLst>
                                    </p:anim>
                                    <p:anim calcmode="lin" valueType="num">
                                      <p:cBhvr>
                                        <p:cTn id="101" dur="500" fill="hold"/>
                                        <p:tgtEl>
                                          <p:spTgt spid="215"/>
                                        </p:tgtEl>
                                        <p:attrNameLst>
                                          <p:attrName>ppt_h</p:attrName>
                                        </p:attrNameLst>
                                      </p:cBhvr>
                                      <p:tavLst>
                                        <p:tav tm="0">
                                          <p:val>
                                            <p:fltVal val="0"/>
                                          </p:val>
                                        </p:tav>
                                        <p:tav tm="100000">
                                          <p:val>
                                            <p:strVal val="#ppt_h"/>
                                          </p:val>
                                        </p:tav>
                                      </p:tavLst>
                                    </p:anim>
                                    <p:animEffect transition="in" filter="fade">
                                      <p:cBhvr>
                                        <p:cTn id="102" dur="500"/>
                                        <p:tgtEl>
                                          <p:spTgt spid="215"/>
                                        </p:tgtEl>
                                      </p:cBhvr>
                                    </p:animEffect>
                                  </p:childTnLst>
                                </p:cTn>
                              </p:par>
                              <p:par>
                                <p:cTn id="103" presetID="53" presetClass="entr" presetSubtype="16" fill="hold" nodeType="withEffect">
                                  <p:stCondLst>
                                    <p:cond delay="0"/>
                                  </p:stCondLst>
                                  <p:childTnLst>
                                    <p:set>
                                      <p:cBhvr>
                                        <p:cTn id="104" dur="1" fill="hold">
                                          <p:stCondLst>
                                            <p:cond delay="0"/>
                                          </p:stCondLst>
                                        </p:cTn>
                                        <p:tgtEl>
                                          <p:spTgt spid="107"/>
                                        </p:tgtEl>
                                        <p:attrNameLst>
                                          <p:attrName>style.visibility</p:attrName>
                                        </p:attrNameLst>
                                      </p:cBhvr>
                                      <p:to>
                                        <p:strVal val="visible"/>
                                      </p:to>
                                    </p:set>
                                    <p:anim calcmode="lin" valueType="num">
                                      <p:cBhvr>
                                        <p:cTn id="105" dur="500" fill="hold"/>
                                        <p:tgtEl>
                                          <p:spTgt spid="107"/>
                                        </p:tgtEl>
                                        <p:attrNameLst>
                                          <p:attrName>ppt_w</p:attrName>
                                        </p:attrNameLst>
                                      </p:cBhvr>
                                      <p:tavLst>
                                        <p:tav tm="0">
                                          <p:val>
                                            <p:fltVal val="0"/>
                                          </p:val>
                                        </p:tav>
                                        <p:tav tm="100000">
                                          <p:val>
                                            <p:strVal val="#ppt_w"/>
                                          </p:val>
                                        </p:tav>
                                      </p:tavLst>
                                    </p:anim>
                                    <p:anim calcmode="lin" valueType="num">
                                      <p:cBhvr>
                                        <p:cTn id="106" dur="500" fill="hold"/>
                                        <p:tgtEl>
                                          <p:spTgt spid="107"/>
                                        </p:tgtEl>
                                        <p:attrNameLst>
                                          <p:attrName>ppt_h</p:attrName>
                                        </p:attrNameLst>
                                      </p:cBhvr>
                                      <p:tavLst>
                                        <p:tav tm="0">
                                          <p:val>
                                            <p:fltVal val="0"/>
                                          </p:val>
                                        </p:tav>
                                        <p:tav tm="100000">
                                          <p:val>
                                            <p:strVal val="#ppt_h"/>
                                          </p:val>
                                        </p:tav>
                                      </p:tavLst>
                                    </p:anim>
                                    <p:animEffect transition="in" filter="fade">
                                      <p:cBhvr>
                                        <p:cTn id="107" dur="500"/>
                                        <p:tgtEl>
                                          <p:spTgt spid="107"/>
                                        </p:tgtEl>
                                      </p:cBhvr>
                                    </p:animEffect>
                                  </p:childTnLst>
                                </p:cTn>
                              </p:par>
                              <p:par>
                                <p:cTn id="108" presetID="2" presetClass="entr" presetSubtype="2" decel="100000" fill="hold" nodeType="withEffect">
                                  <p:stCondLst>
                                    <p:cond delay="0"/>
                                  </p:stCondLst>
                                  <p:childTnLst>
                                    <p:set>
                                      <p:cBhvr>
                                        <p:cTn id="109" dur="1" fill="hold">
                                          <p:stCondLst>
                                            <p:cond delay="0"/>
                                          </p:stCondLst>
                                        </p:cTn>
                                        <p:tgtEl>
                                          <p:spTgt spid="106"/>
                                        </p:tgtEl>
                                        <p:attrNameLst>
                                          <p:attrName>style.visibility</p:attrName>
                                        </p:attrNameLst>
                                      </p:cBhvr>
                                      <p:to>
                                        <p:strVal val="visible"/>
                                      </p:to>
                                    </p:set>
                                    <p:anim calcmode="lin" valueType="num">
                                      <p:cBhvr additive="base">
                                        <p:cTn id="110" dur="500" fill="hold"/>
                                        <p:tgtEl>
                                          <p:spTgt spid="106"/>
                                        </p:tgtEl>
                                        <p:attrNameLst>
                                          <p:attrName>ppt_x</p:attrName>
                                        </p:attrNameLst>
                                      </p:cBhvr>
                                      <p:tavLst>
                                        <p:tav tm="0">
                                          <p:val>
                                            <p:strVal val="1+#ppt_w/2"/>
                                          </p:val>
                                        </p:tav>
                                        <p:tav tm="100000">
                                          <p:val>
                                            <p:strVal val="#ppt_x"/>
                                          </p:val>
                                        </p:tav>
                                      </p:tavLst>
                                    </p:anim>
                                    <p:anim calcmode="lin" valueType="num">
                                      <p:cBhvr additive="base">
                                        <p:cTn id="111" dur="500" fill="hold"/>
                                        <p:tgtEl>
                                          <p:spTgt spid="106"/>
                                        </p:tgtEl>
                                        <p:attrNameLst>
                                          <p:attrName>ppt_y</p:attrName>
                                        </p:attrNameLst>
                                      </p:cBhvr>
                                      <p:tavLst>
                                        <p:tav tm="0">
                                          <p:val>
                                            <p:strVal val="#ppt_y"/>
                                          </p:val>
                                        </p:tav>
                                        <p:tav tm="100000">
                                          <p:val>
                                            <p:strVal val="#ppt_y"/>
                                          </p:val>
                                        </p:tav>
                                      </p:tavLst>
                                    </p:anim>
                                  </p:childTnLst>
                                </p:cTn>
                              </p:par>
                              <p:par>
                                <p:cTn id="112" presetID="53" presetClass="entr" presetSubtype="16" fill="hold" grpId="0" nodeType="withEffect">
                                  <p:stCondLst>
                                    <p:cond delay="0"/>
                                  </p:stCondLst>
                                  <p:childTnLst>
                                    <p:set>
                                      <p:cBhvr>
                                        <p:cTn id="113" dur="1" fill="hold">
                                          <p:stCondLst>
                                            <p:cond delay="0"/>
                                          </p:stCondLst>
                                        </p:cTn>
                                        <p:tgtEl>
                                          <p:spTgt spid="103"/>
                                        </p:tgtEl>
                                        <p:attrNameLst>
                                          <p:attrName>style.visibility</p:attrName>
                                        </p:attrNameLst>
                                      </p:cBhvr>
                                      <p:to>
                                        <p:strVal val="visible"/>
                                      </p:to>
                                    </p:set>
                                    <p:anim calcmode="lin" valueType="num">
                                      <p:cBhvr>
                                        <p:cTn id="114" dur="500" fill="hold"/>
                                        <p:tgtEl>
                                          <p:spTgt spid="103"/>
                                        </p:tgtEl>
                                        <p:attrNameLst>
                                          <p:attrName>ppt_w</p:attrName>
                                        </p:attrNameLst>
                                      </p:cBhvr>
                                      <p:tavLst>
                                        <p:tav tm="0">
                                          <p:val>
                                            <p:fltVal val="0"/>
                                          </p:val>
                                        </p:tav>
                                        <p:tav tm="100000">
                                          <p:val>
                                            <p:strVal val="#ppt_w"/>
                                          </p:val>
                                        </p:tav>
                                      </p:tavLst>
                                    </p:anim>
                                    <p:anim calcmode="lin" valueType="num">
                                      <p:cBhvr>
                                        <p:cTn id="115" dur="500" fill="hold"/>
                                        <p:tgtEl>
                                          <p:spTgt spid="103"/>
                                        </p:tgtEl>
                                        <p:attrNameLst>
                                          <p:attrName>ppt_h</p:attrName>
                                        </p:attrNameLst>
                                      </p:cBhvr>
                                      <p:tavLst>
                                        <p:tav tm="0">
                                          <p:val>
                                            <p:fltVal val="0"/>
                                          </p:val>
                                        </p:tav>
                                        <p:tav tm="100000">
                                          <p:val>
                                            <p:strVal val="#ppt_h"/>
                                          </p:val>
                                        </p:tav>
                                      </p:tavLst>
                                    </p:anim>
                                    <p:animEffect transition="in" filter="fade">
                                      <p:cBhvr>
                                        <p:cTn id="116" dur="500"/>
                                        <p:tgtEl>
                                          <p:spTgt spid="103"/>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104"/>
                                        </p:tgtEl>
                                        <p:attrNameLst>
                                          <p:attrName>style.visibility</p:attrName>
                                        </p:attrNameLst>
                                      </p:cBhvr>
                                      <p:to>
                                        <p:strVal val="visible"/>
                                      </p:to>
                                    </p:set>
                                    <p:animEffect transition="in" filter="fade">
                                      <p:cBhvr>
                                        <p:cTn id="119" dur="500"/>
                                        <p:tgtEl>
                                          <p:spTgt spid="104"/>
                                        </p:tgtEl>
                                      </p:cBhvr>
                                    </p:animEffect>
                                  </p:childTnLst>
                                </p:cTn>
                              </p:par>
                              <p:par>
                                <p:cTn id="120" presetID="53" presetClass="entr" presetSubtype="16" fill="hold" nodeType="withEffect">
                                  <p:stCondLst>
                                    <p:cond delay="0"/>
                                  </p:stCondLst>
                                  <p:childTnLst>
                                    <p:set>
                                      <p:cBhvr>
                                        <p:cTn id="121" dur="1" fill="hold">
                                          <p:stCondLst>
                                            <p:cond delay="0"/>
                                          </p:stCondLst>
                                        </p:cTn>
                                        <p:tgtEl>
                                          <p:spTgt spid="108"/>
                                        </p:tgtEl>
                                        <p:attrNameLst>
                                          <p:attrName>style.visibility</p:attrName>
                                        </p:attrNameLst>
                                      </p:cBhvr>
                                      <p:to>
                                        <p:strVal val="visible"/>
                                      </p:to>
                                    </p:set>
                                    <p:anim calcmode="lin" valueType="num">
                                      <p:cBhvr>
                                        <p:cTn id="122" dur="500" fill="hold"/>
                                        <p:tgtEl>
                                          <p:spTgt spid="108"/>
                                        </p:tgtEl>
                                        <p:attrNameLst>
                                          <p:attrName>ppt_w</p:attrName>
                                        </p:attrNameLst>
                                      </p:cBhvr>
                                      <p:tavLst>
                                        <p:tav tm="0">
                                          <p:val>
                                            <p:fltVal val="0"/>
                                          </p:val>
                                        </p:tav>
                                        <p:tav tm="100000">
                                          <p:val>
                                            <p:strVal val="#ppt_w"/>
                                          </p:val>
                                        </p:tav>
                                      </p:tavLst>
                                    </p:anim>
                                    <p:anim calcmode="lin" valueType="num">
                                      <p:cBhvr>
                                        <p:cTn id="123" dur="500" fill="hold"/>
                                        <p:tgtEl>
                                          <p:spTgt spid="108"/>
                                        </p:tgtEl>
                                        <p:attrNameLst>
                                          <p:attrName>ppt_h</p:attrName>
                                        </p:attrNameLst>
                                      </p:cBhvr>
                                      <p:tavLst>
                                        <p:tav tm="0">
                                          <p:val>
                                            <p:fltVal val="0"/>
                                          </p:val>
                                        </p:tav>
                                        <p:tav tm="100000">
                                          <p:val>
                                            <p:strVal val="#ppt_h"/>
                                          </p:val>
                                        </p:tav>
                                      </p:tavLst>
                                    </p:anim>
                                    <p:animEffect transition="in" filter="fade">
                                      <p:cBhvr>
                                        <p:cTn id="124" dur="500"/>
                                        <p:tgtEl>
                                          <p:spTgt spid="108"/>
                                        </p:tgtEl>
                                      </p:cBhvr>
                                    </p:animEffect>
                                  </p:childTnLst>
                                </p:cTn>
                              </p:par>
                            </p:childTnLst>
                          </p:cTn>
                        </p:par>
                        <p:par>
                          <p:cTn id="125" fill="hold">
                            <p:stCondLst>
                              <p:cond delay="500"/>
                            </p:stCondLst>
                            <p:childTnLst>
                              <p:par>
                                <p:cTn id="126" presetID="22" presetClass="entr" presetSubtype="8" fill="hold" nodeType="afterEffect">
                                  <p:stCondLst>
                                    <p:cond delay="0"/>
                                  </p:stCondLst>
                                  <p:childTnLst>
                                    <p:set>
                                      <p:cBhvr>
                                        <p:cTn id="127" dur="1" fill="hold">
                                          <p:stCondLst>
                                            <p:cond delay="0"/>
                                          </p:stCondLst>
                                        </p:cTn>
                                        <p:tgtEl>
                                          <p:spTgt spid="219"/>
                                        </p:tgtEl>
                                        <p:attrNameLst>
                                          <p:attrName>style.visibility</p:attrName>
                                        </p:attrNameLst>
                                      </p:cBhvr>
                                      <p:to>
                                        <p:strVal val="visible"/>
                                      </p:to>
                                    </p:set>
                                    <p:animEffect transition="in" filter="wipe(left)">
                                      <p:cBhvr>
                                        <p:cTn id="128" dur="500"/>
                                        <p:tgtEl>
                                          <p:spTgt spid="219"/>
                                        </p:tgtEl>
                                      </p:cBhvr>
                                    </p:animEffect>
                                  </p:childTnLst>
                                </p:cTn>
                              </p:par>
                              <p:par>
                                <p:cTn id="129" presetID="53" presetClass="entr" presetSubtype="16" fill="hold" nodeType="withEffect">
                                  <p:stCondLst>
                                    <p:cond delay="0"/>
                                  </p:stCondLst>
                                  <p:childTnLst>
                                    <p:set>
                                      <p:cBhvr>
                                        <p:cTn id="130" dur="1" fill="hold">
                                          <p:stCondLst>
                                            <p:cond delay="0"/>
                                          </p:stCondLst>
                                        </p:cTn>
                                        <p:tgtEl>
                                          <p:spTgt spid="189"/>
                                        </p:tgtEl>
                                        <p:attrNameLst>
                                          <p:attrName>style.visibility</p:attrName>
                                        </p:attrNameLst>
                                      </p:cBhvr>
                                      <p:to>
                                        <p:strVal val="visible"/>
                                      </p:to>
                                    </p:set>
                                    <p:anim calcmode="lin" valueType="num">
                                      <p:cBhvr>
                                        <p:cTn id="131" dur="500" fill="hold"/>
                                        <p:tgtEl>
                                          <p:spTgt spid="189"/>
                                        </p:tgtEl>
                                        <p:attrNameLst>
                                          <p:attrName>ppt_w</p:attrName>
                                        </p:attrNameLst>
                                      </p:cBhvr>
                                      <p:tavLst>
                                        <p:tav tm="0">
                                          <p:val>
                                            <p:fltVal val="0"/>
                                          </p:val>
                                        </p:tav>
                                        <p:tav tm="100000">
                                          <p:val>
                                            <p:strVal val="#ppt_w"/>
                                          </p:val>
                                        </p:tav>
                                      </p:tavLst>
                                    </p:anim>
                                    <p:anim calcmode="lin" valueType="num">
                                      <p:cBhvr>
                                        <p:cTn id="132" dur="500" fill="hold"/>
                                        <p:tgtEl>
                                          <p:spTgt spid="189"/>
                                        </p:tgtEl>
                                        <p:attrNameLst>
                                          <p:attrName>ppt_h</p:attrName>
                                        </p:attrNameLst>
                                      </p:cBhvr>
                                      <p:tavLst>
                                        <p:tav tm="0">
                                          <p:val>
                                            <p:fltVal val="0"/>
                                          </p:val>
                                        </p:tav>
                                        <p:tav tm="100000">
                                          <p:val>
                                            <p:strVal val="#ppt_h"/>
                                          </p:val>
                                        </p:tav>
                                      </p:tavLst>
                                    </p:anim>
                                    <p:animEffect transition="in" filter="fade">
                                      <p:cBhvr>
                                        <p:cTn id="133" dur="500"/>
                                        <p:tgtEl>
                                          <p:spTgt spid="189"/>
                                        </p:tgtEl>
                                      </p:cBhvr>
                                    </p:animEffect>
                                  </p:childTnLst>
                                </p:cTn>
                              </p:par>
                              <p:par>
                                <p:cTn id="134" presetID="2" presetClass="entr" presetSubtype="2" decel="100000" fill="hold" nodeType="withEffect">
                                  <p:stCondLst>
                                    <p:cond delay="0"/>
                                  </p:stCondLst>
                                  <p:childTnLst>
                                    <p:set>
                                      <p:cBhvr>
                                        <p:cTn id="135" dur="1" fill="hold">
                                          <p:stCondLst>
                                            <p:cond delay="0"/>
                                          </p:stCondLst>
                                        </p:cTn>
                                        <p:tgtEl>
                                          <p:spTgt spid="177"/>
                                        </p:tgtEl>
                                        <p:attrNameLst>
                                          <p:attrName>style.visibility</p:attrName>
                                        </p:attrNameLst>
                                      </p:cBhvr>
                                      <p:to>
                                        <p:strVal val="visible"/>
                                      </p:to>
                                    </p:set>
                                    <p:anim calcmode="lin" valueType="num">
                                      <p:cBhvr additive="base">
                                        <p:cTn id="136" dur="500" fill="hold"/>
                                        <p:tgtEl>
                                          <p:spTgt spid="177"/>
                                        </p:tgtEl>
                                        <p:attrNameLst>
                                          <p:attrName>ppt_x</p:attrName>
                                        </p:attrNameLst>
                                      </p:cBhvr>
                                      <p:tavLst>
                                        <p:tav tm="0">
                                          <p:val>
                                            <p:strVal val="1+#ppt_w/2"/>
                                          </p:val>
                                        </p:tav>
                                        <p:tav tm="100000">
                                          <p:val>
                                            <p:strVal val="#ppt_x"/>
                                          </p:val>
                                        </p:tav>
                                      </p:tavLst>
                                    </p:anim>
                                    <p:anim calcmode="lin" valueType="num">
                                      <p:cBhvr additive="base">
                                        <p:cTn id="137" dur="500" fill="hold"/>
                                        <p:tgtEl>
                                          <p:spTgt spid="177"/>
                                        </p:tgtEl>
                                        <p:attrNameLst>
                                          <p:attrName>ppt_y</p:attrName>
                                        </p:attrNameLst>
                                      </p:cBhvr>
                                      <p:tavLst>
                                        <p:tav tm="0">
                                          <p:val>
                                            <p:strVal val="#ppt_y"/>
                                          </p:val>
                                        </p:tav>
                                        <p:tav tm="100000">
                                          <p:val>
                                            <p:strVal val="#ppt_y"/>
                                          </p:val>
                                        </p:tav>
                                      </p:tavLst>
                                    </p:anim>
                                  </p:childTnLst>
                                </p:cTn>
                              </p:par>
                              <p:par>
                                <p:cTn id="138" presetID="53" presetClass="entr" presetSubtype="16" fill="hold" grpId="0" nodeType="withEffect">
                                  <p:stCondLst>
                                    <p:cond delay="0"/>
                                  </p:stCondLst>
                                  <p:childTnLst>
                                    <p:set>
                                      <p:cBhvr>
                                        <p:cTn id="139" dur="1" fill="hold">
                                          <p:stCondLst>
                                            <p:cond delay="0"/>
                                          </p:stCondLst>
                                        </p:cTn>
                                        <p:tgtEl>
                                          <p:spTgt spid="172"/>
                                        </p:tgtEl>
                                        <p:attrNameLst>
                                          <p:attrName>style.visibility</p:attrName>
                                        </p:attrNameLst>
                                      </p:cBhvr>
                                      <p:to>
                                        <p:strVal val="visible"/>
                                      </p:to>
                                    </p:set>
                                    <p:anim calcmode="lin" valueType="num">
                                      <p:cBhvr>
                                        <p:cTn id="140" dur="500" fill="hold"/>
                                        <p:tgtEl>
                                          <p:spTgt spid="172"/>
                                        </p:tgtEl>
                                        <p:attrNameLst>
                                          <p:attrName>ppt_w</p:attrName>
                                        </p:attrNameLst>
                                      </p:cBhvr>
                                      <p:tavLst>
                                        <p:tav tm="0">
                                          <p:val>
                                            <p:fltVal val="0"/>
                                          </p:val>
                                        </p:tav>
                                        <p:tav tm="100000">
                                          <p:val>
                                            <p:strVal val="#ppt_w"/>
                                          </p:val>
                                        </p:tav>
                                      </p:tavLst>
                                    </p:anim>
                                    <p:anim calcmode="lin" valueType="num">
                                      <p:cBhvr>
                                        <p:cTn id="141" dur="500" fill="hold"/>
                                        <p:tgtEl>
                                          <p:spTgt spid="172"/>
                                        </p:tgtEl>
                                        <p:attrNameLst>
                                          <p:attrName>ppt_h</p:attrName>
                                        </p:attrNameLst>
                                      </p:cBhvr>
                                      <p:tavLst>
                                        <p:tav tm="0">
                                          <p:val>
                                            <p:fltVal val="0"/>
                                          </p:val>
                                        </p:tav>
                                        <p:tav tm="100000">
                                          <p:val>
                                            <p:strVal val="#ppt_h"/>
                                          </p:val>
                                        </p:tav>
                                      </p:tavLst>
                                    </p:anim>
                                    <p:animEffect transition="in" filter="fade">
                                      <p:cBhvr>
                                        <p:cTn id="142" dur="500"/>
                                        <p:tgtEl>
                                          <p:spTgt spid="172"/>
                                        </p:tgtEl>
                                      </p:cBhvr>
                                    </p:animEffect>
                                  </p:childTnLst>
                                </p:cTn>
                              </p:par>
                              <p:par>
                                <p:cTn id="143" presetID="53" presetClass="entr" presetSubtype="16" fill="hold" grpId="0" nodeType="withEffect">
                                  <p:stCondLst>
                                    <p:cond delay="0"/>
                                  </p:stCondLst>
                                  <p:childTnLst>
                                    <p:set>
                                      <p:cBhvr>
                                        <p:cTn id="144" dur="1" fill="hold">
                                          <p:stCondLst>
                                            <p:cond delay="0"/>
                                          </p:stCondLst>
                                        </p:cTn>
                                        <p:tgtEl>
                                          <p:spTgt spid="184"/>
                                        </p:tgtEl>
                                        <p:attrNameLst>
                                          <p:attrName>style.visibility</p:attrName>
                                        </p:attrNameLst>
                                      </p:cBhvr>
                                      <p:to>
                                        <p:strVal val="visible"/>
                                      </p:to>
                                    </p:set>
                                    <p:anim calcmode="lin" valueType="num">
                                      <p:cBhvr>
                                        <p:cTn id="145" dur="500" fill="hold"/>
                                        <p:tgtEl>
                                          <p:spTgt spid="184"/>
                                        </p:tgtEl>
                                        <p:attrNameLst>
                                          <p:attrName>ppt_w</p:attrName>
                                        </p:attrNameLst>
                                      </p:cBhvr>
                                      <p:tavLst>
                                        <p:tav tm="0">
                                          <p:val>
                                            <p:fltVal val="0"/>
                                          </p:val>
                                        </p:tav>
                                        <p:tav tm="100000">
                                          <p:val>
                                            <p:strVal val="#ppt_w"/>
                                          </p:val>
                                        </p:tav>
                                      </p:tavLst>
                                    </p:anim>
                                    <p:anim calcmode="lin" valueType="num">
                                      <p:cBhvr>
                                        <p:cTn id="146" dur="500" fill="hold"/>
                                        <p:tgtEl>
                                          <p:spTgt spid="184"/>
                                        </p:tgtEl>
                                        <p:attrNameLst>
                                          <p:attrName>ppt_h</p:attrName>
                                        </p:attrNameLst>
                                      </p:cBhvr>
                                      <p:tavLst>
                                        <p:tav tm="0">
                                          <p:val>
                                            <p:fltVal val="0"/>
                                          </p:val>
                                        </p:tav>
                                        <p:tav tm="100000">
                                          <p:val>
                                            <p:strVal val="#ppt_h"/>
                                          </p:val>
                                        </p:tav>
                                      </p:tavLst>
                                    </p:anim>
                                    <p:animEffect transition="in" filter="fade">
                                      <p:cBhvr>
                                        <p:cTn id="147" dur="500"/>
                                        <p:tgtEl>
                                          <p:spTgt spid="184"/>
                                        </p:tgtEl>
                                      </p:cBhvr>
                                    </p:animEffect>
                                  </p:childTnLst>
                                </p:cTn>
                              </p:par>
                              <p:par>
                                <p:cTn id="148" presetID="53" presetClass="entr" presetSubtype="16" fill="hold" nodeType="withEffect">
                                  <p:stCondLst>
                                    <p:cond delay="0"/>
                                  </p:stCondLst>
                                  <p:childTnLst>
                                    <p:set>
                                      <p:cBhvr>
                                        <p:cTn id="149" dur="1" fill="hold">
                                          <p:stCondLst>
                                            <p:cond delay="0"/>
                                          </p:stCondLst>
                                        </p:cTn>
                                        <p:tgtEl>
                                          <p:spTgt spid="231"/>
                                        </p:tgtEl>
                                        <p:attrNameLst>
                                          <p:attrName>style.visibility</p:attrName>
                                        </p:attrNameLst>
                                      </p:cBhvr>
                                      <p:to>
                                        <p:strVal val="visible"/>
                                      </p:to>
                                    </p:set>
                                    <p:anim calcmode="lin" valueType="num">
                                      <p:cBhvr>
                                        <p:cTn id="150" dur="500" fill="hold"/>
                                        <p:tgtEl>
                                          <p:spTgt spid="231"/>
                                        </p:tgtEl>
                                        <p:attrNameLst>
                                          <p:attrName>ppt_w</p:attrName>
                                        </p:attrNameLst>
                                      </p:cBhvr>
                                      <p:tavLst>
                                        <p:tav tm="0">
                                          <p:val>
                                            <p:fltVal val="0"/>
                                          </p:val>
                                        </p:tav>
                                        <p:tav tm="100000">
                                          <p:val>
                                            <p:strVal val="#ppt_w"/>
                                          </p:val>
                                        </p:tav>
                                      </p:tavLst>
                                    </p:anim>
                                    <p:anim calcmode="lin" valueType="num">
                                      <p:cBhvr>
                                        <p:cTn id="151" dur="500" fill="hold"/>
                                        <p:tgtEl>
                                          <p:spTgt spid="231"/>
                                        </p:tgtEl>
                                        <p:attrNameLst>
                                          <p:attrName>ppt_h</p:attrName>
                                        </p:attrNameLst>
                                      </p:cBhvr>
                                      <p:tavLst>
                                        <p:tav tm="0">
                                          <p:val>
                                            <p:fltVal val="0"/>
                                          </p:val>
                                        </p:tav>
                                        <p:tav tm="100000">
                                          <p:val>
                                            <p:strVal val="#ppt_h"/>
                                          </p:val>
                                        </p:tav>
                                      </p:tavLst>
                                    </p:anim>
                                    <p:animEffect transition="in" filter="fade">
                                      <p:cBhvr>
                                        <p:cTn id="152" dur="500"/>
                                        <p:tgtEl>
                                          <p:spTgt spid="231"/>
                                        </p:tgtEl>
                                      </p:cBhvr>
                                    </p:animEffect>
                                  </p:childTnLst>
                                </p:cTn>
                              </p:par>
                              <p:par>
                                <p:cTn id="153" presetID="10" presetClass="entr" presetSubtype="0" fill="hold" grpId="0" nodeType="withEffect">
                                  <p:stCondLst>
                                    <p:cond delay="0"/>
                                  </p:stCondLst>
                                  <p:childTnLst>
                                    <p:set>
                                      <p:cBhvr>
                                        <p:cTn id="154" dur="1" fill="hold">
                                          <p:stCondLst>
                                            <p:cond delay="0"/>
                                          </p:stCondLst>
                                        </p:cTn>
                                        <p:tgtEl>
                                          <p:spTgt spid="220"/>
                                        </p:tgtEl>
                                        <p:attrNameLst>
                                          <p:attrName>style.visibility</p:attrName>
                                        </p:attrNameLst>
                                      </p:cBhvr>
                                      <p:to>
                                        <p:strVal val="visible"/>
                                      </p:to>
                                    </p:set>
                                    <p:animEffect transition="in" filter="fade">
                                      <p:cBhvr>
                                        <p:cTn id="155" dur="500"/>
                                        <p:tgtEl>
                                          <p:spTgt spid="220"/>
                                        </p:tgtEl>
                                      </p:cBhvr>
                                    </p:animEffect>
                                  </p:childTnLst>
                                </p:cTn>
                              </p:par>
                              <p:par>
                                <p:cTn id="156" presetID="53" presetClass="entr" presetSubtype="16" fill="hold" grpId="0" nodeType="withEffect">
                                  <p:stCondLst>
                                    <p:cond delay="0"/>
                                  </p:stCondLst>
                                  <p:childTnLst>
                                    <p:set>
                                      <p:cBhvr>
                                        <p:cTn id="157" dur="1" fill="hold">
                                          <p:stCondLst>
                                            <p:cond delay="0"/>
                                          </p:stCondLst>
                                        </p:cTn>
                                        <p:tgtEl>
                                          <p:spTgt spid="237"/>
                                        </p:tgtEl>
                                        <p:attrNameLst>
                                          <p:attrName>style.visibility</p:attrName>
                                        </p:attrNameLst>
                                      </p:cBhvr>
                                      <p:to>
                                        <p:strVal val="visible"/>
                                      </p:to>
                                    </p:set>
                                    <p:anim calcmode="lin" valueType="num">
                                      <p:cBhvr>
                                        <p:cTn id="158" dur="500" fill="hold"/>
                                        <p:tgtEl>
                                          <p:spTgt spid="237"/>
                                        </p:tgtEl>
                                        <p:attrNameLst>
                                          <p:attrName>ppt_w</p:attrName>
                                        </p:attrNameLst>
                                      </p:cBhvr>
                                      <p:tavLst>
                                        <p:tav tm="0">
                                          <p:val>
                                            <p:fltVal val="0"/>
                                          </p:val>
                                        </p:tav>
                                        <p:tav tm="100000">
                                          <p:val>
                                            <p:strVal val="#ppt_w"/>
                                          </p:val>
                                        </p:tav>
                                      </p:tavLst>
                                    </p:anim>
                                    <p:anim calcmode="lin" valueType="num">
                                      <p:cBhvr>
                                        <p:cTn id="159" dur="500" fill="hold"/>
                                        <p:tgtEl>
                                          <p:spTgt spid="237"/>
                                        </p:tgtEl>
                                        <p:attrNameLst>
                                          <p:attrName>ppt_h</p:attrName>
                                        </p:attrNameLst>
                                      </p:cBhvr>
                                      <p:tavLst>
                                        <p:tav tm="0">
                                          <p:val>
                                            <p:fltVal val="0"/>
                                          </p:val>
                                        </p:tav>
                                        <p:tav tm="100000">
                                          <p:val>
                                            <p:strVal val="#ppt_h"/>
                                          </p:val>
                                        </p:tav>
                                      </p:tavLst>
                                    </p:anim>
                                    <p:animEffect transition="in" filter="fade">
                                      <p:cBhvr>
                                        <p:cTn id="160" dur="500"/>
                                        <p:tgtEl>
                                          <p:spTgt spid="237"/>
                                        </p:tgtEl>
                                      </p:cBhvr>
                                    </p:animEffect>
                                  </p:childTnLst>
                                </p:cTn>
                              </p:par>
                              <p:par>
                                <p:cTn id="161" presetID="2" presetClass="entr" presetSubtype="2" decel="100000" fill="hold" nodeType="withEffect">
                                  <p:stCondLst>
                                    <p:cond delay="0"/>
                                  </p:stCondLst>
                                  <p:childTnLst>
                                    <p:set>
                                      <p:cBhvr>
                                        <p:cTn id="162" dur="1" fill="hold">
                                          <p:stCondLst>
                                            <p:cond delay="0"/>
                                          </p:stCondLst>
                                        </p:cTn>
                                        <p:tgtEl>
                                          <p:spTgt spid="238"/>
                                        </p:tgtEl>
                                        <p:attrNameLst>
                                          <p:attrName>style.visibility</p:attrName>
                                        </p:attrNameLst>
                                      </p:cBhvr>
                                      <p:to>
                                        <p:strVal val="visible"/>
                                      </p:to>
                                    </p:set>
                                    <p:anim calcmode="lin" valueType="num">
                                      <p:cBhvr additive="base">
                                        <p:cTn id="163" dur="500" fill="hold"/>
                                        <p:tgtEl>
                                          <p:spTgt spid="238"/>
                                        </p:tgtEl>
                                        <p:attrNameLst>
                                          <p:attrName>ppt_x</p:attrName>
                                        </p:attrNameLst>
                                      </p:cBhvr>
                                      <p:tavLst>
                                        <p:tav tm="0">
                                          <p:val>
                                            <p:strVal val="1+#ppt_w/2"/>
                                          </p:val>
                                        </p:tav>
                                        <p:tav tm="100000">
                                          <p:val>
                                            <p:strVal val="#ppt_x"/>
                                          </p:val>
                                        </p:tav>
                                      </p:tavLst>
                                    </p:anim>
                                    <p:anim calcmode="lin" valueType="num">
                                      <p:cBhvr additive="base">
                                        <p:cTn id="164" dur="500" fill="hold"/>
                                        <p:tgtEl>
                                          <p:spTgt spid="238"/>
                                        </p:tgtEl>
                                        <p:attrNameLst>
                                          <p:attrName>ppt_y</p:attrName>
                                        </p:attrNameLst>
                                      </p:cBhvr>
                                      <p:tavLst>
                                        <p:tav tm="0">
                                          <p:val>
                                            <p:strVal val="#ppt_y"/>
                                          </p:val>
                                        </p:tav>
                                        <p:tav tm="100000">
                                          <p:val>
                                            <p:strVal val="#ppt_y"/>
                                          </p:val>
                                        </p:tav>
                                      </p:tavLst>
                                    </p:anim>
                                  </p:childTnLst>
                                </p:cTn>
                              </p:par>
                              <p:par>
                                <p:cTn id="165" presetID="53" presetClass="entr" presetSubtype="16" fill="hold" grpId="0" nodeType="withEffect">
                                  <p:stCondLst>
                                    <p:cond delay="0"/>
                                  </p:stCondLst>
                                  <p:childTnLst>
                                    <p:set>
                                      <p:cBhvr>
                                        <p:cTn id="166" dur="1" fill="hold">
                                          <p:stCondLst>
                                            <p:cond delay="0"/>
                                          </p:stCondLst>
                                        </p:cTn>
                                        <p:tgtEl>
                                          <p:spTgt spid="266"/>
                                        </p:tgtEl>
                                        <p:attrNameLst>
                                          <p:attrName>style.visibility</p:attrName>
                                        </p:attrNameLst>
                                      </p:cBhvr>
                                      <p:to>
                                        <p:strVal val="visible"/>
                                      </p:to>
                                    </p:set>
                                    <p:anim calcmode="lin" valueType="num">
                                      <p:cBhvr>
                                        <p:cTn id="167" dur="500" fill="hold"/>
                                        <p:tgtEl>
                                          <p:spTgt spid="266"/>
                                        </p:tgtEl>
                                        <p:attrNameLst>
                                          <p:attrName>ppt_w</p:attrName>
                                        </p:attrNameLst>
                                      </p:cBhvr>
                                      <p:tavLst>
                                        <p:tav tm="0">
                                          <p:val>
                                            <p:fltVal val="0"/>
                                          </p:val>
                                        </p:tav>
                                        <p:tav tm="100000">
                                          <p:val>
                                            <p:strVal val="#ppt_w"/>
                                          </p:val>
                                        </p:tav>
                                      </p:tavLst>
                                    </p:anim>
                                    <p:anim calcmode="lin" valueType="num">
                                      <p:cBhvr>
                                        <p:cTn id="168" dur="500" fill="hold"/>
                                        <p:tgtEl>
                                          <p:spTgt spid="266"/>
                                        </p:tgtEl>
                                        <p:attrNameLst>
                                          <p:attrName>ppt_h</p:attrName>
                                        </p:attrNameLst>
                                      </p:cBhvr>
                                      <p:tavLst>
                                        <p:tav tm="0">
                                          <p:val>
                                            <p:fltVal val="0"/>
                                          </p:val>
                                        </p:tav>
                                        <p:tav tm="100000">
                                          <p:val>
                                            <p:strVal val="#ppt_h"/>
                                          </p:val>
                                        </p:tav>
                                      </p:tavLst>
                                    </p:anim>
                                    <p:animEffect transition="in" filter="fade">
                                      <p:cBhvr>
                                        <p:cTn id="169" dur="500"/>
                                        <p:tgtEl>
                                          <p:spTgt spid="266"/>
                                        </p:tgtEl>
                                      </p:cBhvr>
                                    </p:animEffect>
                                  </p:childTnLst>
                                </p:cTn>
                              </p:par>
                              <p:par>
                                <p:cTn id="170" presetID="2" presetClass="entr" presetSubtype="2" decel="100000" fill="hold" nodeType="withEffect">
                                  <p:stCondLst>
                                    <p:cond delay="0"/>
                                  </p:stCondLst>
                                  <p:childTnLst>
                                    <p:set>
                                      <p:cBhvr>
                                        <p:cTn id="171" dur="1" fill="hold">
                                          <p:stCondLst>
                                            <p:cond delay="0"/>
                                          </p:stCondLst>
                                        </p:cTn>
                                        <p:tgtEl>
                                          <p:spTgt spid="267"/>
                                        </p:tgtEl>
                                        <p:attrNameLst>
                                          <p:attrName>style.visibility</p:attrName>
                                        </p:attrNameLst>
                                      </p:cBhvr>
                                      <p:to>
                                        <p:strVal val="visible"/>
                                      </p:to>
                                    </p:set>
                                    <p:anim calcmode="lin" valueType="num">
                                      <p:cBhvr additive="base">
                                        <p:cTn id="172" dur="500" fill="hold"/>
                                        <p:tgtEl>
                                          <p:spTgt spid="267"/>
                                        </p:tgtEl>
                                        <p:attrNameLst>
                                          <p:attrName>ppt_x</p:attrName>
                                        </p:attrNameLst>
                                      </p:cBhvr>
                                      <p:tavLst>
                                        <p:tav tm="0">
                                          <p:val>
                                            <p:strVal val="1+#ppt_w/2"/>
                                          </p:val>
                                        </p:tav>
                                        <p:tav tm="100000">
                                          <p:val>
                                            <p:strVal val="#ppt_x"/>
                                          </p:val>
                                        </p:tav>
                                      </p:tavLst>
                                    </p:anim>
                                    <p:anim calcmode="lin" valueType="num">
                                      <p:cBhvr additive="base">
                                        <p:cTn id="173" dur="500" fill="hold"/>
                                        <p:tgtEl>
                                          <p:spTgt spid="267"/>
                                        </p:tgtEl>
                                        <p:attrNameLst>
                                          <p:attrName>ppt_y</p:attrName>
                                        </p:attrNameLst>
                                      </p:cBhvr>
                                      <p:tavLst>
                                        <p:tav tm="0">
                                          <p:val>
                                            <p:strVal val="#ppt_y"/>
                                          </p:val>
                                        </p:tav>
                                        <p:tav tm="100000">
                                          <p:val>
                                            <p:strVal val="#ppt_y"/>
                                          </p:val>
                                        </p:tav>
                                      </p:tavLst>
                                    </p:anim>
                                  </p:childTnLst>
                                </p:cTn>
                              </p:par>
                              <p:par>
                                <p:cTn id="174" presetID="53" presetClass="entr" presetSubtype="16" fill="hold" grpId="0" nodeType="withEffect">
                                  <p:stCondLst>
                                    <p:cond delay="0"/>
                                  </p:stCondLst>
                                  <p:childTnLst>
                                    <p:set>
                                      <p:cBhvr>
                                        <p:cTn id="175" dur="1" fill="hold">
                                          <p:stCondLst>
                                            <p:cond delay="0"/>
                                          </p:stCondLst>
                                        </p:cTn>
                                        <p:tgtEl>
                                          <p:spTgt spid="272"/>
                                        </p:tgtEl>
                                        <p:attrNameLst>
                                          <p:attrName>style.visibility</p:attrName>
                                        </p:attrNameLst>
                                      </p:cBhvr>
                                      <p:to>
                                        <p:strVal val="visible"/>
                                      </p:to>
                                    </p:set>
                                    <p:anim calcmode="lin" valueType="num">
                                      <p:cBhvr>
                                        <p:cTn id="176" dur="500" fill="hold"/>
                                        <p:tgtEl>
                                          <p:spTgt spid="272"/>
                                        </p:tgtEl>
                                        <p:attrNameLst>
                                          <p:attrName>ppt_w</p:attrName>
                                        </p:attrNameLst>
                                      </p:cBhvr>
                                      <p:tavLst>
                                        <p:tav tm="0">
                                          <p:val>
                                            <p:fltVal val="0"/>
                                          </p:val>
                                        </p:tav>
                                        <p:tav tm="100000">
                                          <p:val>
                                            <p:strVal val="#ppt_w"/>
                                          </p:val>
                                        </p:tav>
                                      </p:tavLst>
                                    </p:anim>
                                    <p:anim calcmode="lin" valueType="num">
                                      <p:cBhvr>
                                        <p:cTn id="177" dur="500" fill="hold"/>
                                        <p:tgtEl>
                                          <p:spTgt spid="272"/>
                                        </p:tgtEl>
                                        <p:attrNameLst>
                                          <p:attrName>ppt_h</p:attrName>
                                        </p:attrNameLst>
                                      </p:cBhvr>
                                      <p:tavLst>
                                        <p:tav tm="0">
                                          <p:val>
                                            <p:fltVal val="0"/>
                                          </p:val>
                                        </p:tav>
                                        <p:tav tm="100000">
                                          <p:val>
                                            <p:strVal val="#ppt_h"/>
                                          </p:val>
                                        </p:tav>
                                      </p:tavLst>
                                    </p:anim>
                                    <p:animEffect transition="in" filter="fade">
                                      <p:cBhvr>
                                        <p:cTn id="178" dur="500"/>
                                        <p:tgtEl>
                                          <p:spTgt spid="272"/>
                                        </p:tgtEl>
                                      </p:cBhvr>
                                    </p:animEffect>
                                  </p:childTnLst>
                                </p:cTn>
                              </p:par>
                              <p:par>
                                <p:cTn id="179" presetID="53" presetClass="entr" presetSubtype="16" fill="hold" nodeType="withEffect">
                                  <p:stCondLst>
                                    <p:cond delay="0"/>
                                  </p:stCondLst>
                                  <p:childTnLst>
                                    <p:set>
                                      <p:cBhvr>
                                        <p:cTn id="180" dur="1" fill="hold">
                                          <p:stCondLst>
                                            <p:cond delay="0"/>
                                          </p:stCondLst>
                                        </p:cTn>
                                        <p:tgtEl>
                                          <p:spTgt spid="282"/>
                                        </p:tgtEl>
                                        <p:attrNameLst>
                                          <p:attrName>style.visibility</p:attrName>
                                        </p:attrNameLst>
                                      </p:cBhvr>
                                      <p:to>
                                        <p:strVal val="visible"/>
                                      </p:to>
                                    </p:set>
                                    <p:anim calcmode="lin" valueType="num">
                                      <p:cBhvr>
                                        <p:cTn id="181" dur="500" fill="hold"/>
                                        <p:tgtEl>
                                          <p:spTgt spid="282"/>
                                        </p:tgtEl>
                                        <p:attrNameLst>
                                          <p:attrName>ppt_w</p:attrName>
                                        </p:attrNameLst>
                                      </p:cBhvr>
                                      <p:tavLst>
                                        <p:tav tm="0">
                                          <p:val>
                                            <p:fltVal val="0"/>
                                          </p:val>
                                        </p:tav>
                                        <p:tav tm="100000">
                                          <p:val>
                                            <p:strVal val="#ppt_w"/>
                                          </p:val>
                                        </p:tav>
                                      </p:tavLst>
                                    </p:anim>
                                    <p:anim calcmode="lin" valueType="num">
                                      <p:cBhvr>
                                        <p:cTn id="182" dur="500" fill="hold"/>
                                        <p:tgtEl>
                                          <p:spTgt spid="282"/>
                                        </p:tgtEl>
                                        <p:attrNameLst>
                                          <p:attrName>ppt_h</p:attrName>
                                        </p:attrNameLst>
                                      </p:cBhvr>
                                      <p:tavLst>
                                        <p:tav tm="0">
                                          <p:val>
                                            <p:fltVal val="0"/>
                                          </p:val>
                                        </p:tav>
                                        <p:tav tm="100000">
                                          <p:val>
                                            <p:strVal val="#ppt_h"/>
                                          </p:val>
                                        </p:tav>
                                      </p:tavLst>
                                    </p:anim>
                                    <p:animEffect transition="in" filter="fade">
                                      <p:cBhvr>
                                        <p:cTn id="183" dur="500"/>
                                        <p:tgtEl>
                                          <p:spTgt spid="282"/>
                                        </p:tgtEl>
                                      </p:cBhvr>
                                    </p:animEffect>
                                  </p:childTnLst>
                                </p:cTn>
                              </p:par>
                              <p:par>
                                <p:cTn id="184" presetID="2" presetClass="entr" presetSubtype="2" decel="100000" fill="hold" nodeType="withEffect">
                                  <p:stCondLst>
                                    <p:cond delay="0"/>
                                  </p:stCondLst>
                                  <p:childTnLst>
                                    <p:set>
                                      <p:cBhvr>
                                        <p:cTn id="185" dur="1" fill="hold">
                                          <p:stCondLst>
                                            <p:cond delay="0"/>
                                          </p:stCondLst>
                                        </p:cTn>
                                        <p:tgtEl>
                                          <p:spTgt spid="290"/>
                                        </p:tgtEl>
                                        <p:attrNameLst>
                                          <p:attrName>style.visibility</p:attrName>
                                        </p:attrNameLst>
                                      </p:cBhvr>
                                      <p:to>
                                        <p:strVal val="visible"/>
                                      </p:to>
                                    </p:set>
                                    <p:anim calcmode="lin" valueType="num">
                                      <p:cBhvr additive="base">
                                        <p:cTn id="186" dur="500" fill="hold"/>
                                        <p:tgtEl>
                                          <p:spTgt spid="290"/>
                                        </p:tgtEl>
                                        <p:attrNameLst>
                                          <p:attrName>ppt_x</p:attrName>
                                        </p:attrNameLst>
                                      </p:cBhvr>
                                      <p:tavLst>
                                        <p:tav tm="0">
                                          <p:val>
                                            <p:strVal val="1+#ppt_w/2"/>
                                          </p:val>
                                        </p:tav>
                                        <p:tav tm="100000">
                                          <p:val>
                                            <p:strVal val="#ppt_x"/>
                                          </p:val>
                                        </p:tav>
                                      </p:tavLst>
                                    </p:anim>
                                    <p:anim calcmode="lin" valueType="num">
                                      <p:cBhvr additive="base">
                                        <p:cTn id="187" dur="500" fill="hold"/>
                                        <p:tgtEl>
                                          <p:spTgt spid="290"/>
                                        </p:tgtEl>
                                        <p:attrNameLst>
                                          <p:attrName>ppt_y</p:attrName>
                                        </p:attrNameLst>
                                      </p:cBhvr>
                                      <p:tavLst>
                                        <p:tav tm="0">
                                          <p:val>
                                            <p:strVal val="#ppt_y"/>
                                          </p:val>
                                        </p:tav>
                                        <p:tav tm="100000">
                                          <p:val>
                                            <p:strVal val="#ppt_y"/>
                                          </p:val>
                                        </p:tav>
                                      </p:tavLst>
                                    </p:anim>
                                  </p:childTnLst>
                                </p:cTn>
                              </p:par>
                              <p:par>
                                <p:cTn id="188" presetID="53" presetClass="entr" presetSubtype="16" fill="hold" nodeType="withEffect">
                                  <p:stCondLst>
                                    <p:cond delay="0"/>
                                  </p:stCondLst>
                                  <p:childTnLst>
                                    <p:set>
                                      <p:cBhvr>
                                        <p:cTn id="189" dur="1" fill="hold">
                                          <p:stCondLst>
                                            <p:cond delay="0"/>
                                          </p:stCondLst>
                                        </p:cTn>
                                        <p:tgtEl>
                                          <p:spTgt spid="226"/>
                                        </p:tgtEl>
                                        <p:attrNameLst>
                                          <p:attrName>style.visibility</p:attrName>
                                        </p:attrNameLst>
                                      </p:cBhvr>
                                      <p:to>
                                        <p:strVal val="visible"/>
                                      </p:to>
                                    </p:set>
                                    <p:anim calcmode="lin" valueType="num">
                                      <p:cBhvr>
                                        <p:cTn id="190" dur="500" fill="hold"/>
                                        <p:tgtEl>
                                          <p:spTgt spid="226"/>
                                        </p:tgtEl>
                                        <p:attrNameLst>
                                          <p:attrName>ppt_w</p:attrName>
                                        </p:attrNameLst>
                                      </p:cBhvr>
                                      <p:tavLst>
                                        <p:tav tm="0">
                                          <p:val>
                                            <p:fltVal val="0"/>
                                          </p:val>
                                        </p:tav>
                                        <p:tav tm="100000">
                                          <p:val>
                                            <p:strVal val="#ppt_w"/>
                                          </p:val>
                                        </p:tav>
                                      </p:tavLst>
                                    </p:anim>
                                    <p:anim calcmode="lin" valueType="num">
                                      <p:cBhvr>
                                        <p:cTn id="191" dur="500" fill="hold"/>
                                        <p:tgtEl>
                                          <p:spTgt spid="226"/>
                                        </p:tgtEl>
                                        <p:attrNameLst>
                                          <p:attrName>ppt_h</p:attrName>
                                        </p:attrNameLst>
                                      </p:cBhvr>
                                      <p:tavLst>
                                        <p:tav tm="0">
                                          <p:val>
                                            <p:fltVal val="0"/>
                                          </p:val>
                                        </p:tav>
                                        <p:tav tm="100000">
                                          <p:val>
                                            <p:strVal val="#ppt_h"/>
                                          </p:val>
                                        </p:tav>
                                      </p:tavLst>
                                    </p:anim>
                                    <p:animEffect transition="in" filter="fade">
                                      <p:cBhvr>
                                        <p:cTn id="192" dur="500"/>
                                        <p:tgtEl>
                                          <p:spTgt spid="226"/>
                                        </p:tgtEl>
                                      </p:cBhvr>
                                    </p:animEffect>
                                  </p:childTnLst>
                                </p:cTn>
                              </p:par>
                              <p:par>
                                <p:cTn id="193" presetID="53" presetClass="entr" presetSubtype="16" fill="hold" nodeType="withEffect">
                                  <p:stCondLst>
                                    <p:cond delay="0"/>
                                  </p:stCondLst>
                                  <p:childTnLst>
                                    <p:set>
                                      <p:cBhvr>
                                        <p:cTn id="194" dur="1" fill="hold">
                                          <p:stCondLst>
                                            <p:cond delay="0"/>
                                          </p:stCondLst>
                                        </p:cTn>
                                        <p:tgtEl>
                                          <p:spTgt spid="3"/>
                                        </p:tgtEl>
                                        <p:attrNameLst>
                                          <p:attrName>style.visibility</p:attrName>
                                        </p:attrNameLst>
                                      </p:cBhvr>
                                      <p:to>
                                        <p:strVal val="visible"/>
                                      </p:to>
                                    </p:set>
                                    <p:anim calcmode="lin" valueType="num">
                                      <p:cBhvr>
                                        <p:cTn id="195" dur="500" fill="hold"/>
                                        <p:tgtEl>
                                          <p:spTgt spid="3"/>
                                        </p:tgtEl>
                                        <p:attrNameLst>
                                          <p:attrName>ppt_w</p:attrName>
                                        </p:attrNameLst>
                                      </p:cBhvr>
                                      <p:tavLst>
                                        <p:tav tm="0">
                                          <p:val>
                                            <p:fltVal val="0"/>
                                          </p:val>
                                        </p:tav>
                                        <p:tav tm="100000">
                                          <p:val>
                                            <p:strVal val="#ppt_w"/>
                                          </p:val>
                                        </p:tav>
                                      </p:tavLst>
                                    </p:anim>
                                    <p:anim calcmode="lin" valueType="num">
                                      <p:cBhvr>
                                        <p:cTn id="196" dur="500" fill="hold"/>
                                        <p:tgtEl>
                                          <p:spTgt spid="3"/>
                                        </p:tgtEl>
                                        <p:attrNameLst>
                                          <p:attrName>ppt_h</p:attrName>
                                        </p:attrNameLst>
                                      </p:cBhvr>
                                      <p:tavLst>
                                        <p:tav tm="0">
                                          <p:val>
                                            <p:fltVal val="0"/>
                                          </p:val>
                                        </p:tav>
                                        <p:tav tm="100000">
                                          <p:val>
                                            <p:strVal val="#ppt_h"/>
                                          </p:val>
                                        </p:tav>
                                      </p:tavLst>
                                    </p:anim>
                                    <p:animEffect transition="in" filter="fade">
                                      <p:cBhvr>
                                        <p:cTn id="197" dur="500"/>
                                        <p:tgtEl>
                                          <p:spTgt spid="3"/>
                                        </p:tgtEl>
                                      </p:cBhvr>
                                    </p:animEffect>
                                  </p:childTnLst>
                                </p:cTn>
                              </p:par>
                              <p:par>
                                <p:cTn id="198" presetID="53" presetClass="entr" presetSubtype="16" fill="hold" nodeType="withEffect">
                                  <p:stCondLst>
                                    <p:cond delay="0"/>
                                  </p:stCondLst>
                                  <p:childTnLst>
                                    <p:set>
                                      <p:cBhvr>
                                        <p:cTn id="199" dur="1" fill="hold">
                                          <p:stCondLst>
                                            <p:cond delay="0"/>
                                          </p:stCondLst>
                                        </p:cTn>
                                        <p:tgtEl>
                                          <p:spTgt spid="277"/>
                                        </p:tgtEl>
                                        <p:attrNameLst>
                                          <p:attrName>style.visibility</p:attrName>
                                        </p:attrNameLst>
                                      </p:cBhvr>
                                      <p:to>
                                        <p:strVal val="visible"/>
                                      </p:to>
                                    </p:set>
                                    <p:anim calcmode="lin" valueType="num">
                                      <p:cBhvr>
                                        <p:cTn id="200" dur="500" fill="hold"/>
                                        <p:tgtEl>
                                          <p:spTgt spid="277"/>
                                        </p:tgtEl>
                                        <p:attrNameLst>
                                          <p:attrName>ppt_w</p:attrName>
                                        </p:attrNameLst>
                                      </p:cBhvr>
                                      <p:tavLst>
                                        <p:tav tm="0">
                                          <p:val>
                                            <p:fltVal val="0"/>
                                          </p:val>
                                        </p:tav>
                                        <p:tav tm="100000">
                                          <p:val>
                                            <p:strVal val="#ppt_w"/>
                                          </p:val>
                                        </p:tav>
                                      </p:tavLst>
                                    </p:anim>
                                    <p:anim calcmode="lin" valueType="num">
                                      <p:cBhvr>
                                        <p:cTn id="201" dur="500" fill="hold"/>
                                        <p:tgtEl>
                                          <p:spTgt spid="277"/>
                                        </p:tgtEl>
                                        <p:attrNameLst>
                                          <p:attrName>ppt_h</p:attrName>
                                        </p:attrNameLst>
                                      </p:cBhvr>
                                      <p:tavLst>
                                        <p:tav tm="0">
                                          <p:val>
                                            <p:fltVal val="0"/>
                                          </p:val>
                                        </p:tav>
                                        <p:tav tm="100000">
                                          <p:val>
                                            <p:strVal val="#ppt_h"/>
                                          </p:val>
                                        </p:tav>
                                      </p:tavLst>
                                    </p:anim>
                                    <p:animEffect transition="in" filter="fade">
                                      <p:cBhvr>
                                        <p:cTn id="202" dur="500"/>
                                        <p:tgtEl>
                                          <p:spTgt spid="277"/>
                                        </p:tgtEl>
                                      </p:cBhvr>
                                    </p:animEffect>
                                  </p:childTnLst>
                                </p:cTn>
                              </p:par>
                              <p:par>
                                <p:cTn id="203" presetID="10" presetClass="entr" presetSubtype="0" fill="hold" grpId="0" nodeType="withEffect">
                                  <p:stCondLst>
                                    <p:cond delay="0"/>
                                  </p:stCondLst>
                                  <p:childTnLst>
                                    <p:set>
                                      <p:cBhvr>
                                        <p:cTn id="204" dur="1" fill="hold">
                                          <p:stCondLst>
                                            <p:cond delay="0"/>
                                          </p:stCondLst>
                                        </p:cTn>
                                        <p:tgtEl>
                                          <p:spTgt spid="18"/>
                                        </p:tgtEl>
                                        <p:attrNameLst>
                                          <p:attrName>style.visibility</p:attrName>
                                        </p:attrNameLst>
                                      </p:cBhvr>
                                      <p:to>
                                        <p:strVal val="visible"/>
                                      </p:to>
                                    </p:set>
                                    <p:animEffect transition="in" filter="fade">
                                      <p:cBhvr>
                                        <p:cTn id="205" dur="500"/>
                                        <p:tgtEl>
                                          <p:spTgt spid="18"/>
                                        </p:tgtEl>
                                      </p:cBhvr>
                                    </p:animEffect>
                                  </p:childTnLst>
                                </p:cTn>
                              </p:par>
                              <p:par>
                                <p:cTn id="206" presetID="10" presetClass="entr" presetSubtype="0" fill="hold" grpId="0" nodeType="withEffect">
                                  <p:stCondLst>
                                    <p:cond delay="0"/>
                                  </p:stCondLst>
                                  <p:childTnLst>
                                    <p:set>
                                      <p:cBhvr>
                                        <p:cTn id="207" dur="1" fill="hold">
                                          <p:stCondLst>
                                            <p:cond delay="0"/>
                                          </p:stCondLst>
                                        </p:cTn>
                                        <p:tgtEl>
                                          <p:spTgt spid="273"/>
                                        </p:tgtEl>
                                        <p:attrNameLst>
                                          <p:attrName>style.visibility</p:attrName>
                                        </p:attrNameLst>
                                      </p:cBhvr>
                                      <p:to>
                                        <p:strVal val="visible"/>
                                      </p:to>
                                    </p:set>
                                    <p:animEffect transition="in" filter="fade">
                                      <p:cBhvr>
                                        <p:cTn id="208" dur="500"/>
                                        <p:tgtEl>
                                          <p:spTgt spid="273"/>
                                        </p:tgtEl>
                                      </p:cBhvr>
                                    </p:animEffect>
                                  </p:childTnLst>
                                </p:cTn>
                              </p:par>
                              <p:par>
                                <p:cTn id="209" presetID="53" presetClass="entr" presetSubtype="16" fill="hold" grpId="0" nodeType="withEffect">
                                  <p:stCondLst>
                                    <p:cond delay="250"/>
                                  </p:stCondLst>
                                  <p:childTnLst>
                                    <p:set>
                                      <p:cBhvr>
                                        <p:cTn id="210" dur="1" fill="hold">
                                          <p:stCondLst>
                                            <p:cond delay="0"/>
                                          </p:stCondLst>
                                        </p:cTn>
                                        <p:tgtEl>
                                          <p:spTgt spid="291"/>
                                        </p:tgtEl>
                                        <p:attrNameLst>
                                          <p:attrName>style.visibility</p:attrName>
                                        </p:attrNameLst>
                                      </p:cBhvr>
                                      <p:to>
                                        <p:strVal val="visible"/>
                                      </p:to>
                                    </p:set>
                                    <p:anim calcmode="lin" valueType="num">
                                      <p:cBhvr>
                                        <p:cTn id="211" dur="500" fill="hold"/>
                                        <p:tgtEl>
                                          <p:spTgt spid="291"/>
                                        </p:tgtEl>
                                        <p:attrNameLst>
                                          <p:attrName>ppt_w</p:attrName>
                                        </p:attrNameLst>
                                      </p:cBhvr>
                                      <p:tavLst>
                                        <p:tav tm="0">
                                          <p:val>
                                            <p:fltVal val="0"/>
                                          </p:val>
                                        </p:tav>
                                        <p:tav tm="100000">
                                          <p:val>
                                            <p:strVal val="#ppt_w"/>
                                          </p:val>
                                        </p:tav>
                                      </p:tavLst>
                                    </p:anim>
                                    <p:anim calcmode="lin" valueType="num">
                                      <p:cBhvr>
                                        <p:cTn id="212" dur="500" fill="hold"/>
                                        <p:tgtEl>
                                          <p:spTgt spid="291"/>
                                        </p:tgtEl>
                                        <p:attrNameLst>
                                          <p:attrName>ppt_h</p:attrName>
                                        </p:attrNameLst>
                                      </p:cBhvr>
                                      <p:tavLst>
                                        <p:tav tm="0">
                                          <p:val>
                                            <p:fltVal val="0"/>
                                          </p:val>
                                        </p:tav>
                                        <p:tav tm="100000">
                                          <p:val>
                                            <p:strVal val="#ppt_h"/>
                                          </p:val>
                                        </p:tav>
                                      </p:tavLst>
                                    </p:anim>
                                    <p:animEffect transition="in" filter="fade">
                                      <p:cBhvr>
                                        <p:cTn id="213" dur="500"/>
                                        <p:tgtEl>
                                          <p:spTgt spid="291"/>
                                        </p:tgtEl>
                                      </p:cBhvr>
                                    </p:animEffect>
                                  </p:childTnLst>
                                </p:cTn>
                              </p:par>
                              <p:par>
                                <p:cTn id="214" presetID="53" presetClass="entr" presetSubtype="16" fill="hold" grpId="0" nodeType="withEffect">
                                  <p:stCondLst>
                                    <p:cond delay="250"/>
                                  </p:stCondLst>
                                  <p:childTnLst>
                                    <p:set>
                                      <p:cBhvr>
                                        <p:cTn id="215" dur="1" fill="hold">
                                          <p:stCondLst>
                                            <p:cond delay="0"/>
                                          </p:stCondLst>
                                        </p:cTn>
                                        <p:tgtEl>
                                          <p:spTgt spid="271"/>
                                        </p:tgtEl>
                                        <p:attrNameLst>
                                          <p:attrName>style.visibility</p:attrName>
                                        </p:attrNameLst>
                                      </p:cBhvr>
                                      <p:to>
                                        <p:strVal val="visible"/>
                                      </p:to>
                                    </p:set>
                                    <p:anim calcmode="lin" valueType="num">
                                      <p:cBhvr>
                                        <p:cTn id="216" dur="500" fill="hold"/>
                                        <p:tgtEl>
                                          <p:spTgt spid="271"/>
                                        </p:tgtEl>
                                        <p:attrNameLst>
                                          <p:attrName>ppt_w</p:attrName>
                                        </p:attrNameLst>
                                      </p:cBhvr>
                                      <p:tavLst>
                                        <p:tav tm="0">
                                          <p:val>
                                            <p:fltVal val="0"/>
                                          </p:val>
                                        </p:tav>
                                        <p:tav tm="100000">
                                          <p:val>
                                            <p:strVal val="#ppt_w"/>
                                          </p:val>
                                        </p:tav>
                                      </p:tavLst>
                                    </p:anim>
                                    <p:anim calcmode="lin" valueType="num">
                                      <p:cBhvr>
                                        <p:cTn id="217" dur="500" fill="hold"/>
                                        <p:tgtEl>
                                          <p:spTgt spid="271"/>
                                        </p:tgtEl>
                                        <p:attrNameLst>
                                          <p:attrName>ppt_h</p:attrName>
                                        </p:attrNameLst>
                                      </p:cBhvr>
                                      <p:tavLst>
                                        <p:tav tm="0">
                                          <p:val>
                                            <p:fltVal val="0"/>
                                          </p:val>
                                        </p:tav>
                                        <p:tav tm="100000">
                                          <p:val>
                                            <p:strVal val="#ppt_h"/>
                                          </p:val>
                                        </p:tav>
                                      </p:tavLst>
                                    </p:anim>
                                    <p:animEffect transition="in" filter="fade">
                                      <p:cBhvr>
                                        <p:cTn id="218" dur="500"/>
                                        <p:tgtEl>
                                          <p:spTgt spid="271"/>
                                        </p:tgtEl>
                                      </p:cBhvr>
                                    </p:animEffect>
                                  </p:childTnLst>
                                </p:cTn>
                              </p:par>
                              <p:par>
                                <p:cTn id="219" presetID="10" presetClass="entr" presetSubtype="0" fill="hold" nodeType="withEffect">
                                  <p:stCondLst>
                                    <p:cond delay="500"/>
                                  </p:stCondLst>
                                  <p:childTnLst>
                                    <p:set>
                                      <p:cBhvr>
                                        <p:cTn id="220" dur="1" fill="hold">
                                          <p:stCondLst>
                                            <p:cond delay="0"/>
                                          </p:stCondLst>
                                        </p:cTn>
                                        <p:tgtEl>
                                          <p:spTgt spid="203"/>
                                        </p:tgtEl>
                                        <p:attrNameLst>
                                          <p:attrName>style.visibility</p:attrName>
                                        </p:attrNameLst>
                                      </p:cBhvr>
                                      <p:to>
                                        <p:strVal val="visible"/>
                                      </p:to>
                                    </p:set>
                                    <p:animEffect transition="in" filter="fade">
                                      <p:cBhvr>
                                        <p:cTn id="221" dur="500"/>
                                        <p:tgtEl>
                                          <p:spTgt spid="203"/>
                                        </p:tgtEl>
                                      </p:cBhvr>
                                    </p:animEffect>
                                  </p:childTnLst>
                                </p:cTn>
                              </p:par>
                              <p:par>
                                <p:cTn id="222" presetID="53" presetClass="entr" presetSubtype="16" fill="hold" grpId="0" nodeType="withEffect">
                                  <p:stCondLst>
                                    <p:cond delay="250"/>
                                  </p:stCondLst>
                                  <p:childTnLst>
                                    <p:set>
                                      <p:cBhvr>
                                        <p:cTn id="223" dur="1" fill="hold">
                                          <p:stCondLst>
                                            <p:cond delay="0"/>
                                          </p:stCondLst>
                                        </p:cTn>
                                        <p:tgtEl>
                                          <p:spTgt spid="15"/>
                                        </p:tgtEl>
                                        <p:attrNameLst>
                                          <p:attrName>style.visibility</p:attrName>
                                        </p:attrNameLst>
                                      </p:cBhvr>
                                      <p:to>
                                        <p:strVal val="visible"/>
                                      </p:to>
                                    </p:set>
                                    <p:anim calcmode="lin" valueType="num">
                                      <p:cBhvr>
                                        <p:cTn id="224" dur="500" fill="hold"/>
                                        <p:tgtEl>
                                          <p:spTgt spid="15"/>
                                        </p:tgtEl>
                                        <p:attrNameLst>
                                          <p:attrName>ppt_w</p:attrName>
                                        </p:attrNameLst>
                                      </p:cBhvr>
                                      <p:tavLst>
                                        <p:tav tm="0">
                                          <p:val>
                                            <p:fltVal val="0"/>
                                          </p:val>
                                        </p:tav>
                                        <p:tav tm="100000">
                                          <p:val>
                                            <p:strVal val="#ppt_w"/>
                                          </p:val>
                                        </p:tav>
                                      </p:tavLst>
                                    </p:anim>
                                    <p:anim calcmode="lin" valueType="num">
                                      <p:cBhvr>
                                        <p:cTn id="225" dur="500" fill="hold"/>
                                        <p:tgtEl>
                                          <p:spTgt spid="15"/>
                                        </p:tgtEl>
                                        <p:attrNameLst>
                                          <p:attrName>ppt_h</p:attrName>
                                        </p:attrNameLst>
                                      </p:cBhvr>
                                      <p:tavLst>
                                        <p:tav tm="0">
                                          <p:val>
                                            <p:fltVal val="0"/>
                                          </p:val>
                                        </p:tav>
                                        <p:tav tm="100000">
                                          <p:val>
                                            <p:strVal val="#ppt_h"/>
                                          </p:val>
                                        </p:tav>
                                      </p:tavLst>
                                    </p:anim>
                                    <p:animEffect transition="in" filter="fade">
                                      <p:cBhvr>
                                        <p:cTn id="226" dur="500"/>
                                        <p:tgtEl>
                                          <p:spTgt spid="15"/>
                                        </p:tgtEl>
                                      </p:cBhvr>
                                    </p:animEffect>
                                  </p:childTnLst>
                                </p:cTn>
                              </p:par>
                            </p:childTnLst>
                          </p:cTn>
                        </p:par>
                        <p:par>
                          <p:cTn id="227" fill="hold">
                            <p:stCondLst>
                              <p:cond delay="1500"/>
                            </p:stCondLst>
                            <p:childTnLst>
                              <p:par>
                                <p:cTn id="228" presetID="10" presetClass="entr" presetSubtype="0" fill="hold" nodeType="afterEffect">
                                  <p:stCondLst>
                                    <p:cond delay="0"/>
                                  </p:stCondLst>
                                  <p:childTnLst>
                                    <p:set>
                                      <p:cBhvr>
                                        <p:cTn id="229" dur="1" fill="hold">
                                          <p:stCondLst>
                                            <p:cond delay="0"/>
                                          </p:stCondLst>
                                        </p:cTn>
                                        <p:tgtEl>
                                          <p:spTgt spid="5"/>
                                        </p:tgtEl>
                                        <p:attrNameLst>
                                          <p:attrName>style.visibility</p:attrName>
                                        </p:attrNameLst>
                                      </p:cBhvr>
                                      <p:to>
                                        <p:strVal val="visible"/>
                                      </p:to>
                                    </p:set>
                                    <p:animEffect transition="in" filter="fade">
                                      <p:cBhvr>
                                        <p:cTn id="23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1" grpId="0" animBg="1"/>
      <p:bldP spid="271" grpId="0" animBg="1"/>
      <p:bldP spid="6" grpId="0"/>
      <p:bldP spid="81" grpId="0"/>
      <p:bldP spid="84" grpId="0"/>
      <p:bldP spid="159" grpId="0"/>
      <p:bldP spid="175" grpId="0"/>
      <p:bldP spid="213" grpId="0"/>
      <p:bldP spid="216" grpId="0"/>
      <p:bldP spid="103" grpId="0"/>
      <p:bldP spid="104" grpId="0"/>
      <p:bldP spid="220" grpId="0"/>
      <p:bldP spid="237" grpId="0"/>
      <p:bldP spid="266" grpId="0"/>
      <p:bldP spid="18" grpId="0"/>
      <p:bldP spid="272" grpId="0"/>
      <p:bldP spid="273" grpId="0"/>
      <p:bldP spid="15" grpId="0" animBg="1"/>
      <p:bldP spid="172" grpId="0"/>
      <p:bldP spid="184" grpId="0"/>
      <p:bldP spid="118" grpId="0"/>
      <p:bldP spid="11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Straight Connector 27">
            <a:extLst>
              <a:ext uri="{FF2B5EF4-FFF2-40B4-BE49-F238E27FC236}">
                <a16:creationId xmlns="" xmlns:a16="http://schemas.microsoft.com/office/drawing/2014/main" id="{AE719733-70C6-422C-B5BE-8AE59DD4A101}"/>
              </a:ext>
            </a:extLst>
          </p:cNvPr>
          <p:cNvCxnSpPr>
            <a:cxnSpLocks/>
          </p:cNvCxnSpPr>
          <p:nvPr/>
        </p:nvCxnSpPr>
        <p:spPr>
          <a:xfrm>
            <a:off x="457200" y="4690115"/>
            <a:ext cx="10183997"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 xmlns:a16="http://schemas.microsoft.com/office/drawing/2014/main" id="{1617FE77-7EBE-40B8-B461-ED5033E5A985}"/>
              </a:ext>
            </a:extLst>
          </p:cNvPr>
          <p:cNvSpPr/>
          <p:nvPr/>
        </p:nvSpPr>
        <p:spPr>
          <a:xfrm>
            <a:off x="428171" y="5352083"/>
            <a:ext cx="10239829" cy="1250952"/>
          </a:xfrm>
          <a:prstGeom prst="rect">
            <a:avLst/>
          </a:prstGeom>
          <a:solidFill>
            <a:srgbClr val="055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 xmlns:a16="http://schemas.microsoft.com/office/drawing/2014/main" id="{B15EA084-2AD9-4B8E-9A34-418860C4E611}"/>
              </a:ext>
            </a:extLst>
          </p:cNvPr>
          <p:cNvSpPr/>
          <p:nvPr/>
        </p:nvSpPr>
        <p:spPr>
          <a:xfrm>
            <a:off x="952500" y="456668"/>
            <a:ext cx="10287000" cy="892552"/>
          </a:xfrm>
          <a:prstGeom prst="rect">
            <a:avLst/>
          </a:prstGeom>
        </p:spPr>
        <p:txBody>
          <a:bodyPr wrap="square">
            <a:spAutoFit/>
          </a:bodyPr>
          <a:lstStyle/>
          <a:p>
            <a:pPr algn="ctr"/>
            <a:r>
              <a:rPr lang="en-US" sz="3200" b="1" dirty="0">
                <a:solidFill>
                  <a:srgbClr val="05589C"/>
                </a:solidFill>
                <a:latin typeface="Verdana" panose="020B0604030504040204" pitchFamily="34" charset="0"/>
                <a:ea typeface="Verdana" panose="020B0604030504040204" pitchFamily="34" charset="0"/>
                <a:cs typeface="Verdana" panose="020B0604030504040204" pitchFamily="34" charset="0"/>
              </a:rPr>
              <a:t>BD’S FOCUS ON THE POSIFLUSH</a:t>
            </a:r>
            <a:r>
              <a:rPr lang="en-US" sz="3200" baseline="30000" dirty="0">
                <a:solidFill>
                  <a:srgbClr val="05589C"/>
                </a:solidFill>
              </a:rPr>
              <a:t>TM</a:t>
            </a:r>
            <a:r>
              <a:rPr lang="en-US" sz="3200" b="1" dirty="0">
                <a:solidFill>
                  <a:srgbClr val="F26926"/>
                </a:solidFill>
                <a:latin typeface="Verdana" panose="020B0604030504040204" pitchFamily="34" charset="0"/>
                <a:ea typeface="Verdana" panose="020B0604030504040204" pitchFamily="34" charset="0"/>
                <a:cs typeface="Verdana" panose="020B0604030504040204" pitchFamily="34" charset="0"/>
              </a:rPr>
              <a:t> </a:t>
            </a:r>
            <a:r>
              <a:rPr lang="en-US" sz="3200" b="1" dirty="0">
                <a:solidFill>
                  <a:srgbClr val="05589C"/>
                </a:solidFill>
                <a:latin typeface="Verdana" panose="020B0604030504040204" pitchFamily="34" charset="0"/>
                <a:ea typeface="Verdana" panose="020B0604030504040204" pitchFamily="34" charset="0"/>
                <a:cs typeface="Verdana" panose="020B0604030504040204" pitchFamily="34" charset="0"/>
              </a:rPr>
              <a:t>DESIGN</a:t>
            </a:r>
          </a:p>
          <a:p>
            <a:pPr algn="ctr"/>
            <a:r>
              <a:rPr lang="en-US" sz="2000" spc="600" dirty="0">
                <a:solidFill>
                  <a:prstClr val="black"/>
                </a:solidFill>
                <a:latin typeface="Verdana" panose="020B0604030504040204" pitchFamily="34" charset="0"/>
                <a:ea typeface="Verdana" panose="020B0604030504040204" pitchFamily="34" charset="0"/>
                <a:cs typeface="Verdana" panose="020B0604030504040204" pitchFamily="34" charset="0"/>
              </a:rPr>
              <a:t>DELIVERS BENEFITS TO THE CLINICIAN &amp; PATIENT</a:t>
            </a:r>
            <a:endParaRPr lang="pt-PT" sz="2000" dirty="0"/>
          </a:p>
        </p:txBody>
      </p:sp>
      <p:sp>
        <p:nvSpPr>
          <p:cNvPr id="27" name="TextBox 26">
            <a:extLst>
              <a:ext uri="{FF2B5EF4-FFF2-40B4-BE49-F238E27FC236}">
                <a16:creationId xmlns="" xmlns:a16="http://schemas.microsoft.com/office/drawing/2014/main" id="{76A04039-EC40-433A-9A8C-25CB88A93643}"/>
              </a:ext>
            </a:extLst>
          </p:cNvPr>
          <p:cNvSpPr txBox="1"/>
          <p:nvPr/>
        </p:nvSpPr>
        <p:spPr>
          <a:xfrm>
            <a:off x="753510" y="4926050"/>
            <a:ext cx="1069771" cy="230943"/>
          </a:xfrm>
          <a:prstGeom prst="rect">
            <a:avLst/>
          </a:prstGeom>
          <a:noFill/>
        </p:spPr>
        <p:txBody>
          <a:bodyPr wrap="square" lIns="73262" tIns="36631" rIns="73262" bIns="36631"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FEATURE</a:t>
            </a:r>
          </a:p>
        </p:txBody>
      </p:sp>
      <p:grpSp>
        <p:nvGrpSpPr>
          <p:cNvPr id="17" name="Group 16">
            <a:extLst>
              <a:ext uri="{FF2B5EF4-FFF2-40B4-BE49-F238E27FC236}">
                <a16:creationId xmlns="" xmlns:a16="http://schemas.microsoft.com/office/drawing/2014/main" id="{B4349B52-99E5-43EE-896F-36A584637DFA}"/>
              </a:ext>
            </a:extLst>
          </p:cNvPr>
          <p:cNvGrpSpPr/>
          <p:nvPr/>
        </p:nvGrpSpPr>
        <p:grpSpPr>
          <a:xfrm>
            <a:off x="2366021" y="1737704"/>
            <a:ext cx="3065318" cy="3065318"/>
            <a:chOff x="468891" y="1565730"/>
            <a:chExt cx="2533650" cy="2533650"/>
          </a:xfrm>
        </p:grpSpPr>
        <p:sp>
          <p:nvSpPr>
            <p:cNvPr id="19" name="Oval 18">
              <a:extLst>
                <a:ext uri="{FF2B5EF4-FFF2-40B4-BE49-F238E27FC236}">
                  <a16:creationId xmlns="" xmlns:a16="http://schemas.microsoft.com/office/drawing/2014/main" id="{15928EB4-FB75-4685-8549-43484B6CB7BC}"/>
                </a:ext>
              </a:extLst>
            </p:cNvPr>
            <p:cNvSpPr/>
            <p:nvPr/>
          </p:nvSpPr>
          <p:spPr>
            <a:xfrm>
              <a:off x="468891" y="1565730"/>
              <a:ext cx="2533650" cy="2533650"/>
            </a:xfrm>
            <a:prstGeom prst="ellipse">
              <a:avLst/>
            </a:prstGeom>
            <a:solidFill>
              <a:schemeClr val="bg1"/>
            </a:solidFill>
            <a:ln w="38100">
              <a:solidFill>
                <a:srgbClr val="0558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8" name="Picture 17">
              <a:extLst>
                <a:ext uri="{FF2B5EF4-FFF2-40B4-BE49-F238E27FC236}">
                  <a16:creationId xmlns="" xmlns:a16="http://schemas.microsoft.com/office/drawing/2014/main" id="{CE3702C1-D24B-4A22-8BE0-577F54416C9F}"/>
                </a:ext>
              </a:extLst>
            </p:cNvPr>
            <p:cNvPicPr>
              <a:picLocks noChangeAspect="1"/>
            </p:cNvPicPr>
            <p:nvPr/>
          </p:nvPicPr>
          <p:blipFill>
            <a:blip r:embed="rId2"/>
            <a:stretch>
              <a:fillRect/>
            </a:stretch>
          </p:blipFill>
          <p:spPr>
            <a:xfrm>
              <a:off x="1058173" y="1846971"/>
              <a:ext cx="1355085" cy="1970777"/>
            </a:xfrm>
            <a:prstGeom prst="rect">
              <a:avLst/>
            </a:prstGeom>
          </p:spPr>
        </p:pic>
      </p:grpSp>
      <p:grpSp>
        <p:nvGrpSpPr>
          <p:cNvPr id="9" name="Agrupar 8">
            <a:extLst>
              <a:ext uri="{FF2B5EF4-FFF2-40B4-BE49-F238E27FC236}">
                <a16:creationId xmlns="" xmlns:a16="http://schemas.microsoft.com/office/drawing/2014/main" id="{B0801ED2-8DD3-4B51-8D2F-EFEC8799D515}"/>
              </a:ext>
            </a:extLst>
          </p:cNvPr>
          <p:cNvGrpSpPr/>
          <p:nvPr/>
        </p:nvGrpSpPr>
        <p:grpSpPr>
          <a:xfrm>
            <a:off x="6814140" y="1692610"/>
            <a:ext cx="3198227" cy="3375212"/>
            <a:chOff x="6814140" y="1692610"/>
            <a:chExt cx="3198227" cy="3375212"/>
          </a:xfrm>
        </p:grpSpPr>
        <p:grpSp>
          <p:nvGrpSpPr>
            <p:cNvPr id="8" name="Agrupar 7">
              <a:extLst>
                <a:ext uri="{FF2B5EF4-FFF2-40B4-BE49-F238E27FC236}">
                  <a16:creationId xmlns="" xmlns:a16="http://schemas.microsoft.com/office/drawing/2014/main" id="{84ABCDDF-5465-4F22-AF06-6BF00D1B68E1}"/>
                </a:ext>
              </a:extLst>
            </p:cNvPr>
            <p:cNvGrpSpPr/>
            <p:nvPr/>
          </p:nvGrpSpPr>
          <p:grpSpPr>
            <a:xfrm>
              <a:off x="6814140" y="1692610"/>
              <a:ext cx="3065318" cy="3375212"/>
              <a:chOff x="3606030" y="-2140669"/>
              <a:chExt cx="3065318" cy="3375212"/>
            </a:xfrm>
          </p:grpSpPr>
          <p:sp>
            <p:nvSpPr>
              <p:cNvPr id="38" name="Oval 18">
                <a:extLst>
                  <a:ext uri="{FF2B5EF4-FFF2-40B4-BE49-F238E27FC236}">
                    <a16:creationId xmlns="" xmlns:a16="http://schemas.microsoft.com/office/drawing/2014/main" id="{969993C9-9C45-4B8B-9160-4CAB1B4AE7E6}"/>
                  </a:ext>
                </a:extLst>
              </p:cNvPr>
              <p:cNvSpPr/>
              <p:nvPr/>
            </p:nvSpPr>
            <p:spPr>
              <a:xfrm>
                <a:off x="3606030" y="-2095952"/>
                <a:ext cx="3065318" cy="3065318"/>
              </a:xfrm>
              <a:prstGeom prst="ellipse">
                <a:avLst/>
              </a:prstGeom>
              <a:solidFill>
                <a:schemeClr val="bg1"/>
              </a:solidFill>
              <a:ln w="38100">
                <a:solidFill>
                  <a:srgbClr val="0558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7" name="Imagem 6">
                <a:extLst>
                  <a:ext uri="{FF2B5EF4-FFF2-40B4-BE49-F238E27FC236}">
                    <a16:creationId xmlns="" xmlns:a16="http://schemas.microsoft.com/office/drawing/2014/main" id="{71761578-278C-4539-B2BD-6E89C6E5B863}"/>
                  </a:ext>
                </a:extLst>
              </p:cNvPr>
              <p:cNvPicPr>
                <a:picLocks noChangeAspect="1"/>
              </p:cNvPicPr>
              <p:nvPr/>
            </p:nvPicPr>
            <p:blipFill rotWithShape="1">
              <a:blip r:embed="rId3">
                <a:extLst>
                  <a:ext uri="{28A0092B-C50C-407E-A947-70E740481C1C}">
                    <a14:useLocalDpi xmlns:a14="http://schemas.microsoft.com/office/drawing/2010/main" val="0"/>
                  </a:ext>
                </a:extLst>
              </a:blip>
              <a:srcRect l="49814" t="18942" r="15471" b="12070"/>
              <a:stretch/>
            </p:blipFill>
            <p:spPr>
              <a:xfrm>
                <a:off x="3623365" y="-2140669"/>
                <a:ext cx="3018561" cy="3375212"/>
              </a:xfrm>
              <a:prstGeom prst="rect">
                <a:avLst/>
              </a:prstGeom>
            </p:spPr>
          </p:pic>
        </p:grpSp>
        <p:sp>
          <p:nvSpPr>
            <p:cNvPr id="23" name="TextBox 22">
              <a:extLst>
                <a:ext uri="{FF2B5EF4-FFF2-40B4-BE49-F238E27FC236}">
                  <a16:creationId xmlns="" xmlns:a16="http://schemas.microsoft.com/office/drawing/2014/main" id="{729C8BE3-69EE-4BE1-9A52-CDD7068EBACF}"/>
                </a:ext>
              </a:extLst>
            </p:cNvPr>
            <p:cNvSpPr txBox="1"/>
            <p:nvPr/>
          </p:nvSpPr>
          <p:spPr>
            <a:xfrm>
              <a:off x="8799738" y="3656556"/>
              <a:ext cx="1212629" cy="230944"/>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55 </a:t>
              </a: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psi</a:t>
              </a:r>
            </a:p>
          </p:txBody>
        </p:sp>
        <p:sp>
          <p:nvSpPr>
            <p:cNvPr id="24" name="TextBox 23">
              <a:extLst>
                <a:ext uri="{FF2B5EF4-FFF2-40B4-BE49-F238E27FC236}">
                  <a16:creationId xmlns="" xmlns:a16="http://schemas.microsoft.com/office/drawing/2014/main" id="{1EA09FAF-EC50-46C0-A3C1-9F8BFB68DE1E}"/>
                </a:ext>
              </a:extLst>
            </p:cNvPr>
            <p:cNvSpPr txBox="1"/>
            <p:nvPr/>
          </p:nvSpPr>
          <p:spPr>
            <a:xfrm>
              <a:off x="8670808" y="2558838"/>
              <a:ext cx="1082792" cy="230944"/>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19,75 </a:t>
              </a:r>
              <a:r>
                <a:rPr kumimoji="0" lang="en-US" sz="1200" b="0"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psi</a:t>
              </a:r>
            </a:p>
          </p:txBody>
        </p:sp>
        <p:sp>
          <p:nvSpPr>
            <p:cNvPr id="25" name="TextBox 24">
              <a:extLst>
                <a:ext uri="{FF2B5EF4-FFF2-40B4-BE49-F238E27FC236}">
                  <a16:creationId xmlns="" xmlns:a16="http://schemas.microsoft.com/office/drawing/2014/main" id="{0CFF6268-6873-44FD-BF6D-AE0382B9967E}"/>
                </a:ext>
              </a:extLst>
            </p:cNvPr>
            <p:cNvSpPr txBox="1"/>
            <p:nvPr/>
          </p:nvSpPr>
          <p:spPr>
            <a:xfrm>
              <a:off x="7954755" y="3339219"/>
              <a:ext cx="1102644" cy="283266"/>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Standar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3 mL </a:t>
              </a:r>
              <a:r>
                <a:rPr kumimoji="0" lang="en-US" sz="8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syringe</a:t>
              </a:r>
            </a:p>
          </p:txBody>
        </p:sp>
        <p:sp>
          <p:nvSpPr>
            <p:cNvPr id="26" name="TextBox 25">
              <a:extLst>
                <a:ext uri="{FF2B5EF4-FFF2-40B4-BE49-F238E27FC236}">
                  <a16:creationId xmlns="" xmlns:a16="http://schemas.microsoft.com/office/drawing/2014/main" id="{A16A1962-5C0B-4A42-8341-E071EDFE3E6C}"/>
                </a:ext>
              </a:extLst>
            </p:cNvPr>
            <p:cNvSpPr txBox="1"/>
            <p:nvPr/>
          </p:nvSpPr>
          <p:spPr>
            <a:xfrm>
              <a:off x="7902222" y="2222049"/>
              <a:ext cx="1357305" cy="283266"/>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smtClean="0">
                  <a:ln>
                    <a:noFill/>
                  </a:ln>
                  <a:effectLst/>
                  <a:uLnTx/>
                  <a:uFillTx/>
                  <a:latin typeface="Verdana" panose="020B0604030504040204" pitchFamily="34" charset="0"/>
                  <a:ea typeface="Verdana" panose="020B0604030504040204" pitchFamily="34" charset="0"/>
                  <a:cs typeface="Verdana" panose="020B0604030504040204" pitchFamily="34" charset="0"/>
                </a:rPr>
                <a:t>BD </a:t>
              </a:r>
              <a:r>
                <a:rPr kumimoji="0" lang="en-US" sz="800" b="1" i="0" u="none" strike="noStrike" kern="1200" cap="none" spc="0" normalizeH="0" baseline="0" noProof="0" dirty="0" err="1">
                  <a:ln>
                    <a:noFill/>
                  </a:ln>
                  <a:effectLst/>
                  <a:uLnTx/>
                  <a:uFillTx/>
                  <a:latin typeface="Verdana" panose="020B0604030504040204" pitchFamily="34" charset="0"/>
                  <a:ea typeface="Verdana" panose="020B0604030504040204" pitchFamily="34" charset="0"/>
                  <a:cs typeface="Verdana" panose="020B0604030504040204" pitchFamily="34" charset="0"/>
                </a:rPr>
                <a:t>PosiFlush</a:t>
              </a:r>
              <a:r>
                <a:rPr kumimoji="0" lang="en-US" sz="800" b="1" i="0" u="none" strike="noStrike" kern="1200" cap="none" spc="0" normalizeH="0" baseline="30000" noProof="0" dirty="0" err="1">
                  <a:ln>
                    <a:noFill/>
                  </a:ln>
                  <a:effectLst/>
                  <a:uLnTx/>
                  <a:uFillTx/>
                </a:rPr>
                <a:t>TM</a:t>
              </a:r>
              <a:endParaRPr lang="en-US" sz="800" dirty="0"/>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3 mL </a:t>
              </a:r>
              <a:r>
                <a:rPr kumimoji="0" lang="en-US" sz="8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syringe</a:t>
              </a:r>
            </a:p>
          </p:txBody>
        </p:sp>
      </p:grpSp>
      <p:sp>
        <p:nvSpPr>
          <p:cNvPr id="29" name="TextBox 28">
            <a:extLst>
              <a:ext uri="{FF2B5EF4-FFF2-40B4-BE49-F238E27FC236}">
                <a16:creationId xmlns="" xmlns:a16="http://schemas.microsoft.com/office/drawing/2014/main" id="{5C83738A-A528-4C4A-8DC7-66CD0027702A}"/>
              </a:ext>
            </a:extLst>
          </p:cNvPr>
          <p:cNvSpPr txBox="1"/>
          <p:nvPr/>
        </p:nvSpPr>
        <p:spPr>
          <a:xfrm>
            <a:off x="2636478" y="4926050"/>
            <a:ext cx="2524403" cy="440232"/>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defTabSz="914400" rtl="0" eaLnBrk="1" fontAlgn="auto" latinLnBrk="0" hangingPunct="1">
              <a:lnSpc>
                <a:spcPct val="85000"/>
              </a:lnSpc>
              <a:spcBef>
                <a:spcPts val="0"/>
              </a:spcBef>
              <a:spcAft>
                <a:spcPts val="0"/>
              </a:spcAft>
              <a:buClrTx/>
              <a:buSzTx/>
              <a:buFontTx/>
              <a:buNone/>
              <a:tabLst/>
              <a:defRPr/>
            </a:pPr>
            <a:r>
              <a:rPr kumimoji="0" lang="en-US" b="1" i="0" u="none" strike="noStrike" kern="1200" cap="none" spc="0" normalizeH="0" baseline="0" noProof="0" dirty="0" smtClean="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BD </a:t>
            </a:r>
            <a:r>
              <a:rPr kumimoji="0" lang="en-US" b="1" i="0" u="none" strike="noStrike" kern="1200" cap="none" spc="0" normalizeH="0" baseline="0" noProof="0" dirty="0" err="1" smtClean="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Luer</a:t>
            </a:r>
            <a:r>
              <a:rPr kumimoji="0" lang="en-US" b="1" i="0" u="none" strike="noStrike" kern="1200" cap="none" spc="0" normalizeH="0" baseline="0" noProof="0" dirty="0" smtClean="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b="1" i="0" u="none" strike="noStrike" kern="1200" cap="none" spc="0" normalizeH="0" baseline="0" noProof="0" dirty="0" err="1" smtClean="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Lok</a:t>
            </a:r>
            <a:r>
              <a:rPr kumimoji="0" lang="en-US"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 Tip Cap</a:t>
            </a:r>
            <a:endParaRPr kumimoji="0" lang="pt-PT"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3" name="TextBox 32">
            <a:extLst>
              <a:ext uri="{FF2B5EF4-FFF2-40B4-BE49-F238E27FC236}">
                <a16:creationId xmlns="" xmlns:a16="http://schemas.microsoft.com/office/drawing/2014/main" id="{6FD60DFA-1AF5-4134-B791-C82E6F32BD35}"/>
              </a:ext>
            </a:extLst>
          </p:cNvPr>
          <p:cNvSpPr txBox="1"/>
          <p:nvPr/>
        </p:nvSpPr>
        <p:spPr>
          <a:xfrm>
            <a:off x="753510" y="5882958"/>
            <a:ext cx="1150902" cy="230943"/>
          </a:xfrm>
          <a:prstGeom prst="rect">
            <a:avLst/>
          </a:prstGeom>
          <a:noFill/>
        </p:spPr>
        <p:txBody>
          <a:bodyPr wrap="square" lIns="73262" tIns="36631" rIns="73262" bIns="36631"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BENEFIT</a:t>
            </a:r>
          </a:p>
        </p:txBody>
      </p:sp>
      <p:sp>
        <p:nvSpPr>
          <p:cNvPr id="34" name="TextBox 33">
            <a:extLst>
              <a:ext uri="{FF2B5EF4-FFF2-40B4-BE49-F238E27FC236}">
                <a16:creationId xmlns="" xmlns:a16="http://schemas.microsoft.com/office/drawing/2014/main" id="{0A29B628-FDEC-4671-84EA-F56C31F45348}"/>
              </a:ext>
            </a:extLst>
          </p:cNvPr>
          <p:cNvSpPr txBox="1"/>
          <p:nvPr/>
        </p:nvSpPr>
        <p:spPr>
          <a:xfrm>
            <a:off x="2492201" y="5639390"/>
            <a:ext cx="2429900" cy="701842"/>
          </a:xfrm>
          <a:prstGeom prst="rect">
            <a:avLst/>
          </a:prstGeom>
          <a:noFill/>
        </p:spPr>
        <p:txBody>
          <a:bodyPr wrap="square" lIns="73262" tIns="36631" rIns="73262" bIns="36631" rtlCol="0">
            <a:spAutoFit/>
          </a:bodyPr>
          <a:lstStyle/>
          <a:p>
            <a:pPr marL="0" marR="0" lvl="0" indent="0" defTabSz="91440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Tighter </a:t>
            </a:r>
            <a:r>
              <a:rPr kumimoji="0" lang="en-US" sz="1200" b="0"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eal </a:t>
            </a:r>
            <a:r>
              <a:rPr kumimoji="0" lang="en-US"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for closure integrity </a:t>
            </a:r>
            <a:r>
              <a:rPr kumimoji="0" lang="en-US" sz="12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helping prevent touch contamination </a:t>
            </a:r>
            <a:br>
              <a:rPr kumimoji="0" lang="en-US" sz="12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nd infection</a:t>
            </a:r>
          </a:p>
        </p:txBody>
      </p:sp>
      <p:sp>
        <p:nvSpPr>
          <p:cNvPr id="35" name="TextBox 34">
            <a:extLst>
              <a:ext uri="{FF2B5EF4-FFF2-40B4-BE49-F238E27FC236}">
                <a16:creationId xmlns="" xmlns:a16="http://schemas.microsoft.com/office/drawing/2014/main" id="{EBE16135-3525-4173-8C4F-8930CD9834BF}"/>
              </a:ext>
            </a:extLst>
          </p:cNvPr>
          <p:cNvSpPr txBox="1"/>
          <p:nvPr/>
        </p:nvSpPr>
        <p:spPr>
          <a:xfrm>
            <a:off x="6671348" y="5560907"/>
            <a:ext cx="3477225" cy="701842"/>
          </a:xfrm>
          <a:prstGeom prst="rect">
            <a:avLst/>
          </a:prstGeom>
          <a:noFill/>
        </p:spPr>
        <p:txBody>
          <a:bodyPr wrap="square" lIns="73262" tIns="36631" rIns="73262" bIns="36631" rtlCol="0">
            <a:spAutoFit/>
          </a:bodyPr>
          <a:lstStyle/>
          <a:p>
            <a:pPr lvl="0">
              <a:lnSpc>
                <a:spcPct val="85000"/>
              </a:lnSpc>
              <a:defRPr/>
            </a:pPr>
            <a:r>
              <a:rPr kumimoji="0" lang="en-US"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Unique stubby design allows for a </a:t>
            </a:r>
            <a:r>
              <a:rPr kumimoji="0" lang="en-US" sz="12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onsistent </a:t>
            </a:r>
            <a:r>
              <a:rPr kumimoji="0" lang="en-US" sz="12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10 mL </a:t>
            </a:r>
            <a:r>
              <a:rPr kumimoji="0" lang="en-US" sz="12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yringe diameter </a:t>
            </a:r>
            <a:r>
              <a:rPr kumimoji="0" lang="en-US"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which reduces injection pressure, resulting in reduced risk of catheter </a:t>
            </a:r>
            <a:r>
              <a:rPr kumimoji="0" lang="en-US" sz="1200" b="0"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amage</a:t>
            </a:r>
            <a:r>
              <a:rPr lang="en-US" sz="1200" baseline="30000" noProof="0" dirty="0" smtClean="0">
                <a:solidFill>
                  <a:schemeClr val="bg1"/>
                </a:solidFill>
                <a:latin typeface="Verdana" panose="020B0604030504040204" pitchFamily="34" charset="0"/>
                <a:ea typeface="Verdana" panose="020B0604030504040204" pitchFamily="34" charset="0"/>
                <a:cs typeface="Verdana" panose="020B0604030504040204" pitchFamily="34" charset="0"/>
              </a:rPr>
              <a:t>8</a:t>
            </a:r>
            <a:endParaRPr kumimoji="0" lang="en-US" sz="12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36" name="Straight Connector 35">
            <a:extLst>
              <a:ext uri="{FF2B5EF4-FFF2-40B4-BE49-F238E27FC236}">
                <a16:creationId xmlns="" xmlns:a16="http://schemas.microsoft.com/office/drawing/2014/main" id="{1B8635E4-31E2-4ECB-BAB3-45572C65C8F4}"/>
              </a:ext>
            </a:extLst>
          </p:cNvPr>
          <p:cNvCxnSpPr>
            <a:cxnSpLocks/>
          </p:cNvCxnSpPr>
          <p:nvPr/>
        </p:nvCxnSpPr>
        <p:spPr>
          <a:xfrm>
            <a:off x="457200" y="5306183"/>
            <a:ext cx="10183997"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 xmlns:a16="http://schemas.microsoft.com/office/drawing/2014/main" id="{BB55E5F6-7CB2-4813-B85A-2F94B65F321B}"/>
              </a:ext>
            </a:extLst>
          </p:cNvPr>
          <p:cNvCxnSpPr>
            <a:cxnSpLocks/>
          </p:cNvCxnSpPr>
          <p:nvPr/>
        </p:nvCxnSpPr>
        <p:spPr>
          <a:xfrm>
            <a:off x="2366020" y="5306183"/>
            <a:ext cx="2982187" cy="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 xmlns:a16="http://schemas.microsoft.com/office/drawing/2014/main" id="{17DF5642-314A-4822-80D3-659317D613C4}"/>
              </a:ext>
            </a:extLst>
          </p:cNvPr>
          <p:cNvSpPr txBox="1"/>
          <p:nvPr/>
        </p:nvSpPr>
        <p:spPr>
          <a:xfrm>
            <a:off x="6595147" y="4926050"/>
            <a:ext cx="3690831" cy="257105"/>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lvl="0">
              <a:defRPr/>
            </a:pPr>
            <a:r>
              <a:rPr lang="en-US" dirty="0"/>
              <a:t>Consistent </a:t>
            </a:r>
            <a:r>
              <a:rPr lang="en-US" dirty="0" smtClean="0"/>
              <a:t>10 mL </a:t>
            </a:r>
            <a:r>
              <a:rPr lang="en-US" dirty="0"/>
              <a:t>Syringe Diameter</a:t>
            </a:r>
          </a:p>
        </p:txBody>
      </p:sp>
      <p:cxnSp>
        <p:nvCxnSpPr>
          <p:cNvPr id="42" name="Straight Connector 41">
            <a:extLst>
              <a:ext uri="{FF2B5EF4-FFF2-40B4-BE49-F238E27FC236}">
                <a16:creationId xmlns="" xmlns:a16="http://schemas.microsoft.com/office/drawing/2014/main" id="{38301064-9975-4933-9BA9-0F4F30786DFD}"/>
              </a:ext>
            </a:extLst>
          </p:cNvPr>
          <p:cNvCxnSpPr>
            <a:cxnSpLocks/>
          </p:cNvCxnSpPr>
          <p:nvPr/>
        </p:nvCxnSpPr>
        <p:spPr>
          <a:xfrm>
            <a:off x="6582529" y="5290203"/>
            <a:ext cx="3703450" cy="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 xmlns:a16="http://schemas.microsoft.com/office/drawing/2014/main" id="{335747D6-BCA8-420B-987A-BAC8177A5BF0}"/>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11277600" y="6490506"/>
            <a:ext cx="720740" cy="276876"/>
          </a:xfrm>
          <a:prstGeom prst="rect">
            <a:avLst/>
          </a:prstGeom>
        </p:spPr>
      </p:pic>
      <p:pic>
        <p:nvPicPr>
          <p:cNvPr id="31" name="Picture 30"/>
          <p:cNvPicPr>
            <a:picLocks noChangeAspect="1"/>
          </p:cNvPicPr>
          <p:nvPr/>
        </p:nvPicPr>
        <p:blipFill>
          <a:blip r:embed="rId6"/>
          <a:stretch>
            <a:fillRect/>
          </a:stretch>
        </p:blipFill>
        <p:spPr>
          <a:xfrm>
            <a:off x="76200" y="6629400"/>
            <a:ext cx="4619050" cy="195171"/>
          </a:xfrm>
          <a:prstGeom prst="rect">
            <a:avLst/>
          </a:prstGeom>
        </p:spPr>
      </p:pic>
    </p:spTree>
    <p:extLst>
      <p:ext uri="{BB962C8B-B14F-4D97-AF65-F5344CB8AC3E}">
        <p14:creationId xmlns:p14="http://schemas.microsoft.com/office/powerpoint/2010/main" val="4896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wipe(left)">
                                      <p:cBhvr>
                                        <p:cTn id="11" dur="500"/>
                                        <p:tgtEl>
                                          <p:spTgt spid="28"/>
                                        </p:tgtEl>
                                      </p:cBhvr>
                                    </p:animEffect>
                                  </p:childTnLst>
                                </p:cTn>
                              </p:par>
                              <p:par>
                                <p:cTn id="12" presetID="22" presetClass="entr" presetSubtype="8" fill="hold" nodeType="withEffect">
                                  <p:stCondLst>
                                    <p:cond delay="0"/>
                                  </p:stCondLst>
                                  <p:childTnLst>
                                    <p:set>
                                      <p:cBhvr>
                                        <p:cTn id="13" dur="1" fill="hold">
                                          <p:stCondLst>
                                            <p:cond delay="0"/>
                                          </p:stCondLst>
                                        </p:cTn>
                                        <p:tgtEl>
                                          <p:spTgt spid="36"/>
                                        </p:tgtEl>
                                        <p:attrNameLst>
                                          <p:attrName>style.visibility</p:attrName>
                                        </p:attrNameLst>
                                      </p:cBhvr>
                                      <p:to>
                                        <p:strVal val="visible"/>
                                      </p:to>
                                    </p:set>
                                    <p:animEffect transition="in" filter="wipe(left)">
                                      <p:cBhvr>
                                        <p:cTn id="14" dur="500"/>
                                        <p:tgtEl>
                                          <p:spTgt spid="3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childTnLst>
                          </p:cTn>
                        </p:par>
                        <p:par>
                          <p:cTn id="18" fill="hold">
                            <p:stCondLst>
                              <p:cond delay="1000"/>
                            </p:stCondLst>
                            <p:childTnLst>
                              <p:par>
                                <p:cTn id="19" presetID="22" presetClass="entr" presetSubtype="1" fill="hold" grpId="0" nodeType="afterEffect">
                                  <p:stCondLst>
                                    <p:cond delay="0"/>
                                  </p:stCondLst>
                                  <p:childTnLst>
                                    <p:set>
                                      <p:cBhvr>
                                        <p:cTn id="20" dur="1" fill="hold">
                                          <p:stCondLst>
                                            <p:cond delay="0"/>
                                          </p:stCondLst>
                                        </p:cTn>
                                        <p:tgtEl>
                                          <p:spTgt spid="32"/>
                                        </p:tgtEl>
                                        <p:attrNameLst>
                                          <p:attrName>style.visibility</p:attrName>
                                        </p:attrNameLst>
                                      </p:cBhvr>
                                      <p:to>
                                        <p:strVal val="visible"/>
                                      </p:to>
                                    </p:set>
                                    <p:animEffect transition="in" filter="wipe(up)">
                                      <p:cBhvr>
                                        <p:cTn id="21" dur="500"/>
                                        <p:tgtEl>
                                          <p:spTgt spid="3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3"/>
                                        </p:tgtEl>
                                        <p:attrNameLst>
                                          <p:attrName>style.visibility</p:attrName>
                                        </p:attrNameLst>
                                      </p:cBhvr>
                                      <p:to>
                                        <p:strVal val="visible"/>
                                      </p:to>
                                    </p:set>
                                    <p:animEffect transition="in" filter="fade">
                                      <p:cBhvr>
                                        <p:cTn id="24" dur="500"/>
                                        <p:tgtEl>
                                          <p:spTgt spid="33"/>
                                        </p:tgtEl>
                                      </p:cBhvr>
                                    </p:animEffect>
                                  </p:childTnLst>
                                </p:cTn>
                              </p:par>
                              <p:par>
                                <p:cTn id="25" presetID="2" presetClass="entr" presetSubtype="2" decel="100000" fill="hold" nodeType="withEffect">
                                  <p:stCondLst>
                                    <p:cond delay="250"/>
                                  </p:stCondLst>
                                  <p:childTnLst>
                                    <p:set>
                                      <p:cBhvr>
                                        <p:cTn id="26" dur="1" fill="hold">
                                          <p:stCondLst>
                                            <p:cond delay="0"/>
                                          </p:stCondLst>
                                        </p:cTn>
                                        <p:tgtEl>
                                          <p:spTgt spid="37"/>
                                        </p:tgtEl>
                                        <p:attrNameLst>
                                          <p:attrName>style.visibility</p:attrName>
                                        </p:attrNameLst>
                                      </p:cBhvr>
                                      <p:to>
                                        <p:strVal val="visible"/>
                                      </p:to>
                                    </p:set>
                                    <p:anim calcmode="lin" valueType="num">
                                      <p:cBhvr additive="base">
                                        <p:cTn id="27" dur="500" fill="hold"/>
                                        <p:tgtEl>
                                          <p:spTgt spid="37"/>
                                        </p:tgtEl>
                                        <p:attrNameLst>
                                          <p:attrName>ppt_x</p:attrName>
                                        </p:attrNameLst>
                                      </p:cBhvr>
                                      <p:tavLst>
                                        <p:tav tm="0">
                                          <p:val>
                                            <p:strVal val="1+#ppt_w/2"/>
                                          </p:val>
                                        </p:tav>
                                        <p:tav tm="100000">
                                          <p:val>
                                            <p:strVal val="#ppt_x"/>
                                          </p:val>
                                        </p:tav>
                                      </p:tavLst>
                                    </p:anim>
                                    <p:anim calcmode="lin" valueType="num">
                                      <p:cBhvr additive="base">
                                        <p:cTn id="28" dur="500" fill="hold"/>
                                        <p:tgtEl>
                                          <p:spTgt spid="37"/>
                                        </p:tgtEl>
                                        <p:attrNameLst>
                                          <p:attrName>ppt_y</p:attrName>
                                        </p:attrNameLst>
                                      </p:cBhvr>
                                      <p:tavLst>
                                        <p:tav tm="0">
                                          <p:val>
                                            <p:strVal val="#ppt_y"/>
                                          </p:val>
                                        </p:tav>
                                        <p:tav tm="100000">
                                          <p:val>
                                            <p:strVal val="#ppt_y"/>
                                          </p:val>
                                        </p:tav>
                                      </p:tavLst>
                                    </p:anim>
                                  </p:childTnLst>
                                </p:cTn>
                              </p:par>
                              <p:par>
                                <p:cTn id="29" presetID="10" presetClass="entr" presetSubtype="0" fill="hold" grpId="0" nodeType="withEffect">
                                  <p:stCondLst>
                                    <p:cond delay="250"/>
                                  </p:stCondLst>
                                  <p:childTnLst>
                                    <p:set>
                                      <p:cBhvr>
                                        <p:cTn id="30" dur="1" fill="hold">
                                          <p:stCondLst>
                                            <p:cond delay="0"/>
                                          </p:stCondLst>
                                        </p:cTn>
                                        <p:tgtEl>
                                          <p:spTgt spid="29"/>
                                        </p:tgtEl>
                                        <p:attrNameLst>
                                          <p:attrName>style.visibility</p:attrName>
                                        </p:attrNameLst>
                                      </p:cBhvr>
                                      <p:to>
                                        <p:strVal val="visible"/>
                                      </p:to>
                                    </p:set>
                                    <p:animEffect transition="in" filter="fade">
                                      <p:cBhvr>
                                        <p:cTn id="31" dur="500"/>
                                        <p:tgtEl>
                                          <p:spTgt spid="29"/>
                                        </p:tgtEl>
                                      </p:cBhvr>
                                    </p:animEffect>
                                  </p:childTnLst>
                                </p:cTn>
                              </p:par>
                              <p:par>
                                <p:cTn id="32" presetID="10" presetClass="entr" presetSubtype="0" fill="hold" nodeType="withEffect">
                                  <p:stCondLst>
                                    <p:cond delay="25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500"/>
                                        <p:tgtEl>
                                          <p:spTgt spid="17"/>
                                        </p:tgtEl>
                                      </p:cBhvr>
                                    </p:animEffect>
                                  </p:childTnLst>
                                </p:cTn>
                              </p:par>
                              <p:par>
                                <p:cTn id="35" presetID="10" presetClass="entr" presetSubtype="0" fill="hold" grpId="0" nodeType="withEffect">
                                  <p:stCondLst>
                                    <p:cond delay="250"/>
                                  </p:stCondLst>
                                  <p:childTnLst>
                                    <p:set>
                                      <p:cBhvr>
                                        <p:cTn id="36" dur="1" fill="hold">
                                          <p:stCondLst>
                                            <p:cond delay="0"/>
                                          </p:stCondLst>
                                        </p:cTn>
                                        <p:tgtEl>
                                          <p:spTgt spid="34"/>
                                        </p:tgtEl>
                                        <p:attrNameLst>
                                          <p:attrName>style.visibility</p:attrName>
                                        </p:attrNameLst>
                                      </p:cBhvr>
                                      <p:to>
                                        <p:strVal val="visible"/>
                                      </p:to>
                                    </p:set>
                                    <p:animEffect transition="in" filter="fade">
                                      <p:cBhvr>
                                        <p:cTn id="37" dur="500"/>
                                        <p:tgtEl>
                                          <p:spTgt spid="34"/>
                                        </p:tgtEl>
                                      </p:cBhvr>
                                    </p:animEffect>
                                  </p:childTnLst>
                                </p:cTn>
                              </p:par>
                              <p:par>
                                <p:cTn id="38" presetID="2" presetClass="entr" presetSubtype="2" decel="100000" fill="hold" nodeType="withEffect">
                                  <p:stCondLst>
                                    <p:cond delay="500"/>
                                  </p:stCondLst>
                                  <p:childTnLst>
                                    <p:set>
                                      <p:cBhvr>
                                        <p:cTn id="39" dur="1" fill="hold">
                                          <p:stCondLst>
                                            <p:cond delay="0"/>
                                          </p:stCondLst>
                                        </p:cTn>
                                        <p:tgtEl>
                                          <p:spTgt spid="42"/>
                                        </p:tgtEl>
                                        <p:attrNameLst>
                                          <p:attrName>style.visibility</p:attrName>
                                        </p:attrNameLst>
                                      </p:cBhvr>
                                      <p:to>
                                        <p:strVal val="visible"/>
                                      </p:to>
                                    </p:set>
                                    <p:anim calcmode="lin" valueType="num">
                                      <p:cBhvr additive="base">
                                        <p:cTn id="40" dur="500" fill="hold"/>
                                        <p:tgtEl>
                                          <p:spTgt spid="42"/>
                                        </p:tgtEl>
                                        <p:attrNameLst>
                                          <p:attrName>ppt_x</p:attrName>
                                        </p:attrNameLst>
                                      </p:cBhvr>
                                      <p:tavLst>
                                        <p:tav tm="0">
                                          <p:val>
                                            <p:strVal val="1+#ppt_w/2"/>
                                          </p:val>
                                        </p:tav>
                                        <p:tav tm="100000">
                                          <p:val>
                                            <p:strVal val="#ppt_x"/>
                                          </p:val>
                                        </p:tav>
                                      </p:tavLst>
                                    </p:anim>
                                    <p:anim calcmode="lin" valueType="num">
                                      <p:cBhvr additive="base">
                                        <p:cTn id="41" dur="500" fill="hold"/>
                                        <p:tgtEl>
                                          <p:spTgt spid="42"/>
                                        </p:tgtEl>
                                        <p:attrNameLst>
                                          <p:attrName>ppt_y</p:attrName>
                                        </p:attrNameLst>
                                      </p:cBhvr>
                                      <p:tavLst>
                                        <p:tav tm="0">
                                          <p:val>
                                            <p:strVal val="#ppt_y"/>
                                          </p:val>
                                        </p:tav>
                                        <p:tav tm="100000">
                                          <p:val>
                                            <p:strVal val="#ppt_y"/>
                                          </p:val>
                                        </p:tav>
                                      </p:tavLst>
                                    </p:anim>
                                  </p:childTnLst>
                                </p:cTn>
                              </p:par>
                              <p:par>
                                <p:cTn id="42" presetID="10" presetClass="entr" presetSubtype="0" fill="hold" grpId="0" nodeType="withEffect">
                                  <p:stCondLst>
                                    <p:cond delay="500"/>
                                  </p:stCondLst>
                                  <p:childTnLst>
                                    <p:set>
                                      <p:cBhvr>
                                        <p:cTn id="43" dur="1" fill="hold">
                                          <p:stCondLst>
                                            <p:cond delay="0"/>
                                          </p:stCondLst>
                                        </p:cTn>
                                        <p:tgtEl>
                                          <p:spTgt spid="35"/>
                                        </p:tgtEl>
                                        <p:attrNameLst>
                                          <p:attrName>style.visibility</p:attrName>
                                        </p:attrNameLst>
                                      </p:cBhvr>
                                      <p:to>
                                        <p:strVal val="visible"/>
                                      </p:to>
                                    </p:set>
                                    <p:animEffect transition="in" filter="fade">
                                      <p:cBhvr>
                                        <p:cTn id="44" dur="500"/>
                                        <p:tgtEl>
                                          <p:spTgt spid="35"/>
                                        </p:tgtEl>
                                      </p:cBhvr>
                                    </p:animEffect>
                                  </p:childTnLst>
                                </p:cTn>
                              </p:par>
                              <p:par>
                                <p:cTn id="45" presetID="10" presetClass="entr" presetSubtype="0" fill="hold" grpId="0" nodeType="withEffect">
                                  <p:stCondLst>
                                    <p:cond delay="500"/>
                                  </p:stCondLst>
                                  <p:childTnLst>
                                    <p:set>
                                      <p:cBhvr>
                                        <p:cTn id="46" dur="1" fill="hold">
                                          <p:stCondLst>
                                            <p:cond delay="0"/>
                                          </p:stCondLst>
                                        </p:cTn>
                                        <p:tgtEl>
                                          <p:spTgt spid="39"/>
                                        </p:tgtEl>
                                        <p:attrNameLst>
                                          <p:attrName>style.visibility</p:attrName>
                                        </p:attrNameLst>
                                      </p:cBhvr>
                                      <p:to>
                                        <p:strVal val="visible"/>
                                      </p:to>
                                    </p:set>
                                    <p:animEffect transition="in" filter="fade">
                                      <p:cBhvr>
                                        <p:cTn id="47" dur="500"/>
                                        <p:tgtEl>
                                          <p:spTgt spid="39"/>
                                        </p:tgtEl>
                                      </p:cBhvr>
                                    </p:animEffect>
                                  </p:childTnLst>
                                </p:cTn>
                              </p:par>
                              <p:par>
                                <p:cTn id="48" presetID="10" presetClass="entr" presetSubtype="0" fill="hold" nodeType="withEffect">
                                  <p:stCondLst>
                                    <p:cond delay="250"/>
                                  </p:stCondLst>
                                  <p:childTnLst>
                                    <p:set>
                                      <p:cBhvr>
                                        <p:cTn id="49" dur="1" fill="hold">
                                          <p:stCondLst>
                                            <p:cond delay="0"/>
                                          </p:stCondLst>
                                        </p:cTn>
                                        <p:tgtEl>
                                          <p:spTgt spid="9"/>
                                        </p:tgtEl>
                                        <p:attrNameLst>
                                          <p:attrName>style.visibility</p:attrName>
                                        </p:attrNameLst>
                                      </p:cBhvr>
                                      <p:to>
                                        <p:strVal val="visible"/>
                                      </p:to>
                                    </p:set>
                                    <p:animEffect transition="in" filter="fade">
                                      <p:cBhvr>
                                        <p:cTn id="5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6" grpId="0"/>
      <p:bldP spid="27" grpId="0"/>
      <p:bldP spid="29" grpId="0"/>
      <p:bldP spid="33" grpId="0"/>
      <p:bldP spid="34" grpId="0"/>
      <p:bldP spid="35" grpId="0"/>
      <p:bldP spid="3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 xmlns:a16="http://schemas.microsoft.com/office/drawing/2014/main" id="{1617FE77-7EBE-40B8-B461-ED5033E5A985}"/>
              </a:ext>
            </a:extLst>
          </p:cNvPr>
          <p:cNvSpPr/>
          <p:nvPr/>
        </p:nvSpPr>
        <p:spPr>
          <a:xfrm>
            <a:off x="428171" y="5364202"/>
            <a:ext cx="10239829" cy="1252218"/>
          </a:xfrm>
          <a:prstGeom prst="rect">
            <a:avLst/>
          </a:prstGeom>
          <a:solidFill>
            <a:srgbClr val="055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 xmlns:a16="http://schemas.microsoft.com/office/drawing/2014/main" id="{B15EA084-2AD9-4B8E-9A34-418860C4E611}"/>
              </a:ext>
            </a:extLst>
          </p:cNvPr>
          <p:cNvSpPr/>
          <p:nvPr/>
        </p:nvSpPr>
        <p:spPr>
          <a:xfrm>
            <a:off x="952500" y="456668"/>
            <a:ext cx="10287000" cy="892552"/>
          </a:xfrm>
          <a:prstGeom prst="rect">
            <a:avLst/>
          </a:prstGeom>
        </p:spPr>
        <p:txBody>
          <a:bodyPr wrap="square">
            <a:spAutoFit/>
          </a:bodyPr>
          <a:lstStyle/>
          <a:p>
            <a:pPr algn="ctr"/>
            <a:r>
              <a:rPr lang="en-US" sz="3200" b="1" dirty="0">
                <a:solidFill>
                  <a:srgbClr val="05589C"/>
                </a:solidFill>
                <a:latin typeface="Verdana" panose="020B0604030504040204" pitchFamily="34" charset="0"/>
                <a:ea typeface="Verdana" panose="020B0604030504040204" pitchFamily="34" charset="0"/>
                <a:cs typeface="Verdana" panose="020B0604030504040204" pitchFamily="34" charset="0"/>
              </a:rPr>
              <a:t>BD’S FOCUS ON THE POSIFLUSH</a:t>
            </a:r>
            <a:r>
              <a:rPr lang="en-US" sz="3200" baseline="30000" dirty="0">
                <a:solidFill>
                  <a:srgbClr val="05589C"/>
                </a:solidFill>
              </a:rPr>
              <a:t>TM</a:t>
            </a:r>
            <a:r>
              <a:rPr lang="en-US" sz="3200" b="1" dirty="0">
                <a:solidFill>
                  <a:srgbClr val="F26926"/>
                </a:solidFill>
                <a:latin typeface="Verdana" panose="020B0604030504040204" pitchFamily="34" charset="0"/>
                <a:ea typeface="Verdana" panose="020B0604030504040204" pitchFamily="34" charset="0"/>
                <a:cs typeface="Verdana" panose="020B0604030504040204" pitchFamily="34" charset="0"/>
              </a:rPr>
              <a:t> </a:t>
            </a:r>
            <a:r>
              <a:rPr lang="en-US" sz="3200" b="1" dirty="0">
                <a:solidFill>
                  <a:srgbClr val="05589C"/>
                </a:solidFill>
                <a:latin typeface="Verdana" panose="020B0604030504040204" pitchFamily="34" charset="0"/>
                <a:ea typeface="Verdana" panose="020B0604030504040204" pitchFamily="34" charset="0"/>
                <a:cs typeface="Verdana" panose="020B0604030504040204" pitchFamily="34" charset="0"/>
              </a:rPr>
              <a:t>DESIGN</a:t>
            </a:r>
          </a:p>
          <a:p>
            <a:pPr algn="ctr"/>
            <a:r>
              <a:rPr lang="en-US" sz="2000" spc="600" dirty="0">
                <a:solidFill>
                  <a:prstClr val="black"/>
                </a:solidFill>
                <a:latin typeface="Verdana" panose="020B0604030504040204" pitchFamily="34" charset="0"/>
                <a:ea typeface="Verdana" panose="020B0604030504040204" pitchFamily="34" charset="0"/>
                <a:cs typeface="Verdana" panose="020B0604030504040204" pitchFamily="34" charset="0"/>
              </a:rPr>
              <a:t>DELIVERS BENEFITS TO THE CLINICIAN &amp; PATIENT</a:t>
            </a:r>
            <a:endParaRPr lang="pt-PT" sz="2000" dirty="0"/>
          </a:p>
        </p:txBody>
      </p:sp>
      <p:sp>
        <p:nvSpPr>
          <p:cNvPr id="29" name="TextBox 28">
            <a:extLst>
              <a:ext uri="{FF2B5EF4-FFF2-40B4-BE49-F238E27FC236}">
                <a16:creationId xmlns="" xmlns:a16="http://schemas.microsoft.com/office/drawing/2014/main" id="{5C83738A-A528-4C4A-8DC7-66CD0027702A}"/>
              </a:ext>
            </a:extLst>
          </p:cNvPr>
          <p:cNvSpPr txBox="1"/>
          <p:nvPr/>
        </p:nvSpPr>
        <p:spPr>
          <a:xfrm>
            <a:off x="7050360" y="4958503"/>
            <a:ext cx="2995921" cy="257105"/>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lvl="0">
              <a:defRPr/>
            </a:pPr>
            <a:r>
              <a:rPr lang="en-US" dirty="0"/>
              <a:t>Carton Shelf Pack</a:t>
            </a:r>
          </a:p>
        </p:txBody>
      </p:sp>
      <p:sp>
        <p:nvSpPr>
          <p:cNvPr id="33" name="TextBox 32">
            <a:extLst>
              <a:ext uri="{FF2B5EF4-FFF2-40B4-BE49-F238E27FC236}">
                <a16:creationId xmlns="" xmlns:a16="http://schemas.microsoft.com/office/drawing/2014/main" id="{6FD60DFA-1AF5-4134-B791-C82E6F32BD35}"/>
              </a:ext>
            </a:extLst>
          </p:cNvPr>
          <p:cNvSpPr txBox="1"/>
          <p:nvPr/>
        </p:nvSpPr>
        <p:spPr>
          <a:xfrm>
            <a:off x="753510" y="5882958"/>
            <a:ext cx="1150902" cy="230943"/>
          </a:xfrm>
          <a:prstGeom prst="rect">
            <a:avLst/>
          </a:prstGeom>
          <a:noFill/>
        </p:spPr>
        <p:txBody>
          <a:bodyPr wrap="square" lIns="73262" tIns="36631" rIns="73262" bIns="36631"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BENEFIT</a:t>
            </a:r>
          </a:p>
        </p:txBody>
      </p:sp>
      <p:sp>
        <p:nvSpPr>
          <p:cNvPr id="34" name="TextBox 33">
            <a:extLst>
              <a:ext uri="{FF2B5EF4-FFF2-40B4-BE49-F238E27FC236}">
                <a16:creationId xmlns="" xmlns:a16="http://schemas.microsoft.com/office/drawing/2014/main" id="{0A29B628-FDEC-4671-84EA-F56C31F45348}"/>
              </a:ext>
            </a:extLst>
          </p:cNvPr>
          <p:cNvSpPr txBox="1"/>
          <p:nvPr/>
        </p:nvSpPr>
        <p:spPr>
          <a:xfrm>
            <a:off x="7158975" y="5560907"/>
            <a:ext cx="3146599" cy="858808"/>
          </a:xfrm>
          <a:prstGeom prst="rect">
            <a:avLst/>
          </a:prstGeom>
          <a:noFill/>
        </p:spPr>
        <p:txBody>
          <a:bodyPr wrap="square" lIns="73262" tIns="36631" rIns="73262" bIns="36631" rtlCol="0">
            <a:spAutoFit/>
          </a:bodyPr>
          <a:lstStyle/>
          <a:p>
            <a:pPr lvl="0">
              <a:lnSpc>
                <a:spcPct val="85000"/>
              </a:lnSpc>
              <a:defRPr/>
            </a:pPr>
            <a:r>
              <a:rPr lang="en-US" sz="1200" dirty="0">
                <a:solidFill>
                  <a:prstClr val="white"/>
                </a:solidFill>
                <a:latin typeface="Verdana" panose="020B0604030504040204" pitchFamily="34" charset="0"/>
                <a:ea typeface="Verdana" panose="020B0604030504040204" pitchFamily="34" charset="0"/>
                <a:cs typeface="Verdana" panose="020B0604030504040204" pitchFamily="34" charset="0"/>
              </a:rPr>
              <a:t>Easy-to-open packaging with 30 individually wrapped syringes in an internal box</a:t>
            </a:r>
            <a:r>
              <a:rPr lang="en-US" sz="1200" b="1" dirty="0">
                <a:solidFill>
                  <a:prstClr val="white"/>
                </a:solidFill>
                <a:latin typeface="Verdana" panose="020B0604030504040204" pitchFamily="34" charset="0"/>
                <a:ea typeface="Verdana" panose="020B0604030504040204" pitchFamily="34" charset="0"/>
                <a:cs typeface="Verdana" panose="020B0604030504040204" pitchFamily="34" charset="0"/>
              </a:rPr>
              <a:t>, simplifying inventory management and allowing for convenient placement on shelves</a:t>
            </a:r>
          </a:p>
        </p:txBody>
      </p:sp>
      <p:sp>
        <p:nvSpPr>
          <p:cNvPr id="35" name="TextBox 34">
            <a:extLst>
              <a:ext uri="{FF2B5EF4-FFF2-40B4-BE49-F238E27FC236}">
                <a16:creationId xmlns="" xmlns:a16="http://schemas.microsoft.com/office/drawing/2014/main" id="{EBE16135-3525-4173-8C4F-8930CD9834BF}"/>
              </a:ext>
            </a:extLst>
          </p:cNvPr>
          <p:cNvSpPr txBox="1"/>
          <p:nvPr/>
        </p:nvSpPr>
        <p:spPr>
          <a:xfrm>
            <a:off x="2611732" y="5552754"/>
            <a:ext cx="2777452" cy="701842"/>
          </a:xfrm>
          <a:prstGeom prst="rect">
            <a:avLst/>
          </a:prstGeom>
          <a:noFill/>
        </p:spPr>
        <p:txBody>
          <a:bodyPr wrap="square" lIns="73262" tIns="36631" rIns="73262" bIns="36631" rtlCol="0">
            <a:spAutoFit/>
          </a:bodyPr>
          <a:lstStyle/>
          <a:p>
            <a:pPr lvl="0">
              <a:lnSpc>
                <a:spcPct val="85000"/>
              </a:lnSpc>
              <a:defRPr/>
            </a:pPr>
            <a:r>
              <a:rPr lang="en-US" sz="1200" dirty="0">
                <a:solidFill>
                  <a:prstClr val="white"/>
                </a:solidFill>
                <a:latin typeface="Verdana" panose="020B0604030504040204" pitchFamily="34" charset="0"/>
                <a:ea typeface="Verdana" panose="020B0604030504040204" pitchFamily="34" charset="0"/>
                <a:cs typeface="Verdana" panose="020B0604030504040204" pitchFamily="34" charset="0"/>
              </a:rPr>
              <a:t>Supports easy identification </a:t>
            </a:r>
            <a:br>
              <a:rPr lang="en-US" sz="1200" dirty="0">
                <a:solidFill>
                  <a:prstClr val="white"/>
                </a:solidFill>
                <a:latin typeface="Verdana" panose="020B0604030504040204" pitchFamily="34" charset="0"/>
                <a:ea typeface="Verdana" panose="020B0604030504040204" pitchFamily="34" charset="0"/>
                <a:cs typeface="Verdana" panose="020B0604030504040204" pitchFamily="34" charset="0"/>
              </a:rPr>
            </a:br>
            <a:r>
              <a:rPr lang="en-US" sz="1200" dirty="0">
                <a:solidFill>
                  <a:prstClr val="white"/>
                </a:solidFill>
                <a:latin typeface="Verdana" panose="020B0604030504040204" pitchFamily="34" charset="0"/>
                <a:ea typeface="Verdana" panose="020B0604030504040204" pitchFamily="34" charset="0"/>
                <a:cs typeface="Verdana" panose="020B0604030504040204" pitchFamily="34" charset="0"/>
              </a:rPr>
              <a:t>of syringe volume, lot number and expiration date as well as distinguishes it from heparin flush</a:t>
            </a:r>
            <a:endParaRPr lang="en-US" sz="1200" b="1"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cxnSp>
        <p:nvCxnSpPr>
          <p:cNvPr id="36" name="Straight Connector 35">
            <a:extLst>
              <a:ext uri="{FF2B5EF4-FFF2-40B4-BE49-F238E27FC236}">
                <a16:creationId xmlns="" xmlns:a16="http://schemas.microsoft.com/office/drawing/2014/main" id="{1B8635E4-31E2-4ECB-BAB3-45572C65C8F4}"/>
              </a:ext>
            </a:extLst>
          </p:cNvPr>
          <p:cNvCxnSpPr>
            <a:cxnSpLocks/>
          </p:cNvCxnSpPr>
          <p:nvPr/>
        </p:nvCxnSpPr>
        <p:spPr>
          <a:xfrm>
            <a:off x="457200" y="5306183"/>
            <a:ext cx="10183997"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 xmlns:a16="http://schemas.microsoft.com/office/drawing/2014/main" id="{BB55E5F6-7CB2-4813-B85A-2F94B65F321B}"/>
              </a:ext>
            </a:extLst>
          </p:cNvPr>
          <p:cNvCxnSpPr>
            <a:cxnSpLocks/>
          </p:cNvCxnSpPr>
          <p:nvPr/>
        </p:nvCxnSpPr>
        <p:spPr>
          <a:xfrm>
            <a:off x="2366020" y="5306183"/>
            <a:ext cx="3272779" cy="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 xmlns:a16="http://schemas.microsoft.com/office/drawing/2014/main" id="{17DF5642-314A-4822-80D3-659317D613C4}"/>
              </a:ext>
            </a:extLst>
          </p:cNvPr>
          <p:cNvSpPr txBox="1"/>
          <p:nvPr/>
        </p:nvSpPr>
        <p:spPr>
          <a:xfrm>
            <a:off x="2438400" y="4962595"/>
            <a:ext cx="3094871" cy="257105"/>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lvl="0">
              <a:defRPr/>
            </a:pPr>
            <a:r>
              <a:rPr lang="en-US" dirty="0"/>
              <a:t>Clear Labeling</a:t>
            </a:r>
          </a:p>
        </p:txBody>
      </p:sp>
      <p:cxnSp>
        <p:nvCxnSpPr>
          <p:cNvPr id="42" name="Straight Connector 41">
            <a:extLst>
              <a:ext uri="{FF2B5EF4-FFF2-40B4-BE49-F238E27FC236}">
                <a16:creationId xmlns="" xmlns:a16="http://schemas.microsoft.com/office/drawing/2014/main" id="{38301064-9975-4933-9BA9-0F4F30786DFD}"/>
              </a:ext>
            </a:extLst>
          </p:cNvPr>
          <p:cNvCxnSpPr>
            <a:cxnSpLocks/>
          </p:cNvCxnSpPr>
          <p:nvPr/>
        </p:nvCxnSpPr>
        <p:spPr>
          <a:xfrm>
            <a:off x="6951410" y="5290203"/>
            <a:ext cx="3094871" cy="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sp>
        <p:nvSpPr>
          <p:cNvPr id="24" name="TextBox 26">
            <a:extLst>
              <a:ext uri="{FF2B5EF4-FFF2-40B4-BE49-F238E27FC236}">
                <a16:creationId xmlns="" xmlns:a16="http://schemas.microsoft.com/office/drawing/2014/main" id="{073301CB-E154-4CCC-89C5-A346C214C31D}"/>
              </a:ext>
            </a:extLst>
          </p:cNvPr>
          <p:cNvSpPr txBox="1"/>
          <p:nvPr/>
        </p:nvSpPr>
        <p:spPr>
          <a:xfrm>
            <a:off x="753510" y="4926050"/>
            <a:ext cx="1069771" cy="230943"/>
          </a:xfrm>
          <a:prstGeom prst="rect">
            <a:avLst/>
          </a:prstGeom>
          <a:noFill/>
        </p:spPr>
        <p:txBody>
          <a:bodyPr wrap="square" lIns="73262" tIns="36631" rIns="73262" bIns="36631"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FEATURE</a:t>
            </a:r>
          </a:p>
        </p:txBody>
      </p:sp>
      <p:cxnSp>
        <p:nvCxnSpPr>
          <p:cNvPr id="25" name="Straight Connector 27">
            <a:extLst>
              <a:ext uri="{FF2B5EF4-FFF2-40B4-BE49-F238E27FC236}">
                <a16:creationId xmlns="" xmlns:a16="http://schemas.microsoft.com/office/drawing/2014/main" id="{80F2D1ED-D528-4B66-B797-12F4A0E83420}"/>
              </a:ext>
            </a:extLst>
          </p:cNvPr>
          <p:cNvCxnSpPr>
            <a:cxnSpLocks/>
          </p:cNvCxnSpPr>
          <p:nvPr/>
        </p:nvCxnSpPr>
        <p:spPr>
          <a:xfrm>
            <a:off x="457200" y="4690115"/>
            <a:ext cx="10183997"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 xmlns:a16="http://schemas.microsoft.com/office/drawing/2014/main" id="{F1D095A8-8B15-45F5-9ECD-D1839A1DEDBD}"/>
              </a:ext>
            </a:extLst>
          </p:cNvPr>
          <p:cNvGrpSpPr/>
          <p:nvPr/>
        </p:nvGrpSpPr>
        <p:grpSpPr>
          <a:xfrm>
            <a:off x="2438400" y="1730273"/>
            <a:ext cx="3061531" cy="3065318"/>
            <a:chOff x="8037449" y="2806792"/>
            <a:chExt cx="3061531" cy="3065318"/>
          </a:xfrm>
        </p:grpSpPr>
        <p:sp>
          <p:nvSpPr>
            <p:cNvPr id="22" name="Oval 21">
              <a:extLst>
                <a:ext uri="{FF2B5EF4-FFF2-40B4-BE49-F238E27FC236}">
                  <a16:creationId xmlns="" xmlns:a16="http://schemas.microsoft.com/office/drawing/2014/main" id="{5E36577E-4646-4E55-A889-0A29B3132DFE}"/>
                </a:ext>
              </a:extLst>
            </p:cNvPr>
            <p:cNvSpPr/>
            <p:nvPr/>
          </p:nvSpPr>
          <p:spPr>
            <a:xfrm>
              <a:off x="8037449" y="2806792"/>
              <a:ext cx="3061531" cy="3065318"/>
            </a:xfrm>
            <a:prstGeom prst="ellipse">
              <a:avLst/>
            </a:prstGeom>
            <a:solidFill>
              <a:schemeClr val="bg1"/>
            </a:solidFill>
            <a:ln w="38100">
              <a:solidFill>
                <a:srgbClr val="0558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TextBox 25">
              <a:extLst>
                <a:ext uri="{FF2B5EF4-FFF2-40B4-BE49-F238E27FC236}">
                  <a16:creationId xmlns="" xmlns:a16="http://schemas.microsoft.com/office/drawing/2014/main" id="{E521DB75-74E3-4E62-8550-94F1A790654C}"/>
                </a:ext>
              </a:extLst>
            </p:cNvPr>
            <p:cNvSpPr txBox="1"/>
            <p:nvPr/>
          </p:nvSpPr>
          <p:spPr>
            <a:xfrm>
              <a:off x="8242201" y="4724921"/>
              <a:ext cx="1102644" cy="283266"/>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Standard</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3 mL </a:t>
              </a:r>
              <a:r>
                <a:rPr kumimoji="0" lang="en-US" sz="8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syringe</a:t>
              </a:r>
            </a:p>
          </p:txBody>
        </p:sp>
        <p:pic>
          <p:nvPicPr>
            <p:cNvPr id="8" name="Picture 7">
              <a:extLst>
                <a:ext uri="{FF2B5EF4-FFF2-40B4-BE49-F238E27FC236}">
                  <a16:creationId xmlns="" xmlns:a16="http://schemas.microsoft.com/office/drawing/2014/main" id="{75623DA6-FAD3-489D-A625-27C6A3952280}"/>
                </a:ext>
              </a:extLst>
            </p:cNvPr>
            <p:cNvPicPr>
              <a:picLocks noChangeAspect="1"/>
            </p:cNvPicPr>
            <p:nvPr/>
          </p:nvPicPr>
          <p:blipFill rotWithShape="1">
            <a:blip r:embed="rId2">
              <a:extLst>
                <a:ext uri="{28A0092B-C50C-407E-A947-70E740481C1C}">
                  <a14:useLocalDpi xmlns:a14="http://schemas.microsoft.com/office/drawing/2010/main" val="0"/>
                </a:ext>
              </a:extLst>
            </a:blip>
            <a:srcRect l="55001" t="57922" r="30620" b="33230"/>
            <a:stretch/>
          </p:blipFill>
          <p:spPr>
            <a:xfrm>
              <a:off x="8321494" y="4859514"/>
              <a:ext cx="2325891" cy="805287"/>
            </a:xfrm>
            <a:prstGeom prst="rect">
              <a:avLst/>
            </a:prstGeom>
          </p:spPr>
        </p:pic>
        <p:pic>
          <p:nvPicPr>
            <p:cNvPr id="31" name="Picture 30">
              <a:extLst>
                <a:ext uri="{FF2B5EF4-FFF2-40B4-BE49-F238E27FC236}">
                  <a16:creationId xmlns="" xmlns:a16="http://schemas.microsoft.com/office/drawing/2014/main" id="{BBA13AEB-3EBB-4533-9738-E368F24F16A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21494" y="2936136"/>
              <a:ext cx="2514600" cy="1676823"/>
            </a:xfrm>
            <a:prstGeom prst="rect">
              <a:avLst/>
            </a:prstGeom>
          </p:spPr>
        </p:pic>
        <p:pic>
          <p:nvPicPr>
            <p:cNvPr id="10" name="Picture 9">
              <a:extLst>
                <a:ext uri="{FF2B5EF4-FFF2-40B4-BE49-F238E27FC236}">
                  <a16:creationId xmlns="" xmlns:a16="http://schemas.microsoft.com/office/drawing/2014/main" id="{520EE559-1761-4465-AB6E-8C0225D1FBC0}"/>
                </a:ext>
              </a:extLst>
            </p:cNvPr>
            <p:cNvPicPr>
              <a:picLocks noChangeAspect="1"/>
            </p:cNvPicPr>
            <p:nvPr/>
          </p:nvPicPr>
          <p:blipFill rotWithShape="1">
            <a:blip r:embed="rId4">
              <a:extLst>
                <a:ext uri="{28A0092B-C50C-407E-A947-70E740481C1C}">
                  <a14:useLocalDpi xmlns:a14="http://schemas.microsoft.com/office/drawing/2010/main" val="0"/>
                </a:ext>
              </a:extLst>
            </a:blip>
            <a:srcRect l="31051" t="44686" r="39965" b="33375"/>
            <a:stretch/>
          </p:blipFill>
          <p:spPr>
            <a:xfrm>
              <a:off x="9871931" y="4366940"/>
              <a:ext cx="826081" cy="831529"/>
            </a:xfrm>
            <a:prstGeom prst="ellipse">
              <a:avLst/>
            </a:prstGeom>
            <a:ln w="28575">
              <a:solidFill>
                <a:schemeClr val="accent1">
                  <a:lumMod val="40000"/>
                  <a:lumOff val="60000"/>
                  <a:alpha val="72000"/>
                </a:schemeClr>
              </a:solidFill>
            </a:ln>
          </p:spPr>
        </p:pic>
        <p:sp>
          <p:nvSpPr>
            <p:cNvPr id="28" name="TextBox 27">
              <a:extLst>
                <a:ext uri="{FF2B5EF4-FFF2-40B4-BE49-F238E27FC236}">
                  <a16:creationId xmlns="" xmlns:a16="http://schemas.microsoft.com/office/drawing/2014/main" id="{335FE1A2-9E74-4B74-BAB4-DFF151434BC9}"/>
                </a:ext>
              </a:extLst>
            </p:cNvPr>
            <p:cNvSpPr txBox="1"/>
            <p:nvPr/>
          </p:nvSpPr>
          <p:spPr>
            <a:xfrm>
              <a:off x="8242201" y="3599147"/>
              <a:ext cx="1357306" cy="283266"/>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800" b="1"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BD </a:t>
              </a:r>
              <a:r>
                <a:rPr kumimoji="0" lang="en-US" sz="800" b="1" i="0" u="none" strike="noStrike" kern="1200" cap="none" spc="0" normalizeH="0" baseline="0" noProof="0" dirty="0" err="1">
                  <a:ln>
                    <a:noFill/>
                  </a:ln>
                  <a:effectLst/>
                  <a:uLnTx/>
                  <a:uFillTx/>
                  <a:latin typeface="Verdana" panose="020B0604030504040204" pitchFamily="34" charset="0"/>
                  <a:ea typeface="Verdana" panose="020B0604030504040204" pitchFamily="34" charset="0"/>
                  <a:cs typeface="Verdana" panose="020B0604030504040204" pitchFamily="34" charset="0"/>
                </a:rPr>
                <a:t>PosiFlush</a:t>
              </a:r>
              <a:r>
                <a:rPr kumimoji="0" lang="en-US" sz="800" b="1" i="0" u="none" strike="noStrike" kern="1200" cap="none" spc="0" normalizeH="0" baseline="30000" noProof="0" dirty="0" err="1">
                  <a:ln>
                    <a:noFill/>
                  </a:ln>
                  <a:effectLst/>
                  <a:uLnTx/>
                  <a:uFillTx/>
                </a:rPr>
                <a:t>TM</a:t>
              </a:r>
              <a:endParaRPr kumimoji="0" lang="en-US" sz="800" b="1" i="0" u="none" strike="noStrike" kern="1200" cap="none" spc="0" normalizeH="0" baseline="30000" noProof="0" dirty="0">
                <a:ln>
                  <a:noFill/>
                </a:ln>
                <a:effectLst/>
                <a:uLnTx/>
                <a:uFillTx/>
              </a:endParaRPr>
            </a:p>
            <a:p>
              <a:pPr marL="0" marR="0" lvl="0" indent="0" algn="l" defTabSz="914400" rtl="0" eaLnBrk="1" fontAlgn="auto" latinLnBrk="0" hangingPunct="1">
                <a:lnSpc>
                  <a:spcPct val="85000"/>
                </a:lnSpc>
                <a:spcBef>
                  <a:spcPts val="0"/>
                </a:spcBef>
                <a:spcAft>
                  <a:spcPts val="0"/>
                </a:spcAft>
                <a:buClrTx/>
                <a:buSzTx/>
                <a:buFontTx/>
                <a:buNone/>
                <a:tabLst/>
                <a:defRPr/>
              </a:pPr>
              <a:r>
                <a:rPr lang="en-US" sz="800" b="0" dirty="0" smtClean="0">
                  <a:solidFill>
                    <a:srgbClr val="606062"/>
                  </a:solidFill>
                </a:rPr>
                <a:t>3 mL </a:t>
              </a:r>
              <a:r>
                <a:rPr lang="en-US" sz="800" b="0" dirty="0">
                  <a:solidFill>
                    <a:srgbClr val="606062"/>
                  </a:solidFill>
                </a:rPr>
                <a:t>syringe</a:t>
              </a:r>
              <a:endParaRPr kumimoji="0" lang="en-US" sz="8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pic>
        <p:nvPicPr>
          <p:cNvPr id="27" name="Graphic 26">
            <a:extLst>
              <a:ext uri="{FF2B5EF4-FFF2-40B4-BE49-F238E27FC236}">
                <a16:creationId xmlns="" xmlns:a16="http://schemas.microsoft.com/office/drawing/2014/main" id="{87750E41-1346-4CCB-BC63-185E3E88FD63}"/>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11242660" y="6490506"/>
            <a:ext cx="720740" cy="276876"/>
          </a:xfrm>
          <a:prstGeom prst="rect">
            <a:avLst/>
          </a:prstGeom>
        </p:spPr>
      </p:pic>
      <p:grpSp>
        <p:nvGrpSpPr>
          <p:cNvPr id="14" name="Agrupar 13">
            <a:extLst>
              <a:ext uri="{FF2B5EF4-FFF2-40B4-BE49-F238E27FC236}">
                <a16:creationId xmlns="" xmlns:a16="http://schemas.microsoft.com/office/drawing/2014/main" id="{A76FD2C0-500B-4FDA-890A-0A422A0CB064}"/>
              </a:ext>
            </a:extLst>
          </p:cNvPr>
          <p:cNvGrpSpPr/>
          <p:nvPr/>
        </p:nvGrpSpPr>
        <p:grpSpPr>
          <a:xfrm>
            <a:off x="6978247" y="1730273"/>
            <a:ext cx="3065318" cy="3065318"/>
            <a:chOff x="2457501" y="1730273"/>
            <a:chExt cx="3065318" cy="3065318"/>
          </a:xfrm>
        </p:grpSpPr>
        <p:sp>
          <p:nvSpPr>
            <p:cNvPr id="40" name="Oval 18">
              <a:extLst>
                <a:ext uri="{FF2B5EF4-FFF2-40B4-BE49-F238E27FC236}">
                  <a16:creationId xmlns="" xmlns:a16="http://schemas.microsoft.com/office/drawing/2014/main" id="{FBC27416-56D6-4ADE-9EA5-4A893A7AEAEB}"/>
                </a:ext>
              </a:extLst>
            </p:cNvPr>
            <p:cNvSpPr/>
            <p:nvPr/>
          </p:nvSpPr>
          <p:spPr>
            <a:xfrm>
              <a:off x="2457501" y="1730273"/>
              <a:ext cx="3065318" cy="3065318"/>
            </a:xfrm>
            <a:prstGeom prst="ellipse">
              <a:avLst/>
            </a:prstGeom>
            <a:solidFill>
              <a:schemeClr val="bg1"/>
            </a:solidFill>
            <a:ln w="38100">
              <a:solidFill>
                <a:srgbClr val="0558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3" name="Imagem 12">
              <a:extLst>
                <a:ext uri="{FF2B5EF4-FFF2-40B4-BE49-F238E27FC236}">
                  <a16:creationId xmlns="" xmlns:a16="http://schemas.microsoft.com/office/drawing/2014/main" id="{FE8BEBBC-48E7-4F5E-95C7-44CB053D2696}"/>
                </a:ext>
              </a:extLst>
            </p:cNvPr>
            <p:cNvPicPr>
              <a:picLocks noChangeAspect="1"/>
            </p:cNvPicPr>
            <p:nvPr/>
          </p:nvPicPr>
          <p:blipFill rotWithShape="1">
            <a:blip r:embed="rId7">
              <a:extLst>
                <a:ext uri="{28A0092B-C50C-407E-A947-70E740481C1C}">
                  <a14:useLocalDpi xmlns:a14="http://schemas.microsoft.com/office/drawing/2010/main" val="0"/>
                </a:ext>
              </a:extLst>
            </a:blip>
            <a:srcRect l="11179" t="27238" r="59377" b="27638"/>
            <a:stretch/>
          </p:blipFill>
          <p:spPr>
            <a:xfrm>
              <a:off x="2623394" y="2084408"/>
              <a:ext cx="2733532" cy="2357049"/>
            </a:xfrm>
            <a:prstGeom prst="rect">
              <a:avLst/>
            </a:prstGeom>
            <a:effectLst>
              <a:outerShdw blurRad="127000" dist="38100" dir="5400000" algn="t" rotWithShape="0">
                <a:prstClr val="black">
                  <a:alpha val="40000"/>
                </a:prstClr>
              </a:outerShdw>
            </a:effectLst>
          </p:spPr>
        </p:pic>
      </p:grpSp>
      <p:pic>
        <p:nvPicPr>
          <p:cNvPr id="30" name="Picture 29"/>
          <p:cNvPicPr>
            <a:picLocks noChangeAspect="1"/>
          </p:cNvPicPr>
          <p:nvPr/>
        </p:nvPicPr>
        <p:blipFill>
          <a:blip r:embed="rId8"/>
          <a:stretch>
            <a:fillRect/>
          </a:stretch>
        </p:blipFill>
        <p:spPr>
          <a:xfrm>
            <a:off x="76200" y="6629400"/>
            <a:ext cx="4619050" cy="195171"/>
          </a:xfrm>
          <a:prstGeom prst="rect">
            <a:avLst/>
          </a:prstGeom>
        </p:spPr>
      </p:pic>
    </p:spTree>
    <p:extLst>
      <p:ext uri="{BB962C8B-B14F-4D97-AF65-F5344CB8AC3E}">
        <p14:creationId xmlns:p14="http://schemas.microsoft.com/office/powerpoint/2010/main" val="1738484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left)">
                                      <p:cBhvr>
                                        <p:cTn id="7" dur="500"/>
                                        <p:tgtEl>
                                          <p:spTgt spid="25"/>
                                        </p:tgtEl>
                                      </p:cBhvr>
                                    </p:animEffect>
                                  </p:childTnLst>
                                </p:cTn>
                              </p:par>
                              <p:par>
                                <p:cTn id="8" presetID="22" presetClass="entr" presetSubtype="8" fill="hold"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wipe(left)">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par>
                          <p:cTn id="14" fill="hold">
                            <p:stCondLst>
                              <p:cond delay="500"/>
                            </p:stCondLst>
                            <p:childTnLst>
                              <p:par>
                                <p:cTn id="15" presetID="22" presetClass="entr" presetSubtype="1" fill="hold" grpId="0" nodeType="after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wipe(up)">
                                      <p:cBhvr>
                                        <p:cTn id="17" dur="500"/>
                                        <p:tgtEl>
                                          <p:spTgt spid="3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3"/>
                                        </p:tgtEl>
                                        <p:attrNameLst>
                                          <p:attrName>style.visibility</p:attrName>
                                        </p:attrNameLst>
                                      </p:cBhvr>
                                      <p:to>
                                        <p:strVal val="visible"/>
                                      </p:to>
                                    </p:set>
                                    <p:animEffect transition="in" filter="fade">
                                      <p:cBhvr>
                                        <p:cTn id="20" dur="500"/>
                                        <p:tgtEl>
                                          <p:spTgt spid="33"/>
                                        </p:tgtEl>
                                      </p:cBhvr>
                                    </p:animEffect>
                                  </p:childTnLst>
                                </p:cTn>
                              </p:par>
                              <p:par>
                                <p:cTn id="21" presetID="2" presetClass="entr" presetSubtype="2" decel="100000" fill="hold" nodeType="withEffect">
                                  <p:stCondLst>
                                    <p:cond delay="250"/>
                                  </p:stCondLst>
                                  <p:childTnLst>
                                    <p:set>
                                      <p:cBhvr>
                                        <p:cTn id="22" dur="1" fill="hold">
                                          <p:stCondLst>
                                            <p:cond delay="0"/>
                                          </p:stCondLst>
                                        </p:cTn>
                                        <p:tgtEl>
                                          <p:spTgt spid="37"/>
                                        </p:tgtEl>
                                        <p:attrNameLst>
                                          <p:attrName>style.visibility</p:attrName>
                                        </p:attrNameLst>
                                      </p:cBhvr>
                                      <p:to>
                                        <p:strVal val="visible"/>
                                      </p:to>
                                    </p:set>
                                    <p:anim calcmode="lin" valueType="num">
                                      <p:cBhvr additive="base">
                                        <p:cTn id="23" dur="500" fill="hold"/>
                                        <p:tgtEl>
                                          <p:spTgt spid="37"/>
                                        </p:tgtEl>
                                        <p:attrNameLst>
                                          <p:attrName>ppt_x</p:attrName>
                                        </p:attrNameLst>
                                      </p:cBhvr>
                                      <p:tavLst>
                                        <p:tav tm="0">
                                          <p:val>
                                            <p:strVal val="1+#ppt_w/2"/>
                                          </p:val>
                                        </p:tav>
                                        <p:tav tm="100000">
                                          <p:val>
                                            <p:strVal val="#ppt_x"/>
                                          </p:val>
                                        </p:tav>
                                      </p:tavLst>
                                    </p:anim>
                                    <p:anim calcmode="lin" valueType="num">
                                      <p:cBhvr additive="base">
                                        <p:cTn id="24" dur="500" fill="hold"/>
                                        <p:tgtEl>
                                          <p:spTgt spid="37"/>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25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10" presetClass="entr" presetSubtype="0" fill="hold" nodeType="withEffect">
                                  <p:stCondLst>
                                    <p:cond delay="25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par>
                                <p:cTn id="31" presetID="10" presetClass="entr" presetSubtype="0" fill="hold" grpId="0" nodeType="withEffect">
                                  <p:stCondLst>
                                    <p:cond delay="250"/>
                                  </p:stCondLst>
                                  <p:childTnLst>
                                    <p:set>
                                      <p:cBhvr>
                                        <p:cTn id="32" dur="1" fill="hold">
                                          <p:stCondLst>
                                            <p:cond delay="0"/>
                                          </p:stCondLst>
                                        </p:cTn>
                                        <p:tgtEl>
                                          <p:spTgt spid="34"/>
                                        </p:tgtEl>
                                        <p:attrNameLst>
                                          <p:attrName>style.visibility</p:attrName>
                                        </p:attrNameLst>
                                      </p:cBhvr>
                                      <p:to>
                                        <p:strVal val="visible"/>
                                      </p:to>
                                    </p:set>
                                    <p:animEffect transition="in" filter="fade">
                                      <p:cBhvr>
                                        <p:cTn id="33" dur="500"/>
                                        <p:tgtEl>
                                          <p:spTgt spid="34"/>
                                        </p:tgtEl>
                                      </p:cBhvr>
                                    </p:animEffect>
                                  </p:childTnLst>
                                </p:cTn>
                              </p:par>
                              <p:par>
                                <p:cTn id="34" presetID="2" presetClass="entr" presetSubtype="2" decel="100000" fill="hold" nodeType="withEffect">
                                  <p:stCondLst>
                                    <p:cond delay="500"/>
                                  </p:stCondLst>
                                  <p:childTnLst>
                                    <p:set>
                                      <p:cBhvr>
                                        <p:cTn id="35" dur="1" fill="hold">
                                          <p:stCondLst>
                                            <p:cond delay="0"/>
                                          </p:stCondLst>
                                        </p:cTn>
                                        <p:tgtEl>
                                          <p:spTgt spid="42"/>
                                        </p:tgtEl>
                                        <p:attrNameLst>
                                          <p:attrName>style.visibility</p:attrName>
                                        </p:attrNameLst>
                                      </p:cBhvr>
                                      <p:to>
                                        <p:strVal val="visible"/>
                                      </p:to>
                                    </p:set>
                                    <p:anim calcmode="lin" valueType="num">
                                      <p:cBhvr additive="base">
                                        <p:cTn id="36" dur="500" fill="hold"/>
                                        <p:tgtEl>
                                          <p:spTgt spid="42"/>
                                        </p:tgtEl>
                                        <p:attrNameLst>
                                          <p:attrName>ppt_x</p:attrName>
                                        </p:attrNameLst>
                                      </p:cBhvr>
                                      <p:tavLst>
                                        <p:tav tm="0">
                                          <p:val>
                                            <p:strVal val="1+#ppt_w/2"/>
                                          </p:val>
                                        </p:tav>
                                        <p:tav tm="100000">
                                          <p:val>
                                            <p:strVal val="#ppt_x"/>
                                          </p:val>
                                        </p:tav>
                                      </p:tavLst>
                                    </p:anim>
                                    <p:anim calcmode="lin" valueType="num">
                                      <p:cBhvr additive="base">
                                        <p:cTn id="37" dur="500" fill="hold"/>
                                        <p:tgtEl>
                                          <p:spTgt spid="42"/>
                                        </p:tgtEl>
                                        <p:attrNameLst>
                                          <p:attrName>ppt_y</p:attrName>
                                        </p:attrNameLst>
                                      </p:cBhvr>
                                      <p:tavLst>
                                        <p:tav tm="0">
                                          <p:val>
                                            <p:strVal val="#ppt_y"/>
                                          </p:val>
                                        </p:tav>
                                        <p:tav tm="100000">
                                          <p:val>
                                            <p:strVal val="#ppt_y"/>
                                          </p:val>
                                        </p:tav>
                                      </p:tavLst>
                                    </p:anim>
                                  </p:childTnLst>
                                </p:cTn>
                              </p:par>
                              <p:par>
                                <p:cTn id="38" presetID="10" presetClass="entr" presetSubtype="0" fill="hold" grpId="0" nodeType="withEffect">
                                  <p:stCondLst>
                                    <p:cond delay="500"/>
                                  </p:stCondLst>
                                  <p:childTnLst>
                                    <p:set>
                                      <p:cBhvr>
                                        <p:cTn id="39" dur="1" fill="hold">
                                          <p:stCondLst>
                                            <p:cond delay="0"/>
                                          </p:stCondLst>
                                        </p:cTn>
                                        <p:tgtEl>
                                          <p:spTgt spid="35"/>
                                        </p:tgtEl>
                                        <p:attrNameLst>
                                          <p:attrName>style.visibility</p:attrName>
                                        </p:attrNameLst>
                                      </p:cBhvr>
                                      <p:to>
                                        <p:strVal val="visible"/>
                                      </p:to>
                                    </p:set>
                                    <p:animEffect transition="in" filter="fade">
                                      <p:cBhvr>
                                        <p:cTn id="40" dur="500"/>
                                        <p:tgtEl>
                                          <p:spTgt spid="35"/>
                                        </p:tgtEl>
                                      </p:cBhvr>
                                    </p:animEffect>
                                  </p:childTnLst>
                                </p:cTn>
                              </p:par>
                              <p:par>
                                <p:cTn id="41" presetID="10" presetClass="entr" presetSubtype="0" fill="hold" grpId="0" nodeType="withEffect">
                                  <p:stCondLst>
                                    <p:cond delay="500"/>
                                  </p:stCondLst>
                                  <p:childTnLst>
                                    <p:set>
                                      <p:cBhvr>
                                        <p:cTn id="42" dur="1" fill="hold">
                                          <p:stCondLst>
                                            <p:cond delay="0"/>
                                          </p:stCondLst>
                                        </p:cTn>
                                        <p:tgtEl>
                                          <p:spTgt spid="39"/>
                                        </p:tgtEl>
                                        <p:attrNameLst>
                                          <p:attrName>style.visibility</p:attrName>
                                        </p:attrNameLst>
                                      </p:cBhvr>
                                      <p:to>
                                        <p:strVal val="visible"/>
                                      </p:to>
                                    </p:set>
                                    <p:animEffect transition="in" filter="fade">
                                      <p:cBhvr>
                                        <p:cTn id="43" dur="500"/>
                                        <p:tgtEl>
                                          <p:spTgt spid="39"/>
                                        </p:tgtEl>
                                      </p:cBhvr>
                                    </p:animEffect>
                                  </p:childTnLst>
                                </p:cTn>
                              </p:par>
                              <p:par>
                                <p:cTn id="44" presetID="10" presetClass="entr" presetSubtype="0" fill="hold" nodeType="withEffect">
                                  <p:stCondLst>
                                    <p:cond delay="500"/>
                                  </p:stCondLst>
                                  <p:childTnLst>
                                    <p:set>
                                      <p:cBhvr>
                                        <p:cTn id="45" dur="1" fill="hold">
                                          <p:stCondLst>
                                            <p:cond delay="0"/>
                                          </p:stCondLst>
                                        </p:cTn>
                                        <p:tgtEl>
                                          <p:spTgt spid="12"/>
                                        </p:tgtEl>
                                        <p:attrNameLst>
                                          <p:attrName>style.visibility</p:attrName>
                                        </p:attrNameLst>
                                      </p:cBhvr>
                                      <p:to>
                                        <p:strVal val="visible"/>
                                      </p:to>
                                    </p:set>
                                    <p:animEffect transition="in" filter="fade">
                                      <p:cBhvr>
                                        <p:cTn id="4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29" grpId="0"/>
      <p:bldP spid="33" grpId="0"/>
      <p:bldP spid="34" grpId="0"/>
      <p:bldP spid="35" grpId="0"/>
      <p:bldP spid="39" grpId="0"/>
      <p:bldP spid="2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 xmlns:a16="http://schemas.microsoft.com/office/drawing/2014/main" id="{17B2A32C-6BF5-47DE-B1B6-D545DDAD3CB9}"/>
              </a:ext>
            </a:extLst>
          </p:cNvPr>
          <p:cNvSpPr/>
          <p:nvPr/>
        </p:nvSpPr>
        <p:spPr>
          <a:xfrm>
            <a:off x="4419599" y="2587688"/>
            <a:ext cx="6789057" cy="1135126"/>
          </a:xfrm>
          <a:prstGeom prst="rect">
            <a:avLst/>
          </a:prstGeom>
          <a:solidFill>
            <a:srgbClr val="055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Graphic 1">
            <a:extLst>
              <a:ext uri="{FF2B5EF4-FFF2-40B4-BE49-F238E27FC236}">
                <a16:creationId xmlns="" xmlns:a16="http://schemas.microsoft.com/office/drawing/2014/main" id="{C3DE0493-C96D-491F-97E2-9AC13BD73BF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1345612" y="6490506"/>
            <a:ext cx="720740" cy="276876"/>
          </a:xfrm>
          <a:prstGeom prst="rect">
            <a:avLst/>
          </a:prstGeom>
        </p:spPr>
      </p:pic>
      <p:pic>
        <p:nvPicPr>
          <p:cNvPr id="4" name="Picture 3" descr="A close up of a piece of paper&#10;&#10;Description generated with high confidence">
            <a:extLst>
              <a:ext uri="{FF2B5EF4-FFF2-40B4-BE49-F238E27FC236}">
                <a16:creationId xmlns="" xmlns:a16="http://schemas.microsoft.com/office/drawing/2014/main" id="{3B213A4A-2893-41CF-B4FA-6345E1EAF6F6}"/>
              </a:ext>
            </a:extLst>
          </p:cNvPr>
          <p:cNvPicPr>
            <a:picLocks noChangeAspect="1"/>
          </p:cNvPicPr>
          <p:nvPr/>
        </p:nvPicPr>
        <p:blipFill rotWithShape="1">
          <a:blip r:embed="rId4">
            <a:extLst>
              <a:ext uri="{28A0092B-C50C-407E-A947-70E740481C1C}">
                <a14:useLocalDpi xmlns:a14="http://schemas.microsoft.com/office/drawing/2010/main" val="0"/>
              </a:ext>
            </a:extLst>
          </a:blip>
          <a:srcRect t="36402" r="51310"/>
          <a:stretch/>
        </p:blipFill>
        <p:spPr>
          <a:xfrm>
            <a:off x="1524" y="2405839"/>
            <a:ext cx="5934819" cy="4361543"/>
          </a:xfrm>
          <a:prstGeom prst="rect">
            <a:avLst/>
          </a:prstGeom>
        </p:spPr>
      </p:pic>
      <p:pic>
        <p:nvPicPr>
          <p:cNvPr id="6" name="Picture 5" descr="A close up of a piece of paper&#10;&#10;Description generated with high confidence">
            <a:extLst>
              <a:ext uri="{FF2B5EF4-FFF2-40B4-BE49-F238E27FC236}">
                <a16:creationId xmlns="" xmlns:a16="http://schemas.microsoft.com/office/drawing/2014/main" id="{73F67A6E-DDE4-4F18-9668-BEBDC01D2B14}"/>
              </a:ext>
            </a:extLst>
          </p:cNvPr>
          <p:cNvPicPr>
            <a:picLocks noChangeAspect="1"/>
          </p:cNvPicPr>
          <p:nvPr/>
        </p:nvPicPr>
        <p:blipFill rotWithShape="1">
          <a:blip r:embed="rId5">
            <a:extLst>
              <a:ext uri="{28A0092B-C50C-407E-A947-70E740481C1C}">
                <a14:useLocalDpi xmlns:a14="http://schemas.microsoft.com/office/drawing/2010/main" val="0"/>
              </a:ext>
            </a:extLst>
          </a:blip>
          <a:srcRect t="26667" r="58216" b="7936"/>
          <a:stretch/>
        </p:blipFill>
        <p:spPr>
          <a:xfrm>
            <a:off x="1524" y="1738183"/>
            <a:ext cx="5092990" cy="4484914"/>
          </a:xfrm>
          <a:prstGeom prst="rect">
            <a:avLst/>
          </a:prstGeom>
        </p:spPr>
      </p:pic>
      <p:pic>
        <p:nvPicPr>
          <p:cNvPr id="8" name="Picture 7">
            <a:extLst>
              <a:ext uri="{FF2B5EF4-FFF2-40B4-BE49-F238E27FC236}">
                <a16:creationId xmlns="" xmlns:a16="http://schemas.microsoft.com/office/drawing/2014/main" id="{223A3722-DFC3-4D0A-91BF-B981A6631BD7}"/>
              </a:ext>
            </a:extLst>
          </p:cNvPr>
          <p:cNvPicPr>
            <a:picLocks noChangeAspect="1"/>
          </p:cNvPicPr>
          <p:nvPr/>
        </p:nvPicPr>
        <p:blipFill rotWithShape="1">
          <a:blip r:embed="rId6">
            <a:extLst>
              <a:ext uri="{28A0092B-C50C-407E-A947-70E740481C1C}">
                <a14:useLocalDpi xmlns:a14="http://schemas.microsoft.com/office/drawing/2010/main" val="0"/>
              </a:ext>
            </a:extLst>
          </a:blip>
          <a:srcRect t="14083" r="62500" b="17785"/>
          <a:stretch/>
        </p:blipFill>
        <p:spPr>
          <a:xfrm>
            <a:off x="-1" y="874583"/>
            <a:ext cx="4572001" cy="4673600"/>
          </a:xfrm>
          <a:prstGeom prst="rect">
            <a:avLst/>
          </a:prstGeom>
        </p:spPr>
      </p:pic>
      <p:sp>
        <p:nvSpPr>
          <p:cNvPr id="9" name="TextBox 8">
            <a:extLst>
              <a:ext uri="{FF2B5EF4-FFF2-40B4-BE49-F238E27FC236}">
                <a16:creationId xmlns="" xmlns:a16="http://schemas.microsoft.com/office/drawing/2014/main" id="{F569816F-261B-448E-85F0-5BF1338268A6}"/>
              </a:ext>
            </a:extLst>
          </p:cNvPr>
          <p:cNvSpPr txBox="1"/>
          <p:nvPr/>
        </p:nvSpPr>
        <p:spPr>
          <a:xfrm>
            <a:off x="6149771" y="739967"/>
            <a:ext cx="4848429" cy="896784"/>
          </a:xfrm>
          <a:prstGeom prst="rect">
            <a:avLst/>
          </a:prstGeom>
          <a:noFill/>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pt-PT" sz="2050" b="0" i="0" u="none" strike="noStrike" kern="1200" cap="none" spc="60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BD POSIFLUSH</a:t>
            </a:r>
            <a:r>
              <a:rPr kumimoji="0" lang="pt-PT" sz="2050" b="0" i="0" u="none" strike="noStrike" kern="1200" cap="none" spc="600" normalizeH="0" baseline="3000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TM</a:t>
            </a:r>
            <a:r>
              <a:rPr kumimoji="0" lang="pt-PT" sz="2050" b="0" i="0" u="none" strike="noStrike" kern="1200" cap="none" spc="60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 IS THE ONLY PRE-FILLED FLUSH SYRINGE</a:t>
            </a:r>
          </a:p>
        </p:txBody>
      </p:sp>
      <p:sp>
        <p:nvSpPr>
          <p:cNvPr id="10" name="TextBox 9">
            <a:extLst>
              <a:ext uri="{FF2B5EF4-FFF2-40B4-BE49-F238E27FC236}">
                <a16:creationId xmlns="" xmlns:a16="http://schemas.microsoft.com/office/drawing/2014/main" id="{CC9794A2-5C4E-4B62-87C9-FF7A3100EDBD}"/>
              </a:ext>
            </a:extLst>
          </p:cNvPr>
          <p:cNvSpPr txBox="1"/>
          <p:nvPr/>
        </p:nvSpPr>
        <p:spPr>
          <a:xfrm>
            <a:off x="6149771" y="1594847"/>
            <a:ext cx="5195841" cy="615553"/>
          </a:xfrm>
          <a:prstGeom prst="rect">
            <a:avLst/>
          </a:prstGeom>
          <a:noFill/>
        </p:spPr>
        <p:txBody>
          <a:bodyPr wrap="square" rtlCol="0">
            <a:spAutoFit/>
            <a:scene3d>
              <a:camera prst="orthographicFront"/>
              <a:lightRig rig="threePt" dir="t"/>
            </a:scene3d>
            <a:sp3d>
              <a:bevelT w="0" h="0" prst="artDeco"/>
            </a:sp3d>
          </a:bodyPr>
          <a:lstStyle/>
          <a:p>
            <a:pPr lvl="0">
              <a:lnSpc>
                <a:spcPct val="85000"/>
              </a:lnSpc>
              <a:defRPr/>
            </a:pPr>
            <a:r>
              <a:rPr lang="en-US" sz="2000" b="1" dirty="0">
                <a:solidFill>
                  <a:srgbClr val="F26926"/>
                </a:solidFill>
                <a:latin typeface="Verdana" panose="020B0604030504040204" pitchFamily="34" charset="0"/>
                <a:ea typeface="Verdana" panose="020B0604030504040204" pitchFamily="34" charset="0"/>
                <a:cs typeface="Verdana" panose="020B0604030504040204" pitchFamily="34" charset="0"/>
              </a:rPr>
              <a:t>CLINICALLY PROVEN TO DELIVER IMPROVED PATIENT OUTCOMES</a:t>
            </a:r>
            <a:endParaRPr kumimoji="0" lang="pt-PT" sz="16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 name="TextBox 50">
            <a:extLst>
              <a:ext uri="{FF2B5EF4-FFF2-40B4-BE49-F238E27FC236}">
                <a16:creationId xmlns="" xmlns:a16="http://schemas.microsoft.com/office/drawing/2014/main" id="{903240FD-72BD-4F67-B2D2-902A15971481}"/>
              </a:ext>
            </a:extLst>
          </p:cNvPr>
          <p:cNvSpPr txBox="1"/>
          <p:nvPr/>
        </p:nvSpPr>
        <p:spPr>
          <a:xfrm>
            <a:off x="6149770" y="2687993"/>
            <a:ext cx="4848429" cy="929485"/>
          </a:xfrm>
          <a:prstGeom prst="rect">
            <a:avLst/>
          </a:prstGeom>
          <a:noFill/>
          <a:ln>
            <a:noFill/>
          </a:ln>
        </p:spPr>
        <p:txBody>
          <a:bodyPr wrap="square" rtlCol="0">
            <a:spAutoFit/>
          </a:bodyPr>
          <a:lstStyle>
            <a:defPPr>
              <a:defRPr lang="en-US"/>
            </a:defPPr>
            <a:lvl1pPr marR="0" lvl="0" indent="0" fontAlgn="auto">
              <a:lnSpc>
                <a:spcPct val="85000"/>
              </a:lnSpc>
              <a:spcBef>
                <a:spcPts val="0"/>
              </a:spcBef>
              <a:spcAft>
                <a:spcPts val="0"/>
              </a:spcAft>
              <a:buClrTx/>
              <a:buSzTx/>
              <a:buFontTx/>
              <a:buNone/>
              <a:tabLst/>
              <a:defRPr kumimoji="0" b="0" i="0" u="none" strike="noStrike" cap="none" spc="0" normalizeH="0" baseline="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BD PosiFlush™ is the only pre-filled flush syringe</a:t>
            </a:r>
            <a:r>
              <a:rPr kumimoji="0" lang="en-US" altLang="en-US" sz="16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with evidence to demonstrate CLABSI reduction and improvement in Nurse efficiency vs. manual filled flush syringes</a:t>
            </a:r>
          </a:p>
        </p:txBody>
      </p:sp>
      <p:sp>
        <p:nvSpPr>
          <p:cNvPr id="12" name="TextBox 50">
            <a:extLst>
              <a:ext uri="{FF2B5EF4-FFF2-40B4-BE49-F238E27FC236}">
                <a16:creationId xmlns="" xmlns:a16="http://schemas.microsoft.com/office/drawing/2014/main" id="{954A7A30-B315-4119-8B4E-4BA969338ACD}"/>
              </a:ext>
            </a:extLst>
          </p:cNvPr>
          <p:cNvSpPr txBox="1"/>
          <p:nvPr/>
        </p:nvSpPr>
        <p:spPr>
          <a:xfrm>
            <a:off x="6149769" y="3924269"/>
            <a:ext cx="4978127" cy="2597634"/>
          </a:xfrm>
          <a:prstGeom prst="rect">
            <a:avLst/>
          </a:prstGeom>
          <a:noFill/>
          <a:ln>
            <a:noFill/>
          </a:ln>
        </p:spPr>
        <p:txBody>
          <a:bodyPr wrap="square" rtlCol="0">
            <a:spAutoFit/>
          </a:bodyPr>
          <a:lstStyle/>
          <a:p>
            <a:pPr lvl="0">
              <a:lnSpc>
                <a:spcPct val="85000"/>
              </a:lnSpc>
              <a:spcBef>
                <a:spcPts val="1200"/>
              </a:spcBef>
              <a:buClr>
                <a:srgbClr val="14C0F3"/>
              </a:buClr>
              <a:defRPr/>
            </a:pPr>
            <a:r>
              <a:rPr kumimoji="0" lang="en-US" sz="1400" b="1" i="0" u="none" strike="noStrike" kern="1200" cap="none" spc="0" normalizeH="0" baseline="0" noProof="0" dirty="0" err="1">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Bertoglio</a:t>
            </a:r>
            <a:r>
              <a:rPr kumimoji="0" lang="en-US" sz="1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 Clinical </a:t>
            </a:r>
            <a:r>
              <a:rPr kumimoji="0" lang="en-US" sz="1400" b="1" i="0" u="none" strike="noStrike" kern="1200" cap="none" spc="0" normalizeH="0" baseline="0" noProof="0" dirty="0" smtClean="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Study</a:t>
            </a:r>
            <a:r>
              <a:rPr lang="en-US" sz="1400" baseline="30000" noProof="0" dirty="0" smtClean="0">
                <a:solidFill>
                  <a:srgbClr val="606062"/>
                </a:solidFill>
                <a:latin typeface="Verdana" panose="020B0604030504040204" pitchFamily="34" charset="0"/>
                <a:ea typeface="Verdana" panose="020B0604030504040204" pitchFamily="34" charset="0"/>
                <a:cs typeface="Verdana" panose="020B0604030504040204" pitchFamily="34" charset="0"/>
              </a:rPr>
              <a:t>16</a:t>
            </a:r>
            <a:r>
              <a:rPr kumimoji="0" lang="en-US" sz="1400" b="1" i="0" u="none" strike="noStrike" kern="1200" cap="none" spc="0" normalizeH="0" baseline="0" noProof="0" dirty="0" smtClean="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study showing the effectiveness of BD PosiFlush™ Pre-Filled Flush syringe in reducing </a:t>
            </a:r>
            <a:r>
              <a:rPr lang="en-US" sz="1400" dirty="0">
                <a:solidFill>
                  <a:srgbClr val="404041"/>
                </a:solidFill>
                <a:latin typeface="Verdana" panose="020B0604030504040204" pitchFamily="34" charset="0"/>
                <a:ea typeface="Verdana" panose="020B0604030504040204" pitchFamily="34" charset="0"/>
                <a:cs typeface="Verdana" panose="020B0604030504040204" pitchFamily="34" charset="0"/>
              </a:rPr>
              <a:t>totally implantable venous</a:t>
            </a:r>
            <a:br>
              <a:rPr lang="en-US" sz="1400" dirty="0">
                <a:solidFill>
                  <a:srgbClr val="404041"/>
                </a:solidFill>
                <a:latin typeface="Verdana" panose="020B0604030504040204" pitchFamily="34" charset="0"/>
                <a:ea typeface="Verdana" panose="020B0604030504040204" pitchFamily="34" charset="0"/>
                <a:cs typeface="Verdana" panose="020B0604030504040204" pitchFamily="34" charset="0"/>
              </a:rPr>
            </a:br>
            <a:r>
              <a:rPr lang="en-US" sz="1400" dirty="0">
                <a:solidFill>
                  <a:srgbClr val="404041"/>
                </a:solidFill>
                <a:latin typeface="Verdana" panose="020B0604030504040204" pitchFamily="34" charset="0"/>
                <a:ea typeface="Verdana" panose="020B0604030504040204" pitchFamily="34" charset="0"/>
                <a:cs typeface="Verdana" panose="020B0604030504040204" pitchFamily="34" charset="0"/>
              </a:rPr>
              <a:t>access device </a:t>
            </a:r>
            <a:r>
              <a:rPr kumimoji="0" lang="en-US"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associated CRBSI by </a:t>
            </a:r>
            <a:r>
              <a:rPr lang="en-US" sz="1400" b="1" dirty="0">
                <a:solidFill>
                  <a:srgbClr val="404041"/>
                </a:solidFill>
                <a:latin typeface="Verdana" panose="020B0604030504040204" pitchFamily="34" charset="0"/>
                <a:ea typeface="Verdana" panose="020B0604030504040204" pitchFamily="34" charset="0"/>
                <a:cs typeface="Verdana" panose="020B0604030504040204" pitchFamily="34" charset="0"/>
              </a:rPr>
              <a:t>57</a:t>
            </a:r>
            <a:r>
              <a:rPr kumimoji="0" lang="en-US" sz="14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a:t>
            </a:r>
          </a:p>
          <a:p>
            <a:pPr marL="0" marR="0" lvl="0" indent="0" algn="l" defTabSz="914400" rtl="0" eaLnBrk="1" fontAlgn="auto" latinLnBrk="0" hangingPunct="1">
              <a:lnSpc>
                <a:spcPct val="85000"/>
              </a:lnSpc>
              <a:spcBef>
                <a:spcPts val="1200"/>
              </a:spcBef>
              <a:spcAft>
                <a:spcPts val="0"/>
              </a:spcAft>
              <a:buClr>
                <a:srgbClr val="14C0F3"/>
              </a:buClr>
              <a:buSzTx/>
              <a:buFontTx/>
              <a:buNone/>
              <a:tabLst/>
              <a:defRPr/>
            </a:pPr>
            <a:r>
              <a:rPr kumimoji="0" lang="en-US" sz="1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Keogh Clinical </a:t>
            </a:r>
            <a:r>
              <a:rPr kumimoji="0" lang="en-US" sz="1400" b="1" i="0" u="none" strike="noStrike" kern="1200" cap="none" spc="0" normalizeH="0" baseline="0" noProof="0" dirty="0" smtClean="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Study</a:t>
            </a:r>
            <a:r>
              <a:rPr kumimoji="0" lang="en-US" sz="1400" b="0" i="0" u="none" strike="noStrike" kern="1200" cap="none" spc="0" normalizeH="0" baseline="30000" noProof="0" dirty="0" smtClean="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17</a:t>
            </a:r>
            <a:r>
              <a:rPr kumimoji="0" lang="en-US" sz="1400" b="1" i="0" u="none" strike="noStrike" kern="1200" cap="none" spc="0" normalizeH="0" baseline="0" noProof="0" dirty="0" smtClean="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demonstrates the use of BD PosiFlush™ Pre-Filled Syringes can significantly reduce overall administration time by </a:t>
            </a:r>
            <a:r>
              <a:rPr kumimoji="0" lang="en-US" sz="14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49 seconds</a:t>
            </a:r>
          </a:p>
          <a:p>
            <a:pPr marL="0" marR="0" lvl="0" indent="0" algn="l" defTabSz="914400" rtl="0" eaLnBrk="1" fontAlgn="auto" latinLnBrk="0" hangingPunct="1">
              <a:lnSpc>
                <a:spcPct val="85000"/>
              </a:lnSpc>
              <a:spcBef>
                <a:spcPts val="1200"/>
              </a:spcBef>
              <a:spcAft>
                <a:spcPts val="0"/>
              </a:spcAft>
              <a:buClr>
                <a:srgbClr val="14C0F3"/>
              </a:buClr>
              <a:buSzTx/>
              <a:buFontTx/>
              <a:buNone/>
              <a:tabLst/>
              <a:defRPr/>
            </a:pPr>
            <a:r>
              <a:rPr kumimoji="0" lang="en-US" sz="1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Rosenthal Clinical </a:t>
            </a:r>
            <a:r>
              <a:rPr kumimoji="0" lang="en-US" sz="1400" b="1" i="0" u="none" strike="noStrike" kern="1200" cap="none" spc="0" normalizeH="0" baseline="0" noProof="0" dirty="0" smtClean="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Study</a:t>
            </a:r>
            <a:r>
              <a:rPr kumimoji="0" lang="en-US" sz="1400" b="0" i="0" u="none" strike="noStrike" kern="1200" cap="none" spc="0" normalizeH="0" baseline="30000" noProof="0" dirty="0" smtClean="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18</a:t>
            </a:r>
            <a:r>
              <a:rPr kumimoji="0" lang="en-US" sz="1400" b="1" i="0" u="none" strike="noStrike" kern="1200" cap="none" spc="0" normalizeH="0" baseline="0" noProof="0" dirty="0" smtClean="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shows the use of split septum connectors and BD PosiFlush™ prefilled flush is cost - effective and associated with a significantly lower CLABSI </a:t>
            </a:r>
            <a:r>
              <a:rPr kumimoji="0" lang="en-US" sz="14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65%) </a:t>
            </a:r>
            <a:r>
              <a:rPr kumimoji="0" lang="en-US"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rate compared with the use of 3-way stopcocks and manually filled flush</a:t>
            </a:r>
          </a:p>
        </p:txBody>
      </p:sp>
      <p:cxnSp>
        <p:nvCxnSpPr>
          <p:cNvPr id="13" name="Straight Connector 12">
            <a:extLst>
              <a:ext uri="{FF2B5EF4-FFF2-40B4-BE49-F238E27FC236}">
                <a16:creationId xmlns="" xmlns:a16="http://schemas.microsoft.com/office/drawing/2014/main" id="{7C243DEA-5C89-4A1F-916A-030B9FDA6210}"/>
              </a:ext>
            </a:extLst>
          </p:cNvPr>
          <p:cNvCxnSpPr>
            <a:cxnSpLocks/>
          </p:cNvCxnSpPr>
          <p:nvPr/>
        </p:nvCxnSpPr>
        <p:spPr>
          <a:xfrm>
            <a:off x="6244771" y="4741492"/>
            <a:ext cx="4699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ABC162CB-54B9-459D-B7C4-689F1FCA4872}"/>
              </a:ext>
            </a:extLst>
          </p:cNvPr>
          <p:cNvCxnSpPr>
            <a:cxnSpLocks/>
          </p:cNvCxnSpPr>
          <p:nvPr/>
        </p:nvCxnSpPr>
        <p:spPr>
          <a:xfrm>
            <a:off x="6232071" y="5439516"/>
            <a:ext cx="4699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21" name="Graphic 20">
            <a:extLst>
              <a:ext uri="{FF2B5EF4-FFF2-40B4-BE49-F238E27FC236}">
                <a16:creationId xmlns="" xmlns:a16="http://schemas.microsoft.com/office/drawing/2014/main" id="{73806E3F-9553-41FA-A902-DF0B9634A834}"/>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5663427" y="3982180"/>
            <a:ext cx="332145" cy="303262"/>
          </a:xfrm>
          <a:prstGeom prst="rect">
            <a:avLst/>
          </a:prstGeom>
        </p:spPr>
      </p:pic>
      <p:pic>
        <p:nvPicPr>
          <p:cNvPr id="22" name="Graphic 21">
            <a:extLst>
              <a:ext uri="{FF2B5EF4-FFF2-40B4-BE49-F238E27FC236}">
                <a16:creationId xmlns="" xmlns:a16="http://schemas.microsoft.com/office/drawing/2014/main" id="{E84D55AD-AF6A-4AEE-BD15-E5F2C6D39F7C}"/>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5663427" y="4684207"/>
            <a:ext cx="332145" cy="303262"/>
          </a:xfrm>
          <a:prstGeom prst="rect">
            <a:avLst/>
          </a:prstGeom>
        </p:spPr>
      </p:pic>
      <p:pic>
        <p:nvPicPr>
          <p:cNvPr id="23" name="Graphic 22">
            <a:extLst>
              <a:ext uri="{FF2B5EF4-FFF2-40B4-BE49-F238E27FC236}">
                <a16:creationId xmlns="" xmlns:a16="http://schemas.microsoft.com/office/drawing/2014/main" id="{DD17897E-02FD-4643-80B5-B84C988B4451}"/>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5663427" y="5386234"/>
            <a:ext cx="332145" cy="303262"/>
          </a:xfrm>
          <a:prstGeom prst="rect">
            <a:avLst/>
          </a:prstGeom>
        </p:spPr>
      </p:pic>
      <p:pic>
        <p:nvPicPr>
          <p:cNvPr id="16" name="Picture 15"/>
          <p:cNvPicPr>
            <a:picLocks noChangeAspect="1"/>
          </p:cNvPicPr>
          <p:nvPr/>
        </p:nvPicPr>
        <p:blipFill>
          <a:blip r:embed="rId9"/>
          <a:stretch>
            <a:fillRect/>
          </a:stretch>
        </p:blipFill>
        <p:spPr>
          <a:xfrm>
            <a:off x="76200" y="6629400"/>
            <a:ext cx="4619050" cy="195171"/>
          </a:xfrm>
          <a:prstGeom prst="rect">
            <a:avLst/>
          </a:prstGeom>
        </p:spPr>
      </p:pic>
    </p:spTree>
    <p:extLst>
      <p:ext uri="{BB962C8B-B14F-4D97-AF65-F5344CB8AC3E}">
        <p14:creationId xmlns:p14="http://schemas.microsoft.com/office/powerpoint/2010/main" val="99779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50" fill="hold"/>
                                        <p:tgtEl>
                                          <p:spTgt spid="4"/>
                                        </p:tgtEl>
                                        <p:attrNameLst>
                                          <p:attrName>ppt_x</p:attrName>
                                        </p:attrNameLst>
                                      </p:cBhvr>
                                      <p:tavLst>
                                        <p:tav tm="0">
                                          <p:val>
                                            <p:strVal val="0-#ppt_w/2"/>
                                          </p:val>
                                        </p:tav>
                                        <p:tav tm="100000">
                                          <p:val>
                                            <p:strVal val="#ppt_x"/>
                                          </p:val>
                                        </p:tav>
                                      </p:tavLst>
                                    </p:anim>
                                    <p:anim calcmode="lin" valueType="num">
                                      <p:cBhvr additive="base">
                                        <p:cTn id="8" dur="75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10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0-#ppt_w/2"/>
                                          </p:val>
                                        </p:tav>
                                        <p:tav tm="100000">
                                          <p:val>
                                            <p:strVal val="#ppt_x"/>
                                          </p:val>
                                        </p:tav>
                                      </p:tavLst>
                                    </p:anim>
                                    <p:anim calcmode="lin" valueType="num">
                                      <p:cBhvr additive="base">
                                        <p:cTn id="12" dur="75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2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750" fill="hold"/>
                                        <p:tgtEl>
                                          <p:spTgt spid="8"/>
                                        </p:tgtEl>
                                        <p:attrNameLst>
                                          <p:attrName>ppt_x</p:attrName>
                                        </p:attrNameLst>
                                      </p:cBhvr>
                                      <p:tavLst>
                                        <p:tav tm="0">
                                          <p:val>
                                            <p:strVal val="0-#ppt_w/2"/>
                                          </p:val>
                                        </p:tav>
                                        <p:tav tm="100000">
                                          <p:val>
                                            <p:strVal val="#ppt_x"/>
                                          </p:val>
                                        </p:tav>
                                      </p:tavLst>
                                    </p:anim>
                                    <p:anim calcmode="lin" valueType="num">
                                      <p:cBhvr additive="base">
                                        <p:cTn id="16" dur="75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10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750" fill="hold"/>
                                        <p:tgtEl>
                                          <p:spTgt spid="9"/>
                                        </p:tgtEl>
                                        <p:attrNameLst>
                                          <p:attrName>ppt_x</p:attrName>
                                        </p:attrNameLst>
                                      </p:cBhvr>
                                      <p:tavLst>
                                        <p:tav tm="0">
                                          <p:val>
                                            <p:strVal val="1+#ppt_w/2"/>
                                          </p:val>
                                        </p:tav>
                                        <p:tav tm="100000">
                                          <p:val>
                                            <p:strVal val="#ppt_x"/>
                                          </p:val>
                                        </p:tav>
                                      </p:tavLst>
                                    </p:anim>
                                    <p:anim calcmode="lin" valueType="num">
                                      <p:cBhvr additive="base">
                                        <p:cTn id="20" dur="750" fill="hold"/>
                                        <p:tgtEl>
                                          <p:spTgt spid="9"/>
                                        </p:tgtEl>
                                        <p:attrNameLst>
                                          <p:attrName>ppt_y</p:attrName>
                                        </p:attrNameLst>
                                      </p:cBhvr>
                                      <p:tavLst>
                                        <p:tav tm="0">
                                          <p:val>
                                            <p:strVal val="#ppt_y"/>
                                          </p:val>
                                        </p:tav>
                                        <p:tav tm="100000">
                                          <p:val>
                                            <p:strVal val="#ppt_y"/>
                                          </p:val>
                                        </p:tav>
                                      </p:tavLst>
                                    </p:anim>
                                  </p:childTnLst>
                                </p:cTn>
                              </p:par>
                              <p:par>
                                <p:cTn id="21" presetID="10" presetClass="entr" presetSubtype="0" fill="hold" grpId="0" nodeType="withEffect">
                                  <p:stCondLst>
                                    <p:cond delay="50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22" presetClass="entr" presetSubtype="8" fill="hold" grpId="0" nodeType="withEffect">
                                  <p:stCondLst>
                                    <p:cond delay="500"/>
                                  </p:stCondLst>
                                  <p:childTnLst>
                                    <p:set>
                                      <p:cBhvr>
                                        <p:cTn id="25" dur="1" fill="hold">
                                          <p:stCondLst>
                                            <p:cond delay="0"/>
                                          </p:stCondLst>
                                        </p:cTn>
                                        <p:tgtEl>
                                          <p:spTgt spid="14"/>
                                        </p:tgtEl>
                                        <p:attrNameLst>
                                          <p:attrName>style.visibility</p:attrName>
                                        </p:attrNameLst>
                                      </p:cBhvr>
                                      <p:to>
                                        <p:strVal val="visible"/>
                                      </p:to>
                                    </p:set>
                                    <p:animEffect transition="in" filter="wipe(left)">
                                      <p:cBhvr>
                                        <p:cTn id="26" dur="500"/>
                                        <p:tgtEl>
                                          <p:spTgt spid="14"/>
                                        </p:tgtEl>
                                      </p:cBhvr>
                                    </p:animEffect>
                                  </p:childTnLst>
                                </p:cTn>
                              </p:par>
                              <p:par>
                                <p:cTn id="27" presetID="10" presetClass="entr" presetSubtype="0" fill="hold" grpId="0" nodeType="withEffect">
                                  <p:stCondLst>
                                    <p:cond delay="75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22" presetClass="entr" presetSubtype="8" fill="hold" nodeType="withEffect">
                                  <p:stCondLst>
                                    <p:cond delay="1000"/>
                                  </p:stCondLst>
                                  <p:childTnLst>
                                    <p:set>
                                      <p:cBhvr>
                                        <p:cTn id="34" dur="1" fill="hold">
                                          <p:stCondLst>
                                            <p:cond delay="0"/>
                                          </p:stCondLst>
                                        </p:cTn>
                                        <p:tgtEl>
                                          <p:spTgt spid="13"/>
                                        </p:tgtEl>
                                        <p:attrNameLst>
                                          <p:attrName>style.visibility</p:attrName>
                                        </p:attrNameLst>
                                      </p:cBhvr>
                                      <p:to>
                                        <p:strVal val="visible"/>
                                      </p:to>
                                    </p:set>
                                    <p:animEffect transition="in" filter="wipe(left)">
                                      <p:cBhvr>
                                        <p:cTn id="35" dur="500"/>
                                        <p:tgtEl>
                                          <p:spTgt spid="13"/>
                                        </p:tgtEl>
                                      </p:cBhvr>
                                    </p:animEffect>
                                  </p:childTnLst>
                                </p:cTn>
                              </p:par>
                              <p:par>
                                <p:cTn id="36" presetID="22" presetClass="entr" presetSubtype="8" fill="hold" nodeType="withEffect">
                                  <p:stCondLst>
                                    <p:cond delay="1000"/>
                                  </p:stCondLst>
                                  <p:childTnLst>
                                    <p:set>
                                      <p:cBhvr>
                                        <p:cTn id="37" dur="1" fill="hold">
                                          <p:stCondLst>
                                            <p:cond delay="0"/>
                                          </p:stCondLst>
                                        </p:cTn>
                                        <p:tgtEl>
                                          <p:spTgt spid="20"/>
                                        </p:tgtEl>
                                        <p:attrNameLst>
                                          <p:attrName>style.visibility</p:attrName>
                                        </p:attrNameLst>
                                      </p:cBhvr>
                                      <p:to>
                                        <p:strVal val="visible"/>
                                      </p:to>
                                    </p:set>
                                    <p:animEffect transition="in" filter="wipe(left)">
                                      <p:cBhvr>
                                        <p:cTn id="38" dur="500"/>
                                        <p:tgtEl>
                                          <p:spTgt spid="20"/>
                                        </p:tgtEl>
                                      </p:cBhvr>
                                    </p:animEffect>
                                  </p:childTnLst>
                                </p:cTn>
                              </p:par>
                              <p:par>
                                <p:cTn id="39" presetID="12" presetClass="entr" presetSubtype="8" fill="hold" nodeType="withEffect">
                                  <p:stCondLst>
                                    <p:cond delay="1000"/>
                                  </p:stCondLst>
                                  <p:childTnLst>
                                    <p:set>
                                      <p:cBhvr>
                                        <p:cTn id="40" dur="1" fill="hold">
                                          <p:stCondLst>
                                            <p:cond delay="0"/>
                                          </p:stCondLst>
                                        </p:cTn>
                                        <p:tgtEl>
                                          <p:spTgt spid="21"/>
                                        </p:tgtEl>
                                        <p:attrNameLst>
                                          <p:attrName>style.visibility</p:attrName>
                                        </p:attrNameLst>
                                      </p:cBhvr>
                                      <p:to>
                                        <p:strVal val="visible"/>
                                      </p:to>
                                    </p:set>
                                    <p:anim calcmode="lin" valueType="num">
                                      <p:cBhvr additive="base">
                                        <p:cTn id="41" dur="500"/>
                                        <p:tgtEl>
                                          <p:spTgt spid="21"/>
                                        </p:tgtEl>
                                        <p:attrNameLst>
                                          <p:attrName>ppt_x</p:attrName>
                                        </p:attrNameLst>
                                      </p:cBhvr>
                                      <p:tavLst>
                                        <p:tav tm="0">
                                          <p:val>
                                            <p:strVal val="#ppt_x-#ppt_w*1.125000"/>
                                          </p:val>
                                        </p:tav>
                                        <p:tav tm="100000">
                                          <p:val>
                                            <p:strVal val="#ppt_x"/>
                                          </p:val>
                                        </p:tav>
                                      </p:tavLst>
                                    </p:anim>
                                    <p:animEffect transition="in" filter="wipe(right)">
                                      <p:cBhvr>
                                        <p:cTn id="42" dur="500"/>
                                        <p:tgtEl>
                                          <p:spTgt spid="21"/>
                                        </p:tgtEl>
                                      </p:cBhvr>
                                    </p:animEffect>
                                  </p:childTnLst>
                                </p:cTn>
                              </p:par>
                              <p:par>
                                <p:cTn id="43" presetID="12" presetClass="entr" presetSubtype="8" fill="hold" nodeType="withEffect">
                                  <p:stCondLst>
                                    <p:cond delay="1000"/>
                                  </p:stCondLst>
                                  <p:childTnLst>
                                    <p:set>
                                      <p:cBhvr>
                                        <p:cTn id="44" dur="1" fill="hold">
                                          <p:stCondLst>
                                            <p:cond delay="0"/>
                                          </p:stCondLst>
                                        </p:cTn>
                                        <p:tgtEl>
                                          <p:spTgt spid="22"/>
                                        </p:tgtEl>
                                        <p:attrNameLst>
                                          <p:attrName>style.visibility</p:attrName>
                                        </p:attrNameLst>
                                      </p:cBhvr>
                                      <p:to>
                                        <p:strVal val="visible"/>
                                      </p:to>
                                    </p:set>
                                    <p:anim calcmode="lin" valueType="num">
                                      <p:cBhvr additive="base">
                                        <p:cTn id="45" dur="500"/>
                                        <p:tgtEl>
                                          <p:spTgt spid="22"/>
                                        </p:tgtEl>
                                        <p:attrNameLst>
                                          <p:attrName>ppt_x</p:attrName>
                                        </p:attrNameLst>
                                      </p:cBhvr>
                                      <p:tavLst>
                                        <p:tav tm="0">
                                          <p:val>
                                            <p:strVal val="#ppt_x-#ppt_w*1.125000"/>
                                          </p:val>
                                        </p:tav>
                                        <p:tav tm="100000">
                                          <p:val>
                                            <p:strVal val="#ppt_x"/>
                                          </p:val>
                                        </p:tav>
                                      </p:tavLst>
                                    </p:anim>
                                    <p:animEffect transition="in" filter="wipe(right)">
                                      <p:cBhvr>
                                        <p:cTn id="46" dur="500"/>
                                        <p:tgtEl>
                                          <p:spTgt spid="22"/>
                                        </p:tgtEl>
                                      </p:cBhvr>
                                    </p:animEffect>
                                  </p:childTnLst>
                                </p:cTn>
                              </p:par>
                              <p:par>
                                <p:cTn id="47" presetID="12" presetClass="entr" presetSubtype="8" fill="hold" nodeType="withEffect">
                                  <p:stCondLst>
                                    <p:cond delay="1000"/>
                                  </p:stCondLst>
                                  <p:childTnLst>
                                    <p:set>
                                      <p:cBhvr>
                                        <p:cTn id="48" dur="1" fill="hold">
                                          <p:stCondLst>
                                            <p:cond delay="0"/>
                                          </p:stCondLst>
                                        </p:cTn>
                                        <p:tgtEl>
                                          <p:spTgt spid="23"/>
                                        </p:tgtEl>
                                        <p:attrNameLst>
                                          <p:attrName>style.visibility</p:attrName>
                                        </p:attrNameLst>
                                      </p:cBhvr>
                                      <p:to>
                                        <p:strVal val="visible"/>
                                      </p:to>
                                    </p:set>
                                    <p:anim calcmode="lin" valueType="num">
                                      <p:cBhvr additive="base">
                                        <p:cTn id="49" dur="500"/>
                                        <p:tgtEl>
                                          <p:spTgt spid="23"/>
                                        </p:tgtEl>
                                        <p:attrNameLst>
                                          <p:attrName>ppt_x</p:attrName>
                                        </p:attrNameLst>
                                      </p:cBhvr>
                                      <p:tavLst>
                                        <p:tav tm="0">
                                          <p:val>
                                            <p:strVal val="#ppt_x-#ppt_w*1.125000"/>
                                          </p:val>
                                        </p:tav>
                                        <p:tav tm="100000">
                                          <p:val>
                                            <p:strVal val="#ppt_x"/>
                                          </p:val>
                                        </p:tav>
                                      </p:tavLst>
                                    </p:anim>
                                    <p:animEffect transition="in" filter="wipe(right)">
                                      <p:cBhvr>
                                        <p:cTn id="5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9" grpId="0"/>
      <p:bldP spid="10" grpId="0"/>
      <p:bldP spid="11" grpId="0"/>
      <p:bldP spid="1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92813690"/>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134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25589" y="1589"/>
                        <a:ext cx="1587" cy="1587"/>
                      </a:xfrm>
                      <a:prstGeom prst="rect">
                        <a:avLst/>
                      </a:prstGeom>
                    </p:spPr>
                  </p:pic>
                </p:oleObj>
              </mc:Fallback>
            </mc:AlternateContent>
          </a:graphicData>
        </a:graphic>
      </p:graphicFrame>
      <p:pic>
        <p:nvPicPr>
          <p:cNvPr id="42" name="Picture 41"/>
          <p:cNvPicPr>
            <a:picLocks noChangeAspect="1"/>
          </p:cNvPicPr>
          <p:nvPr/>
        </p:nvPicPr>
        <p:blipFill>
          <a:blip r:embed="rId6"/>
          <a:stretch>
            <a:fillRect/>
          </a:stretch>
        </p:blipFill>
        <p:spPr>
          <a:xfrm>
            <a:off x="76200" y="6629400"/>
            <a:ext cx="4619050" cy="195171"/>
          </a:xfrm>
          <a:prstGeom prst="rect">
            <a:avLst/>
          </a:prstGeom>
        </p:spPr>
      </p:pic>
      <p:pic>
        <p:nvPicPr>
          <p:cNvPr id="14" name="Graphic 13">
            <a:extLst>
              <a:ext uri="{FF2B5EF4-FFF2-40B4-BE49-F238E27FC236}">
                <a16:creationId xmlns="" xmlns:a16="http://schemas.microsoft.com/office/drawing/2014/main" id="{943BCF15-B269-41F0-9A8F-29C562652B67}"/>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11345612" y="6490506"/>
            <a:ext cx="720740" cy="276876"/>
          </a:xfrm>
          <a:prstGeom prst="rect">
            <a:avLst/>
          </a:prstGeom>
        </p:spPr>
      </p:pic>
      <p:sp>
        <p:nvSpPr>
          <p:cNvPr id="36" name="TextBox 35">
            <a:extLst>
              <a:ext uri="{FF2B5EF4-FFF2-40B4-BE49-F238E27FC236}">
                <a16:creationId xmlns="" xmlns:a16="http://schemas.microsoft.com/office/drawing/2014/main" id="{3299E805-EDE4-4C67-96E0-25A02C85117B}"/>
              </a:ext>
            </a:extLst>
          </p:cNvPr>
          <p:cNvSpPr txBox="1"/>
          <p:nvPr/>
        </p:nvSpPr>
        <p:spPr>
          <a:xfrm>
            <a:off x="8971401" y="539962"/>
            <a:ext cx="2572900" cy="1329706"/>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lvl="0" algn="l">
              <a:defRPr/>
            </a:pPr>
            <a:r>
              <a:rPr lang="en-US" sz="1200" b="0" dirty="0">
                <a:solidFill>
                  <a:srgbClr val="404041"/>
                </a:solidFill>
              </a:rPr>
              <a:t>The type and size of catheter, age of the patient and type </a:t>
            </a:r>
            <a:br>
              <a:rPr lang="en-US" sz="1200" b="0" dirty="0">
                <a:solidFill>
                  <a:srgbClr val="404041"/>
                </a:solidFill>
              </a:rPr>
            </a:br>
            <a:r>
              <a:rPr lang="en-US" sz="1200" b="0" dirty="0">
                <a:solidFill>
                  <a:srgbClr val="404041"/>
                </a:solidFill>
              </a:rPr>
              <a:t>of infusion therapy being given should determine the flush volume being used in order </a:t>
            </a:r>
            <a:br>
              <a:rPr lang="en-US" sz="1200" b="0" dirty="0">
                <a:solidFill>
                  <a:srgbClr val="404041"/>
                </a:solidFill>
              </a:rPr>
            </a:br>
            <a:r>
              <a:rPr lang="en-US" sz="1200" b="0" dirty="0">
                <a:solidFill>
                  <a:srgbClr val="404041"/>
                </a:solidFill>
              </a:rPr>
              <a:t>to properly maintain patency and prevent contact between incompatible medications</a:t>
            </a:r>
          </a:p>
        </p:txBody>
      </p:sp>
      <p:sp>
        <p:nvSpPr>
          <p:cNvPr id="37" name="TextBox 36">
            <a:extLst>
              <a:ext uri="{FF2B5EF4-FFF2-40B4-BE49-F238E27FC236}">
                <a16:creationId xmlns="" xmlns:a16="http://schemas.microsoft.com/office/drawing/2014/main" id="{42D48CA3-9DED-43D0-A804-110746C631DE}"/>
              </a:ext>
            </a:extLst>
          </p:cNvPr>
          <p:cNvSpPr txBox="1"/>
          <p:nvPr/>
        </p:nvSpPr>
        <p:spPr>
          <a:xfrm>
            <a:off x="7130329" y="836862"/>
            <a:ext cx="1748630" cy="623359"/>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BD PosiFlush™ Pre-Filled Saline Syringe </a:t>
            </a:r>
          </a:p>
        </p:txBody>
      </p:sp>
      <p:sp>
        <p:nvSpPr>
          <p:cNvPr id="87" name="TextBox 86">
            <a:extLst>
              <a:ext uri="{FF2B5EF4-FFF2-40B4-BE49-F238E27FC236}">
                <a16:creationId xmlns="" xmlns:a16="http://schemas.microsoft.com/office/drawing/2014/main" id="{4F67AFFA-56DA-4FF4-8717-375090BBA806}"/>
              </a:ext>
            </a:extLst>
          </p:cNvPr>
          <p:cNvSpPr txBox="1"/>
          <p:nvPr/>
        </p:nvSpPr>
        <p:spPr>
          <a:xfrm>
            <a:off x="8971401" y="2273521"/>
            <a:ext cx="2272660" cy="858808"/>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May be used on sterile fields and are provided </a:t>
            </a:r>
            <a:b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in sterile packages.</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Midlines and Centrally dwelling VADs</a:t>
            </a:r>
          </a:p>
        </p:txBody>
      </p:sp>
      <p:sp>
        <p:nvSpPr>
          <p:cNvPr id="88" name="TextBox 87">
            <a:extLst>
              <a:ext uri="{FF2B5EF4-FFF2-40B4-BE49-F238E27FC236}">
                <a16:creationId xmlns="" xmlns:a16="http://schemas.microsoft.com/office/drawing/2014/main" id="{87DC95F9-C2A8-42D8-8BF8-F8A5BE2BAB16}"/>
              </a:ext>
            </a:extLst>
          </p:cNvPr>
          <p:cNvSpPr txBox="1"/>
          <p:nvPr/>
        </p:nvSpPr>
        <p:spPr>
          <a:xfrm>
            <a:off x="8971401" y="4000951"/>
            <a:ext cx="2272660" cy="544876"/>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Intended for maintenance of patency of vascular access devices only</a:t>
            </a:r>
          </a:p>
        </p:txBody>
      </p:sp>
      <p:sp>
        <p:nvSpPr>
          <p:cNvPr id="89" name="TextBox 88">
            <a:extLst>
              <a:ext uri="{FF2B5EF4-FFF2-40B4-BE49-F238E27FC236}">
                <a16:creationId xmlns="" xmlns:a16="http://schemas.microsoft.com/office/drawing/2014/main" id="{68C8EE70-BFA4-4CE8-8CA4-72B1B1CA2BBF}"/>
              </a:ext>
            </a:extLst>
          </p:cNvPr>
          <p:cNvSpPr txBox="1"/>
          <p:nvPr/>
        </p:nvSpPr>
        <p:spPr>
          <a:xfrm>
            <a:off x="8971401" y="5460244"/>
            <a:ext cx="2559998" cy="701842"/>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Enables clinicians to follow best practices and guidelines for disinfection of needle-free connectors</a:t>
            </a:r>
          </a:p>
        </p:txBody>
      </p:sp>
      <p:sp>
        <p:nvSpPr>
          <p:cNvPr id="90" name="TextBox 89">
            <a:extLst>
              <a:ext uri="{FF2B5EF4-FFF2-40B4-BE49-F238E27FC236}">
                <a16:creationId xmlns="" xmlns:a16="http://schemas.microsoft.com/office/drawing/2014/main" id="{6DC95A7F-8833-485F-99C1-305ED1018966}"/>
              </a:ext>
            </a:extLst>
          </p:cNvPr>
          <p:cNvSpPr txBox="1"/>
          <p:nvPr/>
        </p:nvSpPr>
        <p:spPr>
          <a:xfrm>
            <a:off x="7130329" y="2434055"/>
            <a:ext cx="1748630" cy="623359"/>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BD PosiFlush™ SF Normal Saline Syringe </a:t>
            </a:r>
          </a:p>
        </p:txBody>
      </p:sp>
      <p:sp>
        <p:nvSpPr>
          <p:cNvPr id="91" name="TextBox 90">
            <a:extLst>
              <a:ext uri="{FF2B5EF4-FFF2-40B4-BE49-F238E27FC236}">
                <a16:creationId xmlns="" xmlns:a16="http://schemas.microsoft.com/office/drawing/2014/main" id="{3D536C13-AA46-4F4F-A8C7-2990B172968C}"/>
              </a:ext>
            </a:extLst>
          </p:cNvPr>
          <p:cNvSpPr txBox="1"/>
          <p:nvPr/>
        </p:nvSpPr>
        <p:spPr>
          <a:xfrm>
            <a:off x="7130329" y="3952206"/>
            <a:ext cx="1748630" cy="623359"/>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BD PosiFlush™ Heparin Lock Flush Syringe </a:t>
            </a:r>
          </a:p>
        </p:txBody>
      </p:sp>
      <p:sp>
        <p:nvSpPr>
          <p:cNvPr id="92" name="TextBox 91">
            <a:extLst>
              <a:ext uri="{FF2B5EF4-FFF2-40B4-BE49-F238E27FC236}">
                <a16:creationId xmlns="" xmlns:a16="http://schemas.microsoft.com/office/drawing/2014/main" id="{6F55760C-55A5-41B3-BCA2-EE0C312D68C3}"/>
              </a:ext>
            </a:extLst>
          </p:cNvPr>
          <p:cNvSpPr txBox="1"/>
          <p:nvPr/>
        </p:nvSpPr>
        <p:spPr>
          <a:xfrm>
            <a:off x="6629400" y="5355600"/>
            <a:ext cx="2249559" cy="806486"/>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BD PosiFlush™ SureScrub™ </a:t>
            </a:r>
            <a:br>
              <a:rPr kumimoji="0" lang="en-US" sz="14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4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Pre-Filled </a:t>
            </a:r>
            <a:br>
              <a:rPr kumimoji="0" lang="en-US" sz="14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4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Syringe </a:t>
            </a:r>
          </a:p>
        </p:txBody>
      </p:sp>
      <p:sp>
        <p:nvSpPr>
          <p:cNvPr id="34" name="Title 1">
            <a:extLst>
              <a:ext uri="{FF2B5EF4-FFF2-40B4-BE49-F238E27FC236}">
                <a16:creationId xmlns="" xmlns:a16="http://schemas.microsoft.com/office/drawing/2014/main" id="{A0EAA1EF-CBF8-43CD-9B95-5E09990F4338}"/>
              </a:ext>
            </a:extLst>
          </p:cNvPr>
          <p:cNvSpPr txBox="1">
            <a:spLocks/>
          </p:cNvSpPr>
          <p:nvPr/>
        </p:nvSpPr>
        <p:spPr>
          <a:xfrm>
            <a:off x="479648" y="353852"/>
            <a:ext cx="4244752" cy="1751617"/>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BD OFFERS</a:t>
            </a:r>
            <a:br>
              <a:rPr kumimoji="0" lang="en-US" sz="44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2000" b="0" i="0" u="none" strike="noStrike" kern="1200" cap="none" spc="6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 COMPREHENSIVE FLUSH PORTFOLIO TO MEET YOUR PATIENT’S NEEDS</a:t>
            </a:r>
            <a:endParaRPr kumimoji="0" lang="en-US" sz="1600" b="0" i="0" u="none" strike="noStrike" kern="1200" cap="none" spc="6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43" name="Straight Connector 42">
            <a:extLst>
              <a:ext uri="{FF2B5EF4-FFF2-40B4-BE49-F238E27FC236}">
                <a16:creationId xmlns="" xmlns:a16="http://schemas.microsoft.com/office/drawing/2014/main" id="{6205834D-3063-4668-AF14-0C80D81FF796}"/>
              </a:ext>
            </a:extLst>
          </p:cNvPr>
          <p:cNvCxnSpPr>
            <a:cxnSpLocks/>
          </p:cNvCxnSpPr>
          <p:nvPr/>
        </p:nvCxnSpPr>
        <p:spPr>
          <a:xfrm>
            <a:off x="8915485" y="2"/>
            <a:ext cx="0" cy="6857998"/>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 xmlns:a16="http://schemas.microsoft.com/office/drawing/2014/main" id="{55840F90-BE24-46A6-9EBD-517599CFA415}"/>
              </a:ext>
            </a:extLst>
          </p:cNvPr>
          <p:cNvCxnSpPr>
            <a:cxnSpLocks/>
          </p:cNvCxnSpPr>
          <p:nvPr/>
        </p:nvCxnSpPr>
        <p:spPr>
          <a:xfrm>
            <a:off x="8915485" y="489288"/>
            <a:ext cx="0" cy="1352733"/>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 xmlns:a16="http://schemas.microsoft.com/office/drawing/2014/main" id="{1CF68470-40C0-40CA-811A-F2CC950A4522}"/>
              </a:ext>
            </a:extLst>
          </p:cNvPr>
          <p:cNvCxnSpPr>
            <a:cxnSpLocks/>
          </p:cNvCxnSpPr>
          <p:nvPr/>
        </p:nvCxnSpPr>
        <p:spPr>
          <a:xfrm>
            <a:off x="8915485" y="2026559"/>
            <a:ext cx="0" cy="1352733"/>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 xmlns:a16="http://schemas.microsoft.com/office/drawing/2014/main" id="{373C0546-4604-4E65-BA99-1737813CE87C}"/>
              </a:ext>
            </a:extLst>
          </p:cNvPr>
          <p:cNvCxnSpPr>
            <a:cxnSpLocks/>
          </p:cNvCxnSpPr>
          <p:nvPr/>
        </p:nvCxnSpPr>
        <p:spPr>
          <a:xfrm>
            <a:off x="8915485" y="3597023"/>
            <a:ext cx="0" cy="1352733"/>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 xmlns:a16="http://schemas.microsoft.com/office/drawing/2014/main" id="{2F9A936E-DD11-48BB-99A6-EA0E49AE82AD}"/>
              </a:ext>
            </a:extLst>
          </p:cNvPr>
          <p:cNvCxnSpPr>
            <a:cxnSpLocks/>
          </p:cNvCxnSpPr>
          <p:nvPr/>
        </p:nvCxnSpPr>
        <p:spPr>
          <a:xfrm>
            <a:off x="8915485" y="5100444"/>
            <a:ext cx="0" cy="1352733"/>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 xmlns:a16="http://schemas.microsoft.com/office/drawing/2014/main" id="{190875AC-76DA-42BC-91A1-72F385FE30EC}"/>
              </a:ext>
            </a:extLst>
          </p:cNvPr>
          <p:cNvGrpSpPr/>
          <p:nvPr/>
        </p:nvGrpSpPr>
        <p:grpSpPr>
          <a:xfrm>
            <a:off x="5332197" y="2052068"/>
            <a:ext cx="1874276" cy="1352734"/>
            <a:chOff x="5571915" y="2052068"/>
            <a:chExt cx="1874276" cy="1352734"/>
          </a:xfrm>
        </p:grpSpPr>
        <p:pic>
          <p:nvPicPr>
            <p:cNvPr id="71" name="Picture 70">
              <a:extLst>
                <a:ext uri="{FF2B5EF4-FFF2-40B4-BE49-F238E27FC236}">
                  <a16:creationId xmlns="" xmlns:a16="http://schemas.microsoft.com/office/drawing/2014/main" id="{66F3AC5A-9505-4DC1-84B8-16D21228BB96}"/>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8955" t="6063" r="15821" b="16873"/>
            <a:stretch/>
          </p:blipFill>
          <p:spPr>
            <a:xfrm>
              <a:off x="5948460" y="2229877"/>
              <a:ext cx="1265894" cy="997115"/>
            </a:xfrm>
            <a:prstGeom prst="rect">
              <a:avLst/>
            </a:prstGeom>
          </p:spPr>
        </p:pic>
        <p:sp>
          <p:nvSpPr>
            <p:cNvPr id="6" name="Rectangle 5">
              <a:extLst>
                <a:ext uri="{FF2B5EF4-FFF2-40B4-BE49-F238E27FC236}">
                  <a16:creationId xmlns="" xmlns:a16="http://schemas.microsoft.com/office/drawing/2014/main" id="{C086561A-E06B-4798-8A4D-148D4D8C099A}"/>
                </a:ext>
              </a:extLst>
            </p:cNvPr>
            <p:cNvSpPr/>
            <p:nvPr/>
          </p:nvSpPr>
          <p:spPr>
            <a:xfrm>
              <a:off x="5571915" y="2052068"/>
              <a:ext cx="1874276" cy="1352734"/>
            </a:xfrm>
            <a:prstGeom prst="rect">
              <a:avLst/>
            </a:prstGeom>
            <a:noFill/>
            <a:ln w="28575">
              <a:solidFill>
                <a:srgbClr val="E4E5E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1" name="Group 20">
            <a:extLst>
              <a:ext uri="{FF2B5EF4-FFF2-40B4-BE49-F238E27FC236}">
                <a16:creationId xmlns="" xmlns:a16="http://schemas.microsoft.com/office/drawing/2014/main" id="{3EFF3FC0-E4C6-4C78-AE54-45CBFF3AF27F}"/>
              </a:ext>
            </a:extLst>
          </p:cNvPr>
          <p:cNvGrpSpPr/>
          <p:nvPr/>
        </p:nvGrpSpPr>
        <p:grpSpPr>
          <a:xfrm>
            <a:off x="5332197" y="2894448"/>
            <a:ext cx="1874276" cy="2140032"/>
            <a:chOff x="5571915" y="2894448"/>
            <a:chExt cx="1874276" cy="2140032"/>
          </a:xfrm>
        </p:grpSpPr>
        <p:pic>
          <p:nvPicPr>
            <p:cNvPr id="65" name="Picture 64" descr="PosiFlushFullFamily.psd">
              <a:extLst>
                <a:ext uri="{FF2B5EF4-FFF2-40B4-BE49-F238E27FC236}">
                  <a16:creationId xmlns="" xmlns:a16="http://schemas.microsoft.com/office/drawing/2014/main" id="{A237773A-3DEC-4B2D-814D-4C56901EB2FD}"/>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43698" r="3296"/>
            <a:stretch/>
          </p:blipFill>
          <p:spPr>
            <a:xfrm>
              <a:off x="5753913" y="2894448"/>
              <a:ext cx="1504129" cy="2140032"/>
            </a:xfrm>
            <a:prstGeom prst="rect">
              <a:avLst/>
            </a:prstGeom>
          </p:spPr>
        </p:pic>
        <p:sp>
          <p:nvSpPr>
            <p:cNvPr id="61" name="Rectangle 60">
              <a:extLst>
                <a:ext uri="{FF2B5EF4-FFF2-40B4-BE49-F238E27FC236}">
                  <a16:creationId xmlns="" xmlns:a16="http://schemas.microsoft.com/office/drawing/2014/main" id="{2D1E78DF-7AE0-44C9-8E12-57DAAF693F6C}"/>
                </a:ext>
              </a:extLst>
            </p:cNvPr>
            <p:cNvSpPr/>
            <p:nvPr/>
          </p:nvSpPr>
          <p:spPr>
            <a:xfrm>
              <a:off x="5571915" y="3597019"/>
              <a:ext cx="1874276" cy="1352734"/>
            </a:xfrm>
            <a:prstGeom prst="rect">
              <a:avLst/>
            </a:prstGeom>
            <a:noFill/>
            <a:ln w="28575">
              <a:solidFill>
                <a:srgbClr val="E4E5E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2" name="Group 21">
            <a:extLst>
              <a:ext uri="{FF2B5EF4-FFF2-40B4-BE49-F238E27FC236}">
                <a16:creationId xmlns="" xmlns:a16="http://schemas.microsoft.com/office/drawing/2014/main" id="{F50C6D44-B726-49D4-9238-A183EA4C901E}"/>
              </a:ext>
            </a:extLst>
          </p:cNvPr>
          <p:cNvGrpSpPr/>
          <p:nvPr/>
        </p:nvGrpSpPr>
        <p:grpSpPr>
          <a:xfrm>
            <a:off x="5332197" y="5141970"/>
            <a:ext cx="1874276" cy="1352734"/>
            <a:chOff x="5571915" y="5141970"/>
            <a:chExt cx="1874276" cy="1352734"/>
          </a:xfrm>
        </p:grpSpPr>
        <p:pic>
          <p:nvPicPr>
            <p:cNvPr id="70" name="Picture 69" descr="SureScrub.psd">
              <a:extLst>
                <a:ext uri="{FF2B5EF4-FFF2-40B4-BE49-F238E27FC236}">
                  <a16:creationId xmlns="" xmlns:a16="http://schemas.microsoft.com/office/drawing/2014/main" id="{71529302-7497-4C12-9D43-2A9ADFEA56A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820597" y="5445577"/>
              <a:ext cx="1415802" cy="865212"/>
            </a:xfrm>
            <a:prstGeom prst="rect">
              <a:avLst/>
            </a:prstGeom>
          </p:spPr>
        </p:pic>
        <p:sp>
          <p:nvSpPr>
            <p:cNvPr id="62" name="Rectangle 61">
              <a:extLst>
                <a:ext uri="{FF2B5EF4-FFF2-40B4-BE49-F238E27FC236}">
                  <a16:creationId xmlns="" xmlns:a16="http://schemas.microsoft.com/office/drawing/2014/main" id="{45FC70F3-10DA-483D-8416-831ABEDA00E3}"/>
                </a:ext>
              </a:extLst>
            </p:cNvPr>
            <p:cNvSpPr/>
            <p:nvPr/>
          </p:nvSpPr>
          <p:spPr>
            <a:xfrm>
              <a:off x="5571915" y="5141970"/>
              <a:ext cx="1874276" cy="1352734"/>
            </a:xfrm>
            <a:prstGeom prst="rect">
              <a:avLst/>
            </a:prstGeom>
            <a:noFill/>
            <a:ln w="28575">
              <a:solidFill>
                <a:srgbClr val="E4E5E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9" name="Group 18">
            <a:extLst>
              <a:ext uri="{FF2B5EF4-FFF2-40B4-BE49-F238E27FC236}">
                <a16:creationId xmlns="" xmlns:a16="http://schemas.microsoft.com/office/drawing/2014/main" id="{C0FE6F7C-5B5E-487C-89EB-13159A7801B6}"/>
              </a:ext>
            </a:extLst>
          </p:cNvPr>
          <p:cNvGrpSpPr/>
          <p:nvPr/>
        </p:nvGrpSpPr>
        <p:grpSpPr>
          <a:xfrm>
            <a:off x="5332197" y="353852"/>
            <a:ext cx="1874276" cy="1592899"/>
            <a:chOff x="5571915" y="353852"/>
            <a:chExt cx="1874276" cy="1592899"/>
          </a:xfrm>
        </p:grpSpPr>
        <p:pic>
          <p:nvPicPr>
            <p:cNvPr id="66" name="Picture 65" descr="PosiFlushFullFamily.psd">
              <a:extLst>
                <a:ext uri="{FF2B5EF4-FFF2-40B4-BE49-F238E27FC236}">
                  <a16:creationId xmlns="" xmlns:a16="http://schemas.microsoft.com/office/drawing/2014/main" id="{7F116E9A-2BE7-4E85-BE67-4EF484AAF03D}"/>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3353" r="56777"/>
            <a:stretch/>
          </p:blipFill>
          <p:spPr>
            <a:xfrm>
              <a:off x="6066768" y="353852"/>
              <a:ext cx="842125" cy="1592899"/>
            </a:xfrm>
            <a:prstGeom prst="rect">
              <a:avLst/>
            </a:prstGeom>
          </p:spPr>
        </p:pic>
        <p:sp>
          <p:nvSpPr>
            <p:cNvPr id="63" name="Rectangle 62">
              <a:extLst>
                <a:ext uri="{FF2B5EF4-FFF2-40B4-BE49-F238E27FC236}">
                  <a16:creationId xmlns="" xmlns:a16="http://schemas.microsoft.com/office/drawing/2014/main" id="{13236855-DCB0-498A-94F7-1F789465FA5E}"/>
                </a:ext>
              </a:extLst>
            </p:cNvPr>
            <p:cNvSpPr/>
            <p:nvPr/>
          </p:nvSpPr>
          <p:spPr>
            <a:xfrm>
              <a:off x="5571915" y="507117"/>
              <a:ext cx="1874276" cy="1352734"/>
            </a:xfrm>
            <a:prstGeom prst="rect">
              <a:avLst/>
            </a:prstGeom>
            <a:noFill/>
            <a:ln w="28575">
              <a:solidFill>
                <a:srgbClr val="E4E5E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97" name="Isosceles Triangle 96">
            <a:extLst>
              <a:ext uri="{FF2B5EF4-FFF2-40B4-BE49-F238E27FC236}">
                <a16:creationId xmlns="" xmlns:a16="http://schemas.microsoft.com/office/drawing/2014/main" id="{71902F2C-0C29-46A5-A49B-617AF841FFDE}"/>
              </a:ext>
            </a:extLst>
          </p:cNvPr>
          <p:cNvSpPr/>
          <p:nvPr/>
        </p:nvSpPr>
        <p:spPr>
          <a:xfrm rot="10800000">
            <a:off x="219746" y="3269630"/>
            <a:ext cx="4961854" cy="4276315"/>
          </a:xfrm>
          <a:prstGeom prst="triangle">
            <a:avLst/>
          </a:prstGeom>
          <a:solidFill>
            <a:srgbClr val="F26926">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Title 1">
            <a:extLst>
              <a:ext uri="{FF2B5EF4-FFF2-40B4-BE49-F238E27FC236}">
                <a16:creationId xmlns="" xmlns:a16="http://schemas.microsoft.com/office/drawing/2014/main" id="{0F75DA2D-EA33-45D3-B637-6F1BC92FAD2E}"/>
              </a:ext>
            </a:extLst>
          </p:cNvPr>
          <p:cNvSpPr txBox="1">
            <a:spLocks/>
          </p:cNvSpPr>
          <p:nvPr/>
        </p:nvSpPr>
        <p:spPr>
          <a:xfrm>
            <a:off x="1598376" y="3581400"/>
            <a:ext cx="2214675" cy="272878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gn="ctr">
              <a:lnSpc>
                <a:spcPct val="85000"/>
              </a:lnSpc>
              <a:defRPr/>
            </a:pPr>
            <a:r>
              <a:rPr kumimoji="0" lang="en-US" sz="32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BD </a:t>
            </a:r>
            <a:br>
              <a:rPr kumimoji="0" lang="en-US" sz="32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32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provides </a:t>
            </a:r>
            <a:r>
              <a:rPr kumimoji="0" lang="en-US" sz="1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br>
            <a:r>
              <a:rPr lang="en-US" sz="1400" dirty="0">
                <a:solidFill>
                  <a:srgbClr val="FFFFFF"/>
                </a:solidFill>
                <a:latin typeface="Verdana" panose="020B0604030504040204" pitchFamily="34" charset="0"/>
                <a:ea typeface="Verdana" panose="020B0604030504040204" pitchFamily="34" charset="0"/>
                <a:cs typeface="Verdana" panose="020B0604030504040204" pitchFamily="34" charset="0"/>
              </a:rPr>
              <a:t>a complete portfolio, including </a:t>
            </a:r>
            <a:r>
              <a:rPr lang="en-US" sz="140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3/5/10 mL </a:t>
            </a:r>
            <a:r>
              <a:rPr lang="en-US" sz="1400" dirty="0">
                <a:solidFill>
                  <a:srgbClr val="FFFFFF"/>
                </a:solidFill>
                <a:latin typeface="Verdana" panose="020B0604030504040204" pitchFamily="34" charset="0"/>
                <a:ea typeface="Verdana" panose="020B0604030504040204" pitchFamily="34" charset="0"/>
                <a:cs typeface="Verdana" panose="020B0604030504040204" pitchFamily="34" charset="0"/>
              </a:rPr>
              <a:t>syringes, sterile field syringes and heparin lock flush syringes to ensure your patients get the customized care they need and deserve </a:t>
            </a:r>
            <a:endParaRPr kumimoji="0" lang="en-US" sz="18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17" name="Group 16">
            <a:extLst>
              <a:ext uri="{FF2B5EF4-FFF2-40B4-BE49-F238E27FC236}">
                <a16:creationId xmlns="" xmlns:a16="http://schemas.microsoft.com/office/drawing/2014/main" id="{146A1D53-BA37-4DBF-A198-6EB8FBF9F96A}"/>
              </a:ext>
            </a:extLst>
          </p:cNvPr>
          <p:cNvGrpSpPr/>
          <p:nvPr/>
        </p:nvGrpSpPr>
        <p:grpSpPr>
          <a:xfrm>
            <a:off x="419860" y="2892091"/>
            <a:ext cx="2019772" cy="1602238"/>
            <a:chOff x="419860" y="2892091"/>
            <a:chExt cx="2019772" cy="1602238"/>
          </a:xfrm>
        </p:grpSpPr>
        <p:sp>
          <p:nvSpPr>
            <p:cNvPr id="98" name="Isosceles Triangle 97">
              <a:extLst>
                <a:ext uri="{FF2B5EF4-FFF2-40B4-BE49-F238E27FC236}">
                  <a16:creationId xmlns="" xmlns:a16="http://schemas.microsoft.com/office/drawing/2014/main" id="{3A10AA11-B471-4E95-BBE5-21875B44917C}"/>
                </a:ext>
              </a:extLst>
            </p:cNvPr>
            <p:cNvSpPr/>
            <p:nvPr/>
          </p:nvSpPr>
          <p:spPr>
            <a:xfrm rot="10800000">
              <a:off x="419860" y="2892091"/>
              <a:ext cx="2019772" cy="1602238"/>
            </a:xfrm>
            <a:prstGeom prst="triangl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7" name="Group 6">
              <a:extLst>
                <a:ext uri="{FF2B5EF4-FFF2-40B4-BE49-F238E27FC236}">
                  <a16:creationId xmlns="" xmlns:a16="http://schemas.microsoft.com/office/drawing/2014/main" id="{503837A3-440B-4E5A-90E7-8BE1DD47DFC4}"/>
                </a:ext>
              </a:extLst>
            </p:cNvPr>
            <p:cNvGrpSpPr>
              <a:grpSpLocks noChangeAspect="1"/>
            </p:cNvGrpSpPr>
            <p:nvPr/>
          </p:nvGrpSpPr>
          <p:grpSpPr bwMode="auto">
            <a:xfrm>
              <a:off x="1157514" y="3156502"/>
              <a:ext cx="525986" cy="507654"/>
              <a:chOff x="5" y="1"/>
              <a:chExt cx="2984" cy="2880"/>
            </a:xfrm>
            <a:solidFill>
              <a:schemeClr val="bg1"/>
            </a:solidFill>
          </p:grpSpPr>
          <p:sp>
            <p:nvSpPr>
              <p:cNvPr id="9" name="Freeform 7">
                <a:extLst>
                  <a:ext uri="{FF2B5EF4-FFF2-40B4-BE49-F238E27FC236}">
                    <a16:creationId xmlns="" xmlns:a16="http://schemas.microsoft.com/office/drawing/2014/main" id="{B82F9A6A-6D8E-4B0F-96A8-444C8A4BB09D}"/>
                  </a:ext>
                </a:extLst>
              </p:cNvPr>
              <p:cNvSpPr>
                <a:spLocks noEditPoints="1"/>
              </p:cNvSpPr>
              <p:nvPr/>
            </p:nvSpPr>
            <p:spPr bwMode="auto">
              <a:xfrm>
                <a:off x="5" y="1"/>
                <a:ext cx="2984" cy="2880"/>
              </a:xfrm>
              <a:custGeom>
                <a:avLst/>
                <a:gdLst>
                  <a:gd name="T0" fmla="*/ 1093 w 1117"/>
                  <a:gd name="T1" fmla="*/ 0 h 1077"/>
                  <a:gd name="T2" fmla="*/ 267 w 1117"/>
                  <a:gd name="T3" fmla="*/ 0 h 1077"/>
                  <a:gd name="T4" fmla="*/ 243 w 1117"/>
                  <a:gd name="T5" fmla="*/ 24 h 1077"/>
                  <a:gd name="T6" fmla="*/ 243 w 1117"/>
                  <a:gd name="T7" fmla="*/ 501 h 1077"/>
                  <a:gd name="T8" fmla="*/ 24 w 1117"/>
                  <a:gd name="T9" fmla="*/ 501 h 1077"/>
                  <a:gd name="T10" fmla="*/ 0 w 1117"/>
                  <a:gd name="T11" fmla="*/ 525 h 1077"/>
                  <a:gd name="T12" fmla="*/ 0 w 1117"/>
                  <a:gd name="T13" fmla="*/ 932 h 1077"/>
                  <a:gd name="T14" fmla="*/ 146 w 1117"/>
                  <a:gd name="T15" fmla="*/ 1077 h 1077"/>
                  <a:gd name="T16" fmla="*/ 972 w 1117"/>
                  <a:gd name="T17" fmla="*/ 1077 h 1077"/>
                  <a:gd name="T18" fmla="*/ 1117 w 1117"/>
                  <a:gd name="T19" fmla="*/ 932 h 1077"/>
                  <a:gd name="T20" fmla="*/ 1117 w 1117"/>
                  <a:gd name="T21" fmla="*/ 24 h 1077"/>
                  <a:gd name="T22" fmla="*/ 1093 w 1117"/>
                  <a:gd name="T23" fmla="*/ 0 h 1077"/>
                  <a:gd name="T24" fmla="*/ 48 w 1117"/>
                  <a:gd name="T25" fmla="*/ 932 h 1077"/>
                  <a:gd name="T26" fmla="*/ 48 w 1117"/>
                  <a:gd name="T27" fmla="*/ 549 h 1077"/>
                  <a:gd name="T28" fmla="*/ 243 w 1117"/>
                  <a:gd name="T29" fmla="*/ 549 h 1077"/>
                  <a:gd name="T30" fmla="*/ 243 w 1117"/>
                  <a:gd name="T31" fmla="*/ 932 h 1077"/>
                  <a:gd name="T32" fmla="*/ 146 w 1117"/>
                  <a:gd name="T33" fmla="*/ 1029 h 1077"/>
                  <a:gd name="T34" fmla="*/ 48 w 1117"/>
                  <a:gd name="T35" fmla="*/ 932 h 1077"/>
                  <a:gd name="T36" fmla="*/ 1069 w 1117"/>
                  <a:gd name="T37" fmla="*/ 932 h 1077"/>
                  <a:gd name="T38" fmla="*/ 972 w 1117"/>
                  <a:gd name="T39" fmla="*/ 1029 h 1077"/>
                  <a:gd name="T40" fmla="*/ 253 w 1117"/>
                  <a:gd name="T41" fmla="*/ 1029 h 1077"/>
                  <a:gd name="T42" fmla="*/ 291 w 1117"/>
                  <a:gd name="T43" fmla="*/ 932 h 1077"/>
                  <a:gd name="T44" fmla="*/ 291 w 1117"/>
                  <a:gd name="T45" fmla="*/ 48 h 1077"/>
                  <a:gd name="T46" fmla="*/ 1069 w 1117"/>
                  <a:gd name="T47" fmla="*/ 48 h 1077"/>
                  <a:gd name="T48" fmla="*/ 1069 w 1117"/>
                  <a:gd name="T49" fmla="*/ 932 h 1077"/>
                  <a:gd name="T50" fmla="*/ 1069 w 1117"/>
                  <a:gd name="T51" fmla="*/ 932 h 1077"/>
                  <a:gd name="T52" fmla="*/ 1069 w 1117"/>
                  <a:gd name="T53" fmla="*/ 932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17" h="1077">
                    <a:moveTo>
                      <a:pt x="1093" y="0"/>
                    </a:moveTo>
                    <a:cubicBezTo>
                      <a:pt x="267" y="0"/>
                      <a:pt x="267" y="0"/>
                      <a:pt x="267" y="0"/>
                    </a:cubicBezTo>
                    <a:cubicBezTo>
                      <a:pt x="254" y="0"/>
                      <a:pt x="243" y="11"/>
                      <a:pt x="243" y="24"/>
                    </a:cubicBezTo>
                    <a:cubicBezTo>
                      <a:pt x="243" y="501"/>
                      <a:pt x="243" y="501"/>
                      <a:pt x="243" y="501"/>
                    </a:cubicBezTo>
                    <a:cubicBezTo>
                      <a:pt x="24" y="501"/>
                      <a:pt x="24" y="501"/>
                      <a:pt x="24" y="501"/>
                    </a:cubicBezTo>
                    <a:cubicBezTo>
                      <a:pt x="11" y="501"/>
                      <a:pt x="0" y="512"/>
                      <a:pt x="0" y="525"/>
                    </a:cubicBezTo>
                    <a:cubicBezTo>
                      <a:pt x="0" y="932"/>
                      <a:pt x="0" y="932"/>
                      <a:pt x="0" y="932"/>
                    </a:cubicBezTo>
                    <a:cubicBezTo>
                      <a:pt x="0" y="1012"/>
                      <a:pt x="65" y="1077"/>
                      <a:pt x="146" y="1077"/>
                    </a:cubicBezTo>
                    <a:cubicBezTo>
                      <a:pt x="972" y="1077"/>
                      <a:pt x="972" y="1077"/>
                      <a:pt x="972" y="1077"/>
                    </a:cubicBezTo>
                    <a:cubicBezTo>
                      <a:pt x="1052" y="1077"/>
                      <a:pt x="1117" y="1012"/>
                      <a:pt x="1117" y="932"/>
                    </a:cubicBezTo>
                    <a:cubicBezTo>
                      <a:pt x="1117" y="24"/>
                      <a:pt x="1117" y="24"/>
                      <a:pt x="1117" y="24"/>
                    </a:cubicBezTo>
                    <a:cubicBezTo>
                      <a:pt x="1117" y="11"/>
                      <a:pt x="1107" y="0"/>
                      <a:pt x="1093" y="0"/>
                    </a:cubicBezTo>
                    <a:close/>
                    <a:moveTo>
                      <a:pt x="48" y="932"/>
                    </a:moveTo>
                    <a:cubicBezTo>
                      <a:pt x="48" y="549"/>
                      <a:pt x="48" y="549"/>
                      <a:pt x="48" y="549"/>
                    </a:cubicBezTo>
                    <a:cubicBezTo>
                      <a:pt x="243" y="549"/>
                      <a:pt x="243" y="549"/>
                      <a:pt x="243" y="549"/>
                    </a:cubicBezTo>
                    <a:cubicBezTo>
                      <a:pt x="243" y="932"/>
                      <a:pt x="243" y="932"/>
                      <a:pt x="243" y="932"/>
                    </a:cubicBezTo>
                    <a:cubicBezTo>
                      <a:pt x="243" y="986"/>
                      <a:pt x="199" y="1029"/>
                      <a:pt x="146" y="1029"/>
                    </a:cubicBezTo>
                    <a:cubicBezTo>
                      <a:pt x="92" y="1029"/>
                      <a:pt x="48" y="986"/>
                      <a:pt x="48" y="932"/>
                    </a:cubicBezTo>
                    <a:close/>
                    <a:moveTo>
                      <a:pt x="1069" y="932"/>
                    </a:moveTo>
                    <a:cubicBezTo>
                      <a:pt x="1069" y="986"/>
                      <a:pt x="1026" y="1029"/>
                      <a:pt x="972" y="1029"/>
                    </a:cubicBezTo>
                    <a:cubicBezTo>
                      <a:pt x="253" y="1029"/>
                      <a:pt x="253" y="1029"/>
                      <a:pt x="253" y="1029"/>
                    </a:cubicBezTo>
                    <a:cubicBezTo>
                      <a:pt x="277" y="1004"/>
                      <a:pt x="291" y="969"/>
                      <a:pt x="291" y="932"/>
                    </a:cubicBezTo>
                    <a:cubicBezTo>
                      <a:pt x="291" y="48"/>
                      <a:pt x="291" y="48"/>
                      <a:pt x="291" y="48"/>
                    </a:cubicBezTo>
                    <a:cubicBezTo>
                      <a:pt x="1069" y="48"/>
                      <a:pt x="1069" y="48"/>
                      <a:pt x="1069" y="48"/>
                    </a:cubicBezTo>
                    <a:lnTo>
                      <a:pt x="1069" y="932"/>
                    </a:lnTo>
                    <a:close/>
                    <a:moveTo>
                      <a:pt x="1069" y="932"/>
                    </a:moveTo>
                    <a:cubicBezTo>
                      <a:pt x="1069" y="932"/>
                      <a:pt x="1069" y="932"/>
                      <a:pt x="1069" y="9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0" name="Freeform 8">
                <a:extLst>
                  <a:ext uri="{FF2B5EF4-FFF2-40B4-BE49-F238E27FC236}">
                    <a16:creationId xmlns="" xmlns:a16="http://schemas.microsoft.com/office/drawing/2014/main" id="{5C06B7CB-74FD-48A2-A25B-8D624497231B}"/>
                  </a:ext>
                </a:extLst>
              </p:cNvPr>
              <p:cNvSpPr>
                <a:spLocks noEditPoints="1"/>
              </p:cNvSpPr>
              <p:nvPr/>
            </p:nvSpPr>
            <p:spPr bwMode="auto">
              <a:xfrm>
                <a:off x="1667" y="613"/>
                <a:ext cx="951" cy="129"/>
              </a:xfrm>
              <a:custGeom>
                <a:avLst/>
                <a:gdLst>
                  <a:gd name="T0" fmla="*/ 24 w 356"/>
                  <a:gd name="T1" fmla="*/ 48 h 48"/>
                  <a:gd name="T2" fmla="*/ 332 w 356"/>
                  <a:gd name="T3" fmla="*/ 48 h 48"/>
                  <a:gd name="T4" fmla="*/ 356 w 356"/>
                  <a:gd name="T5" fmla="*/ 24 h 48"/>
                  <a:gd name="T6" fmla="*/ 332 w 356"/>
                  <a:gd name="T7" fmla="*/ 0 h 48"/>
                  <a:gd name="T8" fmla="*/ 24 w 356"/>
                  <a:gd name="T9" fmla="*/ 0 h 48"/>
                  <a:gd name="T10" fmla="*/ 0 w 356"/>
                  <a:gd name="T11" fmla="*/ 24 h 48"/>
                  <a:gd name="T12" fmla="*/ 24 w 356"/>
                  <a:gd name="T13" fmla="*/ 48 h 48"/>
                  <a:gd name="T14" fmla="*/ 24 w 356"/>
                  <a:gd name="T15" fmla="*/ 48 h 48"/>
                  <a:gd name="T16" fmla="*/ 24 w 356"/>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6" h="48">
                    <a:moveTo>
                      <a:pt x="24" y="48"/>
                    </a:moveTo>
                    <a:cubicBezTo>
                      <a:pt x="332" y="48"/>
                      <a:pt x="332" y="48"/>
                      <a:pt x="332" y="48"/>
                    </a:cubicBezTo>
                    <a:cubicBezTo>
                      <a:pt x="345" y="48"/>
                      <a:pt x="356" y="37"/>
                      <a:pt x="356" y="24"/>
                    </a:cubicBezTo>
                    <a:cubicBezTo>
                      <a:pt x="356" y="11"/>
                      <a:pt x="345" y="0"/>
                      <a:pt x="332" y="0"/>
                    </a:cubicBezTo>
                    <a:cubicBezTo>
                      <a:pt x="24" y="0"/>
                      <a:pt x="24" y="0"/>
                      <a:pt x="24" y="0"/>
                    </a:cubicBezTo>
                    <a:cubicBezTo>
                      <a:pt x="11" y="0"/>
                      <a:pt x="0" y="11"/>
                      <a:pt x="0" y="24"/>
                    </a:cubicBezTo>
                    <a:cubicBezTo>
                      <a:pt x="0" y="37"/>
                      <a:pt x="11" y="48"/>
                      <a:pt x="24" y="48"/>
                    </a:cubicBezTo>
                    <a:close/>
                    <a:moveTo>
                      <a:pt x="24" y="48"/>
                    </a:moveTo>
                    <a:cubicBezTo>
                      <a:pt x="24" y="48"/>
                      <a:pt x="24" y="48"/>
                      <a:pt x="2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1" name="Freeform 9">
                <a:extLst>
                  <a:ext uri="{FF2B5EF4-FFF2-40B4-BE49-F238E27FC236}">
                    <a16:creationId xmlns="" xmlns:a16="http://schemas.microsoft.com/office/drawing/2014/main" id="{D8C4C3DB-A45E-43A1-8CCD-A34DA5D84EF1}"/>
                  </a:ext>
                </a:extLst>
              </p:cNvPr>
              <p:cNvSpPr>
                <a:spLocks noEditPoints="1"/>
              </p:cNvSpPr>
              <p:nvPr/>
            </p:nvSpPr>
            <p:spPr bwMode="auto">
              <a:xfrm>
                <a:off x="1667" y="1319"/>
                <a:ext cx="951" cy="129"/>
              </a:xfrm>
              <a:custGeom>
                <a:avLst/>
                <a:gdLst>
                  <a:gd name="T0" fmla="*/ 24 w 356"/>
                  <a:gd name="T1" fmla="*/ 48 h 48"/>
                  <a:gd name="T2" fmla="*/ 332 w 356"/>
                  <a:gd name="T3" fmla="*/ 48 h 48"/>
                  <a:gd name="T4" fmla="*/ 356 w 356"/>
                  <a:gd name="T5" fmla="*/ 24 h 48"/>
                  <a:gd name="T6" fmla="*/ 332 w 356"/>
                  <a:gd name="T7" fmla="*/ 0 h 48"/>
                  <a:gd name="T8" fmla="*/ 24 w 356"/>
                  <a:gd name="T9" fmla="*/ 0 h 48"/>
                  <a:gd name="T10" fmla="*/ 0 w 356"/>
                  <a:gd name="T11" fmla="*/ 24 h 48"/>
                  <a:gd name="T12" fmla="*/ 24 w 356"/>
                  <a:gd name="T13" fmla="*/ 48 h 48"/>
                  <a:gd name="T14" fmla="*/ 24 w 356"/>
                  <a:gd name="T15" fmla="*/ 48 h 48"/>
                  <a:gd name="T16" fmla="*/ 24 w 356"/>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6" h="48">
                    <a:moveTo>
                      <a:pt x="24" y="48"/>
                    </a:moveTo>
                    <a:cubicBezTo>
                      <a:pt x="332" y="48"/>
                      <a:pt x="332" y="48"/>
                      <a:pt x="332" y="48"/>
                    </a:cubicBezTo>
                    <a:cubicBezTo>
                      <a:pt x="345" y="48"/>
                      <a:pt x="356" y="37"/>
                      <a:pt x="356" y="24"/>
                    </a:cubicBezTo>
                    <a:cubicBezTo>
                      <a:pt x="356" y="11"/>
                      <a:pt x="345" y="0"/>
                      <a:pt x="332" y="0"/>
                    </a:cubicBezTo>
                    <a:cubicBezTo>
                      <a:pt x="24" y="0"/>
                      <a:pt x="24" y="0"/>
                      <a:pt x="24" y="0"/>
                    </a:cubicBezTo>
                    <a:cubicBezTo>
                      <a:pt x="11" y="0"/>
                      <a:pt x="0" y="11"/>
                      <a:pt x="0" y="24"/>
                    </a:cubicBezTo>
                    <a:cubicBezTo>
                      <a:pt x="0" y="37"/>
                      <a:pt x="11" y="48"/>
                      <a:pt x="24" y="48"/>
                    </a:cubicBezTo>
                    <a:close/>
                    <a:moveTo>
                      <a:pt x="24" y="48"/>
                    </a:moveTo>
                    <a:cubicBezTo>
                      <a:pt x="24" y="48"/>
                      <a:pt x="24" y="48"/>
                      <a:pt x="2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2" name="Freeform 10">
                <a:extLst>
                  <a:ext uri="{FF2B5EF4-FFF2-40B4-BE49-F238E27FC236}">
                    <a16:creationId xmlns="" xmlns:a16="http://schemas.microsoft.com/office/drawing/2014/main" id="{6AD4AFF4-792A-4E27-BFC6-991942691E94}"/>
                  </a:ext>
                </a:extLst>
              </p:cNvPr>
              <p:cNvSpPr>
                <a:spLocks noEditPoints="1"/>
              </p:cNvSpPr>
              <p:nvPr/>
            </p:nvSpPr>
            <p:spPr bwMode="auto">
              <a:xfrm>
                <a:off x="1667" y="2025"/>
                <a:ext cx="951" cy="129"/>
              </a:xfrm>
              <a:custGeom>
                <a:avLst/>
                <a:gdLst>
                  <a:gd name="T0" fmla="*/ 24 w 356"/>
                  <a:gd name="T1" fmla="*/ 48 h 48"/>
                  <a:gd name="T2" fmla="*/ 332 w 356"/>
                  <a:gd name="T3" fmla="*/ 48 h 48"/>
                  <a:gd name="T4" fmla="*/ 356 w 356"/>
                  <a:gd name="T5" fmla="*/ 24 h 48"/>
                  <a:gd name="T6" fmla="*/ 332 w 356"/>
                  <a:gd name="T7" fmla="*/ 0 h 48"/>
                  <a:gd name="T8" fmla="*/ 24 w 356"/>
                  <a:gd name="T9" fmla="*/ 0 h 48"/>
                  <a:gd name="T10" fmla="*/ 0 w 356"/>
                  <a:gd name="T11" fmla="*/ 24 h 48"/>
                  <a:gd name="T12" fmla="*/ 24 w 356"/>
                  <a:gd name="T13" fmla="*/ 48 h 48"/>
                  <a:gd name="T14" fmla="*/ 24 w 356"/>
                  <a:gd name="T15" fmla="*/ 48 h 48"/>
                  <a:gd name="T16" fmla="*/ 24 w 356"/>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6" h="48">
                    <a:moveTo>
                      <a:pt x="24" y="48"/>
                    </a:moveTo>
                    <a:cubicBezTo>
                      <a:pt x="332" y="48"/>
                      <a:pt x="332" y="48"/>
                      <a:pt x="332" y="48"/>
                    </a:cubicBezTo>
                    <a:cubicBezTo>
                      <a:pt x="345" y="48"/>
                      <a:pt x="356" y="37"/>
                      <a:pt x="356" y="24"/>
                    </a:cubicBezTo>
                    <a:cubicBezTo>
                      <a:pt x="356" y="10"/>
                      <a:pt x="345" y="0"/>
                      <a:pt x="332" y="0"/>
                    </a:cubicBezTo>
                    <a:cubicBezTo>
                      <a:pt x="24" y="0"/>
                      <a:pt x="24" y="0"/>
                      <a:pt x="24" y="0"/>
                    </a:cubicBezTo>
                    <a:cubicBezTo>
                      <a:pt x="11" y="0"/>
                      <a:pt x="0" y="10"/>
                      <a:pt x="0" y="24"/>
                    </a:cubicBezTo>
                    <a:cubicBezTo>
                      <a:pt x="0" y="37"/>
                      <a:pt x="11" y="48"/>
                      <a:pt x="24" y="48"/>
                    </a:cubicBezTo>
                    <a:close/>
                    <a:moveTo>
                      <a:pt x="24" y="48"/>
                    </a:moveTo>
                    <a:cubicBezTo>
                      <a:pt x="24" y="48"/>
                      <a:pt x="24" y="48"/>
                      <a:pt x="2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3" name="Freeform 11">
                <a:extLst>
                  <a:ext uri="{FF2B5EF4-FFF2-40B4-BE49-F238E27FC236}">
                    <a16:creationId xmlns="" xmlns:a16="http://schemas.microsoft.com/office/drawing/2014/main" id="{D9E30B62-B10D-4B6B-B973-76B606356BB5}"/>
                  </a:ext>
                </a:extLst>
              </p:cNvPr>
              <p:cNvSpPr>
                <a:spLocks noEditPoints="1"/>
              </p:cNvSpPr>
              <p:nvPr/>
            </p:nvSpPr>
            <p:spPr bwMode="auto">
              <a:xfrm>
                <a:off x="975" y="314"/>
                <a:ext cx="636" cy="521"/>
              </a:xfrm>
              <a:custGeom>
                <a:avLst/>
                <a:gdLst>
                  <a:gd name="T0" fmla="*/ 62 w 238"/>
                  <a:gd name="T1" fmla="*/ 187 h 195"/>
                  <a:gd name="T2" fmla="*/ 79 w 238"/>
                  <a:gd name="T3" fmla="*/ 195 h 195"/>
                  <a:gd name="T4" fmla="*/ 80 w 238"/>
                  <a:gd name="T5" fmla="*/ 195 h 195"/>
                  <a:gd name="T6" fmla="*/ 97 w 238"/>
                  <a:gd name="T7" fmla="*/ 187 h 195"/>
                  <a:gd name="T8" fmla="*/ 229 w 238"/>
                  <a:gd name="T9" fmla="*/ 43 h 195"/>
                  <a:gd name="T10" fmla="*/ 227 w 238"/>
                  <a:gd name="T11" fmla="*/ 9 h 195"/>
                  <a:gd name="T12" fmla="*/ 194 w 238"/>
                  <a:gd name="T13" fmla="*/ 10 h 195"/>
                  <a:gd name="T14" fmla="*/ 79 w 238"/>
                  <a:gd name="T15" fmla="*/ 135 h 195"/>
                  <a:gd name="T16" fmla="*/ 44 w 238"/>
                  <a:gd name="T17" fmla="*/ 98 h 195"/>
                  <a:gd name="T18" fmla="*/ 10 w 238"/>
                  <a:gd name="T19" fmla="*/ 97 h 195"/>
                  <a:gd name="T20" fmla="*/ 9 w 238"/>
                  <a:gd name="T21" fmla="*/ 131 h 195"/>
                  <a:gd name="T22" fmla="*/ 62 w 238"/>
                  <a:gd name="T23" fmla="*/ 187 h 195"/>
                  <a:gd name="T24" fmla="*/ 62 w 238"/>
                  <a:gd name="T25" fmla="*/ 187 h 195"/>
                  <a:gd name="T26" fmla="*/ 62 w 238"/>
                  <a:gd name="T27" fmla="*/ 18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 h="195">
                    <a:moveTo>
                      <a:pt x="62" y="187"/>
                    </a:moveTo>
                    <a:cubicBezTo>
                      <a:pt x="67" y="192"/>
                      <a:pt x="73" y="195"/>
                      <a:pt x="79" y="195"/>
                    </a:cubicBezTo>
                    <a:cubicBezTo>
                      <a:pt x="80" y="195"/>
                      <a:pt x="80" y="195"/>
                      <a:pt x="80" y="195"/>
                    </a:cubicBezTo>
                    <a:cubicBezTo>
                      <a:pt x="86" y="195"/>
                      <a:pt x="93" y="192"/>
                      <a:pt x="97" y="187"/>
                    </a:cubicBezTo>
                    <a:cubicBezTo>
                      <a:pt x="229" y="43"/>
                      <a:pt x="229" y="43"/>
                      <a:pt x="229" y="43"/>
                    </a:cubicBezTo>
                    <a:cubicBezTo>
                      <a:pt x="238" y="33"/>
                      <a:pt x="237" y="18"/>
                      <a:pt x="227" y="9"/>
                    </a:cubicBezTo>
                    <a:cubicBezTo>
                      <a:pt x="218" y="0"/>
                      <a:pt x="203" y="0"/>
                      <a:pt x="194" y="10"/>
                    </a:cubicBezTo>
                    <a:cubicBezTo>
                      <a:pt x="79" y="135"/>
                      <a:pt x="79" y="135"/>
                      <a:pt x="79" y="135"/>
                    </a:cubicBezTo>
                    <a:cubicBezTo>
                      <a:pt x="44" y="98"/>
                      <a:pt x="44" y="98"/>
                      <a:pt x="44" y="98"/>
                    </a:cubicBezTo>
                    <a:cubicBezTo>
                      <a:pt x="34" y="88"/>
                      <a:pt x="19" y="88"/>
                      <a:pt x="10" y="97"/>
                    </a:cubicBezTo>
                    <a:cubicBezTo>
                      <a:pt x="0" y="106"/>
                      <a:pt x="0" y="121"/>
                      <a:pt x="9" y="131"/>
                    </a:cubicBezTo>
                    <a:lnTo>
                      <a:pt x="62" y="187"/>
                    </a:lnTo>
                    <a:close/>
                    <a:moveTo>
                      <a:pt x="62" y="187"/>
                    </a:moveTo>
                    <a:cubicBezTo>
                      <a:pt x="62" y="187"/>
                      <a:pt x="62" y="187"/>
                      <a:pt x="62" y="1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5" name="Freeform 12">
                <a:extLst>
                  <a:ext uri="{FF2B5EF4-FFF2-40B4-BE49-F238E27FC236}">
                    <a16:creationId xmlns="" xmlns:a16="http://schemas.microsoft.com/office/drawing/2014/main" id="{53B7347D-9A61-4E0A-BA6F-85ACBF56DE65}"/>
                  </a:ext>
                </a:extLst>
              </p:cNvPr>
              <p:cNvSpPr>
                <a:spLocks noEditPoints="1"/>
              </p:cNvSpPr>
              <p:nvPr/>
            </p:nvSpPr>
            <p:spPr bwMode="auto">
              <a:xfrm>
                <a:off x="975" y="1049"/>
                <a:ext cx="636" cy="522"/>
              </a:xfrm>
              <a:custGeom>
                <a:avLst/>
                <a:gdLst>
                  <a:gd name="T0" fmla="*/ 194 w 238"/>
                  <a:gd name="T1" fmla="*/ 10 h 195"/>
                  <a:gd name="T2" fmla="*/ 79 w 238"/>
                  <a:gd name="T3" fmla="*/ 136 h 195"/>
                  <a:gd name="T4" fmla="*/ 44 w 238"/>
                  <a:gd name="T5" fmla="*/ 98 h 195"/>
                  <a:gd name="T6" fmla="*/ 10 w 238"/>
                  <a:gd name="T7" fmla="*/ 97 h 195"/>
                  <a:gd name="T8" fmla="*/ 9 w 238"/>
                  <a:gd name="T9" fmla="*/ 131 h 195"/>
                  <a:gd name="T10" fmla="*/ 62 w 238"/>
                  <a:gd name="T11" fmla="*/ 187 h 195"/>
                  <a:gd name="T12" fmla="*/ 79 w 238"/>
                  <a:gd name="T13" fmla="*/ 195 h 195"/>
                  <a:gd name="T14" fmla="*/ 80 w 238"/>
                  <a:gd name="T15" fmla="*/ 195 h 195"/>
                  <a:gd name="T16" fmla="*/ 97 w 238"/>
                  <a:gd name="T17" fmla="*/ 187 h 195"/>
                  <a:gd name="T18" fmla="*/ 229 w 238"/>
                  <a:gd name="T19" fmla="*/ 43 h 195"/>
                  <a:gd name="T20" fmla="*/ 227 w 238"/>
                  <a:gd name="T21" fmla="*/ 9 h 195"/>
                  <a:gd name="T22" fmla="*/ 194 w 238"/>
                  <a:gd name="T23" fmla="*/ 10 h 195"/>
                  <a:gd name="T24" fmla="*/ 194 w 238"/>
                  <a:gd name="T25" fmla="*/ 10 h 195"/>
                  <a:gd name="T26" fmla="*/ 194 w 238"/>
                  <a:gd name="T27" fmla="*/ 1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 h="195">
                    <a:moveTo>
                      <a:pt x="194" y="10"/>
                    </a:moveTo>
                    <a:cubicBezTo>
                      <a:pt x="79" y="136"/>
                      <a:pt x="79" y="136"/>
                      <a:pt x="79" y="136"/>
                    </a:cubicBezTo>
                    <a:cubicBezTo>
                      <a:pt x="44" y="98"/>
                      <a:pt x="44" y="98"/>
                      <a:pt x="44" y="98"/>
                    </a:cubicBezTo>
                    <a:cubicBezTo>
                      <a:pt x="34" y="88"/>
                      <a:pt x="19" y="88"/>
                      <a:pt x="10" y="97"/>
                    </a:cubicBezTo>
                    <a:cubicBezTo>
                      <a:pt x="0" y="106"/>
                      <a:pt x="0" y="121"/>
                      <a:pt x="9" y="131"/>
                    </a:cubicBezTo>
                    <a:cubicBezTo>
                      <a:pt x="62" y="187"/>
                      <a:pt x="62" y="187"/>
                      <a:pt x="62" y="187"/>
                    </a:cubicBezTo>
                    <a:cubicBezTo>
                      <a:pt x="67" y="192"/>
                      <a:pt x="73" y="195"/>
                      <a:pt x="79" y="195"/>
                    </a:cubicBezTo>
                    <a:cubicBezTo>
                      <a:pt x="80" y="195"/>
                      <a:pt x="80" y="195"/>
                      <a:pt x="80" y="195"/>
                    </a:cubicBezTo>
                    <a:cubicBezTo>
                      <a:pt x="86" y="195"/>
                      <a:pt x="93" y="192"/>
                      <a:pt x="97" y="187"/>
                    </a:cubicBezTo>
                    <a:cubicBezTo>
                      <a:pt x="229" y="43"/>
                      <a:pt x="229" y="43"/>
                      <a:pt x="229" y="43"/>
                    </a:cubicBezTo>
                    <a:cubicBezTo>
                      <a:pt x="238" y="33"/>
                      <a:pt x="237" y="18"/>
                      <a:pt x="227" y="9"/>
                    </a:cubicBezTo>
                    <a:cubicBezTo>
                      <a:pt x="218" y="0"/>
                      <a:pt x="203" y="0"/>
                      <a:pt x="194" y="10"/>
                    </a:cubicBezTo>
                    <a:close/>
                    <a:moveTo>
                      <a:pt x="194" y="10"/>
                    </a:moveTo>
                    <a:cubicBezTo>
                      <a:pt x="194" y="10"/>
                      <a:pt x="194" y="10"/>
                      <a:pt x="19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6" name="Freeform 13">
                <a:extLst>
                  <a:ext uri="{FF2B5EF4-FFF2-40B4-BE49-F238E27FC236}">
                    <a16:creationId xmlns="" xmlns:a16="http://schemas.microsoft.com/office/drawing/2014/main" id="{B0A1CAE7-CA8A-4F3F-98E4-346DB8EEB115}"/>
                  </a:ext>
                </a:extLst>
              </p:cNvPr>
              <p:cNvSpPr>
                <a:spLocks noEditPoints="1"/>
              </p:cNvSpPr>
              <p:nvPr/>
            </p:nvSpPr>
            <p:spPr bwMode="auto">
              <a:xfrm>
                <a:off x="975" y="1785"/>
                <a:ext cx="636" cy="521"/>
              </a:xfrm>
              <a:custGeom>
                <a:avLst/>
                <a:gdLst>
                  <a:gd name="T0" fmla="*/ 194 w 238"/>
                  <a:gd name="T1" fmla="*/ 10 h 195"/>
                  <a:gd name="T2" fmla="*/ 79 w 238"/>
                  <a:gd name="T3" fmla="*/ 136 h 195"/>
                  <a:gd name="T4" fmla="*/ 44 w 238"/>
                  <a:gd name="T5" fmla="*/ 98 h 195"/>
                  <a:gd name="T6" fmla="*/ 10 w 238"/>
                  <a:gd name="T7" fmla="*/ 97 h 195"/>
                  <a:gd name="T8" fmla="*/ 9 w 238"/>
                  <a:gd name="T9" fmla="*/ 131 h 195"/>
                  <a:gd name="T10" fmla="*/ 62 w 238"/>
                  <a:gd name="T11" fmla="*/ 187 h 195"/>
                  <a:gd name="T12" fmla="*/ 79 w 238"/>
                  <a:gd name="T13" fmla="*/ 195 h 195"/>
                  <a:gd name="T14" fmla="*/ 80 w 238"/>
                  <a:gd name="T15" fmla="*/ 195 h 195"/>
                  <a:gd name="T16" fmla="*/ 97 w 238"/>
                  <a:gd name="T17" fmla="*/ 187 h 195"/>
                  <a:gd name="T18" fmla="*/ 229 w 238"/>
                  <a:gd name="T19" fmla="*/ 43 h 195"/>
                  <a:gd name="T20" fmla="*/ 227 w 238"/>
                  <a:gd name="T21" fmla="*/ 9 h 195"/>
                  <a:gd name="T22" fmla="*/ 194 w 238"/>
                  <a:gd name="T23" fmla="*/ 10 h 195"/>
                  <a:gd name="T24" fmla="*/ 194 w 238"/>
                  <a:gd name="T25" fmla="*/ 10 h 195"/>
                  <a:gd name="T26" fmla="*/ 194 w 238"/>
                  <a:gd name="T27" fmla="*/ 1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 h="195">
                    <a:moveTo>
                      <a:pt x="194" y="10"/>
                    </a:moveTo>
                    <a:cubicBezTo>
                      <a:pt x="79" y="136"/>
                      <a:pt x="79" y="136"/>
                      <a:pt x="79" y="136"/>
                    </a:cubicBezTo>
                    <a:cubicBezTo>
                      <a:pt x="44" y="98"/>
                      <a:pt x="44" y="98"/>
                      <a:pt x="44" y="98"/>
                    </a:cubicBezTo>
                    <a:cubicBezTo>
                      <a:pt x="34" y="88"/>
                      <a:pt x="19" y="88"/>
                      <a:pt x="10" y="97"/>
                    </a:cubicBezTo>
                    <a:cubicBezTo>
                      <a:pt x="0" y="106"/>
                      <a:pt x="0" y="121"/>
                      <a:pt x="9" y="131"/>
                    </a:cubicBezTo>
                    <a:cubicBezTo>
                      <a:pt x="62" y="187"/>
                      <a:pt x="62" y="187"/>
                      <a:pt x="62" y="187"/>
                    </a:cubicBezTo>
                    <a:cubicBezTo>
                      <a:pt x="67" y="192"/>
                      <a:pt x="73" y="195"/>
                      <a:pt x="79" y="195"/>
                    </a:cubicBezTo>
                    <a:cubicBezTo>
                      <a:pt x="80" y="195"/>
                      <a:pt x="80" y="195"/>
                      <a:pt x="80" y="195"/>
                    </a:cubicBezTo>
                    <a:cubicBezTo>
                      <a:pt x="86" y="195"/>
                      <a:pt x="93" y="192"/>
                      <a:pt x="97" y="187"/>
                    </a:cubicBezTo>
                    <a:cubicBezTo>
                      <a:pt x="229" y="43"/>
                      <a:pt x="229" y="43"/>
                      <a:pt x="229" y="43"/>
                    </a:cubicBezTo>
                    <a:cubicBezTo>
                      <a:pt x="238" y="33"/>
                      <a:pt x="237" y="18"/>
                      <a:pt x="227" y="9"/>
                    </a:cubicBezTo>
                    <a:cubicBezTo>
                      <a:pt x="218" y="0"/>
                      <a:pt x="203" y="1"/>
                      <a:pt x="194" y="10"/>
                    </a:cubicBezTo>
                    <a:close/>
                    <a:moveTo>
                      <a:pt x="194" y="10"/>
                    </a:moveTo>
                    <a:cubicBezTo>
                      <a:pt x="194" y="10"/>
                      <a:pt x="194" y="10"/>
                      <a:pt x="19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spTree>
    <p:extLst>
      <p:ext uri="{BB962C8B-B14F-4D97-AF65-F5344CB8AC3E}">
        <p14:creationId xmlns:p14="http://schemas.microsoft.com/office/powerpoint/2010/main" val="1526555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750"/>
                                        <p:tgtEl>
                                          <p:spTgt spid="34"/>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97"/>
                                        </p:tgtEl>
                                        <p:attrNameLst>
                                          <p:attrName>style.visibility</p:attrName>
                                        </p:attrNameLst>
                                      </p:cBhvr>
                                      <p:to>
                                        <p:strVal val="visible"/>
                                      </p:to>
                                    </p:set>
                                    <p:animEffect transition="in" filter="fade">
                                      <p:cBhvr>
                                        <p:cTn id="10" dur="500"/>
                                        <p:tgtEl>
                                          <p:spTgt spid="97"/>
                                        </p:tgtEl>
                                      </p:cBhvr>
                                    </p:animEffect>
                                  </p:childTnLst>
                                </p:cTn>
                              </p:par>
                              <p:par>
                                <p:cTn id="11" presetID="42" presetClass="path" presetSubtype="0" accel="50000" decel="50000" fill="hold" grpId="1" nodeType="withEffect">
                                  <p:stCondLst>
                                    <p:cond delay="250"/>
                                  </p:stCondLst>
                                  <p:childTnLst>
                                    <p:animMotion origin="layout" path="M 4.375E-6 4.07407E-6 L 4.375E-6 -0.11528 " pathEditMode="relative" rAng="0" ptsTypes="AA">
                                      <p:cBhvr>
                                        <p:cTn id="12" dur="750" spd="-100000" fill="hold"/>
                                        <p:tgtEl>
                                          <p:spTgt spid="97"/>
                                        </p:tgtEl>
                                        <p:attrNameLst>
                                          <p:attrName>ppt_x</p:attrName>
                                          <p:attrName>ppt_y</p:attrName>
                                        </p:attrNameLst>
                                      </p:cBhvr>
                                      <p:rCtr x="0" y="-5764"/>
                                    </p:animMotion>
                                  </p:childTnLst>
                                </p:cTn>
                              </p:par>
                              <p:par>
                                <p:cTn id="13" presetID="10" presetClass="entr" presetSubtype="0" fill="hold" grpId="0" nodeType="withEffect">
                                  <p:stCondLst>
                                    <p:cond delay="100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par>
                                <p:cTn id="16" presetID="10" presetClass="entr" presetSubtype="0" fill="hold" nodeType="withEffect">
                                  <p:stCondLst>
                                    <p:cond delay="75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par>
                                <p:cTn id="19" presetID="42" presetClass="path" presetSubtype="0" accel="50000" decel="50000" fill="hold" nodeType="withEffect">
                                  <p:stCondLst>
                                    <p:cond delay="750"/>
                                  </p:stCondLst>
                                  <p:childTnLst>
                                    <p:animMotion origin="layout" path="M 1.25E-6 4.07407E-6 L 1.25E-6 -0.11528 " pathEditMode="relative" rAng="0" ptsTypes="AA">
                                      <p:cBhvr>
                                        <p:cTn id="20" dur="750" spd="-100000" fill="hold"/>
                                        <p:tgtEl>
                                          <p:spTgt spid="17"/>
                                        </p:tgtEl>
                                        <p:attrNameLst>
                                          <p:attrName>ppt_x</p:attrName>
                                          <p:attrName>ppt_y</p:attrName>
                                        </p:attrNameLst>
                                      </p:cBhvr>
                                      <p:rCtr x="0" y="-5764"/>
                                    </p:animMotion>
                                  </p:childTnLst>
                                </p:cTn>
                              </p:par>
                              <p:par>
                                <p:cTn id="21" presetID="22" presetClass="entr" presetSubtype="4" fill="hold" nodeType="withEffect">
                                  <p:stCondLst>
                                    <p:cond delay="1000"/>
                                  </p:stCondLst>
                                  <p:childTnLst>
                                    <p:set>
                                      <p:cBhvr>
                                        <p:cTn id="22" dur="1" fill="hold">
                                          <p:stCondLst>
                                            <p:cond delay="0"/>
                                          </p:stCondLst>
                                        </p:cTn>
                                        <p:tgtEl>
                                          <p:spTgt spid="43"/>
                                        </p:tgtEl>
                                        <p:attrNameLst>
                                          <p:attrName>style.visibility</p:attrName>
                                        </p:attrNameLst>
                                      </p:cBhvr>
                                      <p:to>
                                        <p:strVal val="visible"/>
                                      </p:to>
                                    </p:set>
                                    <p:animEffect transition="in" filter="wipe(down)">
                                      <p:cBhvr>
                                        <p:cTn id="23" dur="500"/>
                                        <p:tgtEl>
                                          <p:spTgt spid="43"/>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2" presetClass="entr" presetSubtype="4" decel="100000" fill="hold" nodeType="withEffect">
                                  <p:stCondLst>
                                    <p:cond delay="0"/>
                                  </p:stCondLst>
                                  <p:childTnLst>
                                    <p:set>
                                      <p:cBhvr>
                                        <p:cTn id="29" dur="1" fill="hold">
                                          <p:stCondLst>
                                            <p:cond delay="0"/>
                                          </p:stCondLst>
                                        </p:cTn>
                                        <p:tgtEl>
                                          <p:spTgt spid="82"/>
                                        </p:tgtEl>
                                        <p:attrNameLst>
                                          <p:attrName>style.visibility</p:attrName>
                                        </p:attrNameLst>
                                      </p:cBhvr>
                                      <p:to>
                                        <p:strVal val="visible"/>
                                      </p:to>
                                    </p:set>
                                    <p:anim calcmode="lin" valueType="num">
                                      <p:cBhvr additive="base">
                                        <p:cTn id="30" dur="500" fill="hold"/>
                                        <p:tgtEl>
                                          <p:spTgt spid="82"/>
                                        </p:tgtEl>
                                        <p:attrNameLst>
                                          <p:attrName>ppt_x</p:attrName>
                                        </p:attrNameLst>
                                      </p:cBhvr>
                                      <p:tavLst>
                                        <p:tav tm="0">
                                          <p:val>
                                            <p:strVal val="#ppt_x"/>
                                          </p:val>
                                        </p:tav>
                                        <p:tav tm="100000">
                                          <p:val>
                                            <p:strVal val="#ppt_x"/>
                                          </p:val>
                                        </p:tav>
                                      </p:tavLst>
                                    </p:anim>
                                    <p:anim calcmode="lin" valueType="num">
                                      <p:cBhvr additive="base">
                                        <p:cTn id="31" dur="500" fill="hold"/>
                                        <p:tgtEl>
                                          <p:spTgt spid="82"/>
                                        </p:tgtEl>
                                        <p:attrNameLst>
                                          <p:attrName>ppt_y</p:attrName>
                                        </p:attrNameLst>
                                      </p:cBhvr>
                                      <p:tavLst>
                                        <p:tav tm="0">
                                          <p:val>
                                            <p:strVal val="1+#ppt_h/2"/>
                                          </p:val>
                                        </p:tav>
                                        <p:tav tm="100000">
                                          <p:val>
                                            <p:strVal val="#ppt_y"/>
                                          </p:val>
                                        </p:tav>
                                      </p:tavLst>
                                    </p:anim>
                                  </p:childTnLst>
                                </p:cTn>
                              </p:par>
                              <p:par>
                                <p:cTn id="32" presetID="10" presetClass="entr" presetSubtype="0" fill="hold" grpId="0" nodeType="withEffect">
                                  <p:stCondLst>
                                    <p:cond delay="0"/>
                                  </p:stCondLst>
                                  <p:childTnLst>
                                    <p:set>
                                      <p:cBhvr>
                                        <p:cTn id="33" dur="1" fill="hold">
                                          <p:stCondLst>
                                            <p:cond delay="0"/>
                                          </p:stCondLst>
                                        </p:cTn>
                                        <p:tgtEl>
                                          <p:spTgt spid="37"/>
                                        </p:tgtEl>
                                        <p:attrNameLst>
                                          <p:attrName>style.visibility</p:attrName>
                                        </p:attrNameLst>
                                      </p:cBhvr>
                                      <p:to>
                                        <p:strVal val="visible"/>
                                      </p:to>
                                    </p:set>
                                    <p:animEffect transition="in" filter="fade">
                                      <p:cBhvr>
                                        <p:cTn id="34" dur="500"/>
                                        <p:tgtEl>
                                          <p:spTgt spid="3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6"/>
                                        </p:tgtEl>
                                        <p:attrNameLst>
                                          <p:attrName>style.visibility</p:attrName>
                                        </p:attrNameLst>
                                      </p:cBhvr>
                                      <p:to>
                                        <p:strVal val="visible"/>
                                      </p:to>
                                    </p:set>
                                    <p:animEffect transition="in" filter="fade">
                                      <p:cBhvr>
                                        <p:cTn id="37" dur="500"/>
                                        <p:tgtEl>
                                          <p:spTgt spid="36"/>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20"/>
                                        </p:tgtEl>
                                        <p:attrNameLst>
                                          <p:attrName>style.visibility</p:attrName>
                                        </p:attrNameLst>
                                      </p:cBhvr>
                                      <p:to>
                                        <p:strVal val="visible"/>
                                      </p:to>
                                    </p:set>
                                    <p:animEffect transition="in" filter="fade">
                                      <p:cBhvr>
                                        <p:cTn id="41" dur="500"/>
                                        <p:tgtEl>
                                          <p:spTgt spid="20"/>
                                        </p:tgtEl>
                                      </p:cBhvr>
                                    </p:animEffect>
                                  </p:childTnLst>
                                </p:cTn>
                              </p:par>
                              <p:par>
                                <p:cTn id="42" presetID="2" presetClass="entr" presetSubtype="4" decel="100000" fill="hold" nodeType="withEffect">
                                  <p:stCondLst>
                                    <p:cond delay="0"/>
                                  </p:stCondLst>
                                  <p:childTnLst>
                                    <p:set>
                                      <p:cBhvr>
                                        <p:cTn id="43" dur="1" fill="hold">
                                          <p:stCondLst>
                                            <p:cond delay="0"/>
                                          </p:stCondLst>
                                        </p:cTn>
                                        <p:tgtEl>
                                          <p:spTgt spid="83"/>
                                        </p:tgtEl>
                                        <p:attrNameLst>
                                          <p:attrName>style.visibility</p:attrName>
                                        </p:attrNameLst>
                                      </p:cBhvr>
                                      <p:to>
                                        <p:strVal val="visible"/>
                                      </p:to>
                                    </p:set>
                                    <p:anim calcmode="lin" valueType="num">
                                      <p:cBhvr additive="base">
                                        <p:cTn id="44" dur="500" fill="hold"/>
                                        <p:tgtEl>
                                          <p:spTgt spid="83"/>
                                        </p:tgtEl>
                                        <p:attrNameLst>
                                          <p:attrName>ppt_x</p:attrName>
                                        </p:attrNameLst>
                                      </p:cBhvr>
                                      <p:tavLst>
                                        <p:tav tm="0">
                                          <p:val>
                                            <p:strVal val="#ppt_x"/>
                                          </p:val>
                                        </p:tav>
                                        <p:tav tm="100000">
                                          <p:val>
                                            <p:strVal val="#ppt_x"/>
                                          </p:val>
                                        </p:tav>
                                      </p:tavLst>
                                    </p:anim>
                                    <p:anim calcmode="lin" valueType="num">
                                      <p:cBhvr additive="base">
                                        <p:cTn id="45" dur="500" fill="hold"/>
                                        <p:tgtEl>
                                          <p:spTgt spid="83"/>
                                        </p:tgtEl>
                                        <p:attrNameLst>
                                          <p:attrName>ppt_y</p:attrName>
                                        </p:attrNameLst>
                                      </p:cBhvr>
                                      <p:tavLst>
                                        <p:tav tm="0">
                                          <p:val>
                                            <p:strVal val="1+#ppt_h/2"/>
                                          </p:val>
                                        </p:tav>
                                        <p:tav tm="100000">
                                          <p:val>
                                            <p:strVal val="#ppt_y"/>
                                          </p:val>
                                        </p:tav>
                                      </p:tavLst>
                                    </p:anim>
                                  </p:childTnLst>
                                </p:cTn>
                              </p:par>
                              <p:par>
                                <p:cTn id="46" presetID="10" presetClass="entr" presetSubtype="0" fill="hold" grpId="0" nodeType="withEffect">
                                  <p:stCondLst>
                                    <p:cond delay="0"/>
                                  </p:stCondLst>
                                  <p:childTnLst>
                                    <p:set>
                                      <p:cBhvr>
                                        <p:cTn id="47" dur="1" fill="hold">
                                          <p:stCondLst>
                                            <p:cond delay="0"/>
                                          </p:stCondLst>
                                        </p:cTn>
                                        <p:tgtEl>
                                          <p:spTgt spid="90"/>
                                        </p:tgtEl>
                                        <p:attrNameLst>
                                          <p:attrName>style.visibility</p:attrName>
                                        </p:attrNameLst>
                                      </p:cBhvr>
                                      <p:to>
                                        <p:strVal val="visible"/>
                                      </p:to>
                                    </p:set>
                                    <p:animEffect transition="in" filter="fade">
                                      <p:cBhvr>
                                        <p:cTn id="48" dur="500"/>
                                        <p:tgtEl>
                                          <p:spTgt spid="9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87"/>
                                        </p:tgtEl>
                                        <p:attrNameLst>
                                          <p:attrName>style.visibility</p:attrName>
                                        </p:attrNameLst>
                                      </p:cBhvr>
                                      <p:to>
                                        <p:strVal val="visible"/>
                                      </p:to>
                                    </p:set>
                                    <p:animEffect transition="in" filter="fade">
                                      <p:cBhvr>
                                        <p:cTn id="51" dur="500"/>
                                        <p:tgtEl>
                                          <p:spTgt spid="87"/>
                                        </p:tgtEl>
                                      </p:cBhvr>
                                    </p:animEffect>
                                  </p:childTnLst>
                                </p:cTn>
                              </p:par>
                            </p:childTnLst>
                          </p:cTn>
                        </p:par>
                        <p:par>
                          <p:cTn id="52" fill="hold">
                            <p:stCondLst>
                              <p:cond delay="2500"/>
                            </p:stCondLst>
                            <p:childTnLst>
                              <p:par>
                                <p:cTn id="53" presetID="10" presetClass="entr" presetSubtype="0" fill="hold" nodeType="after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500"/>
                                        <p:tgtEl>
                                          <p:spTgt spid="21"/>
                                        </p:tgtEl>
                                      </p:cBhvr>
                                    </p:animEffect>
                                  </p:childTnLst>
                                </p:cTn>
                              </p:par>
                              <p:par>
                                <p:cTn id="56" presetID="2" presetClass="entr" presetSubtype="4" decel="100000" fill="hold" nodeType="withEffect">
                                  <p:stCondLst>
                                    <p:cond delay="0"/>
                                  </p:stCondLst>
                                  <p:childTnLst>
                                    <p:set>
                                      <p:cBhvr>
                                        <p:cTn id="57" dur="1" fill="hold">
                                          <p:stCondLst>
                                            <p:cond delay="0"/>
                                          </p:stCondLst>
                                        </p:cTn>
                                        <p:tgtEl>
                                          <p:spTgt spid="84"/>
                                        </p:tgtEl>
                                        <p:attrNameLst>
                                          <p:attrName>style.visibility</p:attrName>
                                        </p:attrNameLst>
                                      </p:cBhvr>
                                      <p:to>
                                        <p:strVal val="visible"/>
                                      </p:to>
                                    </p:set>
                                    <p:anim calcmode="lin" valueType="num">
                                      <p:cBhvr additive="base">
                                        <p:cTn id="58" dur="500" fill="hold"/>
                                        <p:tgtEl>
                                          <p:spTgt spid="84"/>
                                        </p:tgtEl>
                                        <p:attrNameLst>
                                          <p:attrName>ppt_x</p:attrName>
                                        </p:attrNameLst>
                                      </p:cBhvr>
                                      <p:tavLst>
                                        <p:tav tm="0">
                                          <p:val>
                                            <p:strVal val="#ppt_x"/>
                                          </p:val>
                                        </p:tav>
                                        <p:tav tm="100000">
                                          <p:val>
                                            <p:strVal val="#ppt_x"/>
                                          </p:val>
                                        </p:tav>
                                      </p:tavLst>
                                    </p:anim>
                                    <p:anim calcmode="lin" valueType="num">
                                      <p:cBhvr additive="base">
                                        <p:cTn id="59" dur="500" fill="hold"/>
                                        <p:tgtEl>
                                          <p:spTgt spid="84"/>
                                        </p:tgtEl>
                                        <p:attrNameLst>
                                          <p:attrName>ppt_y</p:attrName>
                                        </p:attrNameLst>
                                      </p:cBhvr>
                                      <p:tavLst>
                                        <p:tav tm="0">
                                          <p:val>
                                            <p:strVal val="1+#ppt_h/2"/>
                                          </p:val>
                                        </p:tav>
                                        <p:tav tm="100000">
                                          <p:val>
                                            <p:strVal val="#ppt_y"/>
                                          </p:val>
                                        </p:tav>
                                      </p:tavLst>
                                    </p:anim>
                                  </p:childTnLst>
                                </p:cTn>
                              </p:par>
                              <p:par>
                                <p:cTn id="60" presetID="10" presetClass="entr" presetSubtype="0" fill="hold" grpId="0" nodeType="withEffect">
                                  <p:stCondLst>
                                    <p:cond delay="0"/>
                                  </p:stCondLst>
                                  <p:childTnLst>
                                    <p:set>
                                      <p:cBhvr>
                                        <p:cTn id="61" dur="1" fill="hold">
                                          <p:stCondLst>
                                            <p:cond delay="0"/>
                                          </p:stCondLst>
                                        </p:cTn>
                                        <p:tgtEl>
                                          <p:spTgt spid="91"/>
                                        </p:tgtEl>
                                        <p:attrNameLst>
                                          <p:attrName>style.visibility</p:attrName>
                                        </p:attrNameLst>
                                      </p:cBhvr>
                                      <p:to>
                                        <p:strVal val="visible"/>
                                      </p:to>
                                    </p:set>
                                    <p:animEffect transition="in" filter="fade">
                                      <p:cBhvr>
                                        <p:cTn id="62" dur="500"/>
                                        <p:tgtEl>
                                          <p:spTgt spid="9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88"/>
                                        </p:tgtEl>
                                        <p:attrNameLst>
                                          <p:attrName>style.visibility</p:attrName>
                                        </p:attrNameLst>
                                      </p:cBhvr>
                                      <p:to>
                                        <p:strVal val="visible"/>
                                      </p:to>
                                    </p:set>
                                    <p:animEffect transition="in" filter="fade">
                                      <p:cBhvr>
                                        <p:cTn id="65" dur="500"/>
                                        <p:tgtEl>
                                          <p:spTgt spid="88"/>
                                        </p:tgtEl>
                                      </p:cBhvr>
                                    </p:animEffect>
                                  </p:childTnLst>
                                </p:cTn>
                              </p:par>
                            </p:childTnLst>
                          </p:cTn>
                        </p:par>
                        <p:par>
                          <p:cTn id="66" fill="hold">
                            <p:stCondLst>
                              <p:cond delay="3000"/>
                            </p:stCondLst>
                            <p:childTnLst>
                              <p:par>
                                <p:cTn id="67" presetID="10" presetClass="entr" presetSubtype="0" fill="hold" nodeType="afterEffect">
                                  <p:stCondLst>
                                    <p:cond delay="0"/>
                                  </p:stCondLst>
                                  <p:childTnLst>
                                    <p:set>
                                      <p:cBhvr>
                                        <p:cTn id="68" dur="1" fill="hold">
                                          <p:stCondLst>
                                            <p:cond delay="0"/>
                                          </p:stCondLst>
                                        </p:cTn>
                                        <p:tgtEl>
                                          <p:spTgt spid="22"/>
                                        </p:tgtEl>
                                        <p:attrNameLst>
                                          <p:attrName>style.visibility</p:attrName>
                                        </p:attrNameLst>
                                      </p:cBhvr>
                                      <p:to>
                                        <p:strVal val="visible"/>
                                      </p:to>
                                    </p:set>
                                    <p:animEffect transition="in" filter="fade">
                                      <p:cBhvr>
                                        <p:cTn id="69" dur="500"/>
                                        <p:tgtEl>
                                          <p:spTgt spid="22"/>
                                        </p:tgtEl>
                                      </p:cBhvr>
                                    </p:animEffect>
                                  </p:childTnLst>
                                </p:cTn>
                              </p:par>
                              <p:par>
                                <p:cTn id="70" presetID="2" presetClass="entr" presetSubtype="4" decel="100000" fill="hold" nodeType="withEffect">
                                  <p:stCondLst>
                                    <p:cond delay="0"/>
                                  </p:stCondLst>
                                  <p:childTnLst>
                                    <p:set>
                                      <p:cBhvr>
                                        <p:cTn id="71" dur="1" fill="hold">
                                          <p:stCondLst>
                                            <p:cond delay="0"/>
                                          </p:stCondLst>
                                        </p:cTn>
                                        <p:tgtEl>
                                          <p:spTgt spid="85"/>
                                        </p:tgtEl>
                                        <p:attrNameLst>
                                          <p:attrName>style.visibility</p:attrName>
                                        </p:attrNameLst>
                                      </p:cBhvr>
                                      <p:to>
                                        <p:strVal val="visible"/>
                                      </p:to>
                                    </p:set>
                                    <p:anim calcmode="lin" valueType="num">
                                      <p:cBhvr additive="base">
                                        <p:cTn id="72" dur="500" fill="hold"/>
                                        <p:tgtEl>
                                          <p:spTgt spid="85"/>
                                        </p:tgtEl>
                                        <p:attrNameLst>
                                          <p:attrName>ppt_x</p:attrName>
                                        </p:attrNameLst>
                                      </p:cBhvr>
                                      <p:tavLst>
                                        <p:tav tm="0">
                                          <p:val>
                                            <p:strVal val="#ppt_x"/>
                                          </p:val>
                                        </p:tav>
                                        <p:tav tm="100000">
                                          <p:val>
                                            <p:strVal val="#ppt_x"/>
                                          </p:val>
                                        </p:tav>
                                      </p:tavLst>
                                    </p:anim>
                                    <p:anim calcmode="lin" valueType="num">
                                      <p:cBhvr additive="base">
                                        <p:cTn id="73" dur="500" fill="hold"/>
                                        <p:tgtEl>
                                          <p:spTgt spid="85"/>
                                        </p:tgtEl>
                                        <p:attrNameLst>
                                          <p:attrName>ppt_y</p:attrName>
                                        </p:attrNameLst>
                                      </p:cBhvr>
                                      <p:tavLst>
                                        <p:tav tm="0">
                                          <p:val>
                                            <p:strVal val="1+#ppt_h/2"/>
                                          </p:val>
                                        </p:tav>
                                        <p:tav tm="100000">
                                          <p:val>
                                            <p:strVal val="#ppt_y"/>
                                          </p:val>
                                        </p:tav>
                                      </p:tavLst>
                                    </p:anim>
                                  </p:childTnLst>
                                </p:cTn>
                              </p:par>
                              <p:par>
                                <p:cTn id="74" presetID="10" presetClass="entr" presetSubtype="0" fill="hold" grpId="0" nodeType="withEffect">
                                  <p:stCondLst>
                                    <p:cond delay="0"/>
                                  </p:stCondLst>
                                  <p:childTnLst>
                                    <p:set>
                                      <p:cBhvr>
                                        <p:cTn id="75" dur="1" fill="hold">
                                          <p:stCondLst>
                                            <p:cond delay="0"/>
                                          </p:stCondLst>
                                        </p:cTn>
                                        <p:tgtEl>
                                          <p:spTgt spid="92"/>
                                        </p:tgtEl>
                                        <p:attrNameLst>
                                          <p:attrName>style.visibility</p:attrName>
                                        </p:attrNameLst>
                                      </p:cBhvr>
                                      <p:to>
                                        <p:strVal val="visible"/>
                                      </p:to>
                                    </p:set>
                                    <p:animEffect transition="in" filter="fade">
                                      <p:cBhvr>
                                        <p:cTn id="76" dur="500"/>
                                        <p:tgtEl>
                                          <p:spTgt spid="92"/>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89"/>
                                        </p:tgtEl>
                                        <p:attrNameLst>
                                          <p:attrName>style.visibility</p:attrName>
                                        </p:attrNameLst>
                                      </p:cBhvr>
                                      <p:to>
                                        <p:strVal val="visible"/>
                                      </p:to>
                                    </p:set>
                                    <p:animEffect transition="in" filter="fade">
                                      <p:cBhvr>
                                        <p:cTn id="79" dur="5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87" grpId="0"/>
      <p:bldP spid="88" grpId="0"/>
      <p:bldP spid="89" grpId="0"/>
      <p:bldP spid="90" grpId="0"/>
      <p:bldP spid="91" grpId="0"/>
      <p:bldP spid="92" grpId="0"/>
      <p:bldP spid="34" grpId="0"/>
      <p:bldP spid="97" grpId="0" animBg="1"/>
      <p:bldP spid="97" grpId="1" animBg="1"/>
      <p:bldP spid="4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78219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5" name="Picture 74"/>
          <p:cNvPicPr>
            <a:picLocks noChangeAspect="1"/>
          </p:cNvPicPr>
          <p:nvPr/>
        </p:nvPicPr>
        <p:blipFill>
          <a:blip r:embed="rId6"/>
          <a:stretch>
            <a:fillRect/>
          </a:stretch>
        </p:blipFill>
        <p:spPr>
          <a:xfrm>
            <a:off x="76200" y="6629400"/>
            <a:ext cx="4619050" cy="195171"/>
          </a:xfrm>
          <a:prstGeom prst="rect">
            <a:avLst/>
          </a:prstGeom>
        </p:spPr>
      </p:pic>
      <p:pic>
        <p:nvPicPr>
          <p:cNvPr id="122" name="Picture 121">
            <a:extLst>
              <a:ext uri="{FF2B5EF4-FFF2-40B4-BE49-F238E27FC236}">
                <a16:creationId xmlns="" xmlns:a16="http://schemas.microsoft.com/office/drawing/2014/main" id="{B5DF36DF-B359-4CD4-A104-EFF463C18EA2}"/>
              </a:ext>
            </a:extLst>
          </p:cNvPr>
          <p:cNvPicPr>
            <a:picLocks noChangeAspect="1"/>
          </p:cNvPicPr>
          <p:nvPr/>
        </p:nvPicPr>
        <p:blipFill>
          <a:blip r:embed="rId7"/>
          <a:stretch>
            <a:fillRect/>
          </a:stretch>
        </p:blipFill>
        <p:spPr>
          <a:xfrm>
            <a:off x="3937698" y="1934742"/>
            <a:ext cx="8254302" cy="4315977"/>
          </a:xfrm>
          <a:prstGeom prst="rect">
            <a:avLst/>
          </a:prstGeom>
        </p:spPr>
      </p:pic>
      <p:pic>
        <p:nvPicPr>
          <p:cNvPr id="28" name="Graphic 27">
            <a:extLst>
              <a:ext uri="{FF2B5EF4-FFF2-40B4-BE49-F238E27FC236}">
                <a16:creationId xmlns="" xmlns:a16="http://schemas.microsoft.com/office/drawing/2014/main" id="{368FEFD6-C365-441B-903B-3643C2812D96}"/>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11345612" y="6490506"/>
            <a:ext cx="720740" cy="276876"/>
          </a:xfrm>
          <a:prstGeom prst="rect">
            <a:avLst/>
          </a:prstGeom>
        </p:spPr>
      </p:pic>
      <p:sp>
        <p:nvSpPr>
          <p:cNvPr id="31" name="Title 1">
            <a:extLst>
              <a:ext uri="{FF2B5EF4-FFF2-40B4-BE49-F238E27FC236}">
                <a16:creationId xmlns="" xmlns:a16="http://schemas.microsoft.com/office/drawing/2014/main" id="{224B2ADB-1884-4E2F-A509-85FCA69EB4C8}"/>
              </a:ext>
            </a:extLst>
          </p:cNvPr>
          <p:cNvSpPr txBox="1">
            <a:spLocks/>
          </p:cNvSpPr>
          <p:nvPr/>
        </p:nvSpPr>
        <p:spPr>
          <a:xfrm>
            <a:off x="3841988" y="378800"/>
            <a:ext cx="6768623" cy="1256799"/>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lnSpc>
                <a:spcPct val="85000"/>
              </a:lnSpc>
            </a:pPr>
            <a:r>
              <a:rPr lang="en-US" sz="2400" b="1" dirty="0">
                <a:solidFill>
                  <a:srgbClr val="05589C"/>
                </a:solidFill>
                <a:latin typeface="Verdana" panose="020B0604030504040204" pitchFamily="34" charset="0"/>
                <a:ea typeface="Verdana" panose="020B0604030504040204" pitchFamily="34" charset="0"/>
                <a:cs typeface="Verdana" panose="020B0604030504040204" pitchFamily="34" charset="0"/>
              </a:rPr>
              <a:t>BD IS COMMITTED TO PROVIDING ON-GOING EDUCATION PROGRAMS </a:t>
            </a:r>
            <a:r>
              <a:rPr lang="en-US" sz="2400" b="1" dirty="0">
                <a:solidFill>
                  <a:srgbClr val="F26926"/>
                </a:solidFill>
                <a:latin typeface="Verdana" panose="020B0604030504040204" pitchFamily="34" charset="0"/>
                <a:ea typeface="Verdana" panose="020B0604030504040204" pitchFamily="34" charset="0"/>
                <a:cs typeface="Verdana" panose="020B0604030504040204" pitchFamily="34" charset="0"/>
              </a:rPr>
              <a:t/>
            </a:r>
            <a:br>
              <a:rPr lang="en-US" sz="2400" b="1" dirty="0">
                <a:solidFill>
                  <a:srgbClr val="F26926"/>
                </a:solidFill>
                <a:latin typeface="Verdana" panose="020B0604030504040204" pitchFamily="34" charset="0"/>
                <a:ea typeface="Verdana" panose="020B0604030504040204" pitchFamily="34" charset="0"/>
                <a:cs typeface="Verdana" panose="020B0604030504040204" pitchFamily="34" charset="0"/>
              </a:rPr>
            </a:br>
            <a:r>
              <a:rPr lang="en-US" sz="2000" spc="600" dirty="0">
                <a:latin typeface="Verdana" panose="020B0604030504040204" pitchFamily="34" charset="0"/>
                <a:ea typeface="Verdana" panose="020B0604030504040204" pitchFamily="34" charset="0"/>
                <a:cs typeface="Verdana" panose="020B0604030504040204" pitchFamily="34" charset="0"/>
              </a:rPr>
              <a:t>TO HELP TRAIN CLINICIANS AND ULTIMATELY BENEFIT PATIENTS</a:t>
            </a:r>
            <a:endParaRPr lang="en-US" sz="2400" spc="600" dirty="0">
              <a:latin typeface="Verdana" panose="020B0604030504040204" pitchFamily="34" charset="0"/>
              <a:ea typeface="Verdana" panose="020B0604030504040204" pitchFamily="34" charset="0"/>
              <a:cs typeface="Verdana" panose="020B0604030504040204" pitchFamily="34" charset="0"/>
            </a:endParaRPr>
          </a:p>
        </p:txBody>
      </p:sp>
      <p:sp>
        <p:nvSpPr>
          <p:cNvPr id="44" name="Isosceles Triangle 43">
            <a:extLst>
              <a:ext uri="{FF2B5EF4-FFF2-40B4-BE49-F238E27FC236}">
                <a16:creationId xmlns="" xmlns:a16="http://schemas.microsoft.com/office/drawing/2014/main" id="{AA4D42C5-A756-4938-B43F-C08ED91FADDD}"/>
              </a:ext>
            </a:extLst>
          </p:cNvPr>
          <p:cNvSpPr/>
          <p:nvPr/>
        </p:nvSpPr>
        <p:spPr>
          <a:xfrm rot="10800000">
            <a:off x="219746" y="-3581400"/>
            <a:ext cx="4961854" cy="4276315"/>
          </a:xfrm>
          <a:prstGeom prst="triangle">
            <a:avLst/>
          </a:prstGeom>
          <a:solidFill>
            <a:srgbClr val="F26926">
              <a:alpha val="6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latin typeface="Calibri" panose="020F0502020204030204"/>
            </a:endParaRPr>
          </a:p>
        </p:txBody>
      </p:sp>
      <p:cxnSp>
        <p:nvCxnSpPr>
          <p:cNvPr id="45" name="Straight Connector 44">
            <a:extLst>
              <a:ext uri="{FF2B5EF4-FFF2-40B4-BE49-F238E27FC236}">
                <a16:creationId xmlns="" xmlns:a16="http://schemas.microsoft.com/office/drawing/2014/main" id="{83DF45C4-DF09-49DF-982B-4385EE820E9D}"/>
              </a:ext>
            </a:extLst>
          </p:cNvPr>
          <p:cNvCxnSpPr>
            <a:cxnSpLocks/>
          </p:cNvCxnSpPr>
          <p:nvPr/>
        </p:nvCxnSpPr>
        <p:spPr>
          <a:xfrm>
            <a:off x="2705100" y="675866"/>
            <a:ext cx="0" cy="6182134"/>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 xmlns:a16="http://schemas.microsoft.com/office/drawing/2014/main" id="{A1D6A7B9-1574-4FE6-9F74-982F3A6ECA65}"/>
              </a:ext>
            </a:extLst>
          </p:cNvPr>
          <p:cNvSpPr txBox="1"/>
          <p:nvPr/>
        </p:nvSpPr>
        <p:spPr>
          <a:xfrm>
            <a:off x="351361" y="1989598"/>
            <a:ext cx="1748630" cy="701842"/>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lvl="0" algn="r">
              <a:defRPr/>
            </a:pPr>
            <a:r>
              <a:rPr lang="en-US" sz="1600" dirty="0"/>
              <a:t>Customized in-service training</a:t>
            </a:r>
          </a:p>
        </p:txBody>
      </p:sp>
      <p:sp>
        <p:nvSpPr>
          <p:cNvPr id="57" name="TextBox 56">
            <a:extLst>
              <a:ext uri="{FF2B5EF4-FFF2-40B4-BE49-F238E27FC236}">
                <a16:creationId xmlns="" xmlns:a16="http://schemas.microsoft.com/office/drawing/2014/main" id="{AB89C043-E6A2-470E-A921-C639151CD615}"/>
              </a:ext>
            </a:extLst>
          </p:cNvPr>
          <p:cNvSpPr txBox="1"/>
          <p:nvPr/>
        </p:nvSpPr>
        <p:spPr>
          <a:xfrm>
            <a:off x="351361" y="3394116"/>
            <a:ext cx="1748630" cy="492554"/>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lvl="0" algn="r">
              <a:defRPr/>
            </a:pPr>
            <a:r>
              <a:rPr lang="en-US" sz="1600" dirty="0"/>
              <a:t>Clinical skills development</a:t>
            </a:r>
          </a:p>
        </p:txBody>
      </p:sp>
      <p:sp>
        <p:nvSpPr>
          <p:cNvPr id="58" name="TextBox 57">
            <a:extLst>
              <a:ext uri="{FF2B5EF4-FFF2-40B4-BE49-F238E27FC236}">
                <a16:creationId xmlns="" xmlns:a16="http://schemas.microsoft.com/office/drawing/2014/main" id="{9E807A13-C866-4040-B5CF-00311A1E4C59}"/>
              </a:ext>
            </a:extLst>
          </p:cNvPr>
          <p:cNvSpPr txBox="1"/>
          <p:nvPr/>
        </p:nvSpPr>
        <p:spPr>
          <a:xfrm>
            <a:off x="351361" y="4281573"/>
            <a:ext cx="1748630" cy="701842"/>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lvl="0" algn="r">
              <a:defRPr/>
            </a:pPr>
            <a:r>
              <a:rPr lang="en-US" sz="1600" dirty="0"/>
              <a:t>On-demand eLearning modules</a:t>
            </a:r>
          </a:p>
        </p:txBody>
      </p:sp>
      <p:sp>
        <p:nvSpPr>
          <p:cNvPr id="59" name="TextBox 58">
            <a:extLst>
              <a:ext uri="{FF2B5EF4-FFF2-40B4-BE49-F238E27FC236}">
                <a16:creationId xmlns="" xmlns:a16="http://schemas.microsoft.com/office/drawing/2014/main" id="{D9C737A4-1CF9-4247-9654-518C5A0D027C}"/>
              </a:ext>
            </a:extLst>
          </p:cNvPr>
          <p:cNvSpPr txBox="1"/>
          <p:nvPr/>
        </p:nvSpPr>
        <p:spPr>
          <a:xfrm>
            <a:off x="351361" y="5525595"/>
            <a:ext cx="1748630" cy="701842"/>
          </a:xfrm>
          <a:prstGeom prst="rect">
            <a:avLst/>
          </a:prstGeom>
          <a:noFill/>
        </p:spPr>
        <p:txBody>
          <a:bodyPr wrap="square" lIns="73262" tIns="36631" rIns="73262" bIns="36631" rtlCol="0">
            <a:spAutoFit/>
          </a:bodyPr>
          <a:lstStyle>
            <a:defPPr>
              <a:defRPr lang="pt-PT"/>
            </a:defPPr>
            <a:lvl1pPr algn="ct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lvl="0" algn="r">
              <a:defRPr/>
            </a:pPr>
            <a:r>
              <a:rPr lang="en-US" sz="1600" dirty="0"/>
              <a:t>Clinical Practice Assessments</a:t>
            </a:r>
          </a:p>
        </p:txBody>
      </p:sp>
      <p:cxnSp>
        <p:nvCxnSpPr>
          <p:cNvPr id="63" name="Straight Connector 62">
            <a:extLst>
              <a:ext uri="{FF2B5EF4-FFF2-40B4-BE49-F238E27FC236}">
                <a16:creationId xmlns="" xmlns:a16="http://schemas.microsoft.com/office/drawing/2014/main" id="{82B65D59-2494-42F6-916D-F4A495ED6072}"/>
              </a:ext>
            </a:extLst>
          </p:cNvPr>
          <p:cNvCxnSpPr>
            <a:cxnSpLocks/>
          </p:cNvCxnSpPr>
          <p:nvPr/>
        </p:nvCxnSpPr>
        <p:spPr>
          <a:xfrm>
            <a:off x="3934832" y="1704047"/>
            <a:ext cx="1094368" cy="0"/>
          </a:xfrm>
          <a:prstGeom prst="line">
            <a:avLst/>
          </a:prstGeom>
          <a:ln w="57150">
            <a:solidFill>
              <a:srgbClr val="60606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 xmlns:a16="http://schemas.microsoft.com/office/drawing/2014/main" id="{B80BC279-EC13-4D4A-9DF4-5D55D4CF4A8F}"/>
              </a:ext>
            </a:extLst>
          </p:cNvPr>
          <p:cNvSpPr/>
          <p:nvPr/>
        </p:nvSpPr>
        <p:spPr>
          <a:xfrm>
            <a:off x="8750300" y="1929321"/>
            <a:ext cx="3441700" cy="4315977"/>
          </a:xfrm>
          <a:prstGeom prst="rect">
            <a:avLst/>
          </a:prstGeom>
          <a:solidFill>
            <a:srgbClr val="05589C">
              <a:alpha val="8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PT" dirty="0"/>
          </a:p>
        </p:txBody>
      </p:sp>
      <p:grpSp>
        <p:nvGrpSpPr>
          <p:cNvPr id="80" name="Group 79">
            <a:extLst>
              <a:ext uri="{FF2B5EF4-FFF2-40B4-BE49-F238E27FC236}">
                <a16:creationId xmlns="" xmlns:a16="http://schemas.microsoft.com/office/drawing/2014/main" id="{D98ECE25-CB0A-47D6-B87A-C3E2B4F99314}"/>
              </a:ext>
            </a:extLst>
          </p:cNvPr>
          <p:cNvGrpSpPr/>
          <p:nvPr/>
        </p:nvGrpSpPr>
        <p:grpSpPr>
          <a:xfrm>
            <a:off x="8961993" y="2156326"/>
            <a:ext cx="1859872" cy="2481266"/>
            <a:chOff x="8907042" y="2400304"/>
            <a:chExt cx="1859872" cy="2481266"/>
          </a:xfrm>
        </p:grpSpPr>
        <p:grpSp>
          <p:nvGrpSpPr>
            <p:cNvPr id="74" name="Group 73">
              <a:extLst>
                <a:ext uri="{FF2B5EF4-FFF2-40B4-BE49-F238E27FC236}">
                  <a16:creationId xmlns="" xmlns:a16="http://schemas.microsoft.com/office/drawing/2014/main" id="{86DD1AAC-E614-4F0C-95E0-039C30A9306F}"/>
                </a:ext>
              </a:extLst>
            </p:cNvPr>
            <p:cNvGrpSpPr/>
            <p:nvPr/>
          </p:nvGrpSpPr>
          <p:grpSpPr>
            <a:xfrm>
              <a:off x="8907042" y="2400304"/>
              <a:ext cx="1859872" cy="2481266"/>
              <a:chOff x="1493275" y="2122658"/>
              <a:chExt cx="1988498" cy="2652862"/>
            </a:xfrm>
          </p:grpSpPr>
          <p:sp>
            <p:nvSpPr>
              <p:cNvPr id="76" name="Rectangle 75">
                <a:extLst>
                  <a:ext uri="{FF2B5EF4-FFF2-40B4-BE49-F238E27FC236}">
                    <a16:creationId xmlns="" xmlns:a16="http://schemas.microsoft.com/office/drawing/2014/main" id="{6196C4C3-C969-42E5-AD67-4AC5954BA802}"/>
                  </a:ext>
                </a:extLst>
              </p:cNvPr>
              <p:cNvSpPr/>
              <p:nvPr/>
            </p:nvSpPr>
            <p:spPr>
              <a:xfrm>
                <a:off x="1493275" y="2122658"/>
                <a:ext cx="1988498" cy="2652862"/>
              </a:xfrm>
              <a:prstGeom prst="rect">
                <a:avLst/>
              </a:prstGeom>
              <a:solidFill>
                <a:schemeClr val="bg2">
                  <a:alpha val="69000"/>
                </a:schemeClr>
              </a:solidFill>
              <a:ln>
                <a:noFill/>
              </a:ln>
              <a:effectLst>
                <a:outerShdw blurRad="177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a:ea typeface="+mn-ea"/>
                  <a:cs typeface="+mn-cs"/>
                </a:endParaRPr>
              </a:p>
            </p:txBody>
          </p:sp>
          <p:sp>
            <p:nvSpPr>
              <p:cNvPr id="77" name="Rectangle 76">
                <a:extLst>
                  <a:ext uri="{FF2B5EF4-FFF2-40B4-BE49-F238E27FC236}">
                    <a16:creationId xmlns="" xmlns:a16="http://schemas.microsoft.com/office/drawing/2014/main" id="{3D343146-BECB-4EE6-AF6E-E99F95246475}"/>
                  </a:ext>
                </a:extLst>
              </p:cNvPr>
              <p:cNvSpPr/>
              <p:nvPr/>
            </p:nvSpPr>
            <p:spPr>
              <a:xfrm>
                <a:off x="1562140" y="2372874"/>
                <a:ext cx="1848717" cy="23160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20" name="Picture 2"/>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9026139" y="2691028"/>
              <a:ext cx="1619760" cy="2102572"/>
            </a:xfrm>
            <a:prstGeom prst="rect">
              <a:avLst/>
            </a:prstGeom>
            <a:extLst>
              <a:ext uri="{909E8E84-426E-40DD-AFC4-6F175D3DCCD1}">
                <a14:hiddenFill xmlns:a14="http://schemas.microsoft.com/office/drawing/2010/main">
                  <a:solidFill>
                    <a:schemeClr val="accent1"/>
                  </a:solidFill>
                </a14:hiddenFill>
              </a:ext>
            </a:extLst>
          </p:spPr>
        </p:pic>
      </p:grpSp>
      <p:grpSp>
        <p:nvGrpSpPr>
          <p:cNvPr id="88" name="Group 87">
            <a:extLst>
              <a:ext uri="{FF2B5EF4-FFF2-40B4-BE49-F238E27FC236}">
                <a16:creationId xmlns="" xmlns:a16="http://schemas.microsoft.com/office/drawing/2014/main" id="{DCB01071-31E9-4716-B331-A2E8FE70175F}"/>
              </a:ext>
            </a:extLst>
          </p:cNvPr>
          <p:cNvGrpSpPr/>
          <p:nvPr/>
        </p:nvGrpSpPr>
        <p:grpSpPr>
          <a:xfrm>
            <a:off x="9325809" y="2597385"/>
            <a:ext cx="1859872" cy="2481266"/>
            <a:chOff x="9788686" y="2882395"/>
            <a:chExt cx="1859872" cy="2481266"/>
          </a:xfrm>
        </p:grpSpPr>
        <p:grpSp>
          <p:nvGrpSpPr>
            <p:cNvPr id="82" name="Group 81">
              <a:extLst>
                <a:ext uri="{FF2B5EF4-FFF2-40B4-BE49-F238E27FC236}">
                  <a16:creationId xmlns="" xmlns:a16="http://schemas.microsoft.com/office/drawing/2014/main" id="{C61E3186-4882-45CA-A97F-6237FB3443EB}"/>
                </a:ext>
              </a:extLst>
            </p:cNvPr>
            <p:cNvGrpSpPr/>
            <p:nvPr/>
          </p:nvGrpSpPr>
          <p:grpSpPr>
            <a:xfrm>
              <a:off x="9788686" y="2882395"/>
              <a:ext cx="1859872" cy="2481266"/>
              <a:chOff x="1493275" y="2122658"/>
              <a:chExt cx="1988498" cy="2652862"/>
            </a:xfrm>
          </p:grpSpPr>
          <p:sp>
            <p:nvSpPr>
              <p:cNvPr id="84" name="Rectangle 83">
                <a:extLst>
                  <a:ext uri="{FF2B5EF4-FFF2-40B4-BE49-F238E27FC236}">
                    <a16:creationId xmlns="" xmlns:a16="http://schemas.microsoft.com/office/drawing/2014/main" id="{446C434C-0877-4F0A-81A2-AE980B8EE9EC}"/>
                  </a:ext>
                </a:extLst>
              </p:cNvPr>
              <p:cNvSpPr/>
              <p:nvPr/>
            </p:nvSpPr>
            <p:spPr>
              <a:xfrm>
                <a:off x="1493275" y="2122658"/>
                <a:ext cx="1988498" cy="2652862"/>
              </a:xfrm>
              <a:prstGeom prst="rect">
                <a:avLst/>
              </a:prstGeom>
              <a:solidFill>
                <a:schemeClr val="bg2">
                  <a:alpha val="69000"/>
                </a:schemeClr>
              </a:solidFill>
              <a:ln>
                <a:noFill/>
              </a:ln>
              <a:effectLst>
                <a:outerShdw blurRad="177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a:ea typeface="+mn-ea"/>
                  <a:cs typeface="+mn-cs"/>
                </a:endParaRPr>
              </a:p>
            </p:txBody>
          </p:sp>
          <p:sp>
            <p:nvSpPr>
              <p:cNvPr id="85" name="Rectangle 84">
                <a:extLst>
                  <a:ext uri="{FF2B5EF4-FFF2-40B4-BE49-F238E27FC236}">
                    <a16:creationId xmlns="" xmlns:a16="http://schemas.microsoft.com/office/drawing/2014/main" id="{D5D435CF-0BDD-4B1D-A65B-428D569A648A}"/>
                  </a:ext>
                </a:extLst>
              </p:cNvPr>
              <p:cNvSpPr/>
              <p:nvPr/>
            </p:nvSpPr>
            <p:spPr>
              <a:xfrm>
                <a:off x="1562140" y="2372874"/>
                <a:ext cx="1848717" cy="23160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21" name="Picture 3"/>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9907783" y="3168424"/>
              <a:ext cx="1626511" cy="2093727"/>
            </a:xfrm>
            <a:prstGeom prst="rect">
              <a:avLst/>
            </a:prstGeom>
            <a:extLst>
              <a:ext uri="{909E8E84-426E-40DD-AFC4-6F175D3DCCD1}">
                <a14:hiddenFill xmlns:a14="http://schemas.microsoft.com/office/drawing/2010/main">
                  <a:solidFill>
                    <a:schemeClr val="accent1"/>
                  </a:solidFill>
                </a14:hiddenFill>
              </a:ext>
            </a:extLst>
          </p:spPr>
        </p:pic>
      </p:grpSp>
      <p:grpSp>
        <p:nvGrpSpPr>
          <p:cNvPr id="111" name="Group 110">
            <a:extLst>
              <a:ext uri="{FF2B5EF4-FFF2-40B4-BE49-F238E27FC236}">
                <a16:creationId xmlns="" xmlns:a16="http://schemas.microsoft.com/office/drawing/2014/main" id="{2C53AEBA-D9B5-4266-AFCE-CA783F23E9C4}"/>
              </a:ext>
            </a:extLst>
          </p:cNvPr>
          <p:cNvGrpSpPr/>
          <p:nvPr/>
        </p:nvGrpSpPr>
        <p:grpSpPr>
          <a:xfrm>
            <a:off x="9741542" y="3114090"/>
            <a:ext cx="1859872" cy="2481266"/>
            <a:chOff x="10359471" y="3609702"/>
            <a:chExt cx="1859872" cy="2481266"/>
          </a:xfrm>
        </p:grpSpPr>
        <p:grpSp>
          <p:nvGrpSpPr>
            <p:cNvPr id="105" name="Group 104">
              <a:extLst>
                <a:ext uri="{FF2B5EF4-FFF2-40B4-BE49-F238E27FC236}">
                  <a16:creationId xmlns="" xmlns:a16="http://schemas.microsoft.com/office/drawing/2014/main" id="{298DD805-769D-4F98-8CE3-5D281CC60B3E}"/>
                </a:ext>
              </a:extLst>
            </p:cNvPr>
            <p:cNvGrpSpPr/>
            <p:nvPr/>
          </p:nvGrpSpPr>
          <p:grpSpPr>
            <a:xfrm>
              <a:off x="10359471" y="3609702"/>
              <a:ext cx="1859872" cy="2481266"/>
              <a:chOff x="1493275" y="2122658"/>
              <a:chExt cx="1988498" cy="2652862"/>
            </a:xfrm>
          </p:grpSpPr>
          <p:sp>
            <p:nvSpPr>
              <p:cNvPr id="107" name="Rectangle 106">
                <a:extLst>
                  <a:ext uri="{FF2B5EF4-FFF2-40B4-BE49-F238E27FC236}">
                    <a16:creationId xmlns="" xmlns:a16="http://schemas.microsoft.com/office/drawing/2014/main" id="{4DCF1E40-DBBF-42F1-93C2-1308955B4286}"/>
                  </a:ext>
                </a:extLst>
              </p:cNvPr>
              <p:cNvSpPr/>
              <p:nvPr/>
            </p:nvSpPr>
            <p:spPr>
              <a:xfrm>
                <a:off x="1493275" y="2122658"/>
                <a:ext cx="1988498" cy="2652862"/>
              </a:xfrm>
              <a:prstGeom prst="rect">
                <a:avLst/>
              </a:prstGeom>
              <a:solidFill>
                <a:schemeClr val="bg2">
                  <a:alpha val="69000"/>
                </a:schemeClr>
              </a:solidFill>
              <a:ln>
                <a:noFill/>
              </a:ln>
              <a:effectLst>
                <a:outerShdw blurRad="177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a:ea typeface="+mn-ea"/>
                  <a:cs typeface="+mn-cs"/>
                </a:endParaRPr>
              </a:p>
            </p:txBody>
          </p:sp>
          <p:sp>
            <p:nvSpPr>
              <p:cNvPr id="108" name="Rectangle 107">
                <a:extLst>
                  <a:ext uri="{FF2B5EF4-FFF2-40B4-BE49-F238E27FC236}">
                    <a16:creationId xmlns="" xmlns:a16="http://schemas.microsoft.com/office/drawing/2014/main" id="{69939251-7518-4E4C-8A67-3F0BFFEB85D5}"/>
                  </a:ext>
                </a:extLst>
              </p:cNvPr>
              <p:cNvSpPr/>
              <p:nvPr/>
            </p:nvSpPr>
            <p:spPr>
              <a:xfrm>
                <a:off x="1562140" y="2372874"/>
                <a:ext cx="1848717" cy="23160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23" name="Picture Placeholder 7"/>
            <p:cNvPicPr>
              <a:picLocks noChangeAspect="1"/>
            </p:cNvPicPr>
            <p:nvPr/>
          </p:nvPicPr>
          <p:blipFill rotWithShape="1">
            <a:blip r:embed="rId12" cstate="print">
              <a:extLst>
                <a:ext uri="{28A0092B-C50C-407E-A947-70E740481C1C}">
                  <a14:useLocalDpi xmlns:a14="http://schemas.microsoft.com/office/drawing/2010/main" val="0"/>
                </a:ext>
              </a:extLst>
            </a:blip>
            <a:stretch/>
          </p:blipFill>
          <p:spPr>
            <a:xfrm>
              <a:off x="10479572" y="3890477"/>
              <a:ext cx="1629340" cy="2108558"/>
            </a:xfrm>
            <a:prstGeom prst="rect">
              <a:avLst/>
            </a:prstGeom>
          </p:spPr>
        </p:pic>
      </p:grpSp>
      <p:grpSp>
        <p:nvGrpSpPr>
          <p:cNvPr id="96" name="Group 95">
            <a:extLst>
              <a:ext uri="{FF2B5EF4-FFF2-40B4-BE49-F238E27FC236}">
                <a16:creationId xmlns="" xmlns:a16="http://schemas.microsoft.com/office/drawing/2014/main" id="{606F32E4-69EB-4160-B1C5-FD8AEBBE92FE}"/>
              </a:ext>
            </a:extLst>
          </p:cNvPr>
          <p:cNvGrpSpPr/>
          <p:nvPr/>
        </p:nvGrpSpPr>
        <p:grpSpPr>
          <a:xfrm>
            <a:off x="10154084" y="3567549"/>
            <a:ext cx="1780790" cy="2481265"/>
            <a:chOff x="10139363" y="3254152"/>
            <a:chExt cx="1780790" cy="2481265"/>
          </a:xfrm>
        </p:grpSpPr>
        <p:grpSp>
          <p:nvGrpSpPr>
            <p:cNvPr id="90" name="Group 89">
              <a:extLst>
                <a:ext uri="{FF2B5EF4-FFF2-40B4-BE49-F238E27FC236}">
                  <a16:creationId xmlns="" xmlns:a16="http://schemas.microsoft.com/office/drawing/2014/main" id="{E308A906-91B0-41AF-9BB9-9E66D2086E42}"/>
                </a:ext>
              </a:extLst>
            </p:cNvPr>
            <p:cNvGrpSpPr/>
            <p:nvPr/>
          </p:nvGrpSpPr>
          <p:grpSpPr>
            <a:xfrm>
              <a:off x="10139363" y="3254152"/>
              <a:ext cx="1780790" cy="2481265"/>
              <a:chOff x="1577826" y="2122659"/>
              <a:chExt cx="1903947" cy="2652861"/>
            </a:xfrm>
          </p:grpSpPr>
          <p:sp>
            <p:nvSpPr>
              <p:cNvPr id="92" name="Rectangle 91">
                <a:extLst>
                  <a:ext uri="{FF2B5EF4-FFF2-40B4-BE49-F238E27FC236}">
                    <a16:creationId xmlns="" xmlns:a16="http://schemas.microsoft.com/office/drawing/2014/main" id="{7F7C3F0E-82D5-44AE-9C70-B289A8714A29}"/>
                  </a:ext>
                </a:extLst>
              </p:cNvPr>
              <p:cNvSpPr/>
              <p:nvPr/>
            </p:nvSpPr>
            <p:spPr>
              <a:xfrm>
                <a:off x="1577826" y="2122659"/>
                <a:ext cx="1903947" cy="2652861"/>
              </a:xfrm>
              <a:prstGeom prst="rect">
                <a:avLst/>
              </a:prstGeom>
              <a:solidFill>
                <a:schemeClr val="bg2">
                  <a:alpha val="69000"/>
                </a:schemeClr>
              </a:solidFill>
              <a:ln>
                <a:noFill/>
              </a:ln>
              <a:effectLst>
                <a:outerShdw blurRad="177800" dist="381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a:ea typeface="+mn-ea"/>
                  <a:cs typeface="+mn-cs"/>
                </a:endParaRPr>
              </a:p>
            </p:txBody>
          </p:sp>
          <p:sp>
            <p:nvSpPr>
              <p:cNvPr id="93" name="Rectangle 92">
                <a:extLst>
                  <a:ext uri="{FF2B5EF4-FFF2-40B4-BE49-F238E27FC236}">
                    <a16:creationId xmlns="" xmlns:a16="http://schemas.microsoft.com/office/drawing/2014/main" id="{74BF634F-CE1C-4CAC-B1FD-50D0F7D47ABC}"/>
                  </a:ext>
                </a:extLst>
              </p:cNvPr>
              <p:cNvSpPr/>
              <p:nvPr/>
            </p:nvSpPr>
            <p:spPr>
              <a:xfrm>
                <a:off x="1644020" y="2372874"/>
                <a:ext cx="1766837" cy="23160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22" name="Picture 3"/>
            <p:cNvPicPr>
              <a:picLocks noChangeAspect="1"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10264243" y="3534236"/>
              <a:ext cx="1525171" cy="2120219"/>
            </a:xfrm>
            <a:prstGeom prst="rect">
              <a:avLst/>
            </a:prstGeom>
            <a:extLst>
              <a:ext uri="{909E8E84-426E-40DD-AFC4-6F175D3DCCD1}">
                <a14:hiddenFill xmlns:a14="http://schemas.microsoft.com/office/drawing/2010/main">
                  <a:solidFill>
                    <a:schemeClr val="accent1"/>
                  </a:solidFill>
                </a14:hiddenFill>
              </a:ext>
            </a:extLst>
          </p:spPr>
        </p:pic>
      </p:grpSp>
      <p:grpSp>
        <p:nvGrpSpPr>
          <p:cNvPr id="170" name="Group 169">
            <a:extLst>
              <a:ext uri="{FF2B5EF4-FFF2-40B4-BE49-F238E27FC236}">
                <a16:creationId xmlns="" xmlns:a16="http://schemas.microsoft.com/office/drawing/2014/main" id="{8042796E-B21F-48E1-9CCE-945F37A287CD}"/>
              </a:ext>
            </a:extLst>
          </p:cNvPr>
          <p:cNvGrpSpPr/>
          <p:nvPr/>
        </p:nvGrpSpPr>
        <p:grpSpPr>
          <a:xfrm>
            <a:off x="2199023" y="4177904"/>
            <a:ext cx="1003300" cy="1003300"/>
            <a:chOff x="2199023" y="4177904"/>
            <a:chExt cx="1003300" cy="1003300"/>
          </a:xfrm>
        </p:grpSpPr>
        <p:sp>
          <p:nvSpPr>
            <p:cNvPr id="51" name="Oval 50">
              <a:extLst>
                <a:ext uri="{FF2B5EF4-FFF2-40B4-BE49-F238E27FC236}">
                  <a16:creationId xmlns="" xmlns:a16="http://schemas.microsoft.com/office/drawing/2014/main" id="{82C77CB9-0396-4E9F-B364-FB6630F001B4}"/>
                </a:ext>
              </a:extLst>
            </p:cNvPr>
            <p:cNvSpPr/>
            <p:nvPr/>
          </p:nvSpPr>
          <p:spPr>
            <a:xfrm>
              <a:off x="2199023" y="4177904"/>
              <a:ext cx="1003300" cy="1003300"/>
            </a:xfrm>
            <a:prstGeom prst="ellipse">
              <a:avLst/>
            </a:prstGeom>
            <a:solidFill>
              <a:srgbClr val="05589C">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0" name="Group 4">
              <a:extLst>
                <a:ext uri="{FF2B5EF4-FFF2-40B4-BE49-F238E27FC236}">
                  <a16:creationId xmlns="" xmlns:a16="http://schemas.microsoft.com/office/drawing/2014/main" id="{18C95654-8B6C-4BAB-9FE2-6FAF0ACCD702}"/>
                </a:ext>
              </a:extLst>
            </p:cNvPr>
            <p:cNvGrpSpPr>
              <a:grpSpLocks noChangeAspect="1"/>
            </p:cNvGrpSpPr>
            <p:nvPr/>
          </p:nvGrpSpPr>
          <p:grpSpPr bwMode="auto">
            <a:xfrm>
              <a:off x="2471740" y="4495800"/>
              <a:ext cx="485132" cy="399509"/>
              <a:chOff x="-2097" y="-13"/>
              <a:chExt cx="2527" cy="2081"/>
            </a:xfrm>
            <a:solidFill>
              <a:schemeClr val="bg1"/>
            </a:solidFill>
          </p:grpSpPr>
          <p:sp>
            <p:nvSpPr>
              <p:cNvPr id="132" name="Freeform 5">
                <a:extLst>
                  <a:ext uri="{FF2B5EF4-FFF2-40B4-BE49-F238E27FC236}">
                    <a16:creationId xmlns="" xmlns:a16="http://schemas.microsoft.com/office/drawing/2014/main" id="{B560E3E3-4B37-490F-80B0-CC3C95CA3E85}"/>
                  </a:ext>
                </a:extLst>
              </p:cNvPr>
              <p:cNvSpPr>
                <a:spLocks noEditPoints="1"/>
              </p:cNvSpPr>
              <p:nvPr/>
            </p:nvSpPr>
            <p:spPr bwMode="auto">
              <a:xfrm>
                <a:off x="-2097" y="-13"/>
                <a:ext cx="2527" cy="2081"/>
              </a:xfrm>
              <a:custGeom>
                <a:avLst/>
                <a:gdLst>
                  <a:gd name="T0" fmla="*/ 884 w 945"/>
                  <a:gd name="T1" fmla="*/ 0 h 777"/>
                  <a:gd name="T2" fmla="*/ 61 w 945"/>
                  <a:gd name="T3" fmla="*/ 0 h 777"/>
                  <a:gd name="T4" fmla="*/ 0 w 945"/>
                  <a:gd name="T5" fmla="*/ 61 h 777"/>
                  <a:gd name="T6" fmla="*/ 0 w 945"/>
                  <a:gd name="T7" fmla="*/ 610 h 777"/>
                  <a:gd name="T8" fmla="*/ 61 w 945"/>
                  <a:gd name="T9" fmla="*/ 670 h 777"/>
                  <a:gd name="T10" fmla="*/ 335 w 945"/>
                  <a:gd name="T11" fmla="*/ 670 h 777"/>
                  <a:gd name="T12" fmla="*/ 335 w 945"/>
                  <a:gd name="T13" fmla="*/ 747 h 777"/>
                  <a:gd name="T14" fmla="*/ 229 w 945"/>
                  <a:gd name="T15" fmla="*/ 747 h 777"/>
                  <a:gd name="T16" fmla="*/ 229 w 945"/>
                  <a:gd name="T17" fmla="*/ 777 h 777"/>
                  <a:gd name="T18" fmla="*/ 716 w 945"/>
                  <a:gd name="T19" fmla="*/ 777 h 777"/>
                  <a:gd name="T20" fmla="*/ 716 w 945"/>
                  <a:gd name="T21" fmla="*/ 747 h 777"/>
                  <a:gd name="T22" fmla="*/ 610 w 945"/>
                  <a:gd name="T23" fmla="*/ 747 h 777"/>
                  <a:gd name="T24" fmla="*/ 610 w 945"/>
                  <a:gd name="T25" fmla="*/ 670 h 777"/>
                  <a:gd name="T26" fmla="*/ 884 w 945"/>
                  <a:gd name="T27" fmla="*/ 670 h 777"/>
                  <a:gd name="T28" fmla="*/ 945 w 945"/>
                  <a:gd name="T29" fmla="*/ 610 h 777"/>
                  <a:gd name="T30" fmla="*/ 945 w 945"/>
                  <a:gd name="T31" fmla="*/ 61 h 777"/>
                  <a:gd name="T32" fmla="*/ 884 w 945"/>
                  <a:gd name="T33" fmla="*/ 0 h 777"/>
                  <a:gd name="T34" fmla="*/ 579 w 945"/>
                  <a:gd name="T35" fmla="*/ 747 h 777"/>
                  <a:gd name="T36" fmla="*/ 366 w 945"/>
                  <a:gd name="T37" fmla="*/ 747 h 777"/>
                  <a:gd name="T38" fmla="*/ 366 w 945"/>
                  <a:gd name="T39" fmla="*/ 670 h 777"/>
                  <a:gd name="T40" fmla="*/ 579 w 945"/>
                  <a:gd name="T41" fmla="*/ 670 h 777"/>
                  <a:gd name="T42" fmla="*/ 579 w 945"/>
                  <a:gd name="T43" fmla="*/ 747 h 777"/>
                  <a:gd name="T44" fmla="*/ 914 w 945"/>
                  <a:gd name="T45" fmla="*/ 610 h 777"/>
                  <a:gd name="T46" fmla="*/ 884 w 945"/>
                  <a:gd name="T47" fmla="*/ 640 h 777"/>
                  <a:gd name="T48" fmla="*/ 61 w 945"/>
                  <a:gd name="T49" fmla="*/ 640 h 777"/>
                  <a:gd name="T50" fmla="*/ 30 w 945"/>
                  <a:gd name="T51" fmla="*/ 610 h 777"/>
                  <a:gd name="T52" fmla="*/ 30 w 945"/>
                  <a:gd name="T53" fmla="*/ 61 h 777"/>
                  <a:gd name="T54" fmla="*/ 61 w 945"/>
                  <a:gd name="T55" fmla="*/ 30 h 777"/>
                  <a:gd name="T56" fmla="*/ 884 w 945"/>
                  <a:gd name="T57" fmla="*/ 30 h 777"/>
                  <a:gd name="T58" fmla="*/ 914 w 945"/>
                  <a:gd name="T59" fmla="*/ 61 h 777"/>
                  <a:gd name="T60" fmla="*/ 914 w 945"/>
                  <a:gd name="T61" fmla="*/ 610 h 777"/>
                  <a:gd name="T62" fmla="*/ 914 w 945"/>
                  <a:gd name="T63" fmla="*/ 610 h 777"/>
                  <a:gd name="T64" fmla="*/ 914 w 945"/>
                  <a:gd name="T65" fmla="*/ 610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5" h="777">
                    <a:moveTo>
                      <a:pt x="884" y="0"/>
                    </a:moveTo>
                    <a:cubicBezTo>
                      <a:pt x="61" y="0"/>
                      <a:pt x="61" y="0"/>
                      <a:pt x="61" y="0"/>
                    </a:cubicBezTo>
                    <a:cubicBezTo>
                      <a:pt x="27" y="0"/>
                      <a:pt x="0" y="27"/>
                      <a:pt x="0" y="61"/>
                    </a:cubicBezTo>
                    <a:cubicBezTo>
                      <a:pt x="0" y="610"/>
                      <a:pt x="0" y="610"/>
                      <a:pt x="0" y="610"/>
                    </a:cubicBezTo>
                    <a:cubicBezTo>
                      <a:pt x="0" y="643"/>
                      <a:pt x="27" y="670"/>
                      <a:pt x="61" y="670"/>
                    </a:cubicBezTo>
                    <a:cubicBezTo>
                      <a:pt x="335" y="670"/>
                      <a:pt x="335" y="670"/>
                      <a:pt x="335" y="670"/>
                    </a:cubicBezTo>
                    <a:cubicBezTo>
                      <a:pt x="335" y="747"/>
                      <a:pt x="335" y="747"/>
                      <a:pt x="335" y="747"/>
                    </a:cubicBezTo>
                    <a:cubicBezTo>
                      <a:pt x="229" y="747"/>
                      <a:pt x="229" y="747"/>
                      <a:pt x="229" y="747"/>
                    </a:cubicBezTo>
                    <a:cubicBezTo>
                      <a:pt x="229" y="777"/>
                      <a:pt x="229" y="777"/>
                      <a:pt x="229" y="777"/>
                    </a:cubicBezTo>
                    <a:cubicBezTo>
                      <a:pt x="716" y="777"/>
                      <a:pt x="716" y="777"/>
                      <a:pt x="716" y="777"/>
                    </a:cubicBezTo>
                    <a:cubicBezTo>
                      <a:pt x="716" y="747"/>
                      <a:pt x="716" y="747"/>
                      <a:pt x="716" y="747"/>
                    </a:cubicBezTo>
                    <a:cubicBezTo>
                      <a:pt x="610" y="747"/>
                      <a:pt x="610" y="747"/>
                      <a:pt x="610" y="747"/>
                    </a:cubicBezTo>
                    <a:cubicBezTo>
                      <a:pt x="610" y="670"/>
                      <a:pt x="610" y="670"/>
                      <a:pt x="610" y="670"/>
                    </a:cubicBezTo>
                    <a:cubicBezTo>
                      <a:pt x="884" y="670"/>
                      <a:pt x="884" y="670"/>
                      <a:pt x="884" y="670"/>
                    </a:cubicBezTo>
                    <a:cubicBezTo>
                      <a:pt x="917" y="670"/>
                      <a:pt x="945" y="643"/>
                      <a:pt x="945" y="610"/>
                    </a:cubicBezTo>
                    <a:cubicBezTo>
                      <a:pt x="945" y="61"/>
                      <a:pt x="945" y="61"/>
                      <a:pt x="945" y="61"/>
                    </a:cubicBezTo>
                    <a:cubicBezTo>
                      <a:pt x="945" y="27"/>
                      <a:pt x="917" y="0"/>
                      <a:pt x="884" y="0"/>
                    </a:cubicBezTo>
                    <a:close/>
                    <a:moveTo>
                      <a:pt x="579" y="747"/>
                    </a:moveTo>
                    <a:cubicBezTo>
                      <a:pt x="366" y="747"/>
                      <a:pt x="366" y="747"/>
                      <a:pt x="366" y="747"/>
                    </a:cubicBezTo>
                    <a:cubicBezTo>
                      <a:pt x="366" y="670"/>
                      <a:pt x="366" y="670"/>
                      <a:pt x="366" y="670"/>
                    </a:cubicBezTo>
                    <a:cubicBezTo>
                      <a:pt x="579" y="670"/>
                      <a:pt x="579" y="670"/>
                      <a:pt x="579" y="670"/>
                    </a:cubicBezTo>
                    <a:lnTo>
                      <a:pt x="579" y="747"/>
                    </a:lnTo>
                    <a:close/>
                    <a:moveTo>
                      <a:pt x="914" y="610"/>
                    </a:moveTo>
                    <a:cubicBezTo>
                      <a:pt x="914" y="626"/>
                      <a:pt x="901" y="640"/>
                      <a:pt x="884" y="640"/>
                    </a:cubicBezTo>
                    <a:cubicBezTo>
                      <a:pt x="61" y="640"/>
                      <a:pt x="61" y="640"/>
                      <a:pt x="61" y="640"/>
                    </a:cubicBezTo>
                    <a:cubicBezTo>
                      <a:pt x="44" y="640"/>
                      <a:pt x="30" y="626"/>
                      <a:pt x="30" y="610"/>
                    </a:cubicBezTo>
                    <a:cubicBezTo>
                      <a:pt x="30" y="61"/>
                      <a:pt x="30" y="61"/>
                      <a:pt x="30" y="61"/>
                    </a:cubicBezTo>
                    <a:cubicBezTo>
                      <a:pt x="30" y="44"/>
                      <a:pt x="44" y="30"/>
                      <a:pt x="61" y="30"/>
                    </a:cubicBezTo>
                    <a:cubicBezTo>
                      <a:pt x="884" y="30"/>
                      <a:pt x="884" y="30"/>
                      <a:pt x="884" y="30"/>
                    </a:cubicBezTo>
                    <a:cubicBezTo>
                      <a:pt x="901" y="30"/>
                      <a:pt x="914" y="44"/>
                      <a:pt x="914" y="61"/>
                    </a:cubicBezTo>
                    <a:lnTo>
                      <a:pt x="914" y="610"/>
                    </a:lnTo>
                    <a:close/>
                    <a:moveTo>
                      <a:pt x="914" y="610"/>
                    </a:moveTo>
                    <a:cubicBezTo>
                      <a:pt x="914" y="610"/>
                      <a:pt x="914" y="610"/>
                      <a:pt x="914" y="6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5" name="Freeform 8">
                <a:extLst>
                  <a:ext uri="{FF2B5EF4-FFF2-40B4-BE49-F238E27FC236}">
                    <a16:creationId xmlns="" xmlns:a16="http://schemas.microsoft.com/office/drawing/2014/main" id="{3EFF4C02-ED84-4F4A-AE90-0524221FDCA2}"/>
                  </a:ext>
                </a:extLst>
              </p:cNvPr>
              <p:cNvSpPr>
                <a:spLocks noEditPoints="1"/>
              </p:cNvSpPr>
              <p:nvPr/>
            </p:nvSpPr>
            <p:spPr bwMode="auto">
              <a:xfrm>
                <a:off x="-1771" y="314"/>
                <a:ext cx="81" cy="80"/>
              </a:xfrm>
              <a:custGeom>
                <a:avLst/>
                <a:gdLst>
                  <a:gd name="T0" fmla="*/ 30 w 30"/>
                  <a:gd name="T1" fmla="*/ 15 h 30"/>
                  <a:gd name="T2" fmla="*/ 15 w 30"/>
                  <a:gd name="T3" fmla="*/ 30 h 30"/>
                  <a:gd name="T4" fmla="*/ 0 w 30"/>
                  <a:gd name="T5" fmla="*/ 15 h 30"/>
                  <a:gd name="T6" fmla="*/ 15 w 30"/>
                  <a:gd name="T7" fmla="*/ 0 h 30"/>
                  <a:gd name="T8" fmla="*/ 30 w 30"/>
                  <a:gd name="T9" fmla="*/ 15 h 30"/>
                  <a:gd name="T10" fmla="*/ 30 w 30"/>
                  <a:gd name="T11" fmla="*/ 15 h 30"/>
                  <a:gd name="T12" fmla="*/ 30 w 30"/>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30" y="15"/>
                    </a:moveTo>
                    <a:cubicBezTo>
                      <a:pt x="30" y="24"/>
                      <a:pt x="24" y="30"/>
                      <a:pt x="15" y="30"/>
                    </a:cubicBezTo>
                    <a:cubicBezTo>
                      <a:pt x="7" y="30"/>
                      <a:pt x="0" y="24"/>
                      <a:pt x="0" y="15"/>
                    </a:cubicBezTo>
                    <a:cubicBezTo>
                      <a:pt x="0" y="7"/>
                      <a:pt x="7" y="0"/>
                      <a:pt x="15" y="0"/>
                    </a:cubicBezTo>
                    <a:cubicBezTo>
                      <a:pt x="24" y="0"/>
                      <a:pt x="30" y="7"/>
                      <a:pt x="30" y="15"/>
                    </a:cubicBezTo>
                    <a:close/>
                    <a:moveTo>
                      <a:pt x="30" y="15"/>
                    </a:moveTo>
                    <a:cubicBezTo>
                      <a:pt x="30" y="15"/>
                      <a:pt x="30" y="15"/>
                      <a:pt x="30" y="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6" name="Freeform 9">
                <a:extLst>
                  <a:ext uri="{FF2B5EF4-FFF2-40B4-BE49-F238E27FC236}">
                    <a16:creationId xmlns="" xmlns:a16="http://schemas.microsoft.com/office/drawing/2014/main" id="{23F8EA72-2CB6-4274-9E27-F098B816AEEC}"/>
                  </a:ext>
                </a:extLst>
              </p:cNvPr>
              <p:cNvSpPr>
                <a:spLocks noEditPoints="1"/>
              </p:cNvSpPr>
              <p:nvPr/>
            </p:nvSpPr>
            <p:spPr bwMode="auto">
              <a:xfrm>
                <a:off x="-1648" y="314"/>
                <a:ext cx="81" cy="80"/>
              </a:xfrm>
              <a:custGeom>
                <a:avLst/>
                <a:gdLst>
                  <a:gd name="T0" fmla="*/ 30 w 30"/>
                  <a:gd name="T1" fmla="*/ 15 h 30"/>
                  <a:gd name="T2" fmla="*/ 15 w 30"/>
                  <a:gd name="T3" fmla="*/ 30 h 30"/>
                  <a:gd name="T4" fmla="*/ 0 w 30"/>
                  <a:gd name="T5" fmla="*/ 15 h 30"/>
                  <a:gd name="T6" fmla="*/ 15 w 30"/>
                  <a:gd name="T7" fmla="*/ 0 h 30"/>
                  <a:gd name="T8" fmla="*/ 30 w 30"/>
                  <a:gd name="T9" fmla="*/ 15 h 30"/>
                  <a:gd name="T10" fmla="*/ 30 w 30"/>
                  <a:gd name="T11" fmla="*/ 15 h 30"/>
                  <a:gd name="T12" fmla="*/ 30 w 30"/>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30" y="15"/>
                    </a:moveTo>
                    <a:cubicBezTo>
                      <a:pt x="30" y="24"/>
                      <a:pt x="23" y="30"/>
                      <a:pt x="15" y="30"/>
                    </a:cubicBezTo>
                    <a:cubicBezTo>
                      <a:pt x="6" y="30"/>
                      <a:pt x="0" y="24"/>
                      <a:pt x="0" y="15"/>
                    </a:cubicBezTo>
                    <a:cubicBezTo>
                      <a:pt x="0" y="7"/>
                      <a:pt x="6" y="0"/>
                      <a:pt x="15" y="0"/>
                    </a:cubicBezTo>
                    <a:cubicBezTo>
                      <a:pt x="23" y="0"/>
                      <a:pt x="30" y="7"/>
                      <a:pt x="30" y="15"/>
                    </a:cubicBezTo>
                    <a:close/>
                    <a:moveTo>
                      <a:pt x="30" y="15"/>
                    </a:moveTo>
                    <a:cubicBezTo>
                      <a:pt x="30" y="15"/>
                      <a:pt x="30" y="15"/>
                      <a:pt x="30" y="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7" name="Freeform 10">
                <a:extLst>
                  <a:ext uri="{FF2B5EF4-FFF2-40B4-BE49-F238E27FC236}">
                    <a16:creationId xmlns="" xmlns:a16="http://schemas.microsoft.com/office/drawing/2014/main" id="{D573E5AC-056D-4395-B2F2-8DB766AFCBD8}"/>
                  </a:ext>
                </a:extLst>
              </p:cNvPr>
              <p:cNvSpPr>
                <a:spLocks noEditPoints="1"/>
              </p:cNvSpPr>
              <p:nvPr/>
            </p:nvSpPr>
            <p:spPr bwMode="auto">
              <a:xfrm>
                <a:off x="-1527" y="314"/>
                <a:ext cx="83" cy="80"/>
              </a:xfrm>
              <a:custGeom>
                <a:avLst/>
                <a:gdLst>
                  <a:gd name="T0" fmla="*/ 31 w 31"/>
                  <a:gd name="T1" fmla="*/ 15 h 30"/>
                  <a:gd name="T2" fmla="*/ 16 w 31"/>
                  <a:gd name="T3" fmla="*/ 30 h 30"/>
                  <a:gd name="T4" fmla="*/ 0 w 31"/>
                  <a:gd name="T5" fmla="*/ 15 h 30"/>
                  <a:gd name="T6" fmla="*/ 16 w 31"/>
                  <a:gd name="T7" fmla="*/ 0 h 30"/>
                  <a:gd name="T8" fmla="*/ 31 w 31"/>
                  <a:gd name="T9" fmla="*/ 15 h 30"/>
                  <a:gd name="T10" fmla="*/ 31 w 31"/>
                  <a:gd name="T11" fmla="*/ 15 h 30"/>
                  <a:gd name="T12" fmla="*/ 31 w 31"/>
                  <a:gd name="T13" fmla="*/ 15 h 30"/>
                </a:gdLst>
                <a:ahLst/>
                <a:cxnLst>
                  <a:cxn ang="0">
                    <a:pos x="T0" y="T1"/>
                  </a:cxn>
                  <a:cxn ang="0">
                    <a:pos x="T2" y="T3"/>
                  </a:cxn>
                  <a:cxn ang="0">
                    <a:pos x="T4" y="T5"/>
                  </a:cxn>
                  <a:cxn ang="0">
                    <a:pos x="T6" y="T7"/>
                  </a:cxn>
                  <a:cxn ang="0">
                    <a:pos x="T8" y="T9"/>
                  </a:cxn>
                  <a:cxn ang="0">
                    <a:pos x="T10" y="T11"/>
                  </a:cxn>
                  <a:cxn ang="0">
                    <a:pos x="T12" y="T13"/>
                  </a:cxn>
                </a:cxnLst>
                <a:rect l="0" t="0" r="r" b="b"/>
                <a:pathLst>
                  <a:path w="31" h="30">
                    <a:moveTo>
                      <a:pt x="31" y="15"/>
                    </a:moveTo>
                    <a:cubicBezTo>
                      <a:pt x="31" y="24"/>
                      <a:pt x="24" y="30"/>
                      <a:pt x="16" y="30"/>
                    </a:cubicBezTo>
                    <a:cubicBezTo>
                      <a:pt x="7" y="30"/>
                      <a:pt x="0" y="24"/>
                      <a:pt x="0" y="15"/>
                    </a:cubicBezTo>
                    <a:cubicBezTo>
                      <a:pt x="0" y="7"/>
                      <a:pt x="7" y="0"/>
                      <a:pt x="16" y="0"/>
                    </a:cubicBezTo>
                    <a:cubicBezTo>
                      <a:pt x="24" y="0"/>
                      <a:pt x="31" y="7"/>
                      <a:pt x="31" y="15"/>
                    </a:cubicBezTo>
                    <a:close/>
                    <a:moveTo>
                      <a:pt x="31" y="15"/>
                    </a:moveTo>
                    <a:cubicBezTo>
                      <a:pt x="31" y="15"/>
                      <a:pt x="31" y="15"/>
                      <a:pt x="31" y="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8" name="Freeform 11">
                <a:extLst>
                  <a:ext uri="{FF2B5EF4-FFF2-40B4-BE49-F238E27FC236}">
                    <a16:creationId xmlns="" xmlns:a16="http://schemas.microsoft.com/office/drawing/2014/main" id="{326A71E8-459D-4139-9A79-FAED9F16F04B}"/>
                  </a:ext>
                </a:extLst>
              </p:cNvPr>
              <p:cNvSpPr>
                <a:spLocks noEditPoints="1"/>
              </p:cNvSpPr>
              <p:nvPr/>
            </p:nvSpPr>
            <p:spPr bwMode="auto">
              <a:xfrm>
                <a:off x="-1771" y="477"/>
                <a:ext cx="570" cy="490"/>
              </a:xfrm>
              <a:custGeom>
                <a:avLst/>
                <a:gdLst>
                  <a:gd name="T0" fmla="*/ 0 w 570"/>
                  <a:gd name="T1" fmla="*/ 490 h 490"/>
                  <a:gd name="T2" fmla="*/ 570 w 570"/>
                  <a:gd name="T3" fmla="*/ 490 h 490"/>
                  <a:gd name="T4" fmla="*/ 570 w 570"/>
                  <a:gd name="T5" fmla="*/ 0 h 490"/>
                  <a:gd name="T6" fmla="*/ 0 w 570"/>
                  <a:gd name="T7" fmla="*/ 0 h 490"/>
                  <a:gd name="T8" fmla="*/ 0 w 570"/>
                  <a:gd name="T9" fmla="*/ 490 h 490"/>
                  <a:gd name="T10" fmla="*/ 81 w 570"/>
                  <a:gd name="T11" fmla="*/ 81 h 490"/>
                  <a:gd name="T12" fmla="*/ 490 w 570"/>
                  <a:gd name="T13" fmla="*/ 81 h 490"/>
                  <a:gd name="T14" fmla="*/ 490 w 570"/>
                  <a:gd name="T15" fmla="*/ 407 h 490"/>
                  <a:gd name="T16" fmla="*/ 81 w 570"/>
                  <a:gd name="T17" fmla="*/ 407 h 490"/>
                  <a:gd name="T18" fmla="*/ 81 w 570"/>
                  <a:gd name="T19" fmla="*/ 81 h 490"/>
                  <a:gd name="T20" fmla="*/ 81 w 570"/>
                  <a:gd name="T21" fmla="*/ 81 h 490"/>
                  <a:gd name="T22" fmla="*/ 81 w 570"/>
                  <a:gd name="T23" fmla="*/ 81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0" h="490">
                    <a:moveTo>
                      <a:pt x="0" y="490"/>
                    </a:moveTo>
                    <a:lnTo>
                      <a:pt x="570" y="490"/>
                    </a:lnTo>
                    <a:lnTo>
                      <a:pt x="570" y="0"/>
                    </a:lnTo>
                    <a:lnTo>
                      <a:pt x="0" y="0"/>
                    </a:lnTo>
                    <a:lnTo>
                      <a:pt x="0" y="490"/>
                    </a:lnTo>
                    <a:close/>
                    <a:moveTo>
                      <a:pt x="81" y="81"/>
                    </a:moveTo>
                    <a:lnTo>
                      <a:pt x="490" y="81"/>
                    </a:lnTo>
                    <a:lnTo>
                      <a:pt x="490" y="407"/>
                    </a:lnTo>
                    <a:lnTo>
                      <a:pt x="81" y="407"/>
                    </a:lnTo>
                    <a:lnTo>
                      <a:pt x="81" y="81"/>
                    </a:lnTo>
                    <a:close/>
                    <a:moveTo>
                      <a:pt x="81" y="81"/>
                    </a:moveTo>
                    <a:lnTo>
                      <a:pt x="81"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39" name="Freeform 12">
                <a:extLst>
                  <a:ext uri="{FF2B5EF4-FFF2-40B4-BE49-F238E27FC236}">
                    <a16:creationId xmlns="" xmlns:a16="http://schemas.microsoft.com/office/drawing/2014/main" id="{D07C6B5A-434F-423F-8EFF-9B1DCD79F63B}"/>
                  </a:ext>
                </a:extLst>
              </p:cNvPr>
              <p:cNvSpPr>
                <a:spLocks noEditPoints="1"/>
              </p:cNvSpPr>
              <p:nvPr/>
            </p:nvSpPr>
            <p:spPr bwMode="auto">
              <a:xfrm>
                <a:off x="-1771" y="477"/>
                <a:ext cx="570" cy="490"/>
              </a:xfrm>
              <a:custGeom>
                <a:avLst/>
                <a:gdLst>
                  <a:gd name="T0" fmla="*/ 0 w 570"/>
                  <a:gd name="T1" fmla="*/ 490 h 490"/>
                  <a:gd name="T2" fmla="*/ 570 w 570"/>
                  <a:gd name="T3" fmla="*/ 490 h 490"/>
                  <a:gd name="T4" fmla="*/ 570 w 570"/>
                  <a:gd name="T5" fmla="*/ 0 h 490"/>
                  <a:gd name="T6" fmla="*/ 0 w 570"/>
                  <a:gd name="T7" fmla="*/ 0 h 490"/>
                  <a:gd name="T8" fmla="*/ 0 w 570"/>
                  <a:gd name="T9" fmla="*/ 490 h 490"/>
                  <a:gd name="T10" fmla="*/ 81 w 570"/>
                  <a:gd name="T11" fmla="*/ 81 h 490"/>
                  <a:gd name="T12" fmla="*/ 490 w 570"/>
                  <a:gd name="T13" fmla="*/ 81 h 490"/>
                  <a:gd name="T14" fmla="*/ 490 w 570"/>
                  <a:gd name="T15" fmla="*/ 407 h 490"/>
                  <a:gd name="T16" fmla="*/ 81 w 570"/>
                  <a:gd name="T17" fmla="*/ 407 h 490"/>
                  <a:gd name="T18" fmla="*/ 81 w 570"/>
                  <a:gd name="T19" fmla="*/ 81 h 490"/>
                  <a:gd name="T20" fmla="*/ 81 w 570"/>
                  <a:gd name="T21" fmla="*/ 81 h 490"/>
                  <a:gd name="T22" fmla="*/ 81 w 570"/>
                  <a:gd name="T23" fmla="*/ 81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0" h="490">
                    <a:moveTo>
                      <a:pt x="0" y="490"/>
                    </a:moveTo>
                    <a:lnTo>
                      <a:pt x="570" y="490"/>
                    </a:lnTo>
                    <a:lnTo>
                      <a:pt x="570" y="0"/>
                    </a:lnTo>
                    <a:lnTo>
                      <a:pt x="0" y="0"/>
                    </a:lnTo>
                    <a:lnTo>
                      <a:pt x="0" y="490"/>
                    </a:lnTo>
                    <a:moveTo>
                      <a:pt x="81" y="81"/>
                    </a:moveTo>
                    <a:lnTo>
                      <a:pt x="490" y="81"/>
                    </a:lnTo>
                    <a:lnTo>
                      <a:pt x="490" y="407"/>
                    </a:lnTo>
                    <a:lnTo>
                      <a:pt x="81" y="407"/>
                    </a:lnTo>
                    <a:lnTo>
                      <a:pt x="81" y="81"/>
                    </a:lnTo>
                    <a:moveTo>
                      <a:pt x="81" y="81"/>
                    </a:moveTo>
                    <a:lnTo>
                      <a:pt x="81" y="8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0" name="Freeform 13">
                <a:extLst>
                  <a:ext uri="{FF2B5EF4-FFF2-40B4-BE49-F238E27FC236}">
                    <a16:creationId xmlns="" xmlns:a16="http://schemas.microsoft.com/office/drawing/2014/main" id="{C4B7C51C-1894-4D98-AD5B-B8EF837D3BED}"/>
                  </a:ext>
                </a:extLst>
              </p:cNvPr>
              <p:cNvSpPr>
                <a:spLocks noEditPoints="1"/>
              </p:cNvSpPr>
              <p:nvPr/>
            </p:nvSpPr>
            <p:spPr bwMode="auto">
              <a:xfrm>
                <a:off x="-1118" y="477"/>
                <a:ext cx="570" cy="490"/>
              </a:xfrm>
              <a:custGeom>
                <a:avLst/>
                <a:gdLst>
                  <a:gd name="T0" fmla="*/ 0 w 570"/>
                  <a:gd name="T1" fmla="*/ 490 h 490"/>
                  <a:gd name="T2" fmla="*/ 570 w 570"/>
                  <a:gd name="T3" fmla="*/ 490 h 490"/>
                  <a:gd name="T4" fmla="*/ 570 w 570"/>
                  <a:gd name="T5" fmla="*/ 0 h 490"/>
                  <a:gd name="T6" fmla="*/ 0 w 570"/>
                  <a:gd name="T7" fmla="*/ 0 h 490"/>
                  <a:gd name="T8" fmla="*/ 0 w 570"/>
                  <a:gd name="T9" fmla="*/ 490 h 490"/>
                  <a:gd name="T10" fmla="*/ 80 w 570"/>
                  <a:gd name="T11" fmla="*/ 81 h 490"/>
                  <a:gd name="T12" fmla="*/ 489 w 570"/>
                  <a:gd name="T13" fmla="*/ 81 h 490"/>
                  <a:gd name="T14" fmla="*/ 489 w 570"/>
                  <a:gd name="T15" fmla="*/ 407 h 490"/>
                  <a:gd name="T16" fmla="*/ 80 w 570"/>
                  <a:gd name="T17" fmla="*/ 407 h 490"/>
                  <a:gd name="T18" fmla="*/ 80 w 570"/>
                  <a:gd name="T19" fmla="*/ 81 h 490"/>
                  <a:gd name="T20" fmla="*/ 80 w 570"/>
                  <a:gd name="T21" fmla="*/ 81 h 490"/>
                  <a:gd name="T22" fmla="*/ 80 w 570"/>
                  <a:gd name="T23" fmla="*/ 81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0" h="490">
                    <a:moveTo>
                      <a:pt x="0" y="490"/>
                    </a:moveTo>
                    <a:lnTo>
                      <a:pt x="570" y="490"/>
                    </a:lnTo>
                    <a:lnTo>
                      <a:pt x="570" y="0"/>
                    </a:lnTo>
                    <a:lnTo>
                      <a:pt x="0" y="0"/>
                    </a:lnTo>
                    <a:lnTo>
                      <a:pt x="0" y="490"/>
                    </a:lnTo>
                    <a:close/>
                    <a:moveTo>
                      <a:pt x="80" y="81"/>
                    </a:moveTo>
                    <a:lnTo>
                      <a:pt x="489" y="81"/>
                    </a:lnTo>
                    <a:lnTo>
                      <a:pt x="489" y="407"/>
                    </a:lnTo>
                    <a:lnTo>
                      <a:pt x="80" y="407"/>
                    </a:lnTo>
                    <a:lnTo>
                      <a:pt x="80" y="81"/>
                    </a:lnTo>
                    <a:close/>
                    <a:moveTo>
                      <a:pt x="80" y="81"/>
                    </a:moveTo>
                    <a:lnTo>
                      <a:pt x="80"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1" name="Freeform 14">
                <a:extLst>
                  <a:ext uri="{FF2B5EF4-FFF2-40B4-BE49-F238E27FC236}">
                    <a16:creationId xmlns="" xmlns:a16="http://schemas.microsoft.com/office/drawing/2014/main" id="{F2BC4067-F59C-45C6-A913-C21D9BF9ABE7}"/>
                  </a:ext>
                </a:extLst>
              </p:cNvPr>
              <p:cNvSpPr>
                <a:spLocks noEditPoints="1"/>
              </p:cNvSpPr>
              <p:nvPr/>
            </p:nvSpPr>
            <p:spPr bwMode="auto">
              <a:xfrm>
                <a:off x="-1118" y="477"/>
                <a:ext cx="570" cy="490"/>
              </a:xfrm>
              <a:custGeom>
                <a:avLst/>
                <a:gdLst>
                  <a:gd name="T0" fmla="*/ 0 w 570"/>
                  <a:gd name="T1" fmla="*/ 490 h 490"/>
                  <a:gd name="T2" fmla="*/ 570 w 570"/>
                  <a:gd name="T3" fmla="*/ 490 h 490"/>
                  <a:gd name="T4" fmla="*/ 570 w 570"/>
                  <a:gd name="T5" fmla="*/ 0 h 490"/>
                  <a:gd name="T6" fmla="*/ 0 w 570"/>
                  <a:gd name="T7" fmla="*/ 0 h 490"/>
                  <a:gd name="T8" fmla="*/ 0 w 570"/>
                  <a:gd name="T9" fmla="*/ 490 h 490"/>
                  <a:gd name="T10" fmla="*/ 80 w 570"/>
                  <a:gd name="T11" fmla="*/ 81 h 490"/>
                  <a:gd name="T12" fmla="*/ 489 w 570"/>
                  <a:gd name="T13" fmla="*/ 81 h 490"/>
                  <a:gd name="T14" fmla="*/ 489 w 570"/>
                  <a:gd name="T15" fmla="*/ 407 h 490"/>
                  <a:gd name="T16" fmla="*/ 80 w 570"/>
                  <a:gd name="T17" fmla="*/ 407 h 490"/>
                  <a:gd name="T18" fmla="*/ 80 w 570"/>
                  <a:gd name="T19" fmla="*/ 81 h 490"/>
                  <a:gd name="T20" fmla="*/ 80 w 570"/>
                  <a:gd name="T21" fmla="*/ 81 h 490"/>
                  <a:gd name="T22" fmla="*/ 80 w 570"/>
                  <a:gd name="T23" fmla="*/ 81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0" h="490">
                    <a:moveTo>
                      <a:pt x="0" y="490"/>
                    </a:moveTo>
                    <a:lnTo>
                      <a:pt x="570" y="490"/>
                    </a:lnTo>
                    <a:lnTo>
                      <a:pt x="570" y="0"/>
                    </a:lnTo>
                    <a:lnTo>
                      <a:pt x="0" y="0"/>
                    </a:lnTo>
                    <a:lnTo>
                      <a:pt x="0" y="490"/>
                    </a:lnTo>
                    <a:moveTo>
                      <a:pt x="80" y="81"/>
                    </a:moveTo>
                    <a:lnTo>
                      <a:pt x="489" y="81"/>
                    </a:lnTo>
                    <a:lnTo>
                      <a:pt x="489" y="407"/>
                    </a:lnTo>
                    <a:lnTo>
                      <a:pt x="80" y="407"/>
                    </a:lnTo>
                    <a:lnTo>
                      <a:pt x="80" y="81"/>
                    </a:lnTo>
                    <a:moveTo>
                      <a:pt x="80" y="81"/>
                    </a:moveTo>
                    <a:lnTo>
                      <a:pt x="80" y="8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2" name="Freeform 15">
                <a:extLst>
                  <a:ext uri="{FF2B5EF4-FFF2-40B4-BE49-F238E27FC236}">
                    <a16:creationId xmlns="" xmlns:a16="http://schemas.microsoft.com/office/drawing/2014/main" id="{28828D2C-B754-4FB1-A01F-22E29DA39F56}"/>
                  </a:ext>
                </a:extLst>
              </p:cNvPr>
              <p:cNvSpPr>
                <a:spLocks noEditPoints="1"/>
              </p:cNvSpPr>
              <p:nvPr/>
            </p:nvSpPr>
            <p:spPr bwMode="auto">
              <a:xfrm>
                <a:off x="-466" y="477"/>
                <a:ext cx="570" cy="490"/>
              </a:xfrm>
              <a:custGeom>
                <a:avLst/>
                <a:gdLst>
                  <a:gd name="T0" fmla="*/ 0 w 570"/>
                  <a:gd name="T1" fmla="*/ 490 h 490"/>
                  <a:gd name="T2" fmla="*/ 570 w 570"/>
                  <a:gd name="T3" fmla="*/ 490 h 490"/>
                  <a:gd name="T4" fmla="*/ 570 w 570"/>
                  <a:gd name="T5" fmla="*/ 0 h 490"/>
                  <a:gd name="T6" fmla="*/ 0 w 570"/>
                  <a:gd name="T7" fmla="*/ 0 h 490"/>
                  <a:gd name="T8" fmla="*/ 0 w 570"/>
                  <a:gd name="T9" fmla="*/ 490 h 490"/>
                  <a:gd name="T10" fmla="*/ 81 w 570"/>
                  <a:gd name="T11" fmla="*/ 81 h 490"/>
                  <a:gd name="T12" fmla="*/ 487 w 570"/>
                  <a:gd name="T13" fmla="*/ 81 h 490"/>
                  <a:gd name="T14" fmla="*/ 487 w 570"/>
                  <a:gd name="T15" fmla="*/ 407 h 490"/>
                  <a:gd name="T16" fmla="*/ 81 w 570"/>
                  <a:gd name="T17" fmla="*/ 407 h 490"/>
                  <a:gd name="T18" fmla="*/ 81 w 570"/>
                  <a:gd name="T19" fmla="*/ 81 h 490"/>
                  <a:gd name="T20" fmla="*/ 81 w 570"/>
                  <a:gd name="T21" fmla="*/ 81 h 490"/>
                  <a:gd name="T22" fmla="*/ 81 w 570"/>
                  <a:gd name="T23" fmla="*/ 81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0" h="490">
                    <a:moveTo>
                      <a:pt x="0" y="490"/>
                    </a:moveTo>
                    <a:lnTo>
                      <a:pt x="570" y="490"/>
                    </a:lnTo>
                    <a:lnTo>
                      <a:pt x="570" y="0"/>
                    </a:lnTo>
                    <a:lnTo>
                      <a:pt x="0" y="0"/>
                    </a:lnTo>
                    <a:lnTo>
                      <a:pt x="0" y="490"/>
                    </a:lnTo>
                    <a:close/>
                    <a:moveTo>
                      <a:pt x="81" y="81"/>
                    </a:moveTo>
                    <a:lnTo>
                      <a:pt x="487" y="81"/>
                    </a:lnTo>
                    <a:lnTo>
                      <a:pt x="487" y="407"/>
                    </a:lnTo>
                    <a:lnTo>
                      <a:pt x="81" y="407"/>
                    </a:lnTo>
                    <a:lnTo>
                      <a:pt x="81" y="81"/>
                    </a:lnTo>
                    <a:close/>
                    <a:moveTo>
                      <a:pt x="81" y="81"/>
                    </a:moveTo>
                    <a:lnTo>
                      <a:pt x="81"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3" name="Freeform 16">
                <a:extLst>
                  <a:ext uri="{FF2B5EF4-FFF2-40B4-BE49-F238E27FC236}">
                    <a16:creationId xmlns="" xmlns:a16="http://schemas.microsoft.com/office/drawing/2014/main" id="{9919B0F4-2511-4854-B621-793B4786737F}"/>
                  </a:ext>
                </a:extLst>
              </p:cNvPr>
              <p:cNvSpPr>
                <a:spLocks noEditPoints="1"/>
              </p:cNvSpPr>
              <p:nvPr/>
            </p:nvSpPr>
            <p:spPr bwMode="auto">
              <a:xfrm>
                <a:off x="-466" y="477"/>
                <a:ext cx="570" cy="490"/>
              </a:xfrm>
              <a:custGeom>
                <a:avLst/>
                <a:gdLst>
                  <a:gd name="T0" fmla="*/ 0 w 570"/>
                  <a:gd name="T1" fmla="*/ 490 h 490"/>
                  <a:gd name="T2" fmla="*/ 570 w 570"/>
                  <a:gd name="T3" fmla="*/ 490 h 490"/>
                  <a:gd name="T4" fmla="*/ 570 w 570"/>
                  <a:gd name="T5" fmla="*/ 0 h 490"/>
                  <a:gd name="T6" fmla="*/ 0 w 570"/>
                  <a:gd name="T7" fmla="*/ 0 h 490"/>
                  <a:gd name="T8" fmla="*/ 0 w 570"/>
                  <a:gd name="T9" fmla="*/ 490 h 490"/>
                  <a:gd name="T10" fmla="*/ 81 w 570"/>
                  <a:gd name="T11" fmla="*/ 81 h 490"/>
                  <a:gd name="T12" fmla="*/ 487 w 570"/>
                  <a:gd name="T13" fmla="*/ 81 h 490"/>
                  <a:gd name="T14" fmla="*/ 487 w 570"/>
                  <a:gd name="T15" fmla="*/ 407 h 490"/>
                  <a:gd name="T16" fmla="*/ 81 w 570"/>
                  <a:gd name="T17" fmla="*/ 407 h 490"/>
                  <a:gd name="T18" fmla="*/ 81 w 570"/>
                  <a:gd name="T19" fmla="*/ 81 h 490"/>
                  <a:gd name="T20" fmla="*/ 81 w 570"/>
                  <a:gd name="T21" fmla="*/ 81 h 490"/>
                  <a:gd name="T22" fmla="*/ 81 w 570"/>
                  <a:gd name="T23" fmla="*/ 81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0" h="490">
                    <a:moveTo>
                      <a:pt x="0" y="490"/>
                    </a:moveTo>
                    <a:lnTo>
                      <a:pt x="570" y="490"/>
                    </a:lnTo>
                    <a:lnTo>
                      <a:pt x="570" y="0"/>
                    </a:lnTo>
                    <a:lnTo>
                      <a:pt x="0" y="0"/>
                    </a:lnTo>
                    <a:lnTo>
                      <a:pt x="0" y="490"/>
                    </a:lnTo>
                    <a:moveTo>
                      <a:pt x="81" y="81"/>
                    </a:moveTo>
                    <a:lnTo>
                      <a:pt x="487" y="81"/>
                    </a:lnTo>
                    <a:lnTo>
                      <a:pt x="487" y="407"/>
                    </a:lnTo>
                    <a:lnTo>
                      <a:pt x="81" y="407"/>
                    </a:lnTo>
                    <a:lnTo>
                      <a:pt x="81" y="81"/>
                    </a:lnTo>
                    <a:moveTo>
                      <a:pt x="81" y="81"/>
                    </a:moveTo>
                    <a:lnTo>
                      <a:pt x="81" y="8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4" name="Rectangle 17">
                <a:extLst>
                  <a:ext uri="{FF2B5EF4-FFF2-40B4-BE49-F238E27FC236}">
                    <a16:creationId xmlns="" xmlns:a16="http://schemas.microsoft.com/office/drawing/2014/main" id="{E7449214-F1B2-49D9-8B5B-F79963D4A449}"/>
                  </a:ext>
                </a:extLst>
              </p:cNvPr>
              <p:cNvSpPr>
                <a:spLocks noChangeArrowheads="1"/>
              </p:cNvSpPr>
              <p:nvPr/>
            </p:nvSpPr>
            <p:spPr bwMode="auto">
              <a:xfrm>
                <a:off x="-1771" y="1048"/>
                <a:ext cx="122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5" name="Rectangle 18">
                <a:extLst>
                  <a:ext uri="{FF2B5EF4-FFF2-40B4-BE49-F238E27FC236}">
                    <a16:creationId xmlns="" xmlns:a16="http://schemas.microsoft.com/office/drawing/2014/main" id="{55FB930D-1CB2-4139-80F1-ADE73E87C891}"/>
                  </a:ext>
                </a:extLst>
              </p:cNvPr>
              <p:cNvSpPr>
                <a:spLocks noChangeArrowheads="1"/>
              </p:cNvSpPr>
              <p:nvPr/>
            </p:nvSpPr>
            <p:spPr bwMode="auto">
              <a:xfrm>
                <a:off x="-1771" y="1211"/>
                <a:ext cx="1223"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6" name="Rectangle 19">
                <a:extLst>
                  <a:ext uri="{FF2B5EF4-FFF2-40B4-BE49-F238E27FC236}">
                    <a16:creationId xmlns="" xmlns:a16="http://schemas.microsoft.com/office/drawing/2014/main" id="{2869F5AF-3FB8-49A2-8A06-80F232137BC4}"/>
                  </a:ext>
                </a:extLst>
              </p:cNvPr>
              <p:cNvSpPr>
                <a:spLocks noChangeArrowheads="1"/>
              </p:cNvSpPr>
              <p:nvPr/>
            </p:nvSpPr>
            <p:spPr bwMode="auto">
              <a:xfrm>
                <a:off x="-425" y="1048"/>
                <a:ext cx="529"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47" name="Rectangle 20">
                <a:extLst>
                  <a:ext uri="{FF2B5EF4-FFF2-40B4-BE49-F238E27FC236}">
                    <a16:creationId xmlns="" xmlns:a16="http://schemas.microsoft.com/office/drawing/2014/main" id="{94A0E3C8-6BBC-42B8-8632-479D9C268F20}"/>
                  </a:ext>
                </a:extLst>
              </p:cNvPr>
              <p:cNvSpPr>
                <a:spLocks noChangeArrowheads="1"/>
              </p:cNvSpPr>
              <p:nvPr/>
            </p:nvSpPr>
            <p:spPr bwMode="auto">
              <a:xfrm>
                <a:off x="-425" y="1211"/>
                <a:ext cx="529"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grpSp>
        <p:nvGrpSpPr>
          <p:cNvPr id="169" name="Group 168">
            <a:extLst>
              <a:ext uri="{FF2B5EF4-FFF2-40B4-BE49-F238E27FC236}">
                <a16:creationId xmlns="" xmlns:a16="http://schemas.microsoft.com/office/drawing/2014/main" id="{1BF51CC9-1309-42E6-A100-6BEB92D041C7}"/>
              </a:ext>
            </a:extLst>
          </p:cNvPr>
          <p:cNvGrpSpPr/>
          <p:nvPr/>
        </p:nvGrpSpPr>
        <p:grpSpPr>
          <a:xfrm>
            <a:off x="2199023" y="5367352"/>
            <a:ext cx="1003300" cy="1003300"/>
            <a:chOff x="2199023" y="5367352"/>
            <a:chExt cx="1003300" cy="1003300"/>
          </a:xfrm>
        </p:grpSpPr>
        <p:sp>
          <p:nvSpPr>
            <p:cNvPr id="54" name="Oval 53">
              <a:extLst>
                <a:ext uri="{FF2B5EF4-FFF2-40B4-BE49-F238E27FC236}">
                  <a16:creationId xmlns="" xmlns:a16="http://schemas.microsoft.com/office/drawing/2014/main" id="{03D54778-2CEF-406E-BF0F-5F42BBD3D450}"/>
                </a:ext>
              </a:extLst>
            </p:cNvPr>
            <p:cNvSpPr/>
            <p:nvPr/>
          </p:nvSpPr>
          <p:spPr>
            <a:xfrm>
              <a:off x="2199023" y="5367352"/>
              <a:ext cx="1003300" cy="1003300"/>
            </a:xfrm>
            <a:prstGeom prst="ellipse">
              <a:avLst/>
            </a:prstGeom>
            <a:solidFill>
              <a:srgbClr val="05589C">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49" name="Group 23">
              <a:extLst>
                <a:ext uri="{FF2B5EF4-FFF2-40B4-BE49-F238E27FC236}">
                  <a16:creationId xmlns="" xmlns:a16="http://schemas.microsoft.com/office/drawing/2014/main" id="{BCEEE5AF-C30F-459F-B8D8-E3FC43D60294}"/>
                </a:ext>
              </a:extLst>
            </p:cNvPr>
            <p:cNvGrpSpPr>
              <a:grpSpLocks noChangeAspect="1"/>
            </p:cNvGrpSpPr>
            <p:nvPr/>
          </p:nvGrpSpPr>
          <p:grpSpPr bwMode="auto">
            <a:xfrm>
              <a:off x="2493483" y="5726616"/>
              <a:ext cx="396064" cy="375999"/>
              <a:chOff x="5" y="4"/>
              <a:chExt cx="3632" cy="3448"/>
            </a:xfrm>
            <a:solidFill>
              <a:schemeClr val="bg1"/>
            </a:solidFill>
          </p:grpSpPr>
          <p:sp>
            <p:nvSpPr>
              <p:cNvPr id="151" name="Freeform 24">
                <a:extLst>
                  <a:ext uri="{FF2B5EF4-FFF2-40B4-BE49-F238E27FC236}">
                    <a16:creationId xmlns="" xmlns:a16="http://schemas.microsoft.com/office/drawing/2014/main" id="{5042017F-7370-473F-96BA-CF289F6C5CE9}"/>
                  </a:ext>
                </a:extLst>
              </p:cNvPr>
              <p:cNvSpPr>
                <a:spLocks noEditPoints="1"/>
              </p:cNvSpPr>
              <p:nvPr/>
            </p:nvSpPr>
            <p:spPr bwMode="auto">
              <a:xfrm>
                <a:off x="5" y="4"/>
                <a:ext cx="3632" cy="128"/>
              </a:xfrm>
              <a:custGeom>
                <a:avLst/>
                <a:gdLst>
                  <a:gd name="T0" fmla="*/ 1336 w 1360"/>
                  <a:gd name="T1" fmla="*/ 0 h 48"/>
                  <a:gd name="T2" fmla="*/ 1360 w 1360"/>
                  <a:gd name="T3" fmla="*/ 24 h 48"/>
                  <a:gd name="T4" fmla="*/ 1336 w 1360"/>
                  <a:gd name="T5" fmla="*/ 48 h 48"/>
                  <a:gd name="T6" fmla="*/ 24 w 1360"/>
                  <a:gd name="T7" fmla="*/ 48 h 48"/>
                  <a:gd name="T8" fmla="*/ 0 w 1360"/>
                  <a:gd name="T9" fmla="*/ 24 h 48"/>
                  <a:gd name="T10" fmla="*/ 24 w 1360"/>
                  <a:gd name="T11" fmla="*/ 0 h 48"/>
                  <a:gd name="T12" fmla="*/ 1336 w 1360"/>
                  <a:gd name="T13" fmla="*/ 0 h 48"/>
                  <a:gd name="T14" fmla="*/ 1336 w 1360"/>
                  <a:gd name="T15" fmla="*/ 0 h 48"/>
                  <a:gd name="T16" fmla="*/ 1336 w 1360"/>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0" h="48">
                    <a:moveTo>
                      <a:pt x="1336" y="0"/>
                    </a:moveTo>
                    <a:cubicBezTo>
                      <a:pt x="1349" y="0"/>
                      <a:pt x="1360" y="11"/>
                      <a:pt x="1360" y="24"/>
                    </a:cubicBezTo>
                    <a:cubicBezTo>
                      <a:pt x="1360" y="37"/>
                      <a:pt x="1349" y="48"/>
                      <a:pt x="1336" y="48"/>
                    </a:cubicBezTo>
                    <a:cubicBezTo>
                      <a:pt x="24" y="48"/>
                      <a:pt x="24" y="48"/>
                      <a:pt x="24" y="48"/>
                    </a:cubicBezTo>
                    <a:cubicBezTo>
                      <a:pt x="11" y="48"/>
                      <a:pt x="0" y="37"/>
                      <a:pt x="0" y="24"/>
                    </a:cubicBezTo>
                    <a:cubicBezTo>
                      <a:pt x="0" y="11"/>
                      <a:pt x="11" y="0"/>
                      <a:pt x="24" y="0"/>
                    </a:cubicBezTo>
                    <a:lnTo>
                      <a:pt x="1336" y="0"/>
                    </a:lnTo>
                    <a:close/>
                    <a:moveTo>
                      <a:pt x="1336" y="0"/>
                    </a:moveTo>
                    <a:cubicBezTo>
                      <a:pt x="1336" y="0"/>
                      <a:pt x="1336" y="0"/>
                      <a:pt x="13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52" name="Freeform 25">
                <a:extLst>
                  <a:ext uri="{FF2B5EF4-FFF2-40B4-BE49-F238E27FC236}">
                    <a16:creationId xmlns="" xmlns:a16="http://schemas.microsoft.com/office/drawing/2014/main" id="{9A256732-9C03-491B-9CFD-B2555CE5B6DF}"/>
                  </a:ext>
                </a:extLst>
              </p:cNvPr>
              <p:cNvSpPr>
                <a:spLocks noEditPoints="1"/>
              </p:cNvSpPr>
              <p:nvPr/>
            </p:nvSpPr>
            <p:spPr bwMode="auto">
              <a:xfrm>
                <a:off x="5" y="405"/>
                <a:ext cx="3632" cy="128"/>
              </a:xfrm>
              <a:custGeom>
                <a:avLst/>
                <a:gdLst>
                  <a:gd name="T0" fmla="*/ 1336 w 1360"/>
                  <a:gd name="T1" fmla="*/ 0 h 48"/>
                  <a:gd name="T2" fmla="*/ 1360 w 1360"/>
                  <a:gd name="T3" fmla="*/ 24 h 48"/>
                  <a:gd name="T4" fmla="*/ 1336 w 1360"/>
                  <a:gd name="T5" fmla="*/ 48 h 48"/>
                  <a:gd name="T6" fmla="*/ 24 w 1360"/>
                  <a:gd name="T7" fmla="*/ 48 h 48"/>
                  <a:gd name="T8" fmla="*/ 0 w 1360"/>
                  <a:gd name="T9" fmla="*/ 24 h 48"/>
                  <a:gd name="T10" fmla="*/ 24 w 1360"/>
                  <a:gd name="T11" fmla="*/ 0 h 48"/>
                  <a:gd name="T12" fmla="*/ 1336 w 1360"/>
                  <a:gd name="T13" fmla="*/ 0 h 48"/>
                  <a:gd name="T14" fmla="*/ 1336 w 1360"/>
                  <a:gd name="T15" fmla="*/ 0 h 48"/>
                  <a:gd name="T16" fmla="*/ 1336 w 1360"/>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0" h="48">
                    <a:moveTo>
                      <a:pt x="1336" y="0"/>
                    </a:moveTo>
                    <a:cubicBezTo>
                      <a:pt x="1349" y="0"/>
                      <a:pt x="1360" y="11"/>
                      <a:pt x="1360" y="24"/>
                    </a:cubicBezTo>
                    <a:cubicBezTo>
                      <a:pt x="1360" y="37"/>
                      <a:pt x="1349" y="48"/>
                      <a:pt x="1336" y="48"/>
                    </a:cubicBezTo>
                    <a:cubicBezTo>
                      <a:pt x="24" y="48"/>
                      <a:pt x="24" y="48"/>
                      <a:pt x="24" y="48"/>
                    </a:cubicBezTo>
                    <a:cubicBezTo>
                      <a:pt x="11" y="48"/>
                      <a:pt x="0" y="37"/>
                      <a:pt x="0" y="24"/>
                    </a:cubicBezTo>
                    <a:cubicBezTo>
                      <a:pt x="0" y="11"/>
                      <a:pt x="11" y="0"/>
                      <a:pt x="24" y="0"/>
                    </a:cubicBezTo>
                    <a:lnTo>
                      <a:pt x="1336" y="0"/>
                    </a:lnTo>
                    <a:close/>
                    <a:moveTo>
                      <a:pt x="1336" y="0"/>
                    </a:moveTo>
                    <a:cubicBezTo>
                      <a:pt x="1336" y="0"/>
                      <a:pt x="1336" y="0"/>
                      <a:pt x="13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53" name="Freeform 26">
                <a:extLst>
                  <a:ext uri="{FF2B5EF4-FFF2-40B4-BE49-F238E27FC236}">
                    <a16:creationId xmlns="" xmlns:a16="http://schemas.microsoft.com/office/drawing/2014/main" id="{2F8CCDE6-D6CE-4EA4-9F06-0ECCB27A169F}"/>
                  </a:ext>
                </a:extLst>
              </p:cNvPr>
              <p:cNvSpPr>
                <a:spLocks noEditPoints="1"/>
              </p:cNvSpPr>
              <p:nvPr/>
            </p:nvSpPr>
            <p:spPr bwMode="auto">
              <a:xfrm>
                <a:off x="5" y="806"/>
                <a:ext cx="3632" cy="128"/>
              </a:xfrm>
              <a:custGeom>
                <a:avLst/>
                <a:gdLst>
                  <a:gd name="T0" fmla="*/ 1336 w 1360"/>
                  <a:gd name="T1" fmla="*/ 0 h 48"/>
                  <a:gd name="T2" fmla="*/ 1360 w 1360"/>
                  <a:gd name="T3" fmla="*/ 24 h 48"/>
                  <a:gd name="T4" fmla="*/ 1336 w 1360"/>
                  <a:gd name="T5" fmla="*/ 48 h 48"/>
                  <a:gd name="T6" fmla="*/ 24 w 1360"/>
                  <a:gd name="T7" fmla="*/ 48 h 48"/>
                  <a:gd name="T8" fmla="*/ 0 w 1360"/>
                  <a:gd name="T9" fmla="*/ 24 h 48"/>
                  <a:gd name="T10" fmla="*/ 24 w 1360"/>
                  <a:gd name="T11" fmla="*/ 0 h 48"/>
                  <a:gd name="T12" fmla="*/ 1336 w 1360"/>
                  <a:gd name="T13" fmla="*/ 0 h 48"/>
                  <a:gd name="T14" fmla="*/ 1336 w 1360"/>
                  <a:gd name="T15" fmla="*/ 0 h 48"/>
                  <a:gd name="T16" fmla="*/ 1336 w 1360"/>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60" h="48">
                    <a:moveTo>
                      <a:pt x="1336" y="0"/>
                    </a:moveTo>
                    <a:cubicBezTo>
                      <a:pt x="1349" y="0"/>
                      <a:pt x="1360" y="10"/>
                      <a:pt x="1360" y="24"/>
                    </a:cubicBezTo>
                    <a:cubicBezTo>
                      <a:pt x="1360" y="37"/>
                      <a:pt x="1349" y="48"/>
                      <a:pt x="1336" y="48"/>
                    </a:cubicBezTo>
                    <a:cubicBezTo>
                      <a:pt x="24" y="48"/>
                      <a:pt x="24" y="48"/>
                      <a:pt x="24" y="48"/>
                    </a:cubicBezTo>
                    <a:cubicBezTo>
                      <a:pt x="11" y="48"/>
                      <a:pt x="0" y="37"/>
                      <a:pt x="0" y="24"/>
                    </a:cubicBezTo>
                    <a:cubicBezTo>
                      <a:pt x="0" y="10"/>
                      <a:pt x="11" y="0"/>
                      <a:pt x="24" y="0"/>
                    </a:cubicBezTo>
                    <a:lnTo>
                      <a:pt x="1336" y="0"/>
                    </a:lnTo>
                    <a:close/>
                    <a:moveTo>
                      <a:pt x="1336" y="0"/>
                    </a:moveTo>
                    <a:cubicBezTo>
                      <a:pt x="1336" y="0"/>
                      <a:pt x="1336" y="0"/>
                      <a:pt x="13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54" name="Freeform 27">
                <a:extLst>
                  <a:ext uri="{FF2B5EF4-FFF2-40B4-BE49-F238E27FC236}">
                    <a16:creationId xmlns="" xmlns:a16="http://schemas.microsoft.com/office/drawing/2014/main" id="{E741CE9A-0F9E-4A46-AF56-7D19CC2B8AFE}"/>
                  </a:ext>
                </a:extLst>
              </p:cNvPr>
              <p:cNvSpPr>
                <a:spLocks noEditPoints="1"/>
              </p:cNvSpPr>
              <p:nvPr/>
            </p:nvSpPr>
            <p:spPr bwMode="auto">
              <a:xfrm>
                <a:off x="5" y="929"/>
                <a:ext cx="3632" cy="2523"/>
              </a:xfrm>
              <a:custGeom>
                <a:avLst/>
                <a:gdLst>
                  <a:gd name="T0" fmla="*/ 1336 w 1360"/>
                  <a:gd name="T1" fmla="*/ 103 h 944"/>
                  <a:gd name="T2" fmla="*/ 1360 w 1360"/>
                  <a:gd name="T3" fmla="*/ 127 h 944"/>
                  <a:gd name="T4" fmla="*/ 1336 w 1360"/>
                  <a:gd name="T5" fmla="*/ 151 h 944"/>
                  <a:gd name="T6" fmla="*/ 1033 w 1360"/>
                  <a:gd name="T7" fmla="*/ 151 h 944"/>
                  <a:gd name="T8" fmla="*/ 1046 w 1360"/>
                  <a:gd name="T9" fmla="*/ 171 h 944"/>
                  <a:gd name="T10" fmla="*/ 1077 w 1360"/>
                  <a:gd name="T11" fmla="*/ 253 h 944"/>
                  <a:gd name="T12" fmla="*/ 1336 w 1360"/>
                  <a:gd name="T13" fmla="*/ 253 h 944"/>
                  <a:gd name="T14" fmla="*/ 1360 w 1360"/>
                  <a:gd name="T15" fmla="*/ 277 h 944"/>
                  <a:gd name="T16" fmla="*/ 1336 w 1360"/>
                  <a:gd name="T17" fmla="*/ 301 h 944"/>
                  <a:gd name="T18" fmla="*/ 1084 w 1360"/>
                  <a:gd name="T19" fmla="*/ 301 h 944"/>
                  <a:gd name="T20" fmla="*/ 1074 w 1360"/>
                  <a:gd name="T21" fmla="*/ 390 h 944"/>
                  <a:gd name="T22" fmla="*/ 1070 w 1360"/>
                  <a:gd name="T23" fmla="*/ 403 h 944"/>
                  <a:gd name="T24" fmla="*/ 1336 w 1360"/>
                  <a:gd name="T25" fmla="*/ 403 h 944"/>
                  <a:gd name="T26" fmla="*/ 1360 w 1360"/>
                  <a:gd name="T27" fmla="*/ 427 h 944"/>
                  <a:gd name="T28" fmla="*/ 1336 w 1360"/>
                  <a:gd name="T29" fmla="*/ 451 h 944"/>
                  <a:gd name="T30" fmla="*/ 1049 w 1360"/>
                  <a:gd name="T31" fmla="*/ 451 h 944"/>
                  <a:gd name="T32" fmla="*/ 995 w 1360"/>
                  <a:gd name="T33" fmla="*/ 522 h 944"/>
                  <a:gd name="T34" fmla="*/ 1177 w 1360"/>
                  <a:gd name="T35" fmla="*/ 840 h 944"/>
                  <a:gd name="T36" fmla="*/ 1151 w 1360"/>
                  <a:gd name="T37" fmla="*/ 935 h 944"/>
                  <a:gd name="T38" fmla="*/ 1117 w 1360"/>
                  <a:gd name="T39" fmla="*/ 944 h 944"/>
                  <a:gd name="T40" fmla="*/ 1056 w 1360"/>
                  <a:gd name="T41" fmla="*/ 909 h 944"/>
                  <a:gd name="T42" fmla="*/ 874 w 1360"/>
                  <a:gd name="T43" fmla="*/ 591 h 944"/>
                  <a:gd name="T44" fmla="*/ 796 w 1360"/>
                  <a:gd name="T45" fmla="*/ 602 h 944"/>
                  <a:gd name="T46" fmla="*/ 720 w 1360"/>
                  <a:gd name="T47" fmla="*/ 592 h 944"/>
                  <a:gd name="T48" fmla="*/ 546 w 1360"/>
                  <a:gd name="T49" fmla="*/ 457 h 944"/>
                  <a:gd name="T50" fmla="*/ 542 w 1360"/>
                  <a:gd name="T51" fmla="*/ 451 h 944"/>
                  <a:gd name="T52" fmla="*/ 24 w 1360"/>
                  <a:gd name="T53" fmla="*/ 451 h 944"/>
                  <a:gd name="T54" fmla="*/ 0 w 1360"/>
                  <a:gd name="T55" fmla="*/ 427 h 944"/>
                  <a:gd name="T56" fmla="*/ 24 w 1360"/>
                  <a:gd name="T57" fmla="*/ 403 h 944"/>
                  <a:gd name="T58" fmla="*/ 522 w 1360"/>
                  <a:gd name="T59" fmla="*/ 403 h 944"/>
                  <a:gd name="T60" fmla="*/ 508 w 1360"/>
                  <a:gd name="T61" fmla="*/ 301 h 944"/>
                  <a:gd name="T62" fmla="*/ 24 w 1360"/>
                  <a:gd name="T63" fmla="*/ 301 h 944"/>
                  <a:gd name="T64" fmla="*/ 0 w 1360"/>
                  <a:gd name="T65" fmla="*/ 277 h 944"/>
                  <a:gd name="T66" fmla="*/ 24 w 1360"/>
                  <a:gd name="T67" fmla="*/ 253 h 944"/>
                  <a:gd name="T68" fmla="*/ 515 w 1360"/>
                  <a:gd name="T69" fmla="*/ 253 h 944"/>
                  <a:gd name="T70" fmla="*/ 558 w 1360"/>
                  <a:gd name="T71" fmla="*/ 151 h 944"/>
                  <a:gd name="T72" fmla="*/ 24 w 1360"/>
                  <a:gd name="T73" fmla="*/ 151 h 944"/>
                  <a:gd name="T74" fmla="*/ 0 w 1360"/>
                  <a:gd name="T75" fmla="*/ 127 h 944"/>
                  <a:gd name="T76" fmla="*/ 24 w 1360"/>
                  <a:gd name="T77" fmla="*/ 103 h 944"/>
                  <a:gd name="T78" fmla="*/ 600 w 1360"/>
                  <a:gd name="T79" fmla="*/ 103 h 944"/>
                  <a:gd name="T80" fmla="*/ 653 w 1360"/>
                  <a:gd name="T81" fmla="*/ 64 h 944"/>
                  <a:gd name="T82" fmla="*/ 992 w 1360"/>
                  <a:gd name="T83" fmla="*/ 103 h 944"/>
                  <a:gd name="T84" fmla="*/ 1336 w 1360"/>
                  <a:gd name="T85" fmla="*/ 103 h 944"/>
                  <a:gd name="T86" fmla="*/ 1137 w 1360"/>
                  <a:gd name="T87" fmla="*/ 880 h 944"/>
                  <a:gd name="T88" fmla="*/ 1135 w 1360"/>
                  <a:gd name="T89" fmla="*/ 864 h 944"/>
                  <a:gd name="T90" fmla="*/ 957 w 1360"/>
                  <a:gd name="T91" fmla="*/ 553 h 944"/>
                  <a:gd name="T92" fmla="*/ 939 w 1360"/>
                  <a:gd name="T93" fmla="*/ 564 h 944"/>
                  <a:gd name="T94" fmla="*/ 920 w 1360"/>
                  <a:gd name="T95" fmla="*/ 574 h 944"/>
                  <a:gd name="T96" fmla="*/ 1098 w 1360"/>
                  <a:gd name="T97" fmla="*/ 885 h 944"/>
                  <a:gd name="T98" fmla="*/ 1127 w 1360"/>
                  <a:gd name="T99" fmla="*/ 893 h 944"/>
                  <a:gd name="T100" fmla="*/ 1137 w 1360"/>
                  <a:gd name="T101" fmla="*/ 880 h 944"/>
                  <a:gd name="T102" fmla="*/ 1027 w 1360"/>
                  <a:gd name="T103" fmla="*/ 377 h 944"/>
                  <a:gd name="T104" fmla="*/ 1004 w 1360"/>
                  <a:gd name="T105" fmla="*/ 195 h 944"/>
                  <a:gd name="T106" fmla="*/ 859 w 1360"/>
                  <a:gd name="T107" fmla="*/ 83 h 944"/>
                  <a:gd name="T108" fmla="*/ 795 w 1360"/>
                  <a:gd name="T109" fmla="*/ 74 h 944"/>
                  <a:gd name="T110" fmla="*/ 677 w 1360"/>
                  <a:gd name="T111" fmla="*/ 106 h 944"/>
                  <a:gd name="T112" fmla="*/ 588 w 1360"/>
                  <a:gd name="T113" fmla="*/ 433 h 944"/>
                  <a:gd name="T114" fmla="*/ 733 w 1360"/>
                  <a:gd name="T115" fmla="*/ 546 h 944"/>
                  <a:gd name="T116" fmla="*/ 915 w 1360"/>
                  <a:gd name="T117" fmla="*/ 523 h 944"/>
                  <a:gd name="T118" fmla="*/ 1027 w 1360"/>
                  <a:gd name="T119" fmla="*/ 377 h 944"/>
                  <a:gd name="T120" fmla="*/ 1027 w 1360"/>
                  <a:gd name="T121" fmla="*/ 377 h 944"/>
                  <a:gd name="T122" fmla="*/ 1027 w 1360"/>
                  <a:gd name="T123" fmla="*/ 377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0" h="944">
                    <a:moveTo>
                      <a:pt x="1336" y="103"/>
                    </a:moveTo>
                    <a:cubicBezTo>
                      <a:pt x="1349" y="103"/>
                      <a:pt x="1360" y="114"/>
                      <a:pt x="1360" y="127"/>
                    </a:cubicBezTo>
                    <a:cubicBezTo>
                      <a:pt x="1360" y="141"/>
                      <a:pt x="1349" y="151"/>
                      <a:pt x="1336" y="151"/>
                    </a:cubicBezTo>
                    <a:cubicBezTo>
                      <a:pt x="1033" y="151"/>
                      <a:pt x="1033" y="151"/>
                      <a:pt x="1033" y="151"/>
                    </a:cubicBezTo>
                    <a:cubicBezTo>
                      <a:pt x="1038" y="158"/>
                      <a:pt x="1042" y="164"/>
                      <a:pt x="1046" y="171"/>
                    </a:cubicBezTo>
                    <a:cubicBezTo>
                      <a:pt x="1061" y="197"/>
                      <a:pt x="1071" y="225"/>
                      <a:pt x="1077" y="253"/>
                    </a:cubicBezTo>
                    <a:cubicBezTo>
                      <a:pt x="1336" y="253"/>
                      <a:pt x="1336" y="253"/>
                      <a:pt x="1336" y="253"/>
                    </a:cubicBezTo>
                    <a:cubicBezTo>
                      <a:pt x="1349" y="253"/>
                      <a:pt x="1360" y="264"/>
                      <a:pt x="1360" y="277"/>
                    </a:cubicBezTo>
                    <a:cubicBezTo>
                      <a:pt x="1360" y="290"/>
                      <a:pt x="1349" y="301"/>
                      <a:pt x="1336" y="301"/>
                    </a:cubicBezTo>
                    <a:cubicBezTo>
                      <a:pt x="1084" y="301"/>
                      <a:pt x="1084" y="301"/>
                      <a:pt x="1084" y="301"/>
                    </a:cubicBezTo>
                    <a:cubicBezTo>
                      <a:pt x="1085" y="331"/>
                      <a:pt x="1082" y="361"/>
                      <a:pt x="1074" y="390"/>
                    </a:cubicBezTo>
                    <a:cubicBezTo>
                      <a:pt x="1073" y="394"/>
                      <a:pt x="1071" y="399"/>
                      <a:pt x="1070" y="403"/>
                    </a:cubicBezTo>
                    <a:cubicBezTo>
                      <a:pt x="1336" y="403"/>
                      <a:pt x="1336" y="403"/>
                      <a:pt x="1336" y="403"/>
                    </a:cubicBezTo>
                    <a:cubicBezTo>
                      <a:pt x="1349" y="403"/>
                      <a:pt x="1360" y="414"/>
                      <a:pt x="1360" y="427"/>
                    </a:cubicBezTo>
                    <a:cubicBezTo>
                      <a:pt x="1360" y="440"/>
                      <a:pt x="1349" y="451"/>
                      <a:pt x="1336" y="451"/>
                    </a:cubicBezTo>
                    <a:cubicBezTo>
                      <a:pt x="1049" y="451"/>
                      <a:pt x="1049" y="451"/>
                      <a:pt x="1049" y="451"/>
                    </a:cubicBezTo>
                    <a:cubicBezTo>
                      <a:pt x="1035" y="477"/>
                      <a:pt x="1017" y="501"/>
                      <a:pt x="995" y="522"/>
                    </a:cubicBezTo>
                    <a:cubicBezTo>
                      <a:pt x="1177" y="840"/>
                      <a:pt x="1177" y="840"/>
                      <a:pt x="1177" y="840"/>
                    </a:cubicBezTo>
                    <a:cubicBezTo>
                      <a:pt x="1196" y="873"/>
                      <a:pt x="1184" y="916"/>
                      <a:pt x="1151" y="935"/>
                    </a:cubicBezTo>
                    <a:cubicBezTo>
                      <a:pt x="1140" y="941"/>
                      <a:pt x="1128" y="944"/>
                      <a:pt x="1117" y="944"/>
                    </a:cubicBezTo>
                    <a:cubicBezTo>
                      <a:pt x="1092" y="944"/>
                      <a:pt x="1069" y="932"/>
                      <a:pt x="1056" y="909"/>
                    </a:cubicBezTo>
                    <a:cubicBezTo>
                      <a:pt x="874" y="591"/>
                      <a:pt x="874" y="591"/>
                      <a:pt x="874" y="591"/>
                    </a:cubicBezTo>
                    <a:cubicBezTo>
                      <a:pt x="849" y="599"/>
                      <a:pt x="823" y="602"/>
                      <a:pt x="796" y="602"/>
                    </a:cubicBezTo>
                    <a:cubicBezTo>
                      <a:pt x="771" y="602"/>
                      <a:pt x="745" y="599"/>
                      <a:pt x="720" y="592"/>
                    </a:cubicBezTo>
                    <a:cubicBezTo>
                      <a:pt x="646" y="572"/>
                      <a:pt x="584" y="524"/>
                      <a:pt x="546" y="457"/>
                    </a:cubicBezTo>
                    <a:cubicBezTo>
                      <a:pt x="545" y="455"/>
                      <a:pt x="543" y="453"/>
                      <a:pt x="542" y="451"/>
                    </a:cubicBezTo>
                    <a:cubicBezTo>
                      <a:pt x="24" y="451"/>
                      <a:pt x="24" y="451"/>
                      <a:pt x="24" y="451"/>
                    </a:cubicBezTo>
                    <a:cubicBezTo>
                      <a:pt x="11" y="451"/>
                      <a:pt x="0" y="440"/>
                      <a:pt x="0" y="427"/>
                    </a:cubicBezTo>
                    <a:cubicBezTo>
                      <a:pt x="0" y="414"/>
                      <a:pt x="11" y="403"/>
                      <a:pt x="24" y="403"/>
                    </a:cubicBezTo>
                    <a:cubicBezTo>
                      <a:pt x="522" y="403"/>
                      <a:pt x="522" y="403"/>
                      <a:pt x="522" y="403"/>
                    </a:cubicBezTo>
                    <a:cubicBezTo>
                      <a:pt x="511" y="369"/>
                      <a:pt x="507" y="335"/>
                      <a:pt x="508" y="301"/>
                    </a:cubicBezTo>
                    <a:cubicBezTo>
                      <a:pt x="24" y="301"/>
                      <a:pt x="24" y="301"/>
                      <a:pt x="24" y="301"/>
                    </a:cubicBezTo>
                    <a:cubicBezTo>
                      <a:pt x="11" y="301"/>
                      <a:pt x="0" y="290"/>
                      <a:pt x="0" y="277"/>
                    </a:cubicBezTo>
                    <a:cubicBezTo>
                      <a:pt x="0" y="264"/>
                      <a:pt x="11" y="253"/>
                      <a:pt x="24" y="253"/>
                    </a:cubicBezTo>
                    <a:cubicBezTo>
                      <a:pt x="515" y="253"/>
                      <a:pt x="515" y="253"/>
                      <a:pt x="515" y="253"/>
                    </a:cubicBezTo>
                    <a:cubicBezTo>
                      <a:pt x="522" y="217"/>
                      <a:pt x="537" y="182"/>
                      <a:pt x="558" y="151"/>
                    </a:cubicBezTo>
                    <a:cubicBezTo>
                      <a:pt x="24" y="151"/>
                      <a:pt x="24" y="151"/>
                      <a:pt x="24" y="151"/>
                    </a:cubicBezTo>
                    <a:cubicBezTo>
                      <a:pt x="11" y="151"/>
                      <a:pt x="0" y="141"/>
                      <a:pt x="0" y="127"/>
                    </a:cubicBezTo>
                    <a:cubicBezTo>
                      <a:pt x="0" y="114"/>
                      <a:pt x="11" y="103"/>
                      <a:pt x="24" y="103"/>
                    </a:cubicBezTo>
                    <a:cubicBezTo>
                      <a:pt x="600" y="103"/>
                      <a:pt x="600" y="103"/>
                      <a:pt x="600" y="103"/>
                    </a:cubicBezTo>
                    <a:cubicBezTo>
                      <a:pt x="616" y="89"/>
                      <a:pt x="633" y="75"/>
                      <a:pt x="653" y="64"/>
                    </a:cubicBezTo>
                    <a:cubicBezTo>
                      <a:pt x="765" y="0"/>
                      <a:pt x="902" y="20"/>
                      <a:pt x="992" y="103"/>
                    </a:cubicBezTo>
                    <a:lnTo>
                      <a:pt x="1336" y="103"/>
                    </a:lnTo>
                    <a:close/>
                    <a:moveTo>
                      <a:pt x="1137" y="880"/>
                    </a:moveTo>
                    <a:cubicBezTo>
                      <a:pt x="1139" y="875"/>
                      <a:pt x="1138" y="869"/>
                      <a:pt x="1135" y="864"/>
                    </a:cubicBezTo>
                    <a:cubicBezTo>
                      <a:pt x="957" y="553"/>
                      <a:pt x="957" y="553"/>
                      <a:pt x="957" y="553"/>
                    </a:cubicBezTo>
                    <a:cubicBezTo>
                      <a:pt x="951" y="557"/>
                      <a:pt x="945" y="561"/>
                      <a:pt x="939" y="564"/>
                    </a:cubicBezTo>
                    <a:cubicBezTo>
                      <a:pt x="933" y="568"/>
                      <a:pt x="926" y="571"/>
                      <a:pt x="920" y="574"/>
                    </a:cubicBezTo>
                    <a:cubicBezTo>
                      <a:pt x="1098" y="885"/>
                      <a:pt x="1098" y="885"/>
                      <a:pt x="1098" y="885"/>
                    </a:cubicBezTo>
                    <a:cubicBezTo>
                      <a:pt x="1103" y="896"/>
                      <a:pt x="1117" y="899"/>
                      <a:pt x="1127" y="893"/>
                    </a:cubicBezTo>
                    <a:cubicBezTo>
                      <a:pt x="1132" y="890"/>
                      <a:pt x="1136" y="886"/>
                      <a:pt x="1137" y="880"/>
                    </a:cubicBezTo>
                    <a:close/>
                    <a:moveTo>
                      <a:pt x="1027" y="377"/>
                    </a:moveTo>
                    <a:cubicBezTo>
                      <a:pt x="1044" y="315"/>
                      <a:pt x="1036" y="251"/>
                      <a:pt x="1004" y="195"/>
                    </a:cubicBezTo>
                    <a:cubicBezTo>
                      <a:pt x="972" y="139"/>
                      <a:pt x="921" y="100"/>
                      <a:pt x="859" y="83"/>
                    </a:cubicBezTo>
                    <a:cubicBezTo>
                      <a:pt x="838" y="77"/>
                      <a:pt x="817" y="74"/>
                      <a:pt x="795" y="74"/>
                    </a:cubicBezTo>
                    <a:cubicBezTo>
                      <a:pt x="754" y="74"/>
                      <a:pt x="713" y="85"/>
                      <a:pt x="677" y="106"/>
                    </a:cubicBezTo>
                    <a:cubicBezTo>
                      <a:pt x="562" y="172"/>
                      <a:pt x="522" y="319"/>
                      <a:pt x="588" y="433"/>
                    </a:cubicBezTo>
                    <a:cubicBezTo>
                      <a:pt x="619" y="489"/>
                      <a:pt x="671" y="529"/>
                      <a:pt x="733" y="546"/>
                    </a:cubicBezTo>
                    <a:cubicBezTo>
                      <a:pt x="795" y="563"/>
                      <a:pt x="859" y="554"/>
                      <a:pt x="915" y="523"/>
                    </a:cubicBezTo>
                    <a:cubicBezTo>
                      <a:pt x="971" y="491"/>
                      <a:pt x="1011" y="439"/>
                      <a:pt x="1027" y="377"/>
                    </a:cubicBezTo>
                    <a:close/>
                    <a:moveTo>
                      <a:pt x="1027" y="377"/>
                    </a:moveTo>
                    <a:cubicBezTo>
                      <a:pt x="1027" y="377"/>
                      <a:pt x="1027" y="377"/>
                      <a:pt x="1027" y="3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grpSp>
        <p:nvGrpSpPr>
          <p:cNvPr id="171" name="Group 170">
            <a:extLst>
              <a:ext uri="{FF2B5EF4-FFF2-40B4-BE49-F238E27FC236}">
                <a16:creationId xmlns="" xmlns:a16="http://schemas.microsoft.com/office/drawing/2014/main" id="{BC4BB2C6-CE72-4734-BBA9-C318B19253C0}"/>
              </a:ext>
            </a:extLst>
          </p:cNvPr>
          <p:cNvGrpSpPr/>
          <p:nvPr/>
        </p:nvGrpSpPr>
        <p:grpSpPr>
          <a:xfrm>
            <a:off x="2199023" y="2988455"/>
            <a:ext cx="1003300" cy="1003300"/>
            <a:chOff x="2199023" y="2988455"/>
            <a:chExt cx="1003300" cy="1003300"/>
          </a:xfrm>
        </p:grpSpPr>
        <p:sp>
          <p:nvSpPr>
            <p:cNvPr id="48" name="Oval 47">
              <a:extLst>
                <a:ext uri="{FF2B5EF4-FFF2-40B4-BE49-F238E27FC236}">
                  <a16:creationId xmlns="" xmlns:a16="http://schemas.microsoft.com/office/drawing/2014/main" id="{80474D4B-DD63-433C-8E20-1060E505ABCF}"/>
                </a:ext>
              </a:extLst>
            </p:cNvPr>
            <p:cNvSpPr/>
            <p:nvPr/>
          </p:nvSpPr>
          <p:spPr>
            <a:xfrm>
              <a:off x="2199023" y="2988455"/>
              <a:ext cx="1003300" cy="1003300"/>
            </a:xfrm>
            <a:prstGeom prst="ellipse">
              <a:avLst/>
            </a:prstGeom>
            <a:solidFill>
              <a:srgbClr val="05589C">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56" name="Group 30">
              <a:extLst>
                <a:ext uri="{FF2B5EF4-FFF2-40B4-BE49-F238E27FC236}">
                  <a16:creationId xmlns="" xmlns:a16="http://schemas.microsoft.com/office/drawing/2014/main" id="{D49ED444-965F-4EBC-80FD-C7FB925CE386}"/>
                </a:ext>
              </a:extLst>
            </p:cNvPr>
            <p:cNvGrpSpPr>
              <a:grpSpLocks noChangeAspect="1"/>
            </p:cNvGrpSpPr>
            <p:nvPr/>
          </p:nvGrpSpPr>
          <p:grpSpPr bwMode="auto">
            <a:xfrm>
              <a:off x="2539789" y="3272098"/>
              <a:ext cx="337078" cy="452476"/>
              <a:chOff x="-1" y="-194"/>
              <a:chExt cx="3292" cy="4419"/>
            </a:xfrm>
            <a:solidFill>
              <a:schemeClr val="bg1"/>
            </a:solidFill>
          </p:grpSpPr>
          <p:sp>
            <p:nvSpPr>
              <p:cNvPr id="158" name="Freeform 31">
                <a:extLst>
                  <a:ext uri="{FF2B5EF4-FFF2-40B4-BE49-F238E27FC236}">
                    <a16:creationId xmlns="" xmlns:a16="http://schemas.microsoft.com/office/drawing/2014/main" id="{83C28892-C8FD-4694-9D5D-F9AE1A1939AB}"/>
                  </a:ext>
                </a:extLst>
              </p:cNvPr>
              <p:cNvSpPr>
                <a:spLocks noEditPoints="1"/>
              </p:cNvSpPr>
              <p:nvPr/>
            </p:nvSpPr>
            <p:spPr bwMode="auto">
              <a:xfrm>
                <a:off x="135" y="-194"/>
                <a:ext cx="3156" cy="1093"/>
              </a:xfrm>
              <a:custGeom>
                <a:avLst/>
                <a:gdLst>
                  <a:gd name="T0" fmla="*/ 52 w 1181"/>
                  <a:gd name="T1" fmla="*/ 347 h 409"/>
                  <a:gd name="T2" fmla="*/ 1078 w 1181"/>
                  <a:gd name="T3" fmla="*/ 347 h 409"/>
                  <a:gd name="T4" fmla="*/ 1082 w 1181"/>
                  <a:gd name="T5" fmla="*/ 351 h 409"/>
                  <a:gd name="T6" fmla="*/ 994 w 1181"/>
                  <a:gd name="T7" fmla="*/ 351 h 409"/>
                  <a:gd name="T8" fmla="*/ 965 w 1181"/>
                  <a:gd name="T9" fmla="*/ 380 h 409"/>
                  <a:gd name="T10" fmla="*/ 994 w 1181"/>
                  <a:gd name="T11" fmla="*/ 409 h 409"/>
                  <a:gd name="T12" fmla="*/ 1152 w 1181"/>
                  <a:gd name="T13" fmla="*/ 409 h 409"/>
                  <a:gd name="T14" fmla="*/ 1181 w 1181"/>
                  <a:gd name="T15" fmla="*/ 380 h 409"/>
                  <a:gd name="T16" fmla="*/ 1181 w 1181"/>
                  <a:gd name="T17" fmla="*/ 222 h 409"/>
                  <a:gd name="T18" fmla="*/ 1152 w 1181"/>
                  <a:gd name="T19" fmla="*/ 193 h 409"/>
                  <a:gd name="T20" fmla="*/ 1123 w 1181"/>
                  <a:gd name="T21" fmla="*/ 222 h 409"/>
                  <a:gd name="T22" fmla="*/ 1123 w 1181"/>
                  <a:gd name="T23" fmla="*/ 310 h 409"/>
                  <a:gd name="T24" fmla="*/ 1119 w 1181"/>
                  <a:gd name="T25" fmla="*/ 306 h 409"/>
                  <a:gd name="T26" fmla="*/ 11 w 1181"/>
                  <a:gd name="T27" fmla="*/ 306 h 409"/>
                  <a:gd name="T28" fmla="*/ 11 w 1181"/>
                  <a:gd name="T29" fmla="*/ 347 h 409"/>
                  <a:gd name="T30" fmla="*/ 52 w 1181"/>
                  <a:gd name="T31" fmla="*/ 347 h 409"/>
                  <a:gd name="T32" fmla="*/ 52 w 1181"/>
                  <a:gd name="T33" fmla="*/ 347 h 409"/>
                  <a:gd name="T34" fmla="*/ 52 w 1181"/>
                  <a:gd name="T35" fmla="*/ 347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1" h="409">
                    <a:moveTo>
                      <a:pt x="52" y="347"/>
                    </a:moveTo>
                    <a:cubicBezTo>
                      <a:pt x="335" y="64"/>
                      <a:pt x="795" y="64"/>
                      <a:pt x="1078" y="347"/>
                    </a:cubicBezTo>
                    <a:cubicBezTo>
                      <a:pt x="1082" y="351"/>
                      <a:pt x="1082" y="351"/>
                      <a:pt x="1082" y="351"/>
                    </a:cubicBezTo>
                    <a:cubicBezTo>
                      <a:pt x="994" y="351"/>
                      <a:pt x="994" y="351"/>
                      <a:pt x="994" y="351"/>
                    </a:cubicBezTo>
                    <a:cubicBezTo>
                      <a:pt x="978" y="351"/>
                      <a:pt x="965" y="364"/>
                      <a:pt x="965" y="380"/>
                    </a:cubicBezTo>
                    <a:cubicBezTo>
                      <a:pt x="965" y="396"/>
                      <a:pt x="978" y="409"/>
                      <a:pt x="994" y="409"/>
                    </a:cubicBezTo>
                    <a:cubicBezTo>
                      <a:pt x="1152" y="409"/>
                      <a:pt x="1152" y="409"/>
                      <a:pt x="1152" y="409"/>
                    </a:cubicBezTo>
                    <a:cubicBezTo>
                      <a:pt x="1168" y="409"/>
                      <a:pt x="1181" y="396"/>
                      <a:pt x="1181" y="380"/>
                    </a:cubicBezTo>
                    <a:cubicBezTo>
                      <a:pt x="1181" y="222"/>
                      <a:pt x="1181" y="222"/>
                      <a:pt x="1181" y="222"/>
                    </a:cubicBezTo>
                    <a:cubicBezTo>
                      <a:pt x="1181" y="206"/>
                      <a:pt x="1168" y="193"/>
                      <a:pt x="1152" y="193"/>
                    </a:cubicBezTo>
                    <a:cubicBezTo>
                      <a:pt x="1136" y="193"/>
                      <a:pt x="1123" y="206"/>
                      <a:pt x="1123" y="222"/>
                    </a:cubicBezTo>
                    <a:cubicBezTo>
                      <a:pt x="1123" y="310"/>
                      <a:pt x="1123" y="310"/>
                      <a:pt x="1123" y="310"/>
                    </a:cubicBezTo>
                    <a:cubicBezTo>
                      <a:pt x="1119" y="306"/>
                      <a:pt x="1119" y="306"/>
                      <a:pt x="1119" y="306"/>
                    </a:cubicBezTo>
                    <a:cubicBezTo>
                      <a:pt x="813" y="0"/>
                      <a:pt x="317" y="0"/>
                      <a:pt x="11" y="306"/>
                    </a:cubicBezTo>
                    <a:cubicBezTo>
                      <a:pt x="0" y="317"/>
                      <a:pt x="0" y="335"/>
                      <a:pt x="11" y="347"/>
                    </a:cubicBezTo>
                    <a:cubicBezTo>
                      <a:pt x="23" y="358"/>
                      <a:pt x="41" y="358"/>
                      <a:pt x="52" y="347"/>
                    </a:cubicBezTo>
                    <a:close/>
                    <a:moveTo>
                      <a:pt x="52" y="347"/>
                    </a:moveTo>
                    <a:cubicBezTo>
                      <a:pt x="52" y="347"/>
                      <a:pt x="52" y="347"/>
                      <a:pt x="52" y="3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59" name="Freeform 32">
                <a:extLst>
                  <a:ext uri="{FF2B5EF4-FFF2-40B4-BE49-F238E27FC236}">
                    <a16:creationId xmlns="" xmlns:a16="http://schemas.microsoft.com/office/drawing/2014/main" id="{8676E1B6-F437-48D9-BCC1-DFA69311B8ED}"/>
                  </a:ext>
                </a:extLst>
              </p:cNvPr>
              <p:cNvSpPr>
                <a:spLocks noEditPoints="1"/>
              </p:cNvSpPr>
              <p:nvPr/>
            </p:nvSpPr>
            <p:spPr bwMode="auto">
              <a:xfrm>
                <a:off x="-1" y="3303"/>
                <a:ext cx="3155" cy="922"/>
              </a:xfrm>
              <a:custGeom>
                <a:avLst/>
                <a:gdLst>
                  <a:gd name="T0" fmla="*/ 29 w 1181"/>
                  <a:gd name="T1" fmla="*/ 216 h 345"/>
                  <a:gd name="T2" fmla="*/ 58 w 1181"/>
                  <a:gd name="T3" fmla="*/ 187 h 345"/>
                  <a:gd name="T4" fmla="*/ 58 w 1181"/>
                  <a:gd name="T5" fmla="*/ 99 h 345"/>
                  <a:gd name="T6" fmla="*/ 62 w 1181"/>
                  <a:gd name="T7" fmla="*/ 104 h 345"/>
                  <a:gd name="T8" fmla="*/ 616 w 1181"/>
                  <a:gd name="T9" fmla="*/ 333 h 345"/>
                  <a:gd name="T10" fmla="*/ 1170 w 1181"/>
                  <a:gd name="T11" fmla="*/ 104 h 345"/>
                  <a:gd name="T12" fmla="*/ 1170 w 1181"/>
                  <a:gd name="T13" fmla="*/ 63 h 345"/>
                  <a:gd name="T14" fmla="*/ 1129 w 1181"/>
                  <a:gd name="T15" fmla="*/ 63 h 345"/>
                  <a:gd name="T16" fmla="*/ 103 w 1181"/>
                  <a:gd name="T17" fmla="*/ 63 h 345"/>
                  <a:gd name="T18" fmla="*/ 99 w 1181"/>
                  <a:gd name="T19" fmla="*/ 58 h 345"/>
                  <a:gd name="T20" fmla="*/ 187 w 1181"/>
                  <a:gd name="T21" fmla="*/ 58 h 345"/>
                  <a:gd name="T22" fmla="*/ 216 w 1181"/>
                  <a:gd name="T23" fmla="*/ 29 h 345"/>
                  <a:gd name="T24" fmla="*/ 187 w 1181"/>
                  <a:gd name="T25" fmla="*/ 0 h 345"/>
                  <a:gd name="T26" fmla="*/ 29 w 1181"/>
                  <a:gd name="T27" fmla="*/ 0 h 345"/>
                  <a:gd name="T28" fmla="*/ 0 w 1181"/>
                  <a:gd name="T29" fmla="*/ 29 h 345"/>
                  <a:gd name="T30" fmla="*/ 0 w 1181"/>
                  <a:gd name="T31" fmla="*/ 187 h 345"/>
                  <a:gd name="T32" fmla="*/ 29 w 1181"/>
                  <a:gd name="T33" fmla="*/ 216 h 345"/>
                  <a:gd name="T34" fmla="*/ 29 w 1181"/>
                  <a:gd name="T35" fmla="*/ 216 h 345"/>
                  <a:gd name="T36" fmla="*/ 29 w 1181"/>
                  <a:gd name="T37" fmla="*/ 216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1" h="345">
                    <a:moveTo>
                      <a:pt x="29" y="216"/>
                    </a:moveTo>
                    <a:cubicBezTo>
                      <a:pt x="45" y="216"/>
                      <a:pt x="58" y="203"/>
                      <a:pt x="58" y="187"/>
                    </a:cubicBezTo>
                    <a:cubicBezTo>
                      <a:pt x="58" y="99"/>
                      <a:pt x="58" y="99"/>
                      <a:pt x="58" y="99"/>
                    </a:cubicBezTo>
                    <a:cubicBezTo>
                      <a:pt x="62" y="104"/>
                      <a:pt x="62" y="104"/>
                      <a:pt x="62" y="104"/>
                    </a:cubicBezTo>
                    <a:cubicBezTo>
                      <a:pt x="215" y="257"/>
                      <a:pt x="415" y="333"/>
                      <a:pt x="616" y="333"/>
                    </a:cubicBezTo>
                    <a:cubicBezTo>
                      <a:pt x="816" y="333"/>
                      <a:pt x="1017" y="256"/>
                      <a:pt x="1170" y="104"/>
                    </a:cubicBezTo>
                    <a:cubicBezTo>
                      <a:pt x="1181" y="93"/>
                      <a:pt x="1181" y="74"/>
                      <a:pt x="1170" y="63"/>
                    </a:cubicBezTo>
                    <a:cubicBezTo>
                      <a:pt x="1158" y="52"/>
                      <a:pt x="1140" y="52"/>
                      <a:pt x="1129" y="63"/>
                    </a:cubicBezTo>
                    <a:cubicBezTo>
                      <a:pt x="846" y="345"/>
                      <a:pt x="386" y="345"/>
                      <a:pt x="103" y="63"/>
                    </a:cubicBezTo>
                    <a:cubicBezTo>
                      <a:pt x="99" y="58"/>
                      <a:pt x="99" y="58"/>
                      <a:pt x="99" y="58"/>
                    </a:cubicBezTo>
                    <a:cubicBezTo>
                      <a:pt x="187" y="58"/>
                      <a:pt x="187" y="58"/>
                      <a:pt x="187" y="58"/>
                    </a:cubicBezTo>
                    <a:cubicBezTo>
                      <a:pt x="203" y="58"/>
                      <a:pt x="216" y="45"/>
                      <a:pt x="216" y="29"/>
                    </a:cubicBezTo>
                    <a:cubicBezTo>
                      <a:pt x="216" y="13"/>
                      <a:pt x="203" y="0"/>
                      <a:pt x="187" y="0"/>
                    </a:cubicBezTo>
                    <a:cubicBezTo>
                      <a:pt x="29" y="0"/>
                      <a:pt x="29" y="0"/>
                      <a:pt x="29" y="0"/>
                    </a:cubicBezTo>
                    <a:cubicBezTo>
                      <a:pt x="13" y="0"/>
                      <a:pt x="0" y="13"/>
                      <a:pt x="0" y="29"/>
                    </a:cubicBezTo>
                    <a:cubicBezTo>
                      <a:pt x="0" y="187"/>
                      <a:pt x="0" y="187"/>
                      <a:pt x="0" y="187"/>
                    </a:cubicBezTo>
                    <a:cubicBezTo>
                      <a:pt x="0" y="203"/>
                      <a:pt x="13" y="216"/>
                      <a:pt x="29" y="216"/>
                    </a:cubicBezTo>
                    <a:close/>
                    <a:moveTo>
                      <a:pt x="29" y="216"/>
                    </a:moveTo>
                    <a:cubicBezTo>
                      <a:pt x="29" y="216"/>
                      <a:pt x="29" y="216"/>
                      <a:pt x="29" y="2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0" name="Freeform 33">
                <a:extLst>
                  <a:ext uri="{FF2B5EF4-FFF2-40B4-BE49-F238E27FC236}">
                    <a16:creationId xmlns="" xmlns:a16="http://schemas.microsoft.com/office/drawing/2014/main" id="{C85E9539-5301-4A9F-81A8-ACBC4FBF656A}"/>
                  </a:ext>
                </a:extLst>
              </p:cNvPr>
              <p:cNvSpPr>
                <a:spLocks noEditPoints="1"/>
              </p:cNvSpPr>
              <p:nvPr/>
            </p:nvSpPr>
            <p:spPr bwMode="auto">
              <a:xfrm>
                <a:off x="213" y="698"/>
                <a:ext cx="2840" cy="2808"/>
              </a:xfrm>
              <a:custGeom>
                <a:avLst/>
                <a:gdLst>
                  <a:gd name="T0" fmla="*/ 1028 w 1063"/>
                  <a:gd name="T1" fmla="*/ 281 h 1051"/>
                  <a:gd name="T2" fmla="*/ 891 w 1063"/>
                  <a:gd name="T3" fmla="*/ 259 h 1051"/>
                  <a:gd name="T4" fmla="*/ 780 w 1063"/>
                  <a:gd name="T5" fmla="*/ 33 h 1051"/>
                  <a:gd name="T6" fmla="*/ 616 w 1063"/>
                  <a:gd name="T7" fmla="*/ 45 h 1051"/>
                  <a:gd name="T8" fmla="*/ 456 w 1063"/>
                  <a:gd name="T9" fmla="*/ 45 h 1051"/>
                  <a:gd name="T10" fmla="*/ 292 w 1063"/>
                  <a:gd name="T11" fmla="*/ 33 h 1051"/>
                  <a:gd name="T12" fmla="*/ 270 w 1063"/>
                  <a:gd name="T13" fmla="*/ 171 h 1051"/>
                  <a:gd name="T14" fmla="*/ 112 w 1063"/>
                  <a:gd name="T15" fmla="*/ 237 h 1051"/>
                  <a:gd name="T16" fmla="*/ 55 w 1063"/>
                  <a:gd name="T17" fmla="*/ 446 h 1051"/>
                  <a:gd name="T18" fmla="*/ 55 w 1063"/>
                  <a:gd name="T19" fmla="*/ 606 h 1051"/>
                  <a:gd name="T20" fmla="*/ 112 w 1063"/>
                  <a:gd name="T21" fmla="*/ 815 h 1051"/>
                  <a:gd name="T22" fmla="*/ 270 w 1063"/>
                  <a:gd name="T23" fmla="*/ 880 h 1051"/>
                  <a:gd name="T24" fmla="*/ 360 w 1063"/>
                  <a:gd name="T25" fmla="*/ 1046 h 1051"/>
                  <a:gd name="T26" fmla="*/ 473 w 1063"/>
                  <a:gd name="T27" fmla="*/ 965 h 1051"/>
                  <a:gd name="T28" fmla="*/ 683 w 1063"/>
                  <a:gd name="T29" fmla="*/ 1051 h 1051"/>
                  <a:gd name="T30" fmla="*/ 819 w 1063"/>
                  <a:gd name="T31" fmla="*/ 922 h 1051"/>
                  <a:gd name="T32" fmla="*/ 932 w 1063"/>
                  <a:gd name="T33" fmla="*/ 809 h 1051"/>
                  <a:gd name="T34" fmla="*/ 1056 w 1063"/>
                  <a:gd name="T35" fmla="*/ 701 h 1051"/>
                  <a:gd name="T36" fmla="*/ 975 w 1063"/>
                  <a:gd name="T37" fmla="*/ 588 h 1051"/>
                  <a:gd name="T38" fmla="*/ 1056 w 1063"/>
                  <a:gd name="T39" fmla="*/ 406 h 1051"/>
                  <a:gd name="T40" fmla="*/ 932 w 1063"/>
                  <a:gd name="T41" fmla="*/ 418 h 1051"/>
                  <a:gd name="T42" fmla="*/ 932 w 1063"/>
                  <a:gd name="T43" fmla="*/ 632 h 1051"/>
                  <a:gd name="T44" fmla="*/ 1002 w 1063"/>
                  <a:gd name="T45" fmla="*/ 678 h 1051"/>
                  <a:gd name="T46" fmla="*/ 892 w 1063"/>
                  <a:gd name="T47" fmla="*/ 728 h 1051"/>
                  <a:gd name="T48" fmla="*/ 740 w 1063"/>
                  <a:gd name="T49" fmla="*/ 880 h 1051"/>
                  <a:gd name="T50" fmla="*/ 689 w 1063"/>
                  <a:gd name="T51" fmla="*/ 991 h 1051"/>
                  <a:gd name="T52" fmla="*/ 617 w 1063"/>
                  <a:gd name="T53" fmla="*/ 902 h 1051"/>
                  <a:gd name="T54" fmla="*/ 429 w 1063"/>
                  <a:gd name="T55" fmla="*/ 920 h 1051"/>
                  <a:gd name="T56" fmla="*/ 315 w 1063"/>
                  <a:gd name="T57" fmla="*/ 962 h 1051"/>
                  <a:gd name="T58" fmla="*/ 322 w 1063"/>
                  <a:gd name="T59" fmla="*/ 845 h 1051"/>
                  <a:gd name="T60" fmla="*/ 118 w 1063"/>
                  <a:gd name="T61" fmla="*/ 754 h 1051"/>
                  <a:gd name="T62" fmla="*/ 78 w 1063"/>
                  <a:gd name="T63" fmla="*/ 658 h 1051"/>
                  <a:gd name="T64" fmla="*/ 158 w 1063"/>
                  <a:gd name="T65" fmla="*/ 450 h 1051"/>
                  <a:gd name="T66" fmla="*/ 70 w 1063"/>
                  <a:gd name="T67" fmla="*/ 372 h 1051"/>
                  <a:gd name="T68" fmla="*/ 181 w 1063"/>
                  <a:gd name="T69" fmla="*/ 321 h 1051"/>
                  <a:gd name="T70" fmla="*/ 333 w 1063"/>
                  <a:gd name="T71" fmla="*/ 170 h 1051"/>
                  <a:gd name="T72" fmla="*/ 315 w 1063"/>
                  <a:gd name="T73" fmla="*/ 87 h 1051"/>
                  <a:gd name="T74" fmla="*/ 429 w 1063"/>
                  <a:gd name="T75" fmla="*/ 130 h 1051"/>
                  <a:gd name="T76" fmla="*/ 644 w 1063"/>
                  <a:gd name="T77" fmla="*/ 130 h 1051"/>
                  <a:gd name="T78" fmla="*/ 757 w 1063"/>
                  <a:gd name="T79" fmla="*/ 88 h 1051"/>
                  <a:gd name="T80" fmla="*/ 750 w 1063"/>
                  <a:gd name="T81" fmla="*/ 205 h 1051"/>
                  <a:gd name="T82" fmla="*/ 954 w 1063"/>
                  <a:gd name="T83" fmla="*/ 296 h 1051"/>
                  <a:gd name="T84" fmla="*/ 1003 w 1063"/>
                  <a:gd name="T85" fmla="*/ 384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63" h="1051">
                    <a:moveTo>
                      <a:pt x="1056" y="406"/>
                    </a:moveTo>
                    <a:cubicBezTo>
                      <a:pt x="1063" y="388"/>
                      <a:pt x="1063" y="368"/>
                      <a:pt x="1056" y="350"/>
                    </a:cubicBezTo>
                    <a:cubicBezTo>
                      <a:pt x="1028" y="281"/>
                      <a:pt x="1028" y="281"/>
                      <a:pt x="1028" y="281"/>
                    </a:cubicBezTo>
                    <a:cubicBezTo>
                      <a:pt x="1016" y="254"/>
                      <a:pt x="990" y="236"/>
                      <a:pt x="960" y="236"/>
                    </a:cubicBezTo>
                    <a:cubicBezTo>
                      <a:pt x="950" y="236"/>
                      <a:pt x="941" y="238"/>
                      <a:pt x="932" y="242"/>
                    </a:cubicBezTo>
                    <a:cubicBezTo>
                      <a:pt x="891" y="259"/>
                      <a:pt x="891" y="259"/>
                      <a:pt x="891" y="259"/>
                    </a:cubicBezTo>
                    <a:cubicBezTo>
                      <a:pt x="865" y="225"/>
                      <a:pt x="836" y="196"/>
                      <a:pt x="802" y="170"/>
                    </a:cubicBezTo>
                    <a:cubicBezTo>
                      <a:pt x="819" y="129"/>
                      <a:pt x="819" y="129"/>
                      <a:pt x="819" y="129"/>
                    </a:cubicBezTo>
                    <a:cubicBezTo>
                      <a:pt x="835" y="92"/>
                      <a:pt x="817" y="49"/>
                      <a:pt x="780" y="33"/>
                    </a:cubicBezTo>
                    <a:cubicBezTo>
                      <a:pt x="711" y="5"/>
                      <a:pt x="711" y="5"/>
                      <a:pt x="711" y="5"/>
                    </a:cubicBezTo>
                    <a:cubicBezTo>
                      <a:pt x="702" y="1"/>
                      <a:pt x="693" y="0"/>
                      <a:pt x="684" y="0"/>
                    </a:cubicBezTo>
                    <a:cubicBezTo>
                      <a:pt x="654" y="0"/>
                      <a:pt x="628" y="17"/>
                      <a:pt x="616" y="45"/>
                    </a:cubicBezTo>
                    <a:cubicBezTo>
                      <a:pt x="599" y="86"/>
                      <a:pt x="599" y="86"/>
                      <a:pt x="599" y="86"/>
                    </a:cubicBezTo>
                    <a:cubicBezTo>
                      <a:pt x="557" y="80"/>
                      <a:pt x="515" y="80"/>
                      <a:pt x="473" y="86"/>
                    </a:cubicBezTo>
                    <a:cubicBezTo>
                      <a:pt x="456" y="45"/>
                      <a:pt x="456" y="45"/>
                      <a:pt x="456" y="45"/>
                    </a:cubicBezTo>
                    <a:cubicBezTo>
                      <a:pt x="445" y="17"/>
                      <a:pt x="418" y="0"/>
                      <a:pt x="388" y="0"/>
                    </a:cubicBezTo>
                    <a:cubicBezTo>
                      <a:pt x="379" y="0"/>
                      <a:pt x="370" y="1"/>
                      <a:pt x="361" y="5"/>
                    </a:cubicBezTo>
                    <a:cubicBezTo>
                      <a:pt x="292" y="33"/>
                      <a:pt x="292" y="33"/>
                      <a:pt x="292" y="33"/>
                    </a:cubicBezTo>
                    <a:cubicBezTo>
                      <a:pt x="274" y="41"/>
                      <a:pt x="260" y="55"/>
                      <a:pt x="252" y="73"/>
                    </a:cubicBezTo>
                    <a:cubicBezTo>
                      <a:pt x="245" y="91"/>
                      <a:pt x="245" y="111"/>
                      <a:pt x="252" y="129"/>
                    </a:cubicBezTo>
                    <a:cubicBezTo>
                      <a:pt x="270" y="171"/>
                      <a:pt x="270" y="171"/>
                      <a:pt x="270" y="171"/>
                    </a:cubicBezTo>
                    <a:cubicBezTo>
                      <a:pt x="236" y="196"/>
                      <a:pt x="206" y="226"/>
                      <a:pt x="181" y="259"/>
                    </a:cubicBezTo>
                    <a:cubicBezTo>
                      <a:pt x="140" y="242"/>
                      <a:pt x="140" y="242"/>
                      <a:pt x="140" y="242"/>
                    </a:cubicBezTo>
                    <a:cubicBezTo>
                      <a:pt x="131" y="238"/>
                      <a:pt x="121" y="237"/>
                      <a:pt x="112" y="237"/>
                    </a:cubicBezTo>
                    <a:cubicBezTo>
                      <a:pt x="82" y="237"/>
                      <a:pt x="56" y="254"/>
                      <a:pt x="44" y="282"/>
                    </a:cubicBezTo>
                    <a:cubicBezTo>
                      <a:pt x="16" y="350"/>
                      <a:pt x="16" y="350"/>
                      <a:pt x="16" y="350"/>
                    </a:cubicBezTo>
                    <a:cubicBezTo>
                      <a:pt x="0" y="387"/>
                      <a:pt x="18" y="430"/>
                      <a:pt x="55" y="446"/>
                    </a:cubicBezTo>
                    <a:cubicBezTo>
                      <a:pt x="97" y="463"/>
                      <a:pt x="97" y="463"/>
                      <a:pt x="97" y="463"/>
                    </a:cubicBezTo>
                    <a:cubicBezTo>
                      <a:pt x="91" y="504"/>
                      <a:pt x="91" y="547"/>
                      <a:pt x="97" y="588"/>
                    </a:cubicBezTo>
                    <a:cubicBezTo>
                      <a:pt x="55" y="606"/>
                      <a:pt x="55" y="606"/>
                      <a:pt x="55" y="606"/>
                    </a:cubicBezTo>
                    <a:cubicBezTo>
                      <a:pt x="18" y="621"/>
                      <a:pt x="0" y="664"/>
                      <a:pt x="16" y="701"/>
                    </a:cubicBezTo>
                    <a:cubicBezTo>
                      <a:pt x="44" y="769"/>
                      <a:pt x="44" y="769"/>
                      <a:pt x="44" y="769"/>
                    </a:cubicBezTo>
                    <a:cubicBezTo>
                      <a:pt x="55" y="797"/>
                      <a:pt x="82" y="815"/>
                      <a:pt x="112" y="815"/>
                    </a:cubicBezTo>
                    <a:cubicBezTo>
                      <a:pt x="121" y="815"/>
                      <a:pt x="131" y="813"/>
                      <a:pt x="140" y="809"/>
                    </a:cubicBezTo>
                    <a:cubicBezTo>
                      <a:pt x="181" y="792"/>
                      <a:pt x="181" y="792"/>
                      <a:pt x="181" y="792"/>
                    </a:cubicBezTo>
                    <a:cubicBezTo>
                      <a:pt x="206" y="826"/>
                      <a:pt x="236" y="855"/>
                      <a:pt x="270" y="880"/>
                    </a:cubicBezTo>
                    <a:cubicBezTo>
                      <a:pt x="252" y="922"/>
                      <a:pt x="252" y="922"/>
                      <a:pt x="252" y="922"/>
                    </a:cubicBezTo>
                    <a:cubicBezTo>
                      <a:pt x="237" y="959"/>
                      <a:pt x="255" y="1002"/>
                      <a:pt x="292" y="1017"/>
                    </a:cubicBezTo>
                    <a:cubicBezTo>
                      <a:pt x="360" y="1046"/>
                      <a:pt x="360" y="1046"/>
                      <a:pt x="360" y="1046"/>
                    </a:cubicBezTo>
                    <a:cubicBezTo>
                      <a:pt x="369" y="1050"/>
                      <a:pt x="379" y="1051"/>
                      <a:pt x="388" y="1051"/>
                    </a:cubicBezTo>
                    <a:cubicBezTo>
                      <a:pt x="418" y="1051"/>
                      <a:pt x="444" y="1034"/>
                      <a:pt x="456" y="1006"/>
                    </a:cubicBezTo>
                    <a:cubicBezTo>
                      <a:pt x="473" y="965"/>
                      <a:pt x="473" y="965"/>
                      <a:pt x="473" y="965"/>
                    </a:cubicBezTo>
                    <a:cubicBezTo>
                      <a:pt x="515" y="971"/>
                      <a:pt x="557" y="971"/>
                      <a:pt x="598" y="965"/>
                    </a:cubicBezTo>
                    <a:cubicBezTo>
                      <a:pt x="616" y="1006"/>
                      <a:pt x="616" y="1006"/>
                      <a:pt x="616" y="1006"/>
                    </a:cubicBezTo>
                    <a:cubicBezTo>
                      <a:pt x="627" y="1034"/>
                      <a:pt x="653" y="1051"/>
                      <a:pt x="683" y="1051"/>
                    </a:cubicBezTo>
                    <a:cubicBezTo>
                      <a:pt x="693" y="1051"/>
                      <a:pt x="702" y="1049"/>
                      <a:pt x="711" y="1046"/>
                    </a:cubicBezTo>
                    <a:cubicBezTo>
                      <a:pt x="780" y="1017"/>
                      <a:pt x="780" y="1017"/>
                      <a:pt x="780" y="1017"/>
                    </a:cubicBezTo>
                    <a:cubicBezTo>
                      <a:pt x="817" y="1002"/>
                      <a:pt x="835" y="959"/>
                      <a:pt x="819" y="922"/>
                    </a:cubicBezTo>
                    <a:cubicBezTo>
                      <a:pt x="802" y="880"/>
                      <a:pt x="802" y="880"/>
                      <a:pt x="802" y="880"/>
                    </a:cubicBezTo>
                    <a:cubicBezTo>
                      <a:pt x="836" y="855"/>
                      <a:pt x="865" y="825"/>
                      <a:pt x="891" y="792"/>
                    </a:cubicBezTo>
                    <a:cubicBezTo>
                      <a:pt x="932" y="809"/>
                      <a:pt x="932" y="809"/>
                      <a:pt x="932" y="809"/>
                    </a:cubicBezTo>
                    <a:cubicBezTo>
                      <a:pt x="941" y="813"/>
                      <a:pt x="950" y="815"/>
                      <a:pt x="960" y="815"/>
                    </a:cubicBezTo>
                    <a:cubicBezTo>
                      <a:pt x="990" y="815"/>
                      <a:pt x="1016" y="797"/>
                      <a:pt x="1028" y="769"/>
                    </a:cubicBezTo>
                    <a:cubicBezTo>
                      <a:pt x="1056" y="701"/>
                      <a:pt x="1056" y="701"/>
                      <a:pt x="1056" y="701"/>
                    </a:cubicBezTo>
                    <a:cubicBezTo>
                      <a:pt x="1063" y="683"/>
                      <a:pt x="1063" y="663"/>
                      <a:pt x="1056" y="645"/>
                    </a:cubicBezTo>
                    <a:cubicBezTo>
                      <a:pt x="1049" y="627"/>
                      <a:pt x="1035" y="613"/>
                      <a:pt x="1016" y="605"/>
                    </a:cubicBezTo>
                    <a:cubicBezTo>
                      <a:pt x="975" y="588"/>
                      <a:pt x="975" y="588"/>
                      <a:pt x="975" y="588"/>
                    </a:cubicBezTo>
                    <a:cubicBezTo>
                      <a:pt x="981" y="546"/>
                      <a:pt x="981" y="504"/>
                      <a:pt x="975" y="463"/>
                    </a:cubicBezTo>
                    <a:cubicBezTo>
                      <a:pt x="1016" y="445"/>
                      <a:pt x="1016" y="445"/>
                      <a:pt x="1016" y="445"/>
                    </a:cubicBezTo>
                    <a:cubicBezTo>
                      <a:pt x="1035" y="438"/>
                      <a:pt x="1049" y="424"/>
                      <a:pt x="1056" y="406"/>
                    </a:cubicBezTo>
                    <a:close/>
                    <a:moveTo>
                      <a:pt x="1003" y="384"/>
                    </a:moveTo>
                    <a:cubicBezTo>
                      <a:pt x="1001" y="388"/>
                      <a:pt x="998" y="391"/>
                      <a:pt x="995" y="392"/>
                    </a:cubicBezTo>
                    <a:cubicBezTo>
                      <a:pt x="932" y="418"/>
                      <a:pt x="932" y="418"/>
                      <a:pt x="932" y="418"/>
                    </a:cubicBezTo>
                    <a:cubicBezTo>
                      <a:pt x="919" y="423"/>
                      <a:pt x="911" y="437"/>
                      <a:pt x="914" y="450"/>
                    </a:cubicBezTo>
                    <a:cubicBezTo>
                      <a:pt x="924" y="500"/>
                      <a:pt x="924" y="550"/>
                      <a:pt x="914" y="600"/>
                    </a:cubicBezTo>
                    <a:cubicBezTo>
                      <a:pt x="912" y="614"/>
                      <a:pt x="919" y="627"/>
                      <a:pt x="932" y="632"/>
                    </a:cubicBezTo>
                    <a:cubicBezTo>
                      <a:pt x="994" y="658"/>
                      <a:pt x="994" y="658"/>
                      <a:pt x="994" y="658"/>
                    </a:cubicBezTo>
                    <a:cubicBezTo>
                      <a:pt x="998" y="660"/>
                      <a:pt x="1001" y="663"/>
                      <a:pt x="1002" y="666"/>
                    </a:cubicBezTo>
                    <a:cubicBezTo>
                      <a:pt x="1004" y="670"/>
                      <a:pt x="1004" y="674"/>
                      <a:pt x="1002" y="678"/>
                    </a:cubicBezTo>
                    <a:cubicBezTo>
                      <a:pt x="974" y="746"/>
                      <a:pt x="974" y="746"/>
                      <a:pt x="974" y="746"/>
                    </a:cubicBezTo>
                    <a:cubicBezTo>
                      <a:pt x="971" y="754"/>
                      <a:pt x="962" y="758"/>
                      <a:pt x="954" y="754"/>
                    </a:cubicBezTo>
                    <a:cubicBezTo>
                      <a:pt x="892" y="728"/>
                      <a:pt x="892" y="728"/>
                      <a:pt x="892" y="728"/>
                    </a:cubicBezTo>
                    <a:cubicBezTo>
                      <a:pt x="879" y="723"/>
                      <a:pt x="864" y="728"/>
                      <a:pt x="856" y="739"/>
                    </a:cubicBezTo>
                    <a:cubicBezTo>
                      <a:pt x="828" y="781"/>
                      <a:pt x="793" y="817"/>
                      <a:pt x="750" y="845"/>
                    </a:cubicBezTo>
                    <a:cubicBezTo>
                      <a:pt x="739" y="853"/>
                      <a:pt x="734" y="867"/>
                      <a:pt x="740" y="880"/>
                    </a:cubicBezTo>
                    <a:cubicBezTo>
                      <a:pt x="766" y="943"/>
                      <a:pt x="766" y="943"/>
                      <a:pt x="766" y="943"/>
                    </a:cubicBezTo>
                    <a:cubicBezTo>
                      <a:pt x="769" y="951"/>
                      <a:pt x="765" y="960"/>
                      <a:pt x="758" y="963"/>
                    </a:cubicBezTo>
                    <a:cubicBezTo>
                      <a:pt x="689" y="991"/>
                      <a:pt x="689" y="991"/>
                      <a:pt x="689" y="991"/>
                    </a:cubicBezTo>
                    <a:cubicBezTo>
                      <a:pt x="682" y="994"/>
                      <a:pt x="673" y="991"/>
                      <a:pt x="670" y="983"/>
                    </a:cubicBezTo>
                    <a:cubicBezTo>
                      <a:pt x="644" y="920"/>
                      <a:pt x="644" y="920"/>
                      <a:pt x="644" y="920"/>
                    </a:cubicBezTo>
                    <a:cubicBezTo>
                      <a:pt x="639" y="909"/>
                      <a:pt x="628" y="902"/>
                      <a:pt x="617" y="902"/>
                    </a:cubicBezTo>
                    <a:cubicBezTo>
                      <a:pt x="615" y="902"/>
                      <a:pt x="613" y="903"/>
                      <a:pt x="611" y="903"/>
                    </a:cubicBezTo>
                    <a:cubicBezTo>
                      <a:pt x="562" y="913"/>
                      <a:pt x="510" y="913"/>
                      <a:pt x="461" y="903"/>
                    </a:cubicBezTo>
                    <a:cubicBezTo>
                      <a:pt x="448" y="900"/>
                      <a:pt x="434" y="907"/>
                      <a:pt x="429" y="920"/>
                    </a:cubicBezTo>
                    <a:cubicBezTo>
                      <a:pt x="403" y="983"/>
                      <a:pt x="403" y="983"/>
                      <a:pt x="403" y="983"/>
                    </a:cubicBezTo>
                    <a:cubicBezTo>
                      <a:pt x="400" y="990"/>
                      <a:pt x="391" y="994"/>
                      <a:pt x="383" y="991"/>
                    </a:cubicBezTo>
                    <a:cubicBezTo>
                      <a:pt x="315" y="962"/>
                      <a:pt x="315" y="962"/>
                      <a:pt x="315" y="962"/>
                    </a:cubicBezTo>
                    <a:cubicBezTo>
                      <a:pt x="307" y="959"/>
                      <a:pt x="304" y="951"/>
                      <a:pt x="307" y="943"/>
                    </a:cubicBezTo>
                    <a:cubicBezTo>
                      <a:pt x="333" y="880"/>
                      <a:pt x="333" y="880"/>
                      <a:pt x="333" y="880"/>
                    </a:cubicBezTo>
                    <a:cubicBezTo>
                      <a:pt x="338" y="867"/>
                      <a:pt x="334" y="853"/>
                      <a:pt x="322" y="845"/>
                    </a:cubicBezTo>
                    <a:cubicBezTo>
                      <a:pt x="280" y="817"/>
                      <a:pt x="244" y="781"/>
                      <a:pt x="216" y="739"/>
                    </a:cubicBezTo>
                    <a:cubicBezTo>
                      <a:pt x="209" y="727"/>
                      <a:pt x="194" y="723"/>
                      <a:pt x="181" y="728"/>
                    </a:cubicBezTo>
                    <a:cubicBezTo>
                      <a:pt x="118" y="754"/>
                      <a:pt x="118" y="754"/>
                      <a:pt x="118" y="754"/>
                    </a:cubicBezTo>
                    <a:cubicBezTo>
                      <a:pt x="110" y="757"/>
                      <a:pt x="101" y="753"/>
                      <a:pt x="99" y="746"/>
                    </a:cubicBezTo>
                    <a:cubicBezTo>
                      <a:pt x="70" y="678"/>
                      <a:pt x="70" y="678"/>
                      <a:pt x="70" y="678"/>
                    </a:cubicBezTo>
                    <a:cubicBezTo>
                      <a:pt x="67" y="670"/>
                      <a:pt x="71" y="661"/>
                      <a:pt x="78" y="658"/>
                    </a:cubicBezTo>
                    <a:cubicBezTo>
                      <a:pt x="141" y="632"/>
                      <a:pt x="141" y="632"/>
                      <a:pt x="141" y="632"/>
                    </a:cubicBezTo>
                    <a:cubicBezTo>
                      <a:pt x="154" y="627"/>
                      <a:pt x="161" y="613"/>
                      <a:pt x="158" y="600"/>
                    </a:cubicBezTo>
                    <a:cubicBezTo>
                      <a:pt x="148" y="550"/>
                      <a:pt x="148" y="500"/>
                      <a:pt x="158" y="450"/>
                    </a:cubicBezTo>
                    <a:cubicBezTo>
                      <a:pt x="161" y="436"/>
                      <a:pt x="154" y="423"/>
                      <a:pt x="141" y="417"/>
                    </a:cubicBezTo>
                    <a:cubicBezTo>
                      <a:pt x="78" y="392"/>
                      <a:pt x="78" y="392"/>
                      <a:pt x="78" y="392"/>
                    </a:cubicBezTo>
                    <a:cubicBezTo>
                      <a:pt x="71" y="388"/>
                      <a:pt x="67" y="380"/>
                      <a:pt x="70" y="372"/>
                    </a:cubicBezTo>
                    <a:cubicBezTo>
                      <a:pt x="99" y="304"/>
                      <a:pt x="99" y="304"/>
                      <a:pt x="99" y="304"/>
                    </a:cubicBezTo>
                    <a:cubicBezTo>
                      <a:pt x="102" y="296"/>
                      <a:pt x="111" y="292"/>
                      <a:pt x="118" y="296"/>
                    </a:cubicBezTo>
                    <a:cubicBezTo>
                      <a:pt x="181" y="321"/>
                      <a:pt x="181" y="321"/>
                      <a:pt x="181" y="321"/>
                    </a:cubicBezTo>
                    <a:cubicBezTo>
                      <a:pt x="194" y="327"/>
                      <a:pt x="209" y="322"/>
                      <a:pt x="216" y="311"/>
                    </a:cubicBezTo>
                    <a:cubicBezTo>
                      <a:pt x="244" y="269"/>
                      <a:pt x="280" y="233"/>
                      <a:pt x="322" y="205"/>
                    </a:cubicBezTo>
                    <a:cubicBezTo>
                      <a:pt x="334" y="197"/>
                      <a:pt x="338" y="183"/>
                      <a:pt x="333" y="170"/>
                    </a:cubicBezTo>
                    <a:cubicBezTo>
                      <a:pt x="307" y="107"/>
                      <a:pt x="307" y="107"/>
                      <a:pt x="307" y="107"/>
                    </a:cubicBezTo>
                    <a:cubicBezTo>
                      <a:pt x="305" y="103"/>
                      <a:pt x="305" y="99"/>
                      <a:pt x="307" y="95"/>
                    </a:cubicBezTo>
                    <a:cubicBezTo>
                      <a:pt x="308" y="91"/>
                      <a:pt x="311" y="88"/>
                      <a:pt x="315" y="87"/>
                    </a:cubicBezTo>
                    <a:cubicBezTo>
                      <a:pt x="383" y="59"/>
                      <a:pt x="383" y="59"/>
                      <a:pt x="383" y="59"/>
                    </a:cubicBezTo>
                    <a:cubicBezTo>
                      <a:pt x="391" y="56"/>
                      <a:pt x="400" y="59"/>
                      <a:pt x="403" y="67"/>
                    </a:cubicBezTo>
                    <a:cubicBezTo>
                      <a:pt x="429" y="130"/>
                      <a:pt x="429" y="130"/>
                      <a:pt x="429" y="130"/>
                    </a:cubicBezTo>
                    <a:cubicBezTo>
                      <a:pt x="434" y="143"/>
                      <a:pt x="448" y="150"/>
                      <a:pt x="461" y="147"/>
                    </a:cubicBezTo>
                    <a:cubicBezTo>
                      <a:pt x="510" y="137"/>
                      <a:pt x="562" y="137"/>
                      <a:pt x="611" y="147"/>
                    </a:cubicBezTo>
                    <a:cubicBezTo>
                      <a:pt x="625" y="150"/>
                      <a:pt x="638" y="143"/>
                      <a:pt x="644" y="130"/>
                    </a:cubicBezTo>
                    <a:cubicBezTo>
                      <a:pt x="669" y="67"/>
                      <a:pt x="669" y="67"/>
                      <a:pt x="669" y="67"/>
                    </a:cubicBezTo>
                    <a:cubicBezTo>
                      <a:pt x="673" y="60"/>
                      <a:pt x="682" y="56"/>
                      <a:pt x="689" y="59"/>
                    </a:cubicBezTo>
                    <a:cubicBezTo>
                      <a:pt x="757" y="88"/>
                      <a:pt x="757" y="88"/>
                      <a:pt x="757" y="88"/>
                    </a:cubicBezTo>
                    <a:cubicBezTo>
                      <a:pt x="765" y="91"/>
                      <a:pt x="769" y="99"/>
                      <a:pt x="765" y="107"/>
                    </a:cubicBezTo>
                    <a:cubicBezTo>
                      <a:pt x="740" y="170"/>
                      <a:pt x="740" y="170"/>
                      <a:pt x="740" y="170"/>
                    </a:cubicBezTo>
                    <a:cubicBezTo>
                      <a:pt x="734" y="183"/>
                      <a:pt x="739" y="197"/>
                      <a:pt x="750" y="205"/>
                    </a:cubicBezTo>
                    <a:cubicBezTo>
                      <a:pt x="792" y="233"/>
                      <a:pt x="828" y="269"/>
                      <a:pt x="856" y="311"/>
                    </a:cubicBezTo>
                    <a:cubicBezTo>
                      <a:pt x="864" y="323"/>
                      <a:pt x="878" y="327"/>
                      <a:pt x="891" y="322"/>
                    </a:cubicBezTo>
                    <a:cubicBezTo>
                      <a:pt x="954" y="296"/>
                      <a:pt x="954" y="296"/>
                      <a:pt x="954" y="296"/>
                    </a:cubicBezTo>
                    <a:cubicBezTo>
                      <a:pt x="962" y="293"/>
                      <a:pt x="971" y="296"/>
                      <a:pt x="974" y="304"/>
                    </a:cubicBezTo>
                    <a:cubicBezTo>
                      <a:pt x="1002" y="372"/>
                      <a:pt x="1002" y="372"/>
                      <a:pt x="1002" y="372"/>
                    </a:cubicBezTo>
                    <a:cubicBezTo>
                      <a:pt x="1004" y="376"/>
                      <a:pt x="1004" y="380"/>
                      <a:pt x="1003" y="384"/>
                    </a:cubicBezTo>
                    <a:close/>
                    <a:moveTo>
                      <a:pt x="1003" y="384"/>
                    </a:moveTo>
                    <a:cubicBezTo>
                      <a:pt x="1003" y="384"/>
                      <a:pt x="1003" y="384"/>
                      <a:pt x="1003" y="38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1" name="Freeform 34">
                <a:extLst>
                  <a:ext uri="{FF2B5EF4-FFF2-40B4-BE49-F238E27FC236}">
                    <a16:creationId xmlns="" xmlns:a16="http://schemas.microsoft.com/office/drawing/2014/main" id="{0DB26C11-D016-4E90-A5C1-15E6F4926FD8}"/>
                  </a:ext>
                </a:extLst>
              </p:cNvPr>
              <p:cNvSpPr>
                <a:spLocks noEditPoints="1"/>
              </p:cNvSpPr>
              <p:nvPr/>
            </p:nvSpPr>
            <p:spPr bwMode="auto">
              <a:xfrm>
                <a:off x="1025" y="1497"/>
                <a:ext cx="1240" cy="1211"/>
              </a:xfrm>
              <a:custGeom>
                <a:avLst/>
                <a:gdLst>
                  <a:gd name="T0" fmla="*/ 319 w 464"/>
                  <a:gd name="T1" fmla="*/ 17 h 453"/>
                  <a:gd name="T2" fmla="*/ 232 w 464"/>
                  <a:gd name="T3" fmla="*/ 0 h 453"/>
                  <a:gd name="T4" fmla="*/ 23 w 464"/>
                  <a:gd name="T5" fmla="*/ 140 h 453"/>
                  <a:gd name="T6" fmla="*/ 23 w 464"/>
                  <a:gd name="T7" fmla="*/ 313 h 453"/>
                  <a:gd name="T8" fmla="*/ 145 w 464"/>
                  <a:gd name="T9" fmla="*/ 436 h 453"/>
                  <a:gd name="T10" fmla="*/ 232 w 464"/>
                  <a:gd name="T11" fmla="*/ 453 h 453"/>
                  <a:gd name="T12" fmla="*/ 441 w 464"/>
                  <a:gd name="T13" fmla="*/ 313 h 453"/>
                  <a:gd name="T14" fmla="*/ 441 w 464"/>
                  <a:gd name="T15" fmla="*/ 140 h 453"/>
                  <a:gd name="T16" fmla="*/ 319 w 464"/>
                  <a:gd name="T17" fmla="*/ 17 h 453"/>
                  <a:gd name="T18" fmla="*/ 388 w 464"/>
                  <a:gd name="T19" fmla="*/ 291 h 453"/>
                  <a:gd name="T20" fmla="*/ 232 w 464"/>
                  <a:gd name="T21" fmla="*/ 395 h 453"/>
                  <a:gd name="T22" fmla="*/ 168 w 464"/>
                  <a:gd name="T23" fmla="*/ 382 h 453"/>
                  <a:gd name="T24" fmla="*/ 76 w 464"/>
                  <a:gd name="T25" fmla="*/ 291 h 453"/>
                  <a:gd name="T26" fmla="*/ 76 w 464"/>
                  <a:gd name="T27" fmla="*/ 162 h 453"/>
                  <a:gd name="T28" fmla="*/ 232 w 464"/>
                  <a:gd name="T29" fmla="*/ 58 h 453"/>
                  <a:gd name="T30" fmla="*/ 296 w 464"/>
                  <a:gd name="T31" fmla="*/ 70 h 453"/>
                  <a:gd name="T32" fmla="*/ 388 w 464"/>
                  <a:gd name="T33" fmla="*/ 162 h 453"/>
                  <a:gd name="T34" fmla="*/ 388 w 464"/>
                  <a:gd name="T35" fmla="*/ 291 h 453"/>
                  <a:gd name="T36" fmla="*/ 388 w 464"/>
                  <a:gd name="T37" fmla="*/ 291 h 453"/>
                  <a:gd name="T38" fmla="*/ 388 w 464"/>
                  <a:gd name="T39" fmla="*/ 291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4" h="453">
                    <a:moveTo>
                      <a:pt x="319" y="17"/>
                    </a:moveTo>
                    <a:cubicBezTo>
                      <a:pt x="291" y="6"/>
                      <a:pt x="262" y="0"/>
                      <a:pt x="232" y="0"/>
                    </a:cubicBezTo>
                    <a:cubicBezTo>
                      <a:pt x="140" y="0"/>
                      <a:pt x="58" y="55"/>
                      <a:pt x="23" y="140"/>
                    </a:cubicBezTo>
                    <a:cubicBezTo>
                      <a:pt x="0" y="196"/>
                      <a:pt x="0" y="257"/>
                      <a:pt x="23" y="313"/>
                    </a:cubicBezTo>
                    <a:cubicBezTo>
                      <a:pt x="46" y="369"/>
                      <a:pt x="89" y="413"/>
                      <a:pt x="145" y="436"/>
                    </a:cubicBezTo>
                    <a:cubicBezTo>
                      <a:pt x="173" y="447"/>
                      <a:pt x="202" y="453"/>
                      <a:pt x="232" y="453"/>
                    </a:cubicBezTo>
                    <a:cubicBezTo>
                      <a:pt x="324" y="453"/>
                      <a:pt x="406" y="398"/>
                      <a:pt x="441" y="313"/>
                    </a:cubicBezTo>
                    <a:cubicBezTo>
                      <a:pt x="464" y="257"/>
                      <a:pt x="464" y="196"/>
                      <a:pt x="441" y="140"/>
                    </a:cubicBezTo>
                    <a:cubicBezTo>
                      <a:pt x="418" y="84"/>
                      <a:pt x="374" y="40"/>
                      <a:pt x="319" y="17"/>
                    </a:cubicBezTo>
                    <a:close/>
                    <a:moveTo>
                      <a:pt x="388" y="291"/>
                    </a:moveTo>
                    <a:cubicBezTo>
                      <a:pt x="361" y="354"/>
                      <a:pt x="300" y="395"/>
                      <a:pt x="232" y="395"/>
                    </a:cubicBezTo>
                    <a:cubicBezTo>
                      <a:pt x="210" y="395"/>
                      <a:pt x="188" y="390"/>
                      <a:pt x="168" y="382"/>
                    </a:cubicBezTo>
                    <a:cubicBezTo>
                      <a:pt x="126" y="365"/>
                      <a:pt x="94" y="332"/>
                      <a:pt x="76" y="291"/>
                    </a:cubicBezTo>
                    <a:cubicBezTo>
                      <a:pt x="59" y="249"/>
                      <a:pt x="59" y="203"/>
                      <a:pt x="76" y="162"/>
                    </a:cubicBezTo>
                    <a:cubicBezTo>
                      <a:pt x="103" y="99"/>
                      <a:pt x="164" y="58"/>
                      <a:pt x="232" y="58"/>
                    </a:cubicBezTo>
                    <a:cubicBezTo>
                      <a:pt x="254" y="58"/>
                      <a:pt x="276" y="62"/>
                      <a:pt x="296" y="70"/>
                    </a:cubicBezTo>
                    <a:cubicBezTo>
                      <a:pt x="338" y="88"/>
                      <a:pt x="370" y="120"/>
                      <a:pt x="388" y="162"/>
                    </a:cubicBezTo>
                    <a:cubicBezTo>
                      <a:pt x="405" y="204"/>
                      <a:pt x="405" y="249"/>
                      <a:pt x="388" y="291"/>
                    </a:cubicBezTo>
                    <a:close/>
                    <a:moveTo>
                      <a:pt x="388" y="291"/>
                    </a:moveTo>
                    <a:cubicBezTo>
                      <a:pt x="388" y="291"/>
                      <a:pt x="388" y="291"/>
                      <a:pt x="388" y="2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grpSp>
        <p:nvGrpSpPr>
          <p:cNvPr id="168" name="Group 167">
            <a:extLst>
              <a:ext uri="{FF2B5EF4-FFF2-40B4-BE49-F238E27FC236}">
                <a16:creationId xmlns="" xmlns:a16="http://schemas.microsoft.com/office/drawing/2014/main" id="{250BD00D-C652-43C1-A365-7902923BE772}"/>
              </a:ext>
            </a:extLst>
          </p:cNvPr>
          <p:cNvGrpSpPr/>
          <p:nvPr/>
        </p:nvGrpSpPr>
        <p:grpSpPr>
          <a:xfrm>
            <a:off x="2199023" y="1799006"/>
            <a:ext cx="1003300" cy="1003300"/>
            <a:chOff x="2199023" y="1799006"/>
            <a:chExt cx="1003300" cy="1003300"/>
          </a:xfrm>
        </p:grpSpPr>
        <p:sp>
          <p:nvSpPr>
            <p:cNvPr id="32" name="Oval 31">
              <a:extLst>
                <a:ext uri="{FF2B5EF4-FFF2-40B4-BE49-F238E27FC236}">
                  <a16:creationId xmlns="" xmlns:a16="http://schemas.microsoft.com/office/drawing/2014/main" id="{28B3D087-F3A5-4B99-AAC1-8A0E07831202}"/>
                </a:ext>
              </a:extLst>
            </p:cNvPr>
            <p:cNvSpPr/>
            <p:nvPr/>
          </p:nvSpPr>
          <p:spPr>
            <a:xfrm>
              <a:off x="2199023" y="1799006"/>
              <a:ext cx="1003300" cy="1003300"/>
            </a:xfrm>
            <a:prstGeom prst="ellipse">
              <a:avLst/>
            </a:prstGeom>
            <a:solidFill>
              <a:srgbClr val="05589C">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63" name="Group 37">
              <a:extLst>
                <a:ext uri="{FF2B5EF4-FFF2-40B4-BE49-F238E27FC236}">
                  <a16:creationId xmlns="" xmlns:a16="http://schemas.microsoft.com/office/drawing/2014/main" id="{0A58D84B-C8E8-499A-9531-06FCAB1D9B7D}"/>
                </a:ext>
              </a:extLst>
            </p:cNvPr>
            <p:cNvGrpSpPr>
              <a:grpSpLocks noChangeAspect="1"/>
            </p:cNvGrpSpPr>
            <p:nvPr/>
          </p:nvGrpSpPr>
          <p:grpSpPr bwMode="auto">
            <a:xfrm>
              <a:off x="2462215" y="2119500"/>
              <a:ext cx="501119" cy="362557"/>
              <a:chOff x="-1" y="-2"/>
              <a:chExt cx="4188" cy="3030"/>
            </a:xfrm>
            <a:solidFill>
              <a:schemeClr val="bg1"/>
            </a:solidFill>
          </p:grpSpPr>
          <p:sp>
            <p:nvSpPr>
              <p:cNvPr id="165" name="Freeform 38">
                <a:extLst>
                  <a:ext uri="{FF2B5EF4-FFF2-40B4-BE49-F238E27FC236}">
                    <a16:creationId xmlns="" xmlns:a16="http://schemas.microsoft.com/office/drawing/2014/main" id="{9917683B-84D9-4F61-B3A8-34C8DB7D3DEB}"/>
                  </a:ext>
                </a:extLst>
              </p:cNvPr>
              <p:cNvSpPr>
                <a:spLocks noEditPoints="1"/>
              </p:cNvSpPr>
              <p:nvPr/>
            </p:nvSpPr>
            <p:spPr bwMode="auto">
              <a:xfrm>
                <a:off x="-1" y="-2"/>
                <a:ext cx="2812" cy="3030"/>
              </a:xfrm>
              <a:custGeom>
                <a:avLst/>
                <a:gdLst>
                  <a:gd name="T0" fmla="*/ 1053 w 1053"/>
                  <a:gd name="T1" fmla="*/ 1101 h 1133"/>
                  <a:gd name="T2" fmla="*/ 1053 w 1053"/>
                  <a:gd name="T3" fmla="*/ 962 h 1133"/>
                  <a:gd name="T4" fmla="*/ 1006 w 1053"/>
                  <a:gd name="T5" fmla="*/ 861 h 1133"/>
                  <a:gd name="T6" fmla="*/ 723 w 1053"/>
                  <a:gd name="T7" fmla="*/ 677 h 1133"/>
                  <a:gd name="T8" fmla="*/ 723 w 1053"/>
                  <a:gd name="T9" fmla="*/ 510 h 1133"/>
                  <a:gd name="T10" fmla="*/ 764 w 1053"/>
                  <a:gd name="T11" fmla="*/ 419 h 1133"/>
                  <a:gd name="T12" fmla="*/ 764 w 1053"/>
                  <a:gd name="T13" fmla="*/ 215 h 1133"/>
                  <a:gd name="T14" fmla="*/ 548 w 1053"/>
                  <a:gd name="T15" fmla="*/ 0 h 1133"/>
                  <a:gd name="T16" fmla="*/ 505 w 1053"/>
                  <a:gd name="T17" fmla="*/ 0 h 1133"/>
                  <a:gd name="T18" fmla="*/ 290 w 1053"/>
                  <a:gd name="T19" fmla="*/ 215 h 1133"/>
                  <a:gd name="T20" fmla="*/ 290 w 1053"/>
                  <a:gd name="T21" fmla="*/ 419 h 1133"/>
                  <a:gd name="T22" fmla="*/ 331 w 1053"/>
                  <a:gd name="T23" fmla="*/ 510 h 1133"/>
                  <a:gd name="T24" fmla="*/ 331 w 1053"/>
                  <a:gd name="T25" fmla="*/ 677 h 1133"/>
                  <a:gd name="T26" fmla="*/ 47 w 1053"/>
                  <a:gd name="T27" fmla="*/ 861 h 1133"/>
                  <a:gd name="T28" fmla="*/ 0 w 1053"/>
                  <a:gd name="T29" fmla="*/ 962 h 1133"/>
                  <a:gd name="T30" fmla="*/ 0 w 1053"/>
                  <a:gd name="T31" fmla="*/ 1101 h 1133"/>
                  <a:gd name="T32" fmla="*/ 32 w 1053"/>
                  <a:gd name="T33" fmla="*/ 1133 h 1133"/>
                  <a:gd name="T34" fmla="*/ 1021 w 1053"/>
                  <a:gd name="T35" fmla="*/ 1133 h 1133"/>
                  <a:gd name="T36" fmla="*/ 1053 w 1053"/>
                  <a:gd name="T37" fmla="*/ 1101 h 1133"/>
                  <a:gd name="T38" fmla="*/ 990 w 1053"/>
                  <a:gd name="T39" fmla="*/ 1069 h 1133"/>
                  <a:gd name="T40" fmla="*/ 63 w 1053"/>
                  <a:gd name="T41" fmla="*/ 1069 h 1133"/>
                  <a:gd name="T42" fmla="*/ 63 w 1053"/>
                  <a:gd name="T43" fmla="*/ 962 h 1133"/>
                  <a:gd name="T44" fmla="*/ 88 w 1053"/>
                  <a:gd name="T45" fmla="*/ 910 h 1133"/>
                  <a:gd name="T46" fmla="*/ 371 w 1053"/>
                  <a:gd name="T47" fmla="*/ 728 h 1133"/>
                  <a:gd name="T48" fmla="*/ 394 w 1053"/>
                  <a:gd name="T49" fmla="*/ 692 h 1133"/>
                  <a:gd name="T50" fmla="*/ 394 w 1053"/>
                  <a:gd name="T51" fmla="*/ 495 h 1133"/>
                  <a:gd name="T52" fmla="*/ 380 w 1053"/>
                  <a:gd name="T53" fmla="*/ 469 h 1133"/>
                  <a:gd name="T54" fmla="*/ 353 w 1053"/>
                  <a:gd name="T55" fmla="*/ 419 h 1133"/>
                  <a:gd name="T56" fmla="*/ 353 w 1053"/>
                  <a:gd name="T57" fmla="*/ 216 h 1133"/>
                  <a:gd name="T58" fmla="*/ 505 w 1053"/>
                  <a:gd name="T59" fmla="*/ 64 h 1133"/>
                  <a:gd name="T60" fmla="*/ 548 w 1053"/>
                  <a:gd name="T61" fmla="*/ 64 h 1133"/>
                  <a:gd name="T62" fmla="*/ 700 w 1053"/>
                  <a:gd name="T63" fmla="*/ 216 h 1133"/>
                  <a:gd name="T64" fmla="*/ 700 w 1053"/>
                  <a:gd name="T65" fmla="*/ 419 h 1133"/>
                  <a:gd name="T66" fmla="*/ 673 w 1053"/>
                  <a:gd name="T67" fmla="*/ 469 h 1133"/>
                  <a:gd name="T68" fmla="*/ 659 w 1053"/>
                  <a:gd name="T69" fmla="*/ 495 h 1133"/>
                  <a:gd name="T70" fmla="*/ 659 w 1053"/>
                  <a:gd name="T71" fmla="*/ 691 h 1133"/>
                  <a:gd name="T72" fmla="*/ 682 w 1053"/>
                  <a:gd name="T73" fmla="*/ 728 h 1133"/>
                  <a:gd name="T74" fmla="*/ 965 w 1053"/>
                  <a:gd name="T75" fmla="*/ 909 h 1133"/>
                  <a:gd name="T76" fmla="*/ 990 w 1053"/>
                  <a:gd name="T77" fmla="*/ 961 h 1133"/>
                  <a:gd name="T78" fmla="*/ 990 w 1053"/>
                  <a:gd name="T79" fmla="*/ 1069 h 1133"/>
                  <a:gd name="T80" fmla="*/ 990 w 1053"/>
                  <a:gd name="T81" fmla="*/ 1069 h 1133"/>
                  <a:gd name="T82" fmla="*/ 990 w 1053"/>
                  <a:gd name="T83" fmla="*/ 1069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53" h="1133">
                    <a:moveTo>
                      <a:pt x="1053" y="1101"/>
                    </a:moveTo>
                    <a:cubicBezTo>
                      <a:pt x="1053" y="962"/>
                      <a:pt x="1053" y="962"/>
                      <a:pt x="1053" y="962"/>
                    </a:cubicBezTo>
                    <a:cubicBezTo>
                      <a:pt x="1053" y="922"/>
                      <a:pt x="1036" y="886"/>
                      <a:pt x="1006" y="861"/>
                    </a:cubicBezTo>
                    <a:cubicBezTo>
                      <a:pt x="891" y="766"/>
                      <a:pt x="767" y="700"/>
                      <a:pt x="723" y="677"/>
                    </a:cubicBezTo>
                    <a:cubicBezTo>
                      <a:pt x="723" y="510"/>
                      <a:pt x="723" y="510"/>
                      <a:pt x="723" y="510"/>
                    </a:cubicBezTo>
                    <a:cubicBezTo>
                      <a:pt x="748" y="487"/>
                      <a:pt x="764" y="454"/>
                      <a:pt x="764" y="419"/>
                    </a:cubicBezTo>
                    <a:cubicBezTo>
                      <a:pt x="764" y="215"/>
                      <a:pt x="764" y="215"/>
                      <a:pt x="764" y="215"/>
                    </a:cubicBezTo>
                    <a:cubicBezTo>
                      <a:pt x="764" y="96"/>
                      <a:pt x="667" y="0"/>
                      <a:pt x="548" y="0"/>
                    </a:cubicBezTo>
                    <a:cubicBezTo>
                      <a:pt x="505" y="0"/>
                      <a:pt x="505" y="0"/>
                      <a:pt x="505" y="0"/>
                    </a:cubicBezTo>
                    <a:cubicBezTo>
                      <a:pt x="386" y="0"/>
                      <a:pt x="290" y="96"/>
                      <a:pt x="290" y="215"/>
                    </a:cubicBezTo>
                    <a:cubicBezTo>
                      <a:pt x="290" y="419"/>
                      <a:pt x="290" y="419"/>
                      <a:pt x="290" y="419"/>
                    </a:cubicBezTo>
                    <a:cubicBezTo>
                      <a:pt x="290" y="454"/>
                      <a:pt x="305" y="487"/>
                      <a:pt x="331" y="510"/>
                    </a:cubicBezTo>
                    <a:cubicBezTo>
                      <a:pt x="331" y="677"/>
                      <a:pt x="331" y="677"/>
                      <a:pt x="331" y="677"/>
                    </a:cubicBezTo>
                    <a:cubicBezTo>
                      <a:pt x="286" y="700"/>
                      <a:pt x="163" y="766"/>
                      <a:pt x="47" y="861"/>
                    </a:cubicBezTo>
                    <a:cubicBezTo>
                      <a:pt x="17" y="885"/>
                      <a:pt x="0" y="922"/>
                      <a:pt x="0" y="962"/>
                    </a:cubicBezTo>
                    <a:cubicBezTo>
                      <a:pt x="0" y="1101"/>
                      <a:pt x="0" y="1101"/>
                      <a:pt x="0" y="1101"/>
                    </a:cubicBezTo>
                    <a:cubicBezTo>
                      <a:pt x="0" y="1119"/>
                      <a:pt x="14" y="1133"/>
                      <a:pt x="32" y="1133"/>
                    </a:cubicBezTo>
                    <a:cubicBezTo>
                      <a:pt x="1021" y="1133"/>
                      <a:pt x="1021" y="1133"/>
                      <a:pt x="1021" y="1133"/>
                    </a:cubicBezTo>
                    <a:cubicBezTo>
                      <a:pt x="1039" y="1133"/>
                      <a:pt x="1053" y="1118"/>
                      <a:pt x="1053" y="1101"/>
                    </a:cubicBezTo>
                    <a:close/>
                    <a:moveTo>
                      <a:pt x="990" y="1069"/>
                    </a:moveTo>
                    <a:cubicBezTo>
                      <a:pt x="63" y="1069"/>
                      <a:pt x="63" y="1069"/>
                      <a:pt x="63" y="1069"/>
                    </a:cubicBezTo>
                    <a:cubicBezTo>
                      <a:pt x="63" y="962"/>
                      <a:pt x="63" y="962"/>
                      <a:pt x="63" y="962"/>
                    </a:cubicBezTo>
                    <a:cubicBezTo>
                      <a:pt x="63" y="941"/>
                      <a:pt x="72" y="923"/>
                      <a:pt x="88" y="910"/>
                    </a:cubicBezTo>
                    <a:cubicBezTo>
                      <a:pt x="212" y="808"/>
                      <a:pt x="346" y="740"/>
                      <a:pt x="371" y="728"/>
                    </a:cubicBezTo>
                    <a:cubicBezTo>
                      <a:pt x="385" y="721"/>
                      <a:pt x="394" y="707"/>
                      <a:pt x="394" y="692"/>
                    </a:cubicBezTo>
                    <a:cubicBezTo>
                      <a:pt x="394" y="495"/>
                      <a:pt x="394" y="495"/>
                      <a:pt x="394" y="495"/>
                    </a:cubicBezTo>
                    <a:cubicBezTo>
                      <a:pt x="394" y="485"/>
                      <a:pt x="388" y="475"/>
                      <a:pt x="380" y="469"/>
                    </a:cubicBezTo>
                    <a:cubicBezTo>
                      <a:pt x="363" y="458"/>
                      <a:pt x="353" y="439"/>
                      <a:pt x="353" y="419"/>
                    </a:cubicBezTo>
                    <a:cubicBezTo>
                      <a:pt x="353" y="216"/>
                      <a:pt x="353" y="216"/>
                      <a:pt x="353" y="216"/>
                    </a:cubicBezTo>
                    <a:cubicBezTo>
                      <a:pt x="353" y="132"/>
                      <a:pt x="421" y="64"/>
                      <a:pt x="505" y="64"/>
                    </a:cubicBezTo>
                    <a:cubicBezTo>
                      <a:pt x="548" y="64"/>
                      <a:pt x="548" y="64"/>
                      <a:pt x="548" y="64"/>
                    </a:cubicBezTo>
                    <a:cubicBezTo>
                      <a:pt x="632" y="64"/>
                      <a:pt x="700" y="132"/>
                      <a:pt x="700" y="216"/>
                    </a:cubicBezTo>
                    <a:cubicBezTo>
                      <a:pt x="700" y="419"/>
                      <a:pt x="700" y="419"/>
                      <a:pt x="700" y="419"/>
                    </a:cubicBezTo>
                    <a:cubicBezTo>
                      <a:pt x="700" y="439"/>
                      <a:pt x="690" y="458"/>
                      <a:pt x="673" y="469"/>
                    </a:cubicBezTo>
                    <a:cubicBezTo>
                      <a:pt x="664" y="475"/>
                      <a:pt x="659" y="485"/>
                      <a:pt x="659" y="495"/>
                    </a:cubicBezTo>
                    <a:cubicBezTo>
                      <a:pt x="659" y="691"/>
                      <a:pt x="659" y="691"/>
                      <a:pt x="659" y="691"/>
                    </a:cubicBezTo>
                    <a:cubicBezTo>
                      <a:pt x="659" y="707"/>
                      <a:pt x="668" y="721"/>
                      <a:pt x="682" y="728"/>
                    </a:cubicBezTo>
                    <a:cubicBezTo>
                      <a:pt x="708" y="740"/>
                      <a:pt x="842" y="808"/>
                      <a:pt x="965" y="909"/>
                    </a:cubicBezTo>
                    <a:cubicBezTo>
                      <a:pt x="981" y="922"/>
                      <a:pt x="990" y="941"/>
                      <a:pt x="990" y="961"/>
                    </a:cubicBezTo>
                    <a:lnTo>
                      <a:pt x="990" y="1069"/>
                    </a:lnTo>
                    <a:close/>
                    <a:moveTo>
                      <a:pt x="990" y="1069"/>
                    </a:moveTo>
                    <a:cubicBezTo>
                      <a:pt x="990" y="1069"/>
                      <a:pt x="990" y="1069"/>
                      <a:pt x="990" y="10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6" name="Freeform 39">
                <a:extLst>
                  <a:ext uri="{FF2B5EF4-FFF2-40B4-BE49-F238E27FC236}">
                    <a16:creationId xmlns="" xmlns:a16="http://schemas.microsoft.com/office/drawing/2014/main" id="{0BC3220E-9154-42E9-91EB-F4FE1F8FE850}"/>
                  </a:ext>
                </a:extLst>
              </p:cNvPr>
              <p:cNvSpPr>
                <a:spLocks noEditPoints="1"/>
              </p:cNvSpPr>
              <p:nvPr/>
            </p:nvSpPr>
            <p:spPr bwMode="auto">
              <a:xfrm>
                <a:off x="2381" y="81"/>
                <a:ext cx="1806" cy="1690"/>
              </a:xfrm>
              <a:custGeom>
                <a:avLst/>
                <a:gdLst>
                  <a:gd name="T0" fmla="*/ 189 w 676"/>
                  <a:gd name="T1" fmla="*/ 623 h 632"/>
                  <a:gd name="T2" fmla="*/ 320 w 676"/>
                  <a:gd name="T3" fmla="*/ 497 h 632"/>
                  <a:gd name="T4" fmla="*/ 569 w 676"/>
                  <a:gd name="T5" fmla="*/ 497 h 632"/>
                  <a:gd name="T6" fmla="*/ 676 w 676"/>
                  <a:gd name="T7" fmla="*/ 389 h 632"/>
                  <a:gd name="T8" fmla="*/ 676 w 676"/>
                  <a:gd name="T9" fmla="*/ 108 h 632"/>
                  <a:gd name="T10" fmla="*/ 569 w 676"/>
                  <a:gd name="T11" fmla="*/ 0 h 632"/>
                  <a:gd name="T12" fmla="*/ 107 w 676"/>
                  <a:gd name="T13" fmla="*/ 0 h 632"/>
                  <a:gd name="T14" fmla="*/ 0 w 676"/>
                  <a:gd name="T15" fmla="*/ 108 h 632"/>
                  <a:gd name="T16" fmla="*/ 0 w 676"/>
                  <a:gd name="T17" fmla="*/ 389 h 632"/>
                  <a:gd name="T18" fmla="*/ 107 w 676"/>
                  <a:gd name="T19" fmla="*/ 497 h 632"/>
                  <a:gd name="T20" fmla="*/ 135 w 676"/>
                  <a:gd name="T21" fmla="*/ 497 h 632"/>
                  <a:gd name="T22" fmla="*/ 135 w 676"/>
                  <a:gd name="T23" fmla="*/ 600 h 632"/>
                  <a:gd name="T24" fmla="*/ 154 w 676"/>
                  <a:gd name="T25" fmla="*/ 629 h 632"/>
                  <a:gd name="T26" fmla="*/ 167 w 676"/>
                  <a:gd name="T27" fmla="*/ 632 h 632"/>
                  <a:gd name="T28" fmla="*/ 189 w 676"/>
                  <a:gd name="T29" fmla="*/ 623 h 632"/>
                  <a:gd name="T30" fmla="*/ 107 w 676"/>
                  <a:gd name="T31" fmla="*/ 434 h 632"/>
                  <a:gd name="T32" fmla="*/ 63 w 676"/>
                  <a:gd name="T33" fmla="*/ 389 h 632"/>
                  <a:gd name="T34" fmla="*/ 63 w 676"/>
                  <a:gd name="T35" fmla="*/ 108 h 632"/>
                  <a:gd name="T36" fmla="*/ 107 w 676"/>
                  <a:gd name="T37" fmla="*/ 63 h 632"/>
                  <a:gd name="T38" fmla="*/ 569 w 676"/>
                  <a:gd name="T39" fmla="*/ 63 h 632"/>
                  <a:gd name="T40" fmla="*/ 613 w 676"/>
                  <a:gd name="T41" fmla="*/ 108 h 632"/>
                  <a:gd name="T42" fmla="*/ 613 w 676"/>
                  <a:gd name="T43" fmla="*/ 389 h 632"/>
                  <a:gd name="T44" fmla="*/ 569 w 676"/>
                  <a:gd name="T45" fmla="*/ 434 h 632"/>
                  <a:gd name="T46" fmla="*/ 307 w 676"/>
                  <a:gd name="T47" fmla="*/ 434 h 632"/>
                  <a:gd name="T48" fmla="*/ 285 w 676"/>
                  <a:gd name="T49" fmla="*/ 443 h 632"/>
                  <a:gd name="T50" fmla="*/ 198 w 676"/>
                  <a:gd name="T51" fmla="*/ 526 h 632"/>
                  <a:gd name="T52" fmla="*/ 198 w 676"/>
                  <a:gd name="T53" fmla="*/ 465 h 632"/>
                  <a:gd name="T54" fmla="*/ 167 w 676"/>
                  <a:gd name="T55" fmla="*/ 434 h 632"/>
                  <a:gd name="T56" fmla="*/ 107 w 676"/>
                  <a:gd name="T57" fmla="*/ 434 h 632"/>
                  <a:gd name="T58" fmla="*/ 107 w 676"/>
                  <a:gd name="T59" fmla="*/ 434 h 632"/>
                  <a:gd name="T60" fmla="*/ 107 w 676"/>
                  <a:gd name="T61" fmla="*/ 434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76" h="632">
                    <a:moveTo>
                      <a:pt x="189" y="623"/>
                    </a:moveTo>
                    <a:cubicBezTo>
                      <a:pt x="320" y="497"/>
                      <a:pt x="320" y="497"/>
                      <a:pt x="320" y="497"/>
                    </a:cubicBezTo>
                    <a:cubicBezTo>
                      <a:pt x="569" y="497"/>
                      <a:pt x="569" y="497"/>
                      <a:pt x="569" y="497"/>
                    </a:cubicBezTo>
                    <a:cubicBezTo>
                      <a:pt x="628" y="497"/>
                      <a:pt x="676" y="449"/>
                      <a:pt x="676" y="389"/>
                    </a:cubicBezTo>
                    <a:cubicBezTo>
                      <a:pt x="676" y="108"/>
                      <a:pt x="676" y="108"/>
                      <a:pt x="676" y="108"/>
                    </a:cubicBezTo>
                    <a:cubicBezTo>
                      <a:pt x="676" y="48"/>
                      <a:pt x="628" y="0"/>
                      <a:pt x="569" y="0"/>
                    </a:cubicBezTo>
                    <a:cubicBezTo>
                      <a:pt x="107" y="0"/>
                      <a:pt x="107" y="0"/>
                      <a:pt x="107" y="0"/>
                    </a:cubicBezTo>
                    <a:cubicBezTo>
                      <a:pt x="48" y="0"/>
                      <a:pt x="0" y="48"/>
                      <a:pt x="0" y="108"/>
                    </a:cubicBezTo>
                    <a:cubicBezTo>
                      <a:pt x="0" y="389"/>
                      <a:pt x="0" y="389"/>
                      <a:pt x="0" y="389"/>
                    </a:cubicBezTo>
                    <a:cubicBezTo>
                      <a:pt x="0" y="449"/>
                      <a:pt x="48" y="497"/>
                      <a:pt x="107" y="497"/>
                    </a:cubicBezTo>
                    <a:cubicBezTo>
                      <a:pt x="135" y="497"/>
                      <a:pt x="135" y="497"/>
                      <a:pt x="135" y="497"/>
                    </a:cubicBezTo>
                    <a:cubicBezTo>
                      <a:pt x="135" y="600"/>
                      <a:pt x="135" y="600"/>
                      <a:pt x="135" y="600"/>
                    </a:cubicBezTo>
                    <a:cubicBezTo>
                      <a:pt x="135" y="613"/>
                      <a:pt x="143" y="624"/>
                      <a:pt x="154" y="629"/>
                    </a:cubicBezTo>
                    <a:cubicBezTo>
                      <a:pt x="158" y="631"/>
                      <a:pt x="162" y="632"/>
                      <a:pt x="167" y="632"/>
                    </a:cubicBezTo>
                    <a:cubicBezTo>
                      <a:pt x="175" y="631"/>
                      <a:pt x="183" y="629"/>
                      <a:pt x="189" y="623"/>
                    </a:cubicBezTo>
                    <a:close/>
                    <a:moveTo>
                      <a:pt x="107" y="434"/>
                    </a:moveTo>
                    <a:cubicBezTo>
                      <a:pt x="83" y="434"/>
                      <a:pt x="63" y="414"/>
                      <a:pt x="63" y="389"/>
                    </a:cubicBezTo>
                    <a:cubicBezTo>
                      <a:pt x="63" y="108"/>
                      <a:pt x="63" y="108"/>
                      <a:pt x="63" y="108"/>
                    </a:cubicBezTo>
                    <a:cubicBezTo>
                      <a:pt x="63" y="83"/>
                      <a:pt x="83" y="63"/>
                      <a:pt x="107" y="63"/>
                    </a:cubicBezTo>
                    <a:cubicBezTo>
                      <a:pt x="569" y="63"/>
                      <a:pt x="569" y="63"/>
                      <a:pt x="569" y="63"/>
                    </a:cubicBezTo>
                    <a:cubicBezTo>
                      <a:pt x="593" y="63"/>
                      <a:pt x="613" y="83"/>
                      <a:pt x="613" y="108"/>
                    </a:cubicBezTo>
                    <a:cubicBezTo>
                      <a:pt x="613" y="389"/>
                      <a:pt x="613" y="389"/>
                      <a:pt x="613" y="389"/>
                    </a:cubicBezTo>
                    <a:cubicBezTo>
                      <a:pt x="613" y="414"/>
                      <a:pt x="593" y="434"/>
                      <a:pt x="569" y="434"/>
                    </a:cubicBezTo>
                    <a:cubicBezTo>
                      <a:pt x="307" y="434"/>
                      <a:pt x="307" y="434"/>
                      <a:pt x="307" y="434"/>
                    </a:cubicBezTo>
                    <a:cubicBezTo>
                      <a:pt x="299" y="434"/>
                      <a:pt x="291" y="437"/>
                      <a:pt x="285" y="443"/>
                    </a:cubicBezTo>
                    <a:cubicBezTo>
                      <a:pt x="198" y="526"/>
                      <a:pt x="198" y="526"/>
                      <a:pt x="198" y="526"/>
                    </a:cubicBezTo>
                    <a:cubicBezTo>
                      <a:pt x="198" y="465"/>
                      <a:pt x="198" y="465"/>
                      <a:pt x="198" y="465"/>
                    </a:cubicBezTo>
                    <a:cubicBezTo>
                      <a:pt x="198" y="448"/>
                      <a:pt x="184" y="434"/>
                      <a:pt x="167" y="434"/>
                    </a:cubicBezTo>
                    <a:lnTo>
                      <a:pt x="107" y="434"/>
                    </a:lnTo>
                    <a:close/>
                    <a:moveTo>
                      <a:pt x="107" y="434"/>
                    </a:moveTo>
                    <a:cubicBezTo>
                      <a:pt x="107" y="434"/>
                      <a:pt x="107" y="434"/>
                      <a:pt x="107" y="4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67" name="Freeform 40">
                <a:extLst>
                  <a:ext uri="{FF2B5EF4-FFF2-40B4-BE49-F238E27FC236}">
                    <a16:creationId xmlns="" xmlns:a16="http://schemas.microsoft.com/office/drawing/2014/main" id="{C52010CB-9A1F-47F6-B197-BD8AF8DF263E}"/>
                  </a:ext>
                </a:extLst>
              </p:cNvPr>
              <p:cNvSpPr>
                <a:spLocks noEditPoints="1"/>
              </p:cNvSpPr>
              <p:nvPr/>
            </p:nvSpPr>
            <p:spPr bwMode="auto">
              <a:xfrm>
                <a:off x="2913" y="379"/>
                <a:ext cx="742" cy="709"/>
              </a:xfrm>
              <a:custGeom>
                <a:avLst/>
                <a:gdLst>
                  <a:gd name="T0" fmla="*/ 276 w 278"/>
                  <a:gd name="T1" fmla="*/ 100 h 265"/>
                  <a:gd name="T2" fmla="*/ 265 w 278"/>
                  <a:gd name="T3" fmla="*/ 90 h 265"/>
                  <a:gd name="T4" fmla="*/ 188 w 278"/>
                  <a:gd name="T5" fmla="*/ 77 h 265"/>
                  <a:gd name="T6" fmla="*/ 151 w 278"/>
                  <a:gd name="T7" fmla="*/ 7 h 265"/>
                  <a:gd name="T8" fmla="*/ 139 w 278"/>
                  <a:gd name="T9" fmla="*/ 0 h 265"/>
                  <a:gd name="T10" fmla="*/ 126 w 278"/>
                  <a:gd name="T11" fmla="*/ 7 h 265"/>
                  <a:gd name="T12" fmla="*/ 90 w 278"/>
                  <a:gd name="T13" fmla="*/ 77 h 265"/>
                  <a:gd name="T14" fmla="*/ 13 w 278"/>
                  <a:gd name="T15" fmla="*/ 90 h 265"/>
                  <a:gd name="T16" fmla="*/ 2 w 278"/>
                  <a:gd name="T17" fmla="*/ 100 h 265"/>
                  <a:gd name="T18" fmla="*/ 5 w 278"/>
                  <a:gd name="T19" fmla="*/ 114 h 265"/>
                  <a:gd name="T20" fmla="*/ 60 w 278"/>
                  <a:gd name="T21" fmla="*/ 170 h 265"/>
                  <a:gd name="T22" fmla="*/ 48 w 278"/>
                  <a:gd name="T23" fmla="*/ 248 h 265"/>
                  <a:gd name="T24" fmla="*/ 54 w 278"/>
                  <a:gd name="T25" fmla="*/ 261 h 265"/>
                  <a:gd name="T26" fmla="*/ 69 w 278"/>
                  <a:gd name="T27" fmla="*/ 262 h 265"/>
                  <a:gd name="T28" fmla="*/ 139 w 278"/>
                  <a:gd name="T29" fmla="*/ 227 h 265"/>
                  <a:gd name="T30" fmla="*/ 209 w 278"/>
                  <a:gd name="T31" fmla="*/ 262 h 265"/>
                  <a:gd name="T32" fmla="*/ 216 w 278"/>
                  <a:gd name="T33" fmla="*/ 264 h 265"/>
                  <a:gd name="T34" fmla="*/ 224 w 278"/>
                  <a:gd name="T35" fmla="*/ 261 h 265"/>
                  <a:gd name="T36" fmla="*/ 229 w 278"/>
                  <a:gd name="T37" fmla="*/ 248 h 265"/>
                  <a:gd name="T38" fmla="*/ 218 w 278"/>
                  <a:gd name="T39" fmla="*/ 170 h 265"/>
                  <a:gd name="T40" fmla="*/ 273 w 278"/>
                  <a:gd name="T41" fmla="*/ 114 h 265"/>
                  <a:gd name="T42" fmla="*/ 276 w 278"/>
                  <a:gd name="T43" fmla="*/ 100 h 265"/>
                  <a:gd name="T44" fmla="*/ 193 w 278"/>
                  <a:gd name="T45" fmla="*/ 155 h 265"/>
                  <a:gd name="T46" fmla="*/ 189 w 278"/>
                  <a:gd name="T47" fmla="*/ 167 h 265"/>
                  <a:gd name="T48" fmla="*/ 198 w 278"/>
                  <a:gd name="T49" fmla="*/ 225 h 265"/>
                  <a:gd name="T50" fmla="*/ 145 w 278"/>
                  <a:gd name="T51" fmla="*/ 199 h 265"/>
                  <a:gd name="T52" fmla="*/ 139 w 278"/>
                  <a:gd name="T53" fmla="*/ 198 h 265"/>
                  <a:gd name="T54" fmla="*/ 133 w 278"/>
                  <a:gd name="T55" fmla="*/ 199 h 265"/>
                  <a:gd name="T56" fmla="*/ 80 w 278"/>
                  <a:gd name="T57" fmla="*/ 225 h 265"/>
                  <a:gd name="T58" fmla="*/ 89 w 278"/>
                  <a:gd name="T59" fmla="*/ 167 h 265"/>
                  <a:gd name="T60" fmla="*/ 85 w 278"/>
                  <a:gd name="T61" fmla="*/ 155 h 265"/>
                  <a:gd name="T62" fmla="*/ 44 w 278"/>
                  <a:gd name="T63" fmla="*/ 113 h 265"/>
                  <a:gd name="T64" fmla="*/ 102 w 278"/>
                  <a:gd name="T65" fmla="*/ 104 h 265"/>
                  <a:gd name="T66" fmla="*/ 112 w 278"/>
                  <a:gd name="T67" fmla="*/ 96 h 265"/>
                  <a:gd name="T68" fmla="*/ 139 w 278"/>
                  <a:gd name="T69" fmla="*/ 45 h 265"/>
                  <a:gd name="T70" fmla="*/ 166 w 278"/>
                  <a:gd name="T71" fmla="*/ 96 h 265"/>
                  <a:gd name="T72" fmla="*/ 176 w 278"/>
                  <a:gd name="T73" fmla="*/ 104 h 265"/>
                  <a:gd name="T74" fmla="*/ 234 w 278"/>
                  <a:gd name="T75" fmla="*/ 113 h 265"/>
                  <a:gd name="T76" fmla="*/ 193 w 278"/>
                  <a:gd name="T77" fmla="*/ 155 h 265"/>
                  <a:gd name="T78" fmla="*/ 193 w 278"/>
                  <a:gd name="T79" fmla="*/ 155 h 265"/>
                  <a:gd name="T80" fmla="*/ 193 w 278"/>
                  <a:gd name="T81" fmla="*/ 15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8" h="265">
                    <a:moveTo>
                      <a:pt x="276" y="100"/>
                    </a:moveTo>
                    <a:cubicBezTo>
                      <a:pt x="275" y="95"/>
                      <a:pt x="270" y="91"/>
                      <a:pt x="265" y="90"/>
                    </a:cubicBezTo>
                    <a:cubicBezTo>
                      <a:pt x="188" y="77"/>
                      <a:pt x="188" y="77"/>
                      <a:pt x="188" y="77"/>
                    </a:cubicBezTo>
                    <a:cubicBezTo>
                      <a:pt x="151" y="7"/>
                      <a:pt x="151" y="7"/>
                      <a:pt x="151" y="7"/>
                    </a:cubicBezTo>
                    <a:cubicBezTo>
                      <a:pt x="149" y="3"/>
                      <a:pt x="144" y="0"/>
                      <a:pt x="139" y="0"/>
                    </a:cubicBezTo>
                    <a:cubicBezTo>
                      <a:pt x="134" y="0"/>
                      <a:pt x="129" y="3"/>
                      <a:pt x="126" y="7"/>
                    </a:cubicBezTo>
                    <a:cubicBezTo>
                      <a:pt x="90" y="77"/>
                      <a:pt x="90" y="77"/>
                      <a:pt x="90" y="77"/>
                    </a:cubicBezTo>
                    <a:cubicBezTo>
                      <a:pt x="13" y="90"/>
                      <a:pt x="13" y="90"/>
                      <a:pt x="13" y="90"/>
                    </a:cubicBezTo>
                    <a:cubicBezTo>
                      <a:pt x="7" y="91"/>
                      <a:pt x="3" y="95"/>
                      <a:pt x="2" y="100"/>
                    </a:cubicBezTo>
                    <a:cubicBezTo>
                      <a:pt x="0" y="105"/>
                      <a:pt x="1" y="110"/>
                      <a:pt x="5" y="114"/>
                    </a:cubicBezTo>
                    <a:cubicBezTo>
                      <a:pt x="60" y="170"/>
                      <a:pt x="60" y="170"/>
                      <a:pt x="60" y="170"/>
                    </a:cubicBezTo>
                    <a:cubicBezTo>
                      <a:pt x="48" y="248"/>
                      <a:pt x="48" y="248"/>
                      <a:pt x="48" y="248"/>
                    </a:cubicBezTo>
                    <a:cubicBezTo>
                      <a:pt x="48" y="253"/>
                      <a:pt x="50" y="258"/>
                      <a:pt x="54" y="261"/>
                    </a:cubicBezTo>
                    <a:cubicBezTo>
                      <a:pt x="58" y="264"/>
                      <a:pt x="64" y="265"/>
                      <a:pt x="69" y="262"/>
                    </a:cubicBezTo>
                    <a:cubicBezTo>
                      <a:pt x="139" y="227"/>
                      <a:pt x="139" y="227"/>
                      <a:pt x="139" y="227"/>
                    </a:cubicBezTo>
                    <a:cubicBezTo>
                      <a:pt x="209" y="262"/>
                      <a:pt x="209" y="262"/>
                      <a:pt x="209" y="262"/>
                    </a:cubicBezTo>
                    <a:cubicBezTo>
                      <a:pt x="211" y="263"/>
                      <a:pt x="213" y="264"/>
                      <a:pt x="216" y="264"/>
                    </a:cubicBezTo>
                    <a:cubicBezTo>
                      <a:pt x="218" y="264"/>
                      <a:pt x="221" y="263"/>
                      <a:pt x="224" y="261"/>
                    </a:cubicBezTo>
                    <a:cubicBezTo>
                      <a:pt x="228" y="258"/>
                      <a:pt x="230" y="253"/>
                      <a:pt x="229" y="248"/>
                    </a:cubicBezTo>
                    <a:cubicBezTo>
                      <a:pt x="218" y="170"/>
                      <a:pt x="218" y="170"/>
                      <a:pt x="218" y="170"/>
                    </a:cubicBezTo>
                    <a:cubicBezTo>
                      <a:pt x="273" y="114"/>
                      <a:pt x="273" y="114"/>
                      <a:pt x="273" y="114"/>
                    </a:cubicBezTo>
                    <a:cubicBezTo>
                      <a:pt x="277" y="110"/>
                      <a:pt x="278" y="105"/>
                      <a:pt x="276" y="100"/>
                    </a:cubicBezTo>
                    <a:close/>
                    <a:moveTo>
                      <a:pt x="193" y="155"/>
                    </a:moveTo>
                    <a:cubicBezTo>
                      <a:pt x="190" y="158"/>
                      <a:pt x="188" y="163"/>
                      <a:pt x="189" y="167"/>
                    </a:cubicBezTo>
                    <a:cubicBezTo>
                      <a:pt x="198" y="225"/>
                      <a:pt x="198" y="225"/>
                      <a:pt x="198" y="225"/>
                    </a:cubicBezTo>
                    <a:cubicBezTo>
                      <a:pt x="145" y="199"/>
                      <a:pt x="145" y="199"/>
                      <a:pt x="145" y="199"/>
                    </a:cubicBezTo>
                    <a:cubicBezTo>
                      <a:pt x="143" y="198"/>
                      <a:pt x="141" y="198"/>
                      <a:pt x="139" y="198"/>
                    </a:cubicBezTo>
                    <a:cubicBezTo>
                      <a:pt x="137" y="198"/>
                      <a:pt x="135" y="198"/>
                      <a:pt x="133" y="199"/>
                    </a:cubicBezTo>
                    <a:cubicBezTo>
                      <a:pt x="80" y="225"/>
                      <a:pt x="80" y="225"/>
                      <a:pt x="80" y="225"/>
                    </a:cubicBezTo>
                    <a:cubicBezTo>
                      <a:pt x="89" y="167"/>
                      <a:pt x="89" y="167"/>
                      <a:pt x="89" y="167"/>
                    </a:cubicBezTo>
                    <a:cubicBezTo>
                      <a:pt x="90" y="163"/>
                      <a:pt x="88" y="158"/>
                      <a:pt x="85" y="155"/>
                    </a:cubicBezTo>
                    <a:cubicBezTo>
                      <a:pt x="44" y="113"/>
                      <a:pt x="44" y="113"/>
                      <a:pt x="44" y="113"/>
                    </a:cubicBezTo>
                    <a:cubicBezTo>
                      <a:pt x="102" y="104"/>
                      <a:pt x="102" y="104"/>
                      <a:pt x="102" y="104"/>
                    </a:cubicBezTo>
                    <a:cubicBezTo>
                      <a:pt x="106" y="103"/>
                      <a:pt x="110" y="100"/>
                      <a:pt x="112" y="96"/>
                    </a:cubicBezTo>
                    <a:cubicBezTo>
                      <a:pt x="139" y="45"/>
                      <a:pt x="139" y="45"/>
                      <a:pt x="139" y="45"/>
                    </a:cubicBezTo>
                    <a:cubicBezTo>
                      <a:pt x="166" y="96"/>
                      <a:pt x="166" y="96"/>
                      <a:pt x="166" y="96"/>
                    </a:cubicBezTo>
                    <a:cubicBezTo>
                      <a:pt x="168" y="100"/>
                      <a:pt x="172" y="103"/>
                      <a:pt x="176" y="104"/>
                    </a:cubicBezTo>
                    <a:cubicBezTo>
                      <a:pt x="234" y="113"/>
                      <a:pt x="234" y="113"/>
                      <a:pt x="234" y="113"/>
                    </a:cubicBezTo>
                    <a:lnTo>
                      <a:pt x="193" y="155"/>
                    </a:lnTo>
                    <a:close/>
                    <a:moveTo>
                      <a:pt x="193" y="155"/>
                    </a:moveTo>
                    <a:cubicBezTo>
                      <a:pt x="193" y="155"/>
                      <a:pt x="193" y="155"/>
                      <a:pt x="193" y="1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grpSp>
        <p:nvGrpSpPr>
          <p:cNvPr id="172" name="Group 171">
            <a:extLst>
              <a:ext uri="{FF2B5EF4-FFF2-40B4-BE49-F238E27FC236}">
                <a16:creationId xmlns="" xmlns:a16="http://schemas.microsoft.com/office/drawing/2014/main" id="{4547AF26-FD50-4010-8D33-06E3F90FDD02}"/>
              </a:ext>
            </a:extLst>
          </p:cNvPr>
          <p:cNvGrpSpPr/>
          <p:nvPr/>
        </p:nvGrpSpPr>
        <p:grpSpPr>
          <a:xfrm>
            <a:off x="3200400" y="4648200"/>
            <a:ext cx="5486400" cy="455852"/>
            <a:chOff x="3200400" y="4648200"/>
            <a:chExt cx="5486400" cy="455852"/>
          </a:xfrm>
        </p:grpSpPr>
        <p:cxnSp>
          <p:nvCxnSpPr>
            <p:cNvPr id="65" name="Straight Connector 64">
              <a:extLst>
                <a:ext uri="{FF2B5EF4-FFF2-40B4-BE49-F238E27FC236}">
                  <a16:creationId xmlns="" xmlns:a16="http://schemas.microsoft.com/office/drawing/2014/main" id="{5544F617-C47F-4E44-AC00-5F515DAAAFCF}"/>
                </a:ext>
              </a:extLst>
            </p:cNvPr>
            <p:cNvCxnSpPr>
              <a:cxnSpLocks/>
            </p:cNvCxnSpPr>
            <p:nvPr/>
          </p:nvCxnSpPr>
          <p:spPr>
            <a:xfrm>
              <a:off x="6858000" y="4648200"/>
              <a:ext cx="0" cy="455852"/>
            </a:xfrm>
            <a:prstGeom prst="line">
              <a:avLst/>
            </a:prstGeom>
            <a:ln w="12700">
              <a:solidFill>
                <a:srgbClr val="F26926"/>
              </a:solidFill>
              <a:tailEnd type="ova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 xmlns:a16="http://schemas.microsoft.com/office/drawing/2014/main" id="{D96093D5-31C2-4A1C-8160-38B9584C0EFF}"/>
                </a:ext>
              </a:extLst>
            </p:cNvPr>
            <p:cNvCxnSpPr>
              <a:cxnSpLocks/>
            </p:cNvCxnSpPr>
            <p:nvPr/>
          </p:nvCxnSpPr>
          <p:spPr>
            <a:xfrm>
              <a:off x="6858000" y="5104052"/>
              <a:ext cx="1828800" cy="0"/>
            </a:xfrm>
            <a:prstGeom prst="line">
              <a:avLst/>
            </a:prstGeom>
            <a:ln w="12700">
              <a:solidFill>
                <a:srgbClr val="F26926"/>
              </a:solidFill>
              <a:tailEnd type="ova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 xmlns:a16="http://schemas.microsoft.com/office/drawing/2014/main" id="{E07A4D8E-DC16-4757-84D8-F600FB5CF695}"/>
                </a:ext>
              </a:extLst>
            </p:cNvPr>
            <p:cNvCxnSpPr>
              <a:cxnSpLocks/>
            </p:cNvCxnSpPr>
            <p:nvPr/>
          </p:nvCxnSpPr>
          <p:spPr>
            <a:xfrm>
              <a:off x="3200400" y="4648200"/>
              <a:ext cx="3657600" cy="0"/>
            </a:xfrm>
            <a:prstGeom prst="line">
              <a:avLst/>
            </a:prstGeom>
            <a:ln w="12700">
              <a:solidFill>
                <a:srgbClr val="F26926"/>
              </a:solidFill>
              <a:head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1338944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par>
                                <p:cTn id="8" presetID="22" presetClass="entr" presetSubtype="8" fill="hold"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wipe(left)">
                                      <p:cBhvr>
                                        <p:cTn id="10" dur="500"/>
                                        <p:tgtEl>
                                          <p:spTgt spid="63"/>
                                        </p:tgtEl>
                                      </p:cBhvr>
                                    </p:animEffect>
                                  </p:childTnLst>
                                </p:cTn>
                              </p:par>
                            </p:childTnLst>
                          </p:cTn>
                        </p:par>
                        <p:par>
                          <p:cTn id="11" fill="hold">
                            <p:stCondLst>
                              <p:cond delay="750"/>
                            </p:stCondLst>
                            <p:childTnLst>
                              <p:par>
                                <p:cTn id="12" presetID="2" presetClass="entr" presetSubtype="4" decel="100000" fill="hold" nodeType="afterEffect">
                                  <p:stCondLst>
                                    <p:cond delay="0"/>
                                  </p:stCondLst>
                                  <p:childTnLst>
                                    <p:set>
                                      <p:cBhvr>
                                        <p:cTn id="13" dur="1" fill="hold">
                                          <p:stCondLst>
                                            <p:cond delay="0"/>
                                          </p:stCondLst>
                                        </p:cTn>
                                        <p:tgtEl>
                                          <p:spTgt spid="168"/>
                                        </p:tgtEl>
                                        <p:attrNameLst>
                                          <p:attrName>style.visibility</p:attrName>
                                        </p:attrNameLst>
                                      </p:cBhvr>
                                      <p:to>
                                        <p:strVal val="visible"/>
                                      </p:to>
                                    </p:set>
                                    <p:anim calcmode="lin" valueType="num">
                                      <p:cBhvr additive="base">
                                        <p:cTn id="14" dur="500" fill="hold"/>
                                        <p:tgtEl>
                                          <p:spTgt spid="168"/>
                                        </p:tgtEl>
                                        <p:attrNameLst>
                                          <p:attrName>ppt_x</p:attrName>
                                        </p:attrNameLst>
                                      </p:cBhvr>
                                      <p:tavLst>
                                        <p:tav tm="0">
                                          <p:val>
                                            <p:strVal val="#ppt_x"/>
                                          </p:val>
                                        </p:tav>
                                        <p:tav tm="100000">
                                          <p:val>
                                            <p:strVal val="#ppt_x"/>
                                          </p:val>
                                        </p:tav>
                                      </p:tavLst>
                                    </p:anim>
                                    <p:anim calcmode="lin" valueType="num">
                                      <p:cBhvr additive="base">
                                        <p:cTn id="15" dur="500" fill="hold"/>
                                        <p:tgtEl>
                                          <p:spTgt spid="168"/>
                                        </p:tgtEl>
                                        <p:attrNameLst>
                                          <p:attrName>ppt_y</p:attrName>
                                        </p:attrNameLst>
                                      </p:cBhvr>
                                      <p:tavLst>
                                        <p:tav tm="0">
                                          <p:val>
                                            <p:strVal val="1+#ppt_h/2"/>
                                          </p:val>
                                        </p:tav>
                                        <p:tav tm="100000">
                                          <p:val>
                                            <p:strVal val="#ppt_y"/>
                                          </p:val>
                                        </p:tav>
                                      </p:tavLst>
                                    </p:anim>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500"/>
                                        <p:tgtEl>
                                          <p:spTgt spid="56"/>
                                        </p:tgtEl>
                                      </p:cBhvr>
                                    </p:animEffect>
                                  </p:childTnLst>
                                </p:cTn>
                              </p:par>
                              <p:par>
                                <p:cTn id="19" presetID="2" presetClass="entr" presetSubtype="4" decel="100000" fill="hold" nodeType="withEffect">
                                  <p:stCondLst>
                                    <p:cond delay="250"/>
                                  </p:stCondLst>
                                  <p:childTnLst>
                                    <p:set>
                                      <p:cBhvr>
                                        <p:cTn id="20" dur="1" fill="hold">
                                          <p:stCondLst>
                                            <p:cond delay="0"/>
                                          </p:stCondLst>
                                        </p:cTn>
                                        <p:tgtEl>
                                          <p:spTgt spid="171"/>
                                        </p:tgtEl>
                                        <p:attrNameLst>
                                          <p:attrName>style.visibility</p:attrName>
                                        </p:attrNameLst>
                                      </p:cBhvr>
                                      <p:to>
                                        <p:strVal val="visible"/>
                                      </p:to>
                                    </p:set>
                                    <p:anim calcmode="lin" valueType="num">
                                      <p:cBhvr additive="base">
                                        <p:cTn id="21" dur="500" fill="hold"/>
                                        <p:tgtEl>
                                          <p:spTgt spid="171"/>
                                        </p:tgtEl>
                                        <p:attrNameLst>
                                          <p:attrName>ppt_x</p:attrName>
                                        </p:attrNameLst>
                                      </p:cBhvr>
                                      <p:tavLst>
                                        <p:tav tm="0">
                                          <p:val>
                                            <p:strVal val="#ppt_x"/>
                                          </p:val>
                                        </p:tav>
                                        <p:tav tm="100000">
                                          <p:val>
                                            <p:strVal val="#ppt_x"/>
                                          </p:val>
                                        </p:tav>
                                      </p:tavLst>
                                    </p:anim>
                                    <p:anim calcmode="lin" valueType="num">
                                      <p:cBhvr additive="base">
                                        <p:cTn id="22" dur="500" fill="hold"/>
                                        <p:tgtEl>
                                          <p:spTgt spid="171"/>
                                        </p:tgtEl>
                                        <p:attrNameLst>
                                          <p:attrName>ppt_y</p:attrName>
                                        </p:attrNameLst>
                                      </p:cBhvr>
                                      <p:tavLst>
                                        <p:tav tm="0">
                                          <p:val>
                                            <p:strVal val="1+#ppt_h/2"/>
                                          </p:val>
                                        </p:tav>
                                        <p:tav tm="100000">
                                          <p:val>
                                            <p:strVal val="#ppt_y"/>
                                          </p:val>
                                        </p:tav>
                                      </p:tavLst>
                                    </p:anim>
                                  </p:childTnLst>
                                </p:cTn>
                              </p:par>
                              <p:par>
                                <p:cTn id="23" presetID="10" presetClass="entr" presetSubtype="0" fill="hold" grpId="0" nodeType="withEffect">
                                  <p:stCondLst>
                                    <p:cond delay="250"/>
                                  </p:stCondLst>
                                  <p:childTnLst>
                                    <p:set>
                                      <p:cBhvr>
                                        <p:cTn id="24" dur="1" fill="hold">
                                          <p:stCondLst>
                                            <p:cond delay="0"/>
                                          </p:stCondLst>
                                        </p:cTn>
                                        <p:tgtEl>
                                          <p:spTgt spid="57"/>
                                        </p:tgtEl>
                                        <p:attrNameLst>
                                          <p:attrName>style.visibility</p:attrName>
                                        </p:attrNameLst>
                                      </p:cBhvr>
                                      <p:to>
                                        <p:strVal val="visible"/>
                                      </p:to>
                                    </p:set>
                                    <p:animEffect transition="in" filter="fade">
                                      <p:cBhvr>
                                        <p:cTn id="25" dur="500"/>
                                        <p:tgtEl>
                                          <p:spTgt spid="57"/>
                                        </p:tgtEl>
                                      </p:cBhvr>
                                    </p:animEffect>
                                  </p:childTnLst>
                                </p:cTn>
                              </p:par>
                              <p:par>
                                <p:cTn id="26" presetID="2" presetClass="entr" presetSubtype="4" decel="100000" fill="hold" nodeType="withEffect">
                                  <p:stCondLst>
                                    <p:cond delay="500"/>
                                  </p:stCondLst>
                                  <p:childTnLst>
                                    <p:set>
                                      <p:cBhvr>
                                        <p:cTn id="27" dur="1" fill="hold">
                                          <p:stCondLst>
                                            <p:cond delay="0"/>
                                          </p:stCondLst>
                                        </p:cTn>
                                        <p:tgtEl>
                                          <p:spTgt spid="170"/>
                                        </p:tgtEl>
                                        <p:attrNameLst>
                                          <p:attrName>style.visibility</p:attrName>
                                        </p:attrNameLst>
                                      </p:cBhvr>
                                      <p:to>
                                        <p:strVal val="visible"/>
                                      </p:to>
                                    </p:set>
                                    <p:anim calcmode="lin" valueType="num">
                                      <p:cBhvr additive="base">
                                        <p:cTn id="28" dur="500" fill="hold"/>
                                        <p:tgtEl>
                                          <p:spTgt spid="170"/>
                                        </p:tgtEl>
                                        <p:attrNameLst>
                                          <p:attrName>ppt_x</p:attrName>
                                        </p:attrNameLst>
                                      </p:cBhvr>
                                      <p:tavLst>
                                        <p:tav tm="0">
                                          <p:val>
                                            <p:strVal val="#ppt_x"/>
                                          </p:val>
                                        </p:tav>
                                        <p:tav tm="100000">
                                          <p:val>
                                            <p:strVal val="#ppt_x"/>
                                          </p:val>
                                        </p:tav>
                                      </p:tavLst>
                                    </p:anim>
                                    <p:anim calcmode="lin" valueType="num">
                                      <p:cBhvr additive="base">
                                        <p:cTn id="29" dur="500" fill="hold"/>
                                        <p:tgtEl>
                                          <p:spTgt spid="170"/>
                                        </p:tgtEl>
                                        <p:attrNameLst>
                                          <p:attrName>ppt_y</p:attrName>
                                        </p:attrNameLst>
                                      </p:cBhvr>
                                      <p:tavLst>
                                        <p:tav tm="0">
                                          <p:val>
                                            <p:strVal val="1+#ppt_h/2"/>
                                          </p:val>
                                        </p:tav>
                                        <p:tav tm="100000">
                                          <p:val>
                                            <p:strVal val="#ppt_y"/>
                                          </p:val>
                                        </p:tav>
                                      </p:tavLst>
                                    </p:anim>
                                  </p:childTnLst>
                                </p:cTn>
                              </p:par>
                              <p:par>
                                <p:cTn id="30" presetID="10" presetClass="entr" presetSubtype="0" fill="hold" grpId="0" nodeType="withEffect">
                                  <p:stCondLst>
                                    <p:cond delay="500"/>
                                  </p:stCondLst>
                                  <p:childTnLst>
                                    <p:set>
                                      <p:cBhvr>
                                        <p:cTn id="31" dur="1" fill="hold">
                                          <p:stCondLst>
                                            <p:cond delay="0"/>
                                          </p:stCondLst>
                                        </p:cTn>
                                        <p:tgtEl>
                                          <p:spTgt spid="58"/>
                                        </p:tgtEl>
                                        <p:attrNameLst>
                                          <p:attrName>style.visibility</p:attrName>
                                        </p:attrNameLst>
                                      </p:cBhvr>
                                      <p:to>
                                        <p:strVal val="visible"/>
                                      </p:to>
                                    </p:set>
                                    <p:animEffect transition="in" filter="fade">
                                      <p:cBhvr>
                                        <p:cTn id="32" dur="500"/>
                                        <p:tgtEl>
                                          <p:spTgt spid="58"/>
                                        </p:tgtEl>
                                      </p:cBhvr>
                                    </p:animEffect>
                                  </p:childTnLst>
                                </p:cTn>
                              </p:par>
                              <p:par>
                                <p:cTn id="33" presetID="2" presetClass="entr" presetSubtype="4" decel="100000" fill="hold" nodeType="withEffect">
                                  <p:stCondLst>
                                    <p:cond delay="750"/>
                                  </p:stCondLst>
                                  <p:childTnLst>
                                    <p:set>
                                      <p:cBhvr>
                                        <p:cTn id="34" dur="1" fill="hold">
                                          <p:stCondLst>
                                            <p:cond delay="0"/>
                                          </p:stCondLst>
                                        </p:cTn>
                                        <p:tgtEl>
                                          <p:spTgt spid="169"/>
                                        </p:tgtEl>
                                        <p:attrNameLst>
                                          <p:attrName>style.visibility</p:attrName>
                                        </p:attrNameLst>
                                      </p:cBhvr>
                                      <p:to>
                                        <p:strVal val="visible"/>
                                      </p:to>
                                    </p:set>
                                    <p:anim calcmode="lin" valueType="num">
                                      <p:cBhvr additive="base">
                                        <p:cTn id="35" dur="500" fill="hold"/>
                                        <p:tgtEl>
                                          <p:spTgt spid="169"/>
                                        </p:tgtEl>
                                        <p:attrNameLst>
                                          <p:attrName>ppt_x</p:attrName>
                                        </p:attrNameLst>
                                      </p:cBhvr>
                                      <p:tavLst>
                                        <p:tav tm="0">
                                          <p:val>
                                            <p:strVal val="#ppt_x"/>
                                          </p:val>
                                        </p:tav>
                                        <p:tav tm="100000">
                                          <p:val>
                                            <p:strVal val="#ppt_x"/>
                                          </p:val>
                                        </p:tav>
                                      </p:tavLst>
                                    </p:anim>
                                    <p:anim calcmode="lin" valueType="num">
                                      <p:cBhvr additive="base">
                                        <p:cTn id="36" dur="500" fill="hold"/>
                                        <p:tgtEl>
                                          <p:spTgt spid="169"/>
                                        </p:tgtEl>
                                        <p:attrNameLst>
                                          <p:attrName>ppt_y</p:attrName>
                                        </p:attrNameLst>
                                      </p:cBhvr>
                                      <p:tavLst>
                                        <p:tav tm="0">
                                          <p:val>
                                            <p:strVal val="1+#ppt_h/2"/>
                                          </p:val>
                                        </p:tav>
                                        <p:tav tm="100000">
                                          <p:val>
                                            <p:strVal val="#ppt_y"/>
                                          </p:val>
                                        </p:tav>
                                      </p:tavLst>
                                    </p:anim>
                                  </p:childTnLst>
                                </p:cTn>
                              </p:par>
                              <p:par>
                                <p:cTn id="37" presetID="10" presetClass="entr" presetSubtype="0" fill="hold" grpId="0" nodeType="withEffect">
                                  <p:stCondLst>
                                    <p:cond delay="750"/>
                                  </p:stCondLst>
                                  <p:childTnLst>
                                    <p:set>
                                      <p:cBhvr>
                                        <p:cTn id="38" dur="1" fill="hold">
                                          <p:stCondLst>
                                            <p:cond delay="0"/>
                                          </p:stCondLst>
                                        </p:cTn>
                                        <p:tgtEl>
                                          <p:spTgt spid="59"/>
                                        </p:tgtEl>
                                        <p:attrNameLst>
                                          <p:attrName>style.visibility</p:attrName>
                                        </p:attrNameLst>
                                      </p:cBhvr>
                                      <p:to>
                                        <p:strVal val="visible"/>
                                      </p:to>
                                    </p:set>
                                    <p:animEffect transition="in" filter="fade">
                                      <p:cBhvr>
                                        <p:cTn id="39" dur="500"/>
                                        <p:tgtEl>
                                          <p:spTgt spid="59"/>
                                        </p:tgtEl>
                                      </p:cBhvr>
                                    </p:animEffect>
                                  </p:childTnLst>
                                </p:cTn>
                              </p:par>
                              <p:par>
                                <p:cTn id="40" presetID="2" presetClass="entr" presetSubtype="2" decel="100000" fill="hold" nodeType="withEffect">
                                  <p:stCondLst>
                                    <p:cond delay="1000"/>
                                  </p:stCondLst>
                                  <p:childTnLst>
                                    <p:set>
                                      <p:cBhvr>
                                        <p:cTn id="41" dur="1" fill="hold">
                                          <p:stCondLst>
                                            <p:cond delay="0"/>
                                          </p:stCondLst>
                                        </p:cTn>
                                        <p:tgtEl>
                                          <p:spTgt spid="122"/>
                                        </p:tgtEl>
                                        <p:attrNameLst>
                                          <p:attrName>style.visibility</p:attrName>
                                        </p:attrNameLst>
                                      </p:cBhvr>
                                      <p:to>
                                        <p:strVal val="visible"/>
                                      </p:to>
                                    </p:set>
                                    <p:anim calcmode="lin" valueType="num">
                                      <p:cBhvr additive="base">
                                        <p:cTn id="42" dur="750" fill="hold"/>
                                        <p:tgtEl>
                                          <p:spTgt spid="122"/>
                                        </p:tgtEl>
                                        <p:attrNameLst>
                                          <p:attrName>ppt_x</p:attrName>
                                        </p:attrNameLst>
                                      </p:cBhvr>
                                      <p:tavLst>
                                        <p:tav tm="0">
                                          <p:val>
                                            <p:strVal val="1+#ppt_w/2"/>
                                          </p:val>
                                        </p:tav>
                                        <p:tav tm="100000">
                                          <p:val>
                                            <p:strVal val="#ppt_x"/>
                                          </p:val>
                                        </p:tav>
                                      </p:tavLst>
                                    </p:anim>
                                    <p:anim calcmode="lin" valueType="num">
                                      <p:cBhvr additive="base">
                                        <p:cTn id="43" dur="750" fill="hold"/>
                                        <p:tgtEl>
                                          <p:spTgt spid="122"/>
                                        </p:tgtEl>
                                        <p:attrNameLst>
                                          <p:attrName>ppt_y</p:attrName>
                                        </p:attrNameLst>
                                      </p:cBhvr>
                                      <p:tavLst>
                                        <p:tav tm="0">
                                          <p:val>
                                            <p:strVal val="#ppt_y"/>
                                          </p:val>
                                        </p:tav>
                                        <p:tav tm="100000">
                                          <p:val>
                                            <p:strVal val="#ppt_y"/>
                                          </p:val>
                                        </p:tav>
                                      </p:tavLst>
                                    </p:anim>
                                  </p:childTnLst>
                                </p:cTn>
                              </p:par>
                            </p:childTnLst>
                          </p:cTn>
                        </p:par>
                        <p:par>
                          <p:cTn id="44" fill="hold">
                            <p:stCondLst>
                              <p:cond delay="2500"/>
                            </p:stCondLst>
                            <p:childTnLst>
                              <p:par>
                                <p:cTn id="45" presetID="22" presetClass="entr" presetSubtype="8" fill="hold" nodeType="afterEffect">
                                  <p:stCondLst>
                                    <p:cond delay="0"/>
                                  </p:stCondLst>
                                  <p:childTnLst>
                                    <p:set>
                                      <p:cBhvr>
                                        <p:cTn id="46" dur="1" fill="hold">
                                          <p:stCondLst>
                                            <p:cond delay="0"/>
                                          </p:stCondLst>
                                        </p:cTn>
                                        <p:tgtEl>
                                          <p:spTgt spid="172"/>
                                        </p:tgtEl>
                                        <p:attrNameLst>
                                          <p:attrName>style.visibility</p:attrName>
                                        </p:attrNameLst>
                                      </p:cBhvr>
                                      <p:to>
                                        <p:strVal val="visible"/>
                                      </p:to>
                                    </p:set>
                                    <p:animEffect transition="in" filter="wipe(left)">
                                      <p:cBhvr>
                                        <p:cTn id="47" dur="500"/>
                                        <p:tgtEl>
                                          <p:spTgt spid="172"/>
                                        </p:tgtEl>
                                      </p:cBhvr>
                                    </p:animEffect>
                                  </p:childTnLst>
                                </p:cTn>
                              </p:par>
                            </p:childTnLst>
                          </p:cTn>
                        </p:par>
                        <p:par>
                          <p:cTn id="48" fill="hold">
                            <p:stCondLst>
                              <p:cond delay="3000"/>
                            </p:stCondLst>
                            <p:childTnLst>
                              <p:par>
                                <p:cTn id="49" presetID="22" presetClass="entr" presetSubtype="4" fill="hold" grpId="0" nodeType="afterEffect">
                                  <p:stCondLst>
                                    <p:cond delay="0"/>
                                  </p:stCondLst>
                                  <p:childTnLst>
                                    <p:set>
                                      <p:cBhvr>
                                        <p:cTn id="50" dur="1" fill="hold">
                                          <p:stCondLst>
                                            <p:cond delay="0"/>
                                          </p:stCondLst>
                                        </p:cTn>
                                        <p:tgtEl>
                                          <p:spTgt spid="72"/>
                                        </p:tgtEl>
                                        <p:attrNameLst>
                                          <p:attrName>style.visibility</p:attrName>
                                        </p:attrNameLst>
                                      </p:cBhvr>
                                      <p:to>
                                        <p:strVal val="visible"/>
                                      </p:to>
                                    </p:set>
                                    <p:animEffect transition="in" filter="wipe(down)">
                                      <p:cBhvr>
                                        <p:cTn id="51" dur="500"/>
                                        <p:tgtEl>
                                          <p:spTgt spid="72"/>
                                        </p:tgtEl>
                                      </p:cBhvr>
                                    </p:animEffect>
                                  </p:childTnLst>
                                </p:cTn>
                              </p:par>
                              <p:par>
                                <p:cTn id="52" presetID="53" presetClass="entr" presetSubtype="16" fill="hold" nodeType="withEffect">
                                  <p:stCondLst>
                                    <p:cond delay="250"/>
                                  </p:stCondLst>
                                  <p:childTnLst>
                                    <p:set>
                                      <p:cBhvr>
                                        <p:cTn id="53" dur="1" fill="hold">
                                          <p:stCondLst>
                                            <p:cond delay="0"/>
                                          </p:stCondLst>
                                        </p:cTn>
                                        <p:tgtEl>
                                          <p:spTgt spid="80"/>
                                        </p:tgtEl>
                                        <p:attrNameLst>
                                          <p:attrName>style.visibility</p:attrName>
                                        </p:attrNameLst>
                                      </p:cBhvr>
                                      <p:to>
                                        <p:strVal val="visible"/>
                                      </p:to>
                                    </p:set>
                                    <p:anim calcmode="lin" valueType="num">
                                      <p:cBhvr>
                                        <p:cTn id="54" dur="500" fill="hold"/>
                                        <p:tgtEl>
                                          <p:spTgt spid="80"/>
                                        </p:tgtEl>
                                        <p:attrNameLst>
                                          <p:attrName>ppt_w</p:attrName>
                                        </p:attrNameLst>
                                      </p:cBhvr>
                                      <p:tavLst>
                                        <p:tav tm="0">
                                          <p:val>
                                            <p:fltVal val="0"/>
                                          </p:val>
                                        </p:tav>
                                        <p:tav tm="100000">
                                          <p:val>
                                            <p:strVal val="#ppt_w"/>
                                          </p:val>
                                        </p:tav>
                                      </p:tavLst>
                                    </p:anim>
                                    <p:anim calcmode="lin" valueType="num">
                                      <p:cBhvr>
                                        <p:cTn id="55" dur="500" fill="hold"/>
                                        <p:tgtEl>
                                          <p:spTgt spid="80"/>
                                        </p:tgtEl>
                                        <p:attrNameLst>
                                          <p:attrName>ppt_h</p:attrName>
                                        </p:attrNameLst>
                                      </p:cBhvr>
                                      <p:tavLst>
                                        <p:tav tm="0">
                                          <p:val>
                                            <p:fltVal val="0"/>
                                          </p:val>
                                        </p:tav>
                                        <p:tav tm="100000">
                                          <p:val>
                                            <p:strVal val="#ppt_h"/>
                                          </p:val>
                                        </p:tav>
                                      </p:tavLst>
                                    </p:anim>
                                    <p:animEffect transition="in" filter="fade">
                                      <p:cBhvr>
                                        <p:cTn id="56" dur="500"/>
                                        <p:tgtEl>
                                          <p:spTgt spid="80"/>
                                        </p:tgtEl>
                                      </p:cBhvr>
                                    </p:animEffect>
                                  </p:childTnLst>
                                </p:cTn>
                              </p:par>
                              <p:par>
                                <p:cTn id="57" presetID="53" presetClass="entr" presetSubtype="16" fill="hold" nodeType="withEffect">
                                  <p:stCondLst>
                                    <p:cond delay="500"/>
                                  </p:stCondLst>
                                  <p:childTnLst>
                                    <p:set>
                                      <p:cBhvr>
                                        <p:cTn id="58" dur="1" fill="hold">
                                          <p:stCondLst>
                                            <p:cond delay="0"/>
                                          </p:stCondLst>
                                        </p:cTn>
                                        <p:tgtEl>
                                          <p:spTgt spid="88"/>
                                        </p:tgtEl>
                                        <p:attrNameLst>
                                          <p:attrName>style.visibility</p:attrName>
                                        </p:attrNameLst>
                                      </p:cBhvr>
                                      <p:to>
                                        <p:strVal val="visible"/>
                                      </p:to>
                                    </p:set>
                                    <p:anim calcmode="lin" valueType="num">
                                      <p:cBhvr>
                                        <p:cTn id="59" dur="500" fill="hold"/>
                                        <p:tgtEl>
                                          <p:spTgt spid="88"/>
                                        </p:tgtEl>
                                        <p:attrNameLst>
                                          <p:attrName>ppt_w</p:attrName>
                                        </p:attrNameLst>
                                      </p:cBhvr>
                                      <p:tavLst>
                                        <p:tav tm="0">
                                          <p:val>
                                            <p:fltVal val="0"/>
                                          </p:val>
                                        </p:tav>
                                        <p:tav tm="100000">
                                          <p:val>
                                            <p:strVal val="#ppt_w"/>
                                          </p:val>
                                        </p:tav>
                                      </p:tavLst>
                                    </p:anim>
                                    <p:anim calcmode="lin" valueType="num">
                                      <p:cBhvr>
                                        <p:cTn id="60" dur="500" fill="hold"/>
                                        <p:tgtEl>
                                          <p:spTgt spid="88"/>
                                        </p:tgtEl>
                                        <p:attrNameLst>
                                          <p:attrName>ppt_h</p:attrName>
                                        </p:attrNameLst>
                                      </p:cBhvr>
                                      <p:tavLst>
                                        <p:tav tm="0">
                                          <p:val>
                                            <p:fltVal val="0"/>
                                          </p:val>
                                        </p:tav>
                                        <p:tav tm="100000">
                                          <p:val>
                                            <p:strVal val="#ppt_h"/>
                                          </p:val>
                                        </p:tav>
                                      </p:tavLst>
                                    </p:anim>
                                    <p:animEffect transition="in" filter="fade">
                                      <p:cBhvr>
                                        <p:cTn id="61" dur="500"/>
                                        <p:tgtEl>
                                          <p:spTgt spid="88"/>
                                        </p:tgtEl>
                                      </p:cBhvr>
                                    </p:animEffect>
                                  </p:childTnLst>
                                </p:cTn>
                              </p:par>
                              <p:par>
                                <p:cTn id="62" presetID="53" presetClass="entr" presetSubtype="16" fill="hold" nodeType="withEffect">
                                  <p:stCondLst>
                                    <p:cond delay="750"/>
                                  </p:stCondLst>
                                  <p:childTnLst>
                                    <p:set>
                                      <p:cBhvr>
                                        <p:cTn id="63" dur="1" fill="hold">
                                          <p:stCondLst>
                                            <p:cond delay="0"/>
                                          </p:stCondLst>
                                        </p:cTn>
                                        <p:tgtEl>
                                          <p:spTgt spid="111"/>
                                        </p:tgtEl>
                                        <p:attrNameLst>
                                          <p:attrName>style.visibility</p:attrName>
                                        </p:attrNameLst>
                                      </p:cBhvr>
                                      <p:to>
                                        <p:strVal val="visible"/>
                                      </p:to>
                                    </p:set>
                                    <p:anim calcmode="lin" valueType="num">
                                      <p:cBhvr>
                                        <p:cTn id="64" dur="500" fill="hold"/>
                                        <p:tgtEl>
                                          <p:spTgt spid="111"/>
                                        </p:tgtEl>
                                        <p:attrNameLst>
                                          <p:attrName>ppt_w</p:attrName>
                                        </p:attrNameLst>
                                      </p:cBhvr>
                                      <p:tavLst>
                                        <p:tav tm="0">
                                          <p:val>
                                            <p:fltVal val="0"/>
                                          </p:val>
                                        </p:tav>
                                        <p:tav tm="100000">
                                          <p:val>
                                            <p:strVal val="#ppt_w"/>
                                          </p:val>
                                        </p:tav>
                                      </p:tavLst>
                                    </p:anim>
                                    <p:anim calcmode="lin" valueType="num">
                                      <p:cBhvr>
                                        <p:cTn id="65" dur="500" fill="hold"/>
                                        <p:tgtEl>
                                          <p:spTgt spid="111"/>
                                        </p:tgtEl>
                                        <p:attrNameLst>
                                          <p:attrName>ppt_h</p:attrName>
                                        </p:attrNameLst>
                                      </p:cBhvr>
                                      <p:tavLst>
                                        <p:tav tm="0">
                                          <p:val>
                                            <p:fltVal val="0"/>
                                          </p:val>
                                        </p:tav>
                                        <p:tav tm="100000">
                                          <p:val>
                                            <p:strVal val="#ppt_h"/>
                                          </p:val>
                                        </p:tav>
                                      </p:tavLst>
                                    </p:anim>
                                    <p:animEffect transition="in" filter="fade">
                                      <p:cBhvr>
                                        <p:cTn id="66" dur="500"/>
                                        <p:tgtEl>
                                          <p:spTgt spid="111"/>
                                        </p:tgtEl>
                                      </p:cBhvr>
                                    </p:animEffect>
                                  </p:childTnLst>
                                </p:cTn>
                              </p:par>
                              <p:par>
                                <p:cTn id="67" presetID="53" presetClass="entr" presetSubtype="16" fill="hold" nodeType="withEffect">
                                  <p:stCondLst>
                                    <p:cond delay="1000"/>
                                  </p:stCondLst>
                                  <p:childTnLst>
                                    <p:set>
                                      <p:cBhvr>
                                        <p:cTn id="68" dur="1" fill="hold">
                                          <p:stCondLst>
                                            <p:cond delay="0"/>
                                          </p:stCondLst>
                                        </p:cTn>
                                        <p:tgtEl>
                                          <p:spTgt spid="96"/>
                                        </p:tgtEl>
                                        <p:attrNameLst>
                                          <p:attrName>style.visibility</p:attrName>
                                        </p:attrNameLst>
                                      </p:cBhvr>
                                      <p:to>
                                        <p:strVal val="visible"/>
                                      </p:to>
                                    </p:set>
                                    <p:anim calcmode="lin" valueType="num">
                                      <p:cBhvr>
                                        <p:cTn id="69" dur="500" fill="hold"/>
                                        <p:tgtEl>
                                          <p:spTgt spid="96"/>
                                        </p:tgtEl>
                                        <p:attrNameLst>
                                          <p:attrName>ppt_w</p:attrName>
                                        </p:attrNameLst>
                                      </p:cBhvr>
                                      <p:tavLst>
                                        <p:tav tm="0">
                                          <p:val>
                                            <p:fltVal val="0"/>
                                          </p:val>
                                        </p:tav>
                                        <p:tav tm="100000">
                                          <p:val>
                                            <p:strVal val="#ppt_w"/>
                                          </p:val>
                                        </p:tav>
                                      </p:tavLst>
                                    </p:anim>
                                    <p:anim calcmode="lin" valueType="num">
                                      <p:cBhvr>
                                        <p:cTn id="70" dur="500" fill="hold"/>
                                        <p:tgtEl>
                                          <p:spTgt spid="96"/>
                                        </p:tgtEl>
                                        <p:attrNameLst>
                                          <p:attrName>ppt_h</p:attrName>
                                        </p:attrNameLst>
                                      </p:cBhvr>
                                      <p:tavLst>
                                        <p:tav tm="0">
                                          <p:val>
                                            <p:fltVal val="0"/>
                                          </p:val>
                                        </p:tav>
                                        <p:tav tm="100000">
                                          <p:val>
                                            <p:strVal val="#ppt_h"/>
                                          </p:val>
                                        </p:tav>
                                      </p:tavLst>
                                    </p:anim>
                                    <p:animEffect transition="in" filter="fade">
                                      <p:cBhvr>
                                        <p:cTn id="71" dur="5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56" grpId="0"/>
      <p:bldP spid="57" grpId="0"/>
      <p:bldP spid="58" grpId="0"/>
      <p:bldP spid="59" grpId="0"/>
      <p:bldP spid="7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C3DE0493-C96D-491F-97E2-9AC13BD73BF1}"/>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11345612" y="6490506"/>
            <a:ext cx="720740" cy="276876"/>
          </a:xfrm>
          <a:prstGeom prst="rect">
            <a:avLst/>
          </a:prstGeom>
        </p:spPr>
      </p:pic>
      <p:cxnSp>
        <p:nvCxnSpPr>
          <p:cNvPr id="9" name="Straight Connector 8">
            <a:extLst>
              <a:ext uri="{FF2B5EF4-FFF2-40B4-BE49-F238E27FC236}">
                <a16:creationId xmlns="" xmlns:a16="http://schemas.microsoft.com/office/drawing/2014/main" id="{48EFB47F-2A6F-4CB6-91A2-873B15F91B09}"/>
              </a:ext>
            </a:extLst>
          </p:cNvPr>
          <p:cNvCxnSpPr>
            <a:cxnSpLocks/>
          </p:cNvCxnSpPr>
          <p:nvPr/>
        </p:nvCxnSpPr>
        <p:spPr>
          <a:xfrm>
            <a:off x="381000" y="6248400"/>
            <a:ext cx="1135380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 name="Isosceles Triangle 5">
            <a:extLst>
              <a:ext uri="{FF2B5EF4-FFF2-40B4-BE49-F238E27FC236}">
                <a16:creationId xmlns="" xmlns:a16="http://schemas.microsoft.com/office/drawing/2014/main" id="{E0B246DF-B418-4DD1-B6D4-916DEAFD74FE}"/>
              </a:ext>
            </a:extLst>
          </p:cNvPr>
          <p:cNvSpPr/>
          <p:nvPr/>
        </p:nvSpPr>
        <p:spPr>
          <a:xfrm>
            <a:off x="1905000" y="1238250"/>
            <a:ext cx="8077200" cy="5010150"/>
          </a:xfrm>
          <a:prstGeom prst="triangle">
            <a:avLst/>
          </a:prstGeom>
          <a:solidFill>
            <a:srgbClr val="EF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61" name="Group 360">
            <a:extLst>
              <a:ext uri="{FF2B5EF4-FFF2-40B4-BE49-F238E27FC236}">
                <a16:creationId xmlns="" xmlns:a16="http://schemas.microsoft.com/office/drawing/2014/main" id="{BC6686BE-5028-4218-993C-6A916DE81663}"/>
              </a:ext>
            </a:extLst>
          </p:cNvPr>
          <p:cNvGrpSpPr/>
          <p:nvPr/>
        </p:nvGrpSpPr>
        <p:grpSpPr>
          <a:xfrm>
            <a:off x="2622973" y="2555822"/>
            <a:ext cx="6641253" cy="2851469"/>
            <a:chOff x="2622973" y="2555822"/>
            <a:chExt cx="6641253" cy="2851469"/>
          </a:xfrm>
        </p:grpSpPr>
        <p:cxnSp>
          <p:nvCxnSpPr>
            <p:cNvPr id="11" name="Straight Connector 10">
              <a:extLst>
                <a:ext uri="{FF2B5EF4-FFF2-40B4-BE49-F238E27FC236}">
                  <a16:creationId xmlns="" xmlns:a16="http://schemas.microsoft.com/office/drawing/2014/main" id="{B8783CDE-6910-4DF4-914C-33108086056B}"/>
                </a:ext>
              </a:extLst>
            </p:cNvPr>
            <p:cNvCxnSpPr>
              <a:cxnSpLocks/>
            </p:cNvCxnSpPr>
            <p:nvPr/>
          </p:nvCxnSpPr>
          <p:spPr>
            <a:xfrm>
              <a:off x="2622973" y="5407291"/>
              <a:ext cx="664125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 xmlns:a16="http://schemas.microsoft.com/office/drawing/2014/main" id="{19732CF8-CAB8-4619-B188-16DD40153DF3}"/>
                </a:ext>
              </a:extLst>
            </p:cNvPr>
            <p:cNvCxnSpPr>
              <a:cxnSpLocks/>
            </p:cNvCxnSpPr>
            <p:nvPr/>
          </p:nvCxnSpPr>
          <p:spPr>
            <a:xfrm>
              <a:off x="3340947" y="4456802"/>
              <a:ext cx="5205307"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083BF8B8-29E8-4F8C-80BB-BA972E41BA2F}"/>
                </a:ext>
              </a:extLst>
            </p:cNvPr>
            <p:cNvCxnSpPr>
              <a:cxnSpLocks/>
            </p:cNvCxnSpPr>
            <p:nvPr/>
          </p:nvCxnSpPr>
          <p:spPr>
            <a:xfrm>
              <a:off x="4139542" y="3506312"/>
              <a:ext cx="3598991"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 xmlns:a16="http://schemas.microsoft.com/office/drawing/2014/main" id="{AF3D3A33-4338-47BC-9CCF-BDE06E6D17C8}"/>
                </a:ext>
              </a:extLst>
            </p:cNvPr>
            <p:cNvCxnSpPr>
              <a:cxnSpLocks/>
            </p:cNvCxnSpPr>
            <p:nvPr/>
          </p:nvCxnSpPr>
          <p:spPr>
            <a:xfrm>
              <a:off x="4866640" y="2555822"/>
              <a:ext cx="215392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8" name="Rectangle 27">
            <a:extLst>
              <a:ext uri="{FF2B5EF4-FFF2-40B4-BE49-F238E27FC236}">
                <a16:creationId xmlns="" xmlns:a16="http://schemas.microsoft.com/office/drawing/2014/main" id="{7A27C0F1-D032-4A20-9BA3-E873E0C5FFD0}"/>
              </a:ext>
            </a:extLst>
          </p:cNvPr>
          <p:cNvSpPr/>
          <p:nvPr/>
        </p:nvSpPr>
        <p:spPr>
          <a:xfrm>
            <a:off x="4163541" y="6248400"/>
            <a:ext cx="3450858" cy="400110"/>
          </a:xfrm>
          <a:prstGeom prst="rect">
            <a:avLst/>
          </a:prstGeom>
        </p:spPr>
        <p:txBody>
          <a:bodyPr wrap="square">
            <a:spAutoFit/>
          </a:bodyPr>
          <a:lstStyle/>
          <a:p>
            <a:pPr marL="0" marR="0" lvl="0" indent="0" algn="ctr" defTabSz="457200" rtl="0" eaLnBrk="1" fontAlgn="base" latinLnBrk="0" hangingPunct="1">
              <a:lnSpc>
                <a:spcPct val="100000"/>
              </a:lnSpc>
              <a:spcBef>
                <a:spcPts val="0"/>
              </a:spcBef>
              <a:spcAft>
                <a:spcPct val="0"/>
              </a:spcAft>
              <a:buClrTx/>
              <a:buSzTx/>
              <a:buFontTx/>
              <a:buNone/>
              <a:tabLst/>
              <a:defRPr/>
            </a:pPr>
            <a:r>
              <a:rPr kumimoji="0" lang="en-US" altLang="en-US" sz="2000" b="0" i="0" u="none" strike="noStrike" kern="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Market Competition</a:t>
            </a:r>
          </a:p>
        </p:txBody>
      </p:sp>
      <p:grpSp>
        <p:nvGrpSpPr>
          <p:cNvPr id="362" name="Group 361">
            <a:extLst>
              <a:ext uri="{FF2B5EF4-FFF2-40B4-BE49-F238E27FC236}">
                <a16:creationId xmlns="" xmlns:a16="http://schemas.microsoft.com/office/drawing/2014/main" id="{C85FED64-D9E2-432A-925C-C89EDBC4913F}"/>
              </a:ext>
            </a:extLst>
          </p:cNvPr>
          <p:cNvGrpSpPr/>
          <p:nvPr/>
        </p:nvGrpSpPr>
        <p:grpSpPr>
          <a:xfrm>
            <a:off x="0" y="622272"/>
            <a:ext cx="5368075" cy="977928"/>
            <a:chOff x="0" y="1238587"/>
            <a:chExt cx="5368075" cy="1140104"/>
          </a:xfrm>
        </p:grpSpPr>
        <p:sp>
          <p:nvSpPr>
            <p:cNvPr id="29" name="Rectangle 28">
              <a:extLst>
                <a:ext uri="{FF2B5EF4-FFF2-40B4-BE49-F238E27FC236}">
                  <a16:creationId xmlns="" xmlns:a16="http://schemas.microsoft.com/office/drawing/2014/main" id="{B1A8782B-D944-404B-829D-393F6C5248A2}"/>
                </a:ext>
              </a:extLst>
            </p:cNvPr>
            <p:cNvSpPr/>
            <p:nvPr/>
          </p:nvSpPr>
          <p:spPr>
            <a:xfrm>
              <a:off x="0" y="1238587"/>
              <a:ext cx="4606557" cy="1140104"/>
            </a:xfrm>
            <a:prstGeom prst="rect">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 xmlns:a16="http://schemas.microsoft.com/office/drawing/2014/main" id="{E09324C5-ED1B-4402-A588-96997AE80EF2}"/>
                </a:ext>
              </a:extLst>
            </p:cNvPr>
            <p:cNvSpPr/>
            <p:nvPr/>
          </p:nvSpPr>
          <p:spPr>
            <a:xfrm>
              <a:off x="1932301" y="1300537"/>
              <a:ext cx="2438400" cy="1022629"/>
            </a:xfrm>
            <a:prstGeom prst="rect">
              <a:avLst/>
            </a:prstGeom>
          </p:spPr>
          <p:txBody>
            <a:bodyPr wrap="square">
              <a:spAutoFit/>
            </a:bodyPr>
            <a:lstStyle/>
            <a:p>
              <a:pPr marL="0" marR="0" lvl="0" indent="0" algn="r" defTabSz="457200" rtl="0" eaLnBrk="1" fontAlgn="base" latinLnBrk="0" hangingPunct="1">
                <a:lnSpc>
                  <a:spcPct val="85000"/>
                </a:lnSpc>
                <a:spcBef>
                  <a:spcPts val="0"/>
                </a:spcBef>
                <a:spcAft>
                  <a:spcPct val="0"/>
                </a:spcAft>
                <a:buClrTx/>
                <a:buSzTx/>
                <a:buFontTx/>
                <a:buNone/>
                <a:tabLst/>
                <a:defRPr/>
              </a:pPr>
              <a:r>
                <a:rPr kumimoji="0" lang="en-US" altLang="en-US" sz="2800" b="1"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Market </a:t>
              </a:r>
              <a:r>
                <a:rPr kumimoji="0" lang="en-US" altLang="en-US" sz="2000" b="0"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Conversion Rate</a:t>
              </a:r>
            </a:p>
            <a:p>
              <a:pPr lvl="0" algn="r" defTabSz="457200" fontAlgn="base">
                <a:lnSpc>
                  <a:spcPct val="85000"/>
                </a:lnSpc>
                <a:spcAft>
                  <a:spcPct val="0"/>
                </a:spcAft>
                <a:defRPr/>
              </a:pPr>
              <a:r>
                <a:rPr lang="en-US" altLang="en-US" sz="1200" kern="0" dirty="0">
                  <a:solidFill>
                    <a:srgbClr val="FFFFFF"/>
                  </a:solidFill>
                  <a:latin typeface="Verdana" panose="020B0604030504040204" pitchFamily="34" charset="0"/>
                  <a:ea typeface="Verdana" panose="020B0604030504040204" pitchFamily="34" charset="0"/>
                  <a:cs typeface="Verdana" panose="020B0604030504040204" pitchFamily="34" charset="0"/>
                </a:rPr>
                <a:t>(Manual to Pre-Filled)</a:t>
              </a:r>
            </a:p>
          </p:txBody>
        </p:sp>
        <p:pic>
          <p:nvPicPr>
            <p:cNvPr id="36" name="Graphic 35">
              <a:extLst>
                <a:ext uri="{FF2B5EF4-FFF2-40B4-BE49-F238E27FC236}">
                  <a16:creationId xmlns="" xmlns:a16="http://schemas.microsoft.com/office/drawing/2014/main" id="{3F549426-BFB1-402A-9C62-B4973055C053}"/>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5035930" y="1672278"/>
              <a:ext cx="332145" cy="303262"/>
            </a:xfrm>
            <a:prstGeom prst="rect">
              <a:avLst/>
            </a:prstGeom>
          </p:spPr>
        </p:pic>
      </p:grpSp>
      <p:grpSp>
        <p:nvGrpSpPr>
          <p:cNvPr id="59" name="Group 58">
            <a:extLst>
              <a:ext uri="{FF2B5EF4-FFF2-40B4-BE49-F238E27FC236}">
                <a16:creationId xmlns="" xmlns:a16="http://schemas.microsoft.com/office/drawing/2014/main" id="{CF93434D-B603-439C-B4C1-C7C4955BCD5A}"/>
              </a:ext>
            </a:extLst>
          </p:cNvPr>
          <p:cNvGrpSpPr/>
          <p:nvPr/>
        </p:nvGrpSpPr>
        <p:grpSpPr>
          <a:xfrm>
            <a:off x="902865" y="1013837"/>
            <a:ext cx="4936129" cy="5234563"/>
            <a:chOff x="902865" y="1013837"/>
            <a:chExt cx="4936129" cy="5234563"/>
          </a:xfrm>
        </p:grpSpPr>
        <p:cxnSp>
          <p:nvCxnSpPr>
            <p:cNvPr id="39" name="Straight Connector 38">
              <a:extLst>
                <a:ext uri="{FF2B5EF4-FFF2-40B4-BE49-F238E27FC236}">
                  <a16:creationId xmlns="" xmlns:a16="http://schemas.microsoft.com/office/drawing/2014/main" id="{5B3AB853-A790-4047-8609-63DCF76B445B}"/>
                </a:ext>
              </a:extLst>
            </p:cNvPr>
            <p:cNvCxnSpPr>
              <a:cxnSpLocks/>
            </p:cNvCxnSpPr>
            <p:nvPr/>
          </p:nvCxnSpPr>
          <p:spPr>
            <a:xfrm flipH="1">
              <a:off x="1619498" y="1013837"/>
              <a:ext cx="4219496" cy="5234563"/>
            </a:xfrm>
            <a:prstGeom prst="line">
              <a:avLst/>
            </a:prstGeom>
            <a:ln w="3175">
              <a:solidFill>
                <a:srgbClr val="05589C"/>
              </a:solidFill>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 xmlns:a16="http://schemas.microsoft.com/office/drawing/2014/main" id="{D1EBEB1F-234C-4348-AA5A-C1FBD50ADB6E}"/>
                </a:ext>
              </a:extLst>
            </p:cNvPr>
            <p:cNvGrpSpPr/>
            <p:nvPr/>
          </p:nvGrpSpPr>
          <p:grpSpPr>
            <a:xfrm>
              <a:off x="902865" y="1638979"/>
              <a:ext cx="4401548" cy="4354007"/>
              <a:chOff x="902865" y="1638979"/>
              <a:chExt cx="4401548" cy="4354007"/>
            </a:xfrm>
          </p:grpSpPr>
          <p:cxnSp>
            <p:nvCxnSpPr>
              <p:cNvPr id="40" name="Straight Connector 39">
                <a:extLst>
                  <a:ext uri="{FF2B5EF4-FFF2-40B4-BE49-F238E27FC236}">
                    <a16:creationId xmlns="" xmlns:a16="http://schemas.microsoft.com/office/drawing/2014/main" id="{9F307F65-2E17-4F3F-92B1-F074D002E7CB}"/>
                  </a:ext>
                </a:extLst>
              </p:cNvPr>
              <p:cNvCxnSpPr>
                <a:cxnSpLocks/>
              </p:cNvCxnSpPr>
              <p:nvPr/>
            </p:nvCxnSpPr>
            <p:spPr>
              <a:xfrm flipV="1">
                <a:off x="4973131" y="1653219"/>
                <a:ext cx="331282" cy="415342"/>
              </a:xfrm>
              <a:prstGeom prst="line">
                <a:avLst/>
              </a:prstGeom>
              <a:ln w="57150">
                <a:solidFill>
                  <a:srgbClr val="05589C"/>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 xmlns:a16="http://schemas.microsoft.com/office/drawing/2014/main" id="{E90AF8A1-17C4-4808-8188-80B6F4624B10}"/>
                  </a:ext>
                </a:extLst>
              </p:cNvPr>
              <p:cNvCxnSpPr>
                <a:cxnSpLocks/>
              </p:cNvCxnSpPr>
              <p:nvPr/>
            </p:nvCxnSpPr>
            <p:spPr>
              <a:xfrm flipV="1">
                <a:off x="4131922" y="2700297"/>
                <a:ext cx="331282" cy="415342"/>
              </a:xfrm>
              <a:prstGeom prst="line">
                <a:avLst/>
              </a:prstGeom>
              <a:ln w="57150">
                <a:solidFill>
                  <a:srgbClr val="05589C"/>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 xmlns:a16="http://schemas.microsoft.com/office/drawing/2014/main" id="{5353AE57-4B97-4F96-BFCE-A2D3F4038814}"/>
                  </a:ext>
                </a:extLst>
              </p:cNvPr>
              <p:cNvCxnSpPr>
                <a:cxnSpLocks/>
              </p:cNvCxnSpPr>
              <p:nvPr/>
            </p:nvCxnSpPr>
            <p:spPr>
              <a:xfrm flipV="1">
                <a:off x="3326318" y="3680460"/>
                <a:ext cx="331282" cy="415342"/>
              </a:xfrm>
              <a:prstGeom prst="line">
                <a:avLst/>
              </a:prstGeom>
              <a:ln w="57150">
                <a:solidFill>
                  <a:srgbClr val="05589C"/>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 xmlns:a16="http://schemas.microsoft.com/office/drawing/2014/main" id="{479B5122-E6DB-44C0-9FB8-AF00C31D4D33}"/>
                  </a:ext>
                </a:extLst>
              </p:cNvPr>
              <p:cNvCxnSpPr>
                <a:cxnSpLocks/>
              </p:cNvCxnSpPr>
              <p:nvPr/>
            </p:nvCxnSpPr>
            <p:spPr>
              <a:xfrm flipV="1">
                <a:off x="2583180" y="4610100"/>
                <a:ext cx="331282" cy="415342"/>
              </a:xfrm>
              <a:prstGeom prst="line">
                <a:avLst/>
              </a:prstGeom>
              <a:ln w="57150">
                <a:solidFill>
                  <a:srgbClr val="05589C"/>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 xmlns:a16="http://schemas.microsoft.com/office/drawing/2014/main" id="{333FB8E3-772B-45C3-8D2E-CC0B0CD3D00E}"/>
                  </a:ext>
                </a:extLst>
              </p:cNvPr>
              <p:cNvCxnSpPr>
                <a:cxnSpLocks/>
              </p:cNvCxnSpPr>
              <p:nvPr/>
            </p:nvCxnSpPr>
            <p:spPr>
              <a:xfrm flipV="1">
                <a:off x="1805940" y="5577644"/>
                <a:ext cx="331282" cy="415342"/>
              </a:xfrm>
              <a:prstGeom prst="line">
                <a:avLst/>
              </a:prstGeom>
              <a:ln w="57150">
                <a:solidFill>
                  <a:srgbClr val="05589C"/>
                </a:solidFill>
              </a:ln>
            </p:spPr>
            <p:style>
              <a:lnRef idx="1">
                <a:schemeClr val="accent1"/>
              </a:lnRef>
              <a:fillRef idx="0">
                <a:schemeClr val="accent1"/>
              </a:fillRef>
              <a:effectRef idx="0">
                <a:schemeClr val="accent1"/>
              </a:effectRef>
              <a:fontRef idx="minor">
                <a:schemeClr val="tx1"/>
              </a:fontRef>
            </p:style>
          </p:cxnSp>
          <p:sp>
            <p:nvSpPr>
              <p:cNvPr id="51" name="Content Placeholder 2">
                <a:extLst>
                  <a:ext uri="{FF2B5EF4-FFF2-40B4-BE49-F238E27FC236}">
                    <a16:creationId xmlns="" xmlns:a16="http://schemas.microsoft.com/office/drawing/2014/main" id="{FAD82237-C7F2-482D-BF27-B4A362828381}"/>
                  </a:ext>
                </a:extLst>
              </p:cNvPr>
              <p:cNvSpPr>
                <a:spLocks/>
              </p:cNvSpPr>
              <p:nvPr/>
            </p:nvSpPr>
            <p:spPr bwMode="auto">
              <a:xfrm>
                <a:off x="4115887" y="1638979"/>
                <a:ext cx="997856"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lr>
                    <a:srgbClr val="61A0D7"/>
                  </a:buClr>
                  <a:buFont typeface="Arial" charset="0"/>
                  <a:buChar char="•"/>
                  <a:defRPr sz="3200" b="1">
                    <a:solidFill>
                      <a:srgbClr val="595959"/>
                    </a:solidFill>
                    <a:latin typeface="Calibri" pitchFamily="34" charset="0"/>
                    <a:ea typeface="ＭＳ Ｐゴシック" pitchFamily="34" charset="-128"/>
                    <a:cs typeface="Calibri" pitchFamily="34" charset="0"/>
                  </a:defRPr>
                </a:lvl1pPr>
                <a:lvl2pPr marL="742950" indent="-285750">
                  <a:spcBef>
                    <a:spcPct val="20000"/>
                  </a:spcBef>
                  <a:buClr>
                    <a:srgbClr val="61A0D7"/>
                  </a:buClr>
                  <a:buFont typeface="Arial" charset="0"/>
                  <a:buChar char="–"/>
                  <a:defRPr sz="2800">
                    <a:solidFill>
                      <a:srgbClr val="595959"/>
                    </a:solidFill>
                    <a:latin typeface="Calibri" pitchFamily="34" charset="0"/>
                    <a:ea typeface="ＭＳ Ｐゴシック" pitchFamily="34" charset="-128"/>
                  </a:defRPr>
                </a:lvl2pPr>
                <a:lvl3pPr marL="1143000" indent="-228600">
                  <a:spcBef>
                    <a:spcPct val="20000"/>
                  </a:spcBef>
                  <a:buClr>
                    <a:srgbClr val="61A0D7"/>
                  </a:buClr>
                  <a:buFont typeface="Arial" charset="0"/>
                  <a:buChar char="•"/>
                  <a:defRPr sz="2400">
                    <a:solidFill>
                      <a:srgbClr val="595959"/>
                    </a:solidFill>
                    <a:latin typeface="Calibri" pitchFamily="34" charset="0"/>
                    <a:ea typeface="ＭＳ Ｐゴシック" pitchFamily="34" charset="-128"/>
                  </a:defRPr>
                </a:lvl3pPr>
                <a:lvl4pPr marL="16002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4pPr>
                <a:lvl5pPr marL="20574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9pPr>
              </a:lstStyle>
              <a:p>
                <a:pPr marL="342900" marR="0" lvl="0" indent="-342900" algn="r" defTabSz="457200" rtl="0" eaLnBrk="1" fontAlgn="base" latinLnBrk="0" hangingPunct="1">
                  <a:lnSpc>
                    <a:spcPct val="100000"/>
                  </a:lnSpc>
                  <a:spcBef>
                    <a:spcPct val="20000"/>
                  </a:spcBef>
                  <a:spcAft>
                    <a:spcPct val="0"/>
                  </a:spcAft>
                  <a:buClr>
                    <a:srgbClr val="61A0D7"/>
                  </a:buClr>
                  <a:buSzTx/>
                  <a:buFont typeface="Arial" charset="0"/>
                  <a:buNone/>
                  <a:tabLst/>
                  <a:defRPr/>
                </a:pPr>
                <a:r>
                  <a:rPr kumimoji="0" lang="en-US" altLang="en-US" sz="1600" b="1" i="0" u="none" strike="noStrike" kern="0" cap="none" spc="0" normalizeH="0" baseline="0" noProof="0" dirty="0">
                    <a:ln>
                      <a:noFill/>
                    </a:ln>
                    <a:solidFill>
                      <a:srgbClr val="595959"/>
                    </a:solidFill>
                    <a:effectLst/>
                    <a:uLnTx/>
                    <a:uFillTx/>
                    <a:latin typeface="Verdana" panose="020B0604030504040204" pitchFamily="34" charset="0"/>
                    <a:ea typeface="Verdana" panose="020B0604030504040204" pitchFamily="34" charset="0"/>
                    <a:cs typeface="Verdana" panose="020B0604030504040204" pitchFamily="34" charset="0"/>
                  </a:rPr>
                  <a:t>~10%</a:t>
                </a:r>
              </a:p>
            </p:txBody>
          </p:sp>
          <p:sp>
            <p:nvSpPr>
              <p:cNvPr id="52" name="Content Placeholder 2">
                <a:extLst>
                  <a:ext uri="{FF2B5EF4-FFF2-40B4-BE49-F238E27FC236}">
                    <a16:creationId xmlns="" xmlns:a16="http://schemas.microsoft.com/office/drawing/2014/main" id="{D75B04E7-F456-4317-A026-C826B27A5788}"/>
                  </a:ext>
                </a:extLst>
              </p:cNvPr>
              <p:cNvSpPr>
                <a:spLocks/>
              </p:cNvSpPr>
              <p:nvPr/>
            </p:nvSpPr>
            <p:spPr bwMode="auto">
              <a:xfrm>
                <a:off x="3297202" y="2655924"/>
                <a:ext cx="952807"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lr>
                    <a:srgbClr val="61A0D7"/>
                  </a:buClr>
                  <a:buFont typeface="Arial" charset="0"/>
                  <a:buChar char="•"/>
                  <a:defRPr sz="3200" b="1">
                    <a:solidFill>
                      <a:srgbClr val="595959"/>
                    </a:solidFill>
                    <a:latin typeface="Calibri" pitchFamily="34" charset="0"/>
                    <a:ea typeface="ＭＳ Ｐゴシック" pitchFamily="34" charset="-128"/>
                    <a:cs typeface="Calibri" pitchFamily="34" charset="0"/>
                  </a:defRPr>
                </a:lvl1pPr>
                <a:lvl2pPr marL="742950" indent="-285750">
                  <a:spcBef>
                    <a:spcPct val="20000"/>
                  </a:spcBef>
                  <a:buClr>
                    <a:srgbClr val="61A0D7"/>
                  </a:buClr>
                  <a:buFont typeface="Arial" charset="0"/>
                  <a:buChar char="–"/>
                  <a:defRPr sz="2800">
                    <a:solidFill>
                      <a:srgbClr val="595959"/>
                    </a:solidFill>
                    <a:latin typeface="Calibri" pitchFamily="34" charset="0"/>
                    <a:ea typeface="ＭＳ Ｐゴシック" pitchFamily="34" charset="-128"/>
                  </a:defRPr>
                </a:lvl2pPr>
                <a:lvl3pPr marL="1143000" indent="-228600">
                  <a:spcBef>
                    <a:spcPct val="20000"/>
                  </a:spcBef>
                  <a:buClr>
                    <a:srgbClr val="61A0D7"/>
                  </a:buClr>
                  <a:buFont typeface="Arial" charset="0"/>
                  <a:buChar char="•"/>
                  <a:defRPr sz="2400">
                    <a:solidFill>
                      <a:srgbClr val="595959"/>
                    </a:solidFill>
                    <a:latin typeface="Calibri" pitchFamily="34" charset="0"/>
                    <a:ea typeface="ＭＳ Ｐゴシック" pitchFamily="34" charset="-128"/>
                  </a:defRPr>
                </a:lvl3pPr>
                <a:lvl4pPr marL="16002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4pPr>
                <a:lvl5pPr marL="20574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9pPr>
              </a:lstStyle>
              <a:p>
                <a:pPr marL="342900" marR="0" lvl="0" indent="-342900" algn="r" defTabSz="457200" rtl="0" eaLnBrk="1" fontAlgn="base" latinLnBrk="0" hangingPunct="1">
                  <a:lnSpc>
                    <a:spcPct val="100000"/>
                  </a:lnSpc>
                  <a:spcBef>
                    <a:spcPct val="20000"/>
                  </a:spcBef>
                  <a:spcAft>
                    <a:spcPct val="0"/>
                  </a:spcAft>
                  <a:buClr>
                    <a:srgbClr val="61A0D7"/>
                  </a:buClr>
                  <a:buSzTx/>
                  <a:buFont typeface="Arial" charset="0"/>
                  <a:buNone/>
                  <a:tabLst/>
                  <a:defRPr/>
                </a:pPr>
                <a:r>
                  <a:rPr kumimoji="0" lang="en-US" altLang="en-US" sz="1600" b="1" i="0" u="none" strike="noStrike" kern="0" cap="none" spc="0" normalizeH="0" baseline="0" noProof="0" dirty="0">
                    <a:ln>
                      <a:noFill/>
                    </a:ln>
                    <a:solidFill>
                      <a:srgbClr val="595959"/>
                    </a:solidFill>
                    <a:effectLst/>
                    <a:uLnTx/>
                    <a:uFillTx/>
                    <a:latin typeface="Verdana" panose="020B0604030504040204" pitchFamily="34" charset="0"/>
                    <a:ea typeface="Verdana" panose="020B0604030504040204" pitchFamily="34" charset="0"/>
                    <a:cs typeface="Verdana" panose="020B0604030504040204" pitchFamily="34" charset="0"/>
                  </a:rPr>
                  <a:t>~20%</a:t>
                </a:r>
              </a:p>
            </p:txBody>
          </p:sp>
          <p:sp>
            <p:nvSpPr>
              <p:cNvPr id="53" name="Content Placeholder 2">
                <a:extLst>
                  <a:ext uri="{FF2B5EF4-FFF2-40B4-BE49-F238E27FC236}">
                    <a16:creationId xmlns="" xmlns:a16="http://schemas.microsoft.com/office/drawing/2014/main" id="{2E00F30E-B0BF-4316-B21C-435F843CE9BF}"/>
                  </a:ext>
                </a:extLst>
              </p:cNvPr>
              <p:cNvSpPr>
                <a:spLocks/>
              </p:cNvSpPr>
              <p:nvPr/>
            </p:nvSpPr>
            <p:spPr bwMode="auto">
              <a:xfrm>
                <a:off x="2622973" y="3611261"/>
                <a:ext cx="917772"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lr>
                    <a:srgbClr val="61A0D7"/>
                  </a:buClr>
                  <a:buFont typeface="Arial" charset="0"/>
                  <a:buChar char="•"/>
                  <a:defRPr sz="3200" b="1">
                    <a:solidFill>
                      <a:srgbClr val="595959"/>
                    </a:solidFill>
                    <a:latin typeface="Calibri" pitchFamily="34" charset="0"/>
                    <a:ea typeface="ＭＳ Ｐゴシック" pitchFamily="34" charset="-128"/>
                    <a:cs typeface="Calibri" pitchFamily="34" charset="0"/>
                  </a:defRPr>
                </a:lvl1pPr>
                <a:lvl2pPr marL="742950" indent="-285750">
                  <a:spcBef>
                    <a:spcPct val="20000"/>
                  </a:spcBef>
                  <a:buClr>
                    <a:srgbClr val="61A0D7"/>
                  </a:buClr>
                  <a:buFont typeface="Arial" charset="0"/>
                  <a:buChar char="–"/>
                  <a:defRPr sz="2800">
                    <a:solidFill>
                      <a:srgbClr val="595959"/>
                    </a:solidFill>
                    <a:latin typeface="Calibri" pitchFamily="34" charset="0"/>
                    <a:ea typeface="ＭＳ Ｐゴシック" pitchFamily="34" charset="-128"/>
                  </a:defRPr>
                </a:lvl2pPr>
                <a:lvl3pPr marL="1143000" indent="-228600">
                  <a:spcBef>
                    <a:spcPct val="20000"/>
                  </a:spcBef>
                  <a:buClr>
                    <a:srgbClr val="61A0D7"/>
                  </a:buClr>
                  <a:buFont typeface="Arial" charset="0"/>
                  <a:buChar char="•"/>
                  <a:defRPr sz="2400">
                    <a:solidFill>
                      <a:srgbClr val="595959"/>
                    </a:solidFill>
                    <a:latin typeface="Calibri" pitchFamily="34" charset="0"/>
                    <a:ea typeface="ＭＳ Ｐゴシック" pitchFamily="34" charset="-128"/>
                  </a:defRPr>
                </a:lvl3pPr>
                <a:lvl4pPr marL="16002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4pPr>
                <a:lvl5pPr marL="20574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9pPr>
              </a:lstStyle>
              <a:p>
                <a:pPr marL="342900" marR="0" lvl="0" indent="-342900" algn="r" defTabSz="457200" rtl="0" eaLnBrk="1" fontAlgn="base" latinLnBrk="0" hangingPunct="1">
                  <a:lnSpc>
                    <a:spcPct val="100000"/>
                  </a:lnSpc>
                  <a:spcBef>
                    <a:spcPct val="20000"/>
                  </a:spcBef>
                  <a:spcAft>
                    <a:spcPct val="0"/>
                  </a:spcAft>
                  <a:buClr>
                    <a:srgbClr val="61A0D7"/>
                  </a:buClr>
                  <a:buSzTx/>
                  <a:buFont typeface="Arial" charset="0"/>
                  <a:buNone/>
                  <a:tabLst/>
                  <a:defRPr/>
                </a:pPr>
                <a:r>
                  <a:rPr kumimoji="0" lang="en-US" altLang="en-US" sz="1600" b="1" i="0" u="none" strike="noStrike" kern="0" cap="none" spc="0" normalizeH="0" baseline="0" noProof="0" dirty="0">
                    <a:ln>
                      <a:noFill/>
                    </a:ln>
                    <a:solidFill>
                      <a:srgbClr val="595959"/>
                    </a:solidFill>
                    <a:effectLst/>
                    <a:uLnTx/>
                    <a:uFillTx/>
                    <a:latin typeface="Verdana" panose="020B0604030504040204" pitchFamily="34" charset="0"/>
                    <a:ea typeface="Verdana" panose="020B0604030504040204" pitchFamily="34" charset="0"/>
                    <a:cs typeface="Verdana" panose="020B0604030504040204" pitchFamily="34" charset="0"/>
                  </a:rPr>
                  <a:t>~50%</a:t>
                </a:r>
              </a:p>
            </p:txBody>
          </p:sp>
          <p:sp>
            <p:nvSpPr>
              <p:cNvPr id="54" name="Content Placeholder 2">
                <a:extLst>
                  <a:ext uri="{FF2B5EF4-FFF2-40B4-BE49-F238E27FC236}">
                    <a16:creationId xmlns="" xmlns:a16="http://schemas.microsoft.com/office/drawing/2014/main" id="{B261D051-DD2A-423A-ABAD-7D4C845442DB}"/>
                  </a:ext>
                </a:extLst>
              </p:cNvPr>
              <p:cNvSpPr>
                <a:spLocks/>
              </p:cNvSpPr>
              <p:nvPr/>
            </p:nvSpPr>
            <p:spPr bwMode="auto">
              <a:xfrm>
                <a:off x="1676400" y="4547065"/>
                <a:ext cx="97917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lr>
                    <a:srgbClr val="61A0D7"/>
                  </a:buClr>
                  <a:buFont typeface="Arial" charset="0"/>
                  <a:buChar char="•"/>
                  <a:defRPr sz="3200" b="1">
                    <a:solidFill>
                      <a:srgbClr val="595959"/>
                    </a:solidFill>
                    <a:latin typeface="Calibri" pitchFamily="34" charset="0"/>
                    <a:ea typeface="ＭＳ Ｐゴシック" pitchFamily="34" charset="-128"/>
                    <a:cs typeface="Calibri" pitchFamily="34" charset="0"/>
                  </a:defRPr>
                </a:lvl1pPr>
                <a:lvl2pPr marL="742950" indent="-285750">
                  <a:spcBef>
                    <a:spcPct val="20000"/>
                  </a:spcBef>
                  <a:buClr>
                    <a:srgbClr val="61A0D7"/>
                  </a:buClr>
                  <a:buFont typeface="Arial" charset="0"/>
                  <a:buChar char="–"/>
                  <a:defRPr sz="2800">
                    <a:solidFill>
                      <a:srgbClr val="595959"/>
                    </a:solidFill>
                    <a:latin typeface="Calibri" pitchFamily="34" charset="0"/>
                    <a:ea typeface="ＭＳ Ｐゴシック" pitchFamily="34" charset="-128"/>
                  </a:defRPr>
                </a:lvl2pPr>
                <a:lvl3pPr marL="1143000" indent="-228600">
                  <a:spcBef>
                    <a:spcPct val="20000"/>
                  </a:spcBef>
                  <a:buClr>
                    <a:srgbClr val="61A0D7"/>
                  </a:buClr>
                  <a:buFont typeface="Arial" charset="0"/>
                  <a:buChar char="•"/>
                  <a:defRPr sz="2400">
                    <a:solidFill>
                      <a:srgbClr val="595959"/>
                    </a:solidFill>
                    <a:latin typeface="Calibri" pitchFamily="34" charset="0"/>
                    <a:ea typeface="ＭＳ Ｐゴシック" pitchFamily="34" charset="-128"/>
                  </a:defRPr>
                </a:lvl3pPr>
                <a:lvl4pPr marL="16002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4pPr>
                <a:lvl5pPr marL="20574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9pPr>
              </a:lstStyle>
              <a:p>
                <a:pPr marL="342900" marR="0" lvl="0" indent="-342900" algn="r" defTabSz="457200" rtl="0" eaLnBrk="1" fontAlgn="base" latinLnBrk="0" hangingPunct="1">
                  <a:lnSpc>
                    <a:spcPct val="100000"/>
                  </a:lnSpc>
                  <a:spcBef>
                    <a:spcPct val="20000"/>
                  </a:spcBef>
                  <a:spcAft>
                    <a:spcPct val="0"/>
                  </a:spcAft>
                  <a:buClr>
                    <a:srgbClr val="61A0D7"/>
                  </a:buClr>
                  <a:buSzTx/>
                  <a:buFont typeface="Arial" charset="0"/>
                  <a:buNone/>
                  <a:tabLst/>
                  <a:defRPr/>
                </a:pPr>
                <a:r>
                  <a:rPr kumimoji="0" lang="en-US" altLang="en-US" sz="1600" b="1" i="0" u="none" strike="noStrike" kern="0" cap="none" spc="0" normalizeH="0" baseline="0" noProof="0" dirty="0">
                    <a:ln>
                      <a:noFill/>
                    </a:ln>
                    <a:solidFill>
                      <a:srgbClr val="595959"/>
                    </a:solidFill>
                    <a:effectLst/>
                    <a:uLnTx/>
                    <a:uFillTx/>
                    <a:latin typeface="Verdana" panose="020B0604030504040204" pitchFamily="34" charset="0"/>
                    <a:ea typeface="Verdana" panose="020B0604030504040204" pitchFamily="34" charset="0"/>
                    <a:cs typeface="Verdana" panose="020B0604030504040204" pitchFamily="34" charset="0"/>
                  </a:rPr>
                  <a:t>~75%</a:t>
                </a:r>
              </a:p>
            </p:txBody>
          </p:sp>
          <p:sp>
            <p:nvSpPr>
              <p:cNvPr id="55" name="Content Placeholder 2">
                <a:extLst>
                  <a:ext uri="{FF2B5EF4-FFF2-40B4-BE49-F238E27FC236}">
                    <a16:creationId xmlns="" xmlns:a16="http://schemas.microsoft.com/office/drawing/2014/main" id="{8B77CD59-47F7-4C3B-AE26-AAC780D6A7BA}"/>
                  </a:ext>
                </a:extLst>
              </p:cNvPr>
              <p:cNvSpPr>
                <a:spLocks/>
              </p:cNvSpPr>
              <p:nvPr/>
            </p:nvSpPr>
            <p:spPr bwMode="auto">
              <a:xfrm>
                <a:off x="902865" y="5509343"/>
                <a:ext cx="1068715"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lr>
                    <a:srgbClr val="61A0D7"/>
                  </a:buClr>
                  <a:buFont typeface="Arial" charset="0"/>
                  <a:buChar char="•"/>
                  <a:defRPr sz="3200" b="1">
                    <a:solidFill>
                      <a:srgbClr val="595959"/>
                    </a:solidFill>
                    <a:latin typeface="Calibri" pitchFamily="34" charset="0"/>
                    <a:ea typeface="ＭＳ Ｐゴシック" pitchFamily="34" charset="-128"/>
                    <a:cs typeface="Calibri" pitchFamily="34" charset="0"/>
                  </a:defRPr>
                </a:lvl1pPr>
                <a:lvl2pPr marL="742950" indent="-285750">
                  <a:spcBef>
                    <a:spcPct val="20000"/>
                  </a:spcBef>
                  <a:buClr>
                    <a:srgbClr val="61A0D7"/>
                  </a:buClr>
                  <a:buFont typeface="Arial" charset="0"/>
                  <a:buChar char="–"/>
                  <a:defRPr sz="2800">
                    <a:solidFill>
                      <a:srgbClr val="595959"/>
                    </a:solidFill>
                    <a:latin typeface="Calibri" pitchFamily="34" charset="0"/>
                    <a:ea typeface="ＭＳ Ｐゴシック" pitchFamily="34" charset="-128"/>
                  </a:defRPr>
                </a:lvl2pPr>
                <a:lvl3pPr marL="1143000" indent="-228600">
                  <a:spcBef>
                    <a:spcPct val="20000"/>
                  </a:spcBef>
                  <a:buClr>
                    <a:srgbClr val="61A0D7"/>
                  </a:buClr>
                  <a:buFont typeface="Arial" charset="0"/>
                  <a:buChar char="•"/>
                  <a:defRPr sz="2400">
                    <a:solidFill>
                      <a:srgbClr val="595959"/>
                    </a:solidFill>
                    <a:latin typeface="Calibri" pitchFamily="34" charset="0"/>
                    <a:ea typeface="ＭＳ Ｐゴシック" pitchFamily="34" charset="-128"/>
                  </a:defRPr>
                </a:lvl3pPr>
                <a:lvl4pPr marL="16002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4pPr>
                <a:lvl5pPr marL="20574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9pPr>
              </a:lstStyle>
              <a:p>
                <a:pPr marL="342900" marR="0" lvl="0" indent="-342900" algn="r" defTabSz="457200" rtl="0" eaLnBrk="1" fontAlgn="base" latinLnBrk="0" hangingPunct="1">
                  <a:lnSpc>
                    <a:spcPct val="100000"/>
                  </a:lnSpc>
                  <a:spcBef>
                    <a:spcPct val="20000"/>
                  </a:spcBef>
                  <a:spcAft>
                    <a:spcPct val="0"/>
                  </a:spcAft>
                  <a:buClr>
                    <a:srgbClr val="61A0D7"/>
                  </a:buClr>
                  <a:buSzTx/>
                  <a:buFont typeface="Arial" charset="0"/>
                  <a:buNone/>
                  <a:tabLst/>
                  <a:defRPr/>
                </a:pPr>
                <a:r>
                  <a:rPr kumimoji="0" lang="en-US" altLang="en-US" sz="1600" b="1" i="0" u="none" strike="noStrike" kern="0" cap="none" spc="0" normalizeH="0" baseline="0" noProof="0" dirty="0">
                    <a:ln>
                      <a:noFill/>
                    </a:ln>
                    <a:solidFill>
                      <a:srgbClr val="595959"/>
                    </a:solidFill>
                    <a:effectLst/>
                    <a:uLnTx/>
                    <a:uFillTx/>
                    <a:latin typeface="Verdana" panose="020B0604030504040204" pitchFamily="34" charset="0"/>
                    <a:ea typeface="Verdana" panose="020B0604030504040204" pitchFamily="34" charset="0"/>
                    <a:cs typeface="Verdana" panose="020B0604030504040204" pitchFamily="34" charset="0"/>
                  </a:rPr>
                  <a:t>~90%</a:t>
                </a:r>
              </a:p>
            </p:txBody>
          </p:sp>
        </p:grpSp>
      </p:grpSp>
      <p:grpSp>
        <p:nvGrpSpPr>
          <p:cNvPr id="363" name="Group 362">
            <a:extLst>
              <a:ext uri="{FF2B5EF4-FFF2-40B4-BE49-F238E27FC236}">
                <a16:creationId xmlns="" xmlns:a16="http://schemas.microsoft.com/office/drawing/2014/main" id="{2020B604-14F8-4C7C-8E7B-31997462C245}"/>
              </a:ext>
            </a:extLst>
          </p:cNvPr>
          <p:cNvGrpSpPr/>
          <p:nvPr/>
        </p:nvGrpSpPr>
        <p:grpSpPr>
          <a:xfrm>
            <a:off x="6747530" y="589296"/>
            <a:ext cx="5444470" cy="1010904"/>
            <a:chOff x="6747530" y="1219365"/>
            <a:chExt cx="5444470" cy="1178549"/>
          </a:xfrm>
        </p:grpSpPr>
        <p:sp>
          <p:nvSpPr>
            <p:cNvPr id="56" name="Rectangle 55">
              <a:extLst>
                <a:ext uri="{FF2B5EF4-FFF2-40B4-BE49-F238E27FC236}">
                  <a16:creationId xmlns="" xmlns:a16="http://schemas.microsoft.com/office/drawing/2014/main" id="{6C4CA2B0-9E3A-4908-AD36-37392E414E8B}"/>
                </a:ext>
              </a:extLst>
            </p:cNvPr>
            <p:cNvSpPr/>
            <p:nvPr/>
          </p:nvSpPr>
          <p:spPr>
            <a:xfrm>
              <a:off x="7579492" y="1219365"/>
              <a:ext cx="4612508" cy="1178549"/>
            </a:xfrm>
            <a:prstGeom prst="rect">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 xmlns:a16="http://schemas.microsoft.com/office/drawing/2014/main" id="{208E2AAB-2F83-42FC-B820-F82BACC14820}"/>
                </a:ext>
              </a:extLst>
            </p:cNvPr>
            <p:cNvSpPr/>
            <p:nvPr/>
          </p:nvSpPr>
          <p:spPr>
            <a:xfrm>
              <a:off x="7773780" y="1420709"/>
              <a:ext cx="1787762" cy="720197"/>
            </a:xfrm>
            <a:prstGeom prst="rect">
              <a:avLst/>
            </a:prstGeom>
          </p:spPr>
          <p:txBody>
            <a:bodyPr wrap="square">
              <a:spAutoFit/>
            </a:bodyPr>
            <a:lstStyle/>
            <a:p>
              <a:pPr marL="0" marR="0" lvl="0" indent="0" algn="l" defTabSz="457200" rtl="0" eaLnBrk="1" fontAlgn="base" latinLnBrk="0" hangingPunct="1">
                <a:lnSpc>
                  <a:spcPct val="85000"/>
                </a:lnSpc>
                <a:spcBef>
                  <a:spcPts val="0"/>
                </a:spcBef>
                <a:spcAft>
                  <a:spcPct val="0"/>
                </a:spcAft>
                <a:buClrTx/>
                <a:buSzTx/>
                <a:buFontTx/>
                <a:buNone/>
                <a:tabLst/>
                <a:defRPr/>
              </a:pPr>
              <a:r>
                <a:rPr kumimoji="0" lang="en-US" altLang="en-US" sz="2800" b="1"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Market</a:t>
              </a:r>
              <a:r>
                <a:rPr kumimoji="0" lang="en-US" altLang="en-US" sz="2000" b="0"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Timeline</a:t>
              </a:r>
            </a:p>
          </p:txBody>
        </p:sp>
        <p:pic>
          <p:nvPicPr>
            <p:cNvPr id="37" name="Graphic 36">
              <a:extLst>
                <a:ext uri="{FF2B5EF4-FFF2-40B4-BE49-F238E27FC236}">
                  <a16:creationId xmlns="" xmlns:a16="http://schemas.microsoft.com/office/drawing/2014/main" id="{BEE034E9-39E5-42FE-B114-B99EB2B181A8}"/>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flipH="1">
              <a:off x="6747530" y="1672278"/>
              <a:ext cx="332145" cy="303262"/>
            </a:xfrm>
            <a:prstGeom prst="rect">
              <a:avLst/>
            </a:prstGeom>
          </p:spPr>
        </p:pic>
      </p:grpSp>
      <p:grpSp>
        <p:nvGrpSpPr>
          <p:cNvPr id="60" name="Group 59">
            <a:extLst>
              <a:ext uri="{FF2B5EF4-FFF2-40B4-BE49-F238E27FC236}">
                <a16:creationId xmlns="" xmlns:a16="http://schemas.microsoft.com/office/drawing/2014/main" id="{C22CDAA6-23B5-4A42-A942-B971A5991512}"/>
              </a:ext>
            </a:extLst>
          </p:cNvPr>
          <p:cNvGrpSpPr/>
          <p:nvPr/>
        </p:nvGrpSpPr>
        <p:grpSpPr>
          <a:xfrm flipH="1">
            <a:off x="6056365" y="1013837"/>
            <a:ext cx="4936129" cy="5234563"/>
            <a:chOff x="902865" y="1013837"/>
            <a:chExt cx="4936129" cy="5234563"/>
          </a:xfrm>
        </p:grpSpPr>
        <p:cxnSp>
          <p:nvCxnSpPr>
            <p:cNvPr id="61" name="Straight Connector 60">
              <a:extLst>
                <a:ext uri="{FF2B5EF4-FFF2-40B4-BE49-F238E27FC236}">
                  <a16:creationId xmlns="" xmlns:a16="http://schemas.microsoft.com/office/drawing/2014/main" id="{10F36EA6-1F06-4941-9464-4AC5DA168CDE}"/>
                </a:ext>
              </a:extLst>
            </p:cNvPr>
            <p:cNvCxnSpPr>
              <a:cxnSpLocks/>
            </p:cNvCxnSpPr>
            <p:nvPr/>
          </p:nvCxnSpPr>
          <p:spPr>
            <a:xfrm flipH="1">
              <a:off x="1619498" y="1013837"/>
              <a:ext cx="4219496" cy="5234563"/>
            </a:xfrm>
            <a:prstGeom prst="line">
              <a:avLst/>
            </a:prstGeom>
            <a:ln w="3175">
              <a:solidFill>
                <a:srgbClr val="05589C"/>
              </a:solidFill>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 xmlns:a16="http://schemas.microsoft.com/office/drawing/2014/main" id="{EDAE65D9-EFF5-4243-9D2F-1244D307E87C}"/>
                </a:ext>
              </a:extLst>
            </p:cNvPr>
            <p:cNvGrpSpPr/>
            <p:nvPr/>
          </p:nvGrpSpPr>
          <p:grpSpPr>
            <a:xfrm>
              <a:off x="902865" y="1638979"/>
              <a:ext cx="4401548" cy="4354007"/>
              <a:chOff x="902865" y="1638979"/>
              <a:chExt cx="4401548" cy="4354007"/>
            </a:xfrm>
          </p:grpSpPr>
          <p:cxnSp>
            <p:nvCxnSpPr>
              <p:cNvPr id="63" name="Straight Connector 62">
                <a:extLst>
                  <a:ext uri="{FF2B5EF4-FFF2-40B4-BE49-F238E27FC236}">
                    <a16:creationId xmlns="" xmlns:a16="http://schemas.microsoft.com/office/drawing/2014/main" id="{8FCCDCFE-083D-4BB6-A05D-1A3D0D0F4BAC}"/>
                  </a:ext>
                </a:extLst>
              </p:cNvPr>
              <p:cNvCxnSpPr>
                <a:cxnSpLocks/>
              </p:cNvCxnSpPr>
              <p:nvPr/>
            </p:nvCxnSpPr>
            <p:spPr>
              <a:xfrm flipV="1">
                <a:off x="4973131" y="1653219"/>
                <a:ext cx="331282" cy="415342"/>
              </a:xfrm>
              <a:prstGeom prst="line">
                <a:avLst/>
              </a:prstGeom>
              <a:ln w="57150">
                <a:solidFill>
                  <a:srgbClr val="05589C"/>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 xmlns:a16="http://schemas.microsoft.com/office/drawing/2014/main" id="{389D8E49-06F0-4C12-8D94-C2CE172C3282}"/>
                  </a:ext>
                </a:extLst>
              </p:cNvPr>
              <p:cNvCxnSpPr>
                <a:cxnSpLocks/>
              </p:cNvCxnSpPr>
              <p:nvPr/>
            </p:nvCxnSpPr>
            <p:spPr>
              <a:xfrm flipV="1">
                <a:off x="4131922" y="2700297"/>
                <a:ext cx="331282" cy="415342"/>
              </a:xfrm>
              <a:prstGeom prst="line">
                <a:avLst/>
              </a:prstGeom>
              <a:ln w="57150">
                <a:solidFill>
                  <a:srgbClr val="05589C"/>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 xmlns:a16="http://schemas.microsoft.com/office/drawing/2014/main" id="{8AF637FC-9FA3-47AA-8F7E-A0A5962D7DBE}"/>
                  </a:ext>
                </a:extLst>
              </p:cNvPr>
              <p:cNvCxnSpPr>
                <a:cxnSpLocks/>
              </p:cNvCxnSpPr>
              <p:nvPr/>
            </p:nvCxnSpPr>
            <p:spPr>
              <a:xfrm flipV="1">
                <a:off x="3326318" y="3680460"/>
                <a:ext cx="331282" cy="415342"/>
              </a:xfrm>
              <a:prstGeom prst="line">
                <a:avLst/>
              </a:prstGeom>
              <a:ln w="57150">
                <a:solidFill>
                  <a:srgbClr val="05589C"/>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 xmlns:a16="http://schemas.microsoft.com/office/drawing/2014/main" id="{F128684B-F82D-48DC-A875-AEF3581F317C}"/>
                  </a:ext>
                </a:extLst>
              </p:cNvPr>
              <p:cNvCxnSpPr>
                <a:cxnSpLocks/>
              </p:cNvCxnSpPr>
              <p:nvPr/>
            </p:nvCxnSpPr>
            <p:spPr>
              <a:xfrm flipV="1">
                <a:off x="2583180" y="4610100"/>
                <a:ext cx="331282" cy="415342"/>
              </a:xfrm>
              <a:prstGeom prst="line">
                <a:avLst/>
              </a:prstGeom>
              <a:ln w="57150">
                <a:solidFill>
                  <a:srgbClr val="05589C"/>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 xmlns:a16="http://schemas.microsoft.com/office/drawing/2014/main" id="{BFE8E373-F861-44AA-BEDA-E48F90D1D5D1}"/>
                  </a:ext>
                </a:extLst>
              </p:cNvPr>
              <p:cNvCxnSpPr>
                <a:cxnSpLocks/>
              </p:cNvCxnSpPr>
              <p:nvPr/>
            </p:nvCxnSpPr>
            <p:spPr>
              <a:xfrm flipV="1">
                <a:off x="1805940" y="5577644"/>
                <a:ext cx="331282" cy="415342"/>
              </a:xfrm>
              <a:prstGeom prst="line">
                <a:avLst/>
              </a:prstGeom>
              <a:ln w="57150">
                <a:solidFill>
                  <a:srgbClr val="05589C"/>
                </a:solidFill>
              </a:ln>
            </p:spPr>
            <p:style>
              <a:lnRef idx="1">
                <a:schemeClr val="accent1"/>
              </a:lnRef>
              <a:fillRef idx="0">
                <a:schemeClr val="accent1"/>
              </a:fillRef>
              <a:effectRef idx="0">
                <a:schemeClr val="accent1"/>
              </a:effectRef>
              <a:fontRef idx="minor">
                <a:schemeClr val="tx1"/>
              </a:fontRef>
            </p:style>
          </p:cxnSp>
          <p:sp>
            <p:nvSpPr>
              <p:cNvPr id="68" name="Content Placeholder 2">
                <a:extLst>
                  <a:ext uri="{FF2B5EF4-FFF2-40B4-BE49-F238E27FC236}">
                    <a16:creationId xmlns="" xmlns:a16="http://schemas.microsoft.com/office/drawing/2014/main" id="{5D7DF955-403F-40B7-99C4-F4AE4C8B3077}"/>
                  </a:ext>
                </a:extLst>
              </p:cNvPr>
              <p:cNvSpPr>
                <a:spLocks/>
              </p:cNvSpPr>
              <p:nvPr/>
            </p:nvSpPr>
            <p:spPr bwMode="auto">
              <a:xfrm>
                <a:off x="4027848" y="1638979"/>
                <a:ext cx="997856"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lr>
                    <a:srgbClr val="61A0D7"/>
                  </a:buClr>
                  <a:buFont typeface="Arial" charset="0"/>
                  <a:buChar char="•"/>
                  <a:defRPr sz="3200" b="1">
                    <a:solidFill>
                      <a:srgbClr val="595959"/>
                    </a:solidFill>
                    <a:latin typeface="Calibri" pitchFamily="34" charset="0"/>
                    <a:ea typeface="ＭＳ Ｐゴシック" pitchFamily="34" charset="-128"/>
                    <a:cs typeface="Calibri" pitchFamily="34" charset="0"/>
                  </a:defRPr>
                </a:lvl1pPr>
                <a:lvl2pPr marL="742950" indent="-285750">
                  <a:spcBef>
                    <a:spcPct val="20000"/>
                  </a:spcBef>
                  <a:buClr>
                    <a:srgbClr val="61A0D7"/>
                  </a:buClr>
                  <a:buFont typeface="Arial" charset="0"/>
                  <a:buChar char="–"/>
                  <a:defRPr sz="2800">
                    <a:solidFill>
                      <a:srgbClr val="595959"/>
                    </a:solidFill>
                    <a:latin typeface="Calibri" pitchFamily="34" charset="0"/>
                    <a:ea typeface="ＭＳ Ｐゴシック" pitchFamily="34" charset="-128"/>
                  </a:defRPr>
                </a:lvl2pPr>
                <a:lvl3pPr marL="1143000" indent="-228600">
                  <a:spcBef>
                    <a:spcPct val="20000"/>
                  </a:spcBef>
                  <a:buClr>
                    <a:srgbClr val="61A0D7"/>
                  </a:buClr>
                  <a:buFont typeface="Arial" charset="0"/>
                  <a:buChar char="•"/>
                  <a:defRPr sz="2400">
                    <a:solidFill>
                      <a:srgbClr val="595959"/>
                    </a:solidFill>
                    <a:latin typeface="Calibri" pitchFamily="34" charset="0"/>
                    <a:ea typeface="ＭＳ Ｐゴシック" pitchFamily="34" charset="-128"/>
                  </a:defRPr>
                </a:lvl3pPr>
                <a:lvl4pPr marL="16002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4pPr>
                <a:lvl5pPr marL="20574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9pPr>
              </a:lstStyle>
              <a:p>
                <a:pPr marL="342900" marR="0" lvl="0" indent="-342900" algn="r" defTabSz="457200" rtl="0" eaLnBrk="1" fontAlgn="base" latinLnBrk="0" hangingPunct="1">
                  <a:lnSpc>
                    <a:spcPct val="100000"/>
                  </a:lnSpc>
                  <a:spcBef>
                    <a:spcPct val="20000"/>
                  </a:spcBef>
                  <a:spcAft>
                    <a:spcPct val="0"/>
                  </a:spcAft>
                  <a:buClr>
                    <a:srgbClr val="61A0D7"/>
                  </a:buClr>
                  <a:buSzTx/>
                  <a:buFont typeface="Arial" charset="0"/>
                  <a:buNone/>
                  <a:tabLst/>
                  <a:defRPr/>
                </a:pPr>
                <a:r>
                  <a:rPr kumimoji="0" lang="en-US" altLang="en-US" sz="1600" b="1" i="0" u="none" strike="noStrike" kern="0" cap="none" spc="0" normalizeH="0" baseline="0" noProof="0" dirty="0">
                    <a:ln>
                      <a:noFill/>
                    </a:ln>
                    <a:solidFill>
                      <a:srgbClr val="595959"/>
                    </a:solidFill>
                    <a:effectLst/>
                    <a:uLnTx/>
                    <a:uFillTx/>
                    <a:latin typeface="Verdana" panose="020B0604030504040204" pitchFamily="34" charset="0"/>
                    <a:ea typeface="Verdana" panose="020B0604030504040204" pitchFamily="34" charset="0"/>
                    <a:cs typeface="Verdana" panose="020B0604030504040204" pitchFamily="34" charset="0"/>
                  </a:rPr>
                  <a:t>Pre-BD</a:t>
                </a:r>
              </a:p>
            </p:txBody>
          </p:sp>
          <p:sp>
            <p:nvSpPr>
              <p:cNvPr id="69" name="Content Placeholder 2">
                <a:extLst>
                  <a:ext uri="{FF2B5EF4-FFF2-40B4-BE49-F238E27FC236}">
                    <a16:creationId xmlns="" xmlns:a16="http://schemas.microsoft.com/office/drawing/2014/main" id="{772A9916-EB0C-4E67-B98B-C2A08DDC6FA0}"/>
                  </a:ext>
                </a:extLst>
              </p:cNvPr>
              <p:cNvSpPr>
                <a:spLocks/>
              </p:cNvSpPr>
              <p:nvPr/>
            </p:nvSpPr>
            <p:spPr bwMode="auto">
              <a:xfrm>
                <a:off x="3213400" y="2655924"/>
                <a:ext cx="952807"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lr>
                    <a:srgbClr val="61A0D7"/>
                  </a:buClr>
                  <a:buFont typeface="Arial" charset="0"/>
                  <a:buChar char="•"/>
                  <a:defRPr sz="3200" b="1">
                    <a:solidFill>
                      <a:srgbClr val="595959"/>
                    </a:solidFill>
                    <a:latin typeface="Calibri" pitchFamily="34" charset="0"/>
                    <a:ea typeface="ＭＳ Ｐゴシック" pitchFamily="34" charset="-128"/>
                    <a:cs typeface="Calibri" pitchFamily="34" charset="0"/>
                  </a:defRPr>
                </a:lvl1pPr>
                <a:lvl2pPr marL="742950" indent="-285750">
                  <a:spcBef>
                    <a:spcPct val="20000"/>
                  </a:spcBef>
                  <a:buClr>
                    <a:srgbClr val="61A0D7"/>
                  </a:buClr>
                  <a:buFont typeface="Arial" charset="0"/>
                  <a:buChar char="–"/>
                  <a:defRPr sz="2800">
                    <a:solidFill>
                      <a:srgbClr val="595959"/>
                    </a:solidFill>
                    <a:latin typeface="Calibri" pitchFamily="34" charset="0"/>
                    <a:ea typeface="ＭＳ Ｐゴシック" pitchFamily="34" charset="-128"/>
                  </a:defRPr>
                </a:lvl2pPr>
                <a:lvl3pPr marL="1143000" indent="-228600">
                  <a:spcBef>
                    <a:spcPct val="20000"/>
                  </a:spcBef>
                  <a:buClr>
                    <a:srgbClr val="61A0D7"/>
                  </a:buClr>
                  <a:buFont typeface="Arial" charset="0"/>
                  <a:buChar char="•"/>
                  <a:defRPr sz="2400">
                    <a:solidFill>
                      <a:srgbClr val="595959"/>
                    </a:solidFill>
                    <a:latin typeface="Calibri" pitchFamily="34" charset="0"/>
                    <a:ea typeface="ＭＳ Ｐゴシック" pitchFamily="34" charset="-128"/>
                  </a:defRPr>
                </a:lvl3pPr>
                <a:lvl4pPr marL="16002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4pPr>
                <a:lvl5pPr marL="20574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9pPr>
              </a:lstStyle>
              <a:p>
                <a:pPr marL="342900" marR="0" lvl="0" indent="-342900" algn="l" defTabSz="457200" rtl="0" eaLnBrk="1" fontAlgn="base" latinLnBrk="0" hangingPunct="1">
                  <a:lnSpc>
                    <a:spcPct val="100000"/>
                  </a:lnSpc>
                  <a:spcBef>
                    <a:spcPct val="20000"/>
                  </a:spcBef>
                  <a:spcAft>
                    <a:spcPct val="0"/>
                  </a:spcAft>
                  <a:buClr>
                    <a:srgbClr val="61A0D7"/>
                  </a:buClr>
                  <a:buSzTx/>
                  <a:buFont typeface="Arial" charset="0"/>
                  <a:buNone/>
                  <a:tabLst/>
                  <a:defRPr/>
                </a:pPr>
                <a:r>
                  <a:rPr kumimoji="0" lang="en-US" altLang="en-US" sz="1600" b="1" i="0" u="none" strike="noStrike" kern="0" cap="none" spc="0" normalizeH="0" baseline="0" noProof="0" dirty="0">
                    <a:ln>
                      <a:noFill/>
                    </a:ln>
                    <a:solidFill>
                      <a:srgbClr val="595959"/>
                    </a:solidFill>
                    <a:effectLst/>
                    <a:uLnTx/>
                    <a:uFillTx/>
                    <a:latin typeface="Verdana" panose="020B0604030504040204" pitchFamily="34" charset="0"/>
                    <a:ea typeface="Verdana" panose="020B0604030504040204" pitchFamily="34" charset="0"/>
                    <a:cs typeface="Verdana" panose="020B0604030504040204" pitchFamily="34" charset="0"/>
                  </a:rPr>
                  <a:t>1999</a:t>
                </a:r>
              </a:p>
            </p:txBody>
          </p:sp>
          <p:sp>
            <p:nvSpPr>
              <p:cNvPr id="70" name="Content Placeholder 2">
                <a:extLst>
                  <a:ext uri="{FF2B5EF4-FFF2-40B4-BE49-F238E27FC236}">
                    <a16:creationId xmlns="" xmlns:a16="http://schemas.microsoft.com/office/drawing/2014/main" id="{478CF6E2-4FBF-4735-907D-D194091D942F}"/>
                  </a:ext>
                </a:extLst>
              </p:cNvPr>
              <p:cNvSpPr>
                <a:spLocks/>
              </p:cNvSpPr>
              <p:nvPr/>
            </p:nvSpPr>
            <p:spPr bwMode="auto">
              <a:xfrm>
                <a:off x="2480844" y="3611261"/>
                <a:ext cx="917772"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lr>
                    <a:srgbClr val="61A0D7"/>
                  </a:buClr>
                  <a:buFont typeface="Arial" charset="0"/>
                  <a:buChar char="•"/>
                  <a:defRPr sz="3200" b="1">
                    <a:solidFill>
                      <a:srgbClr val="595959"/>
                    </a:solidFill>
                    <a:latin typeface="Calibri" pitchFamily="34" charset="0"/>
                    <a:ea typeface="ＭＳ Ｐゴシック" pitchFamily="34" charset="-128"/>
                    <a:cs typeface="Calibri" pitchFamily="34" charset="0"/>
                  </a:defRPr>
                </a:lvl1pPr>
                <a:lvl2pPr marL="742950" indent="-285750">
                  <a:spcBef>
                    <a:spcPct val="20000"/>
                  </a:spcBef>
                  <a:buClr>
                    <a:srgbClr val="61A0D7"/>
                  </a:buClr>
                  <a:buFont typeface="Arial" charset="0"/>
                  <a:buChar char="–"/>
                  <a:defRPr sz="2800">
                    <a:solidFill>
                      <a:srgbClr val="595959"/>
                    </a:solidFill>
                    <a:latin typeface="Calibri" pitchFamily="34" charset="0"/>
                    <a:ea typeface="ＭＳ Ｐゴシック" pitchFamily="34" charset="-128"/>
                  </a:defRPr>
                </a:lvl2pPr>
                <a:lvl3pPr marL="1143000" indent="-228600">
                  <a:spcBef>
                    <a:spcPct val="20000"/>
                  </a:spcBef>
                  <a:buClr>
                    <a:srgbClr val="61A0D7"/>
                  </a:buClr>
                  <a:buFont typeface="Arial" charset="0"/>
                  <a:buChar char="•"/>
                  <a:defRPr sz="2400">
                    <a:solidFill>
                      <a:srgbClr val="595959"/>
                    </a:solidFill>
                    <a:latin typeface="Calibri" pitchFamily="34" charset="0"/>
                    <a:ea typeface="ＭＳ Ｐゴシック" pitchFamily="34" charset="-128"/>
                  </a:defRPr>
                </a:lvl3pPr>
                <a:lvl4pPr marL="16002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4pPr>
                <a:lvl5pPr marL="20574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9pPr>
              </a:lstStyle>
              <a:p>
                <a:pPr marL="342900" marR="0" lvl="0" indent="-342900" algn="l" defTabSz="457200" rtl="0" eaLnBrk="1" fontAlgn="base" latinLnBrk="0" hangingPunct="1">
                  <a:lnSpc>
                    <a:spcPct val="100000"/>
                  </a:lnSpc>
                  <a:spcBef>
                    <a:spcPct val="20000"/>
                  </a:spcBef>
                  <a:spcAft>
                    <a:spcPct val="0"/>
                  </a:spcAft>
                  <a:buClr>
                    <a:srgbClr val="61A0D7"/>
                  </a:buClr>
                  <a:buSzTx/>
                  <a:buFont typeface="Arial" charset="0"/>
                  <a:buNone/>
                  <a:tabLst/>
                  <a:defRPr/>
                </a:pPr>
                <a:r>
                  <a:rPr kumimoji="0" lang="en-US" altLang="en-US" sz="1600" b="1" i="0" u="none" strike="noStrike" kern="0" cap="none" spc="0" normalizeH="0" baseline="0" noProof="0" dirty="0">
                    <a:ln>
                      <a:noFill/>
                    </a:ln>
                    <a:solidFill>
                      <a:srgbClr val="595959"/>
                    </a:solidFill>
                    <a:effectLst/>
                    <a:uLnTx/>
                    <a:uFillTx/>
                    <a:latin typeface="Verdana" panose="020B0604030504040204" pitchFamily="34" charset="0"/>
                    <a:ea typeface="Verdana" panose="020B0604030504040204" pitchFamily="34" charset="0"/>
                    <a:cs typeface="Verdana" panose="020B0604030504040204" pitchFamily="34" charset="0"/>
                  </a:rPr>
                  <a:t>2005</a:t>
                </a:r>
              </a:p>
            </p:txBody>
          </p:sp>
          <p:sp>
            <p:nvSpPr>
              <p:cNvPr id="71" name="Content Placeholder 2">
                <a:extLst>
                  <a:ext uri="{FF2B5EF4-FFF2-40B4-BE49-F238E27FC236}">
                    <a16:creationId xmlns="" xmlns:a16="http://schemas.microsoft.com/office/drawing/2014/main" id="{860AC9A0-D166-4F6E-9785-E854476453F7}"/>
                  </a:ext>
                </a:extLst>
              </p:cNvPr>
              <p:cNvSpPr>
                <a:spLocks/>
              </p:cNvSpPr>
              <p:nvPr/>
            </p:nvSpPr>
            <p:spPr bwMode="auto">
              <a:xfrm>
                <a:off x="1676400" y="4547065"/>
                <a:ext cx="97917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lr>
                    <a:srgbClr val="61A0D7"/>
                  </a:buClr>
                  <a:buFont typeface="Arial" charset="0"/>
                  <a:buChar char="•"/>
                  <a:defRPr sz="3200" b="1">
                    <a:solidFill>
                      <a:srgbClr val="595959"/>
                    </a:solidFill>
                    <a:latin typeface="Calibri" pitchFamily="34" charset="0"/>
                    <a:ea typeface="ＭＳ Ｐゴシック" pitchFamily="34" charset="-128"/>
                    <a:cs typeface="Calibri" pitchFamily="34" charset="0"/>
                  </a:defRPr>
                </a:lvl1pPr>
                <a:lvl2pPr marL="742950" indent="-285750">
                  <a:spcBef>
                    <a:spcPct val="20000"/>
                  </a:spcBef>
                  <a:buClr>
                    <a:srgbClr val="61A0D7"/>
                  </a:buClr>
                  <a:buFont typeface="Arial" charset="0"/>
                  <a:buChar char="–"/>
                  <a:defRPr sz="2800">
                    <a:solidFill>
                      <a:srgbClr val="595959"/>
                    </a:solidFill>
                    <a:latin typeface="Calibri" pitchFamily="34" charset="0"/>
                    <a:ea typeface="ＭＳ Ｐゴシック" pitchFamily="34" charset="-128"/>
                  </a:defRPr>
                </a:lvl2pPr>
                <a:lvl3pPr marL="1143000" indent="-228600">
                  <a:spcBef>
                    <a:spcPct val="20000"/>
                  </a:spcBef>
                  <a:buClr>
                    <a:srgbClr val="61A0D7"/>
                  </a:buClr>
                  <a:buFont typeface="Arial" charset="0"/>
                  <a:buChar char="•"/>
                  <a:defRPr sz="2400">
                    <a:solidFill>
                      <a:srgbClr val="595959"/>
                    </a:solidFill>
                    <a:latin typeface="Calibri" pitchFamily="34" charset="0"/>
                    <a:ea typeface="ＭＳ Ｐゴシック" pitchFamily="34" charset="-128"/>
                  </a:defRPr>
                </a:lvl3pPr>
                <a:lvl4pPr marL="16002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4pPr>
                <a:lvl5pPr marL="20574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9pPr>
              </a:lstStyle>
              <a:p>
                <a:pPr marL="342900" marR="0" lvl="0" indent="-342900" algn="l" defTabSz="457200" rtl="0" eaLnBrk="1" fontAlgn="base" latinLnBrk="0" hangingPunct="1">
                  <a:lnSpc>
                    <a:spcPct val="100000"/>
                  </a:lnSpc>
                  <a:spcBef>
                    <a:spcPct val="20000"/>
                  </a:spcBef>
                  <a:spcAft>
                    <a:spcPct val="0"/>
                  </a:spcAft>
                  <a:buClr>
                    <a:srgbClr val="61A0D7"/>
                  </a:buClr>
                  <a:buSzTx/>
                  <a:buFont typeface="Arial" charset="0"/>
                  <a:buNone/>
                  <a:tabLst/>
                  <a:defRPr/>
                </a:pPr>
                <a:r>
                  <a:rPr kumimoji="0" lang="en-US" altLang="en-US" sz="1600" b="1" i="0" u="none" strike="noStrike" kern="0" cap="none" spc="0" normalizeH="0" baseline="0" noProof="0" dirty="0">
                    <a:ln>
                      <a:noFill/>
                    </a:ln>
                    <a:solidFill>
                      <a:srgbClr val="595959"/>
                    </a:solidFill>
                    <a:effectLst/>
                    <a:uLnTx/>
                    <a:uFillTx/>
                    <a:latin typeface="Verdana" panose="020B0604030504040204" pitchFamily="34" charset="0"/>
                    <a:ea typeface="Verdana" panose="020B0604030504040204" pitchFamily="34" charset="0"/>
                    <a:cs typeface="Verdana" panose="020B0604030504040204" pitchFamily="34" charset="0"/>
                  </a:rPr>
                  <a:t>2007</a:t>
                </a:r>
              </a:p>
            </p:txBody>
          </p:sp>
          <p:sp>
            <p:nvSpPr>
              <p:cNvPr id="72" name="Content Placeholder 2">
                <a:extLst>
                  <a:ext uri="{FF2B5EF4-FFF2-40B4-BE49-F238E27FC236}">
                    <a16:creationId xmlns="" xmlns:a16="http://schemas.microsoft.com/office/drawing/2014/main" id="{C6672A18-5A95-4EBD-918B-A23E933697D5}"/>
                  </a:ext>
                </a:extLst>
              </p:cNvPr>
              <p:cNvSpPr>
                <a:spLocks/>
              </p:cNvSpPr>
              <p:nvPr/>
            </p:nvSpPr>
            <p:spPr bwMode="auto">
              <a:xfrm>
                <a:off x="902865" y="5509343"/>
                <a:ext cx="1068715"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lr>
                    <a:srgbClr val="61A0D7"/>
                  </a:buClr>
                  <a:buFont typeface="Arial" charset="0"/>
                  <a:buChar char="•"/>
                  <a:defRPr sz="3200" b="1">
                    <a:solidFill>
                      <a:srgbClr val="595959"/>
                    </a:solidFill>
                    <a:latin typeface="Calibri" pitchFamily="34" charset="0"/>
                    <a:ea typeface="ＭＳ Ｐゴシック" pitchFamily="34" charset="-128"/>
                    <a:cs typeface="Calibri" pitchFamily="34" charset="0"/>
                  </a:defRPr>
                </a:lvl1pPr>
                <a:lvl2pPr marL="742950" indent="-285750">
                  <a:spcBef>
                    <a:spcPct val="20000"/>
                  </a:spcBef>
                  <a:buClr>
                    <a:srgbClr val="61A0D7"/>
                  </a:buClr>
                  <a:buFont typeface="Arial" charset="0"/>
                  <a:buChar char="–"/>
                  <a:defRPr sz="2800">
                    <a:solidFill>
                      <a:srgbClr val="595959"/>
                    </a:solidFill>
                    <a:latin typeface="Calibri" pitchFamily="34" charset="0"/>
                    <a:ea typeface="ＭＳ Ｐゴシック" pitchFamily="34" charset="-128"/>
                  </a:defRPr>
                </a:lvl2pPr>
                <a:lvl3pPr marL="1143000" indent="-228600">
                  <a:spcBef>
                    <a:spcPct val="20000"/>
                  </a:spcBef>
                  <a:buClr>
                    <a:srgbClr val="61A0D7"/>
                  </a:buClr>
                  <a:buFont typeface="Arial" charset="0"/>
                  <a:buChar char="•"/>
                  <a:defRPr sz="2400">
                    <a:solidFill>
                      <a:srgbClr val="595959"/>
                    </a:solidFill>
                    <a:latin typeface="Calibri" pitchFamily="34" charset="0"/>
                    <a:ea typeface="ＭＳ Ｐゴシック" pitchFamily="34" charset="-128"/>
                  </a:defRPr>
                </a:lvl3pPr>
                <a:lvl4pPr marL="16002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4pPr>
                <a:lvl5pPr marL="20574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9pPr>
              </a:lstStyle>
              <a:p>
                <a:pPr marL="342900" marR="0" lvl="0" indent="-342900" algn="l" defTabSz="457200" rtl="0" eaLnBrk="1" fontAlgn="base" latinLnBrk="0" hangingPunct="1">
                  <a:lnSpc>
                    <a:spcPct val="100000"/>
                  </a:lnSpc>
                  <a:spcBef>
                    <a:spcPct val="20000"/>
                  </a:spcBef>
                  <a:spcAft>
                    <a:spcPct val="0"/>
                  </a:spcAft>
                  <a:buClr>
                    <a:srgbClr val="61A0D7"/>
                  </a:buClr>
                  <a:buSzTx/>
                  <a:buFont typeface="Arial" charset="0"/>
                  <a:buNone/>
                  <a:tabLst/>
                  <a:defRPr/>
                </a:pPr>
                <a:r>
                  <a:rPr kumimoji="0" lang="en-US" altLang="en-US" sz="1600" b="1" i="0" u="none" strike="noStrike" kern="0" cap="none" spc="0" normalizeH="0" baseline="0" noProof="0" dirty="0">
                    <a:ln>
                      <a:noFill/>
                    </a:ln>
                    <a:solidFill>
                      <a:srgbClr val="595959"/>
                    </a:solidFill>
                    <a:effectLst/>
                    <a:uLnTx/>
                    <a:uFillTx/>
                    <a:latin typeface="Verdana" panose="020B0604030504040204" pitchFamily="34" charset="0"/>
                    <a:ea typeface="Verdana" panose="020B0604030504040204" pitchFamily="34" charset="0"/>
                    <a:cs typeface="Verdana" panose="020B0604030504040204" pitchFamily="34" charset="0"/>
                  </a:rPr>
                  <a:t>2017</a:t>
                </a:r>
              </a:p>
            </p:txBody>
          </p:sp>
        </p:grpSp>
      </p:grpSp>
      <p:grpSp>
        <p:nvGrpSpPr>
          <p:cNvPr id="291" name="Group 290">
            <a:extLst>
              <a:ext uri="{FF2B5EF4-FFF2-40B4-BE49-F238E27FC236}">
                <a16:creationId xmlns="" xmlns:a16="http://schemas.microsoft.com/office/drawing/2014/main" id="{F6933359-C5BA-4090-BD5F-757A221E8DEF}"/>
              </a:ext>
            </a:extLst>
          </p:cNvPr>
          <p:cNvGrpSpPr/>
          <p:nvPr/>
        </p:nvGrpSpPr>
        <p:grpSpPr>
          <a:xfrm>
            <a:off x="374193" y="6324600"/>
            <a:ext cx="3725528" cy="266196"/>
            <a:chOff x="374193" y="6394060"/>
            <a:chExt cx="3725528" cy="266196"/>
          </a:xfrm>
        </p:grpSpPr>
        <p:sp>
          <p:nvSpPr>
            <p:cNvPr id="83" name="TextBox 82">
              <a:extLst>
                <a:ext uri="{FF2B5EF4-FFF2-40B4-BE49-F238E27FC236}">
                  <a16:creationId xmlns="" xmlns:a16="http://schemas.microsoft.com/office/drawing/2014/main" id="{EFA8AC6E-613F-4CFC-B77F-7E945148ECDC}"/>
                </a:ext>
              </a:extLst>
            </p:cNvPr>
            <p:cNvSpPr txBox="1"/>
            <p:nvPr/>
          </p:nvSpPr>
          <p:spPr>
            <a:xfrm>
              <a:off x="1694100" y="6429313"/>
              <a:ext cx="2405621" cy="230943"/>
            </a:xfrm>
            <a:prstGeom prst="rect">
              <a:avLst/>
            </a:prstGeom>
            <a:noFill/>
          </p:spPr>
          <p:txBody>
            <a:bodyPr wrap="square" lIns="73262" tIns="36631" rIns="73262" bIns="36631"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pt-PT"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Extinct by recall or disruption</a:t>
              </a:r>
            </a:p>
          </p:txBody>
        </p:sp>
        <p:sp>
          <p:nvSpPr>
            <p:cNvPr id="84" name="TextBox 83">
              <a:extLst>
                <a:ext uri="{FF2B5EF4-FFF2-40B4-BE49-F238E27FC236}">
                  <a16:creationId xmlns="" xmlns:a16="http://schemas.microsoft.com/office/drawing/2014/main" id="{0CC504FC-FF7A-4A12-865B-30D684083C19}"/>
                </a:ext>
              </a:extLst>
            </p:cNvPr>
            <p:cNvSpPr txBox="1"/>
            <p:nvPr/>
          </p:nvSpPr>
          <p:spPr>
            <a:xfrm>
              <a:off x="644021" y="6429313"/>
              <a:ext cx="750998" cy="230943"/>
            </a:xfrm>
            <a:prstGeom prst="rect">
              <a:avLst/>
            </a:prstGeom>
            <a:noFill/>
          </p:spPr>
          <p:txBody>
            <a:bodyPr wrap="square" lIns="73262" tIns="36631" rIns="73262" bIns="36631"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Recalls</a:t>
              </a:r>
            </a:p>
          </p:txBody>
        </p:sp>
        <p:grpSp>
          <p:nvGrpSpPr>
            <p:cNvPr id="93" name="Group 92">
              <a:extLst>
                <a:ext uri="{FF2B5EF4-FFF2-40B4-BE49-F238E27FC236}">
                  <a16:creationId xmlns="" xmlns:a16="http://schemas.microsoft.com/office/drawing/2014/main" id="{36D7EF0D-5485-40C4-A948-CEB4A6D18777}"/>
                </a:ext>
              </a:extLst>
            </p:cNvPr>
            <p:cNvGrpSpPr/>
            <p:nvPr/>
          </p:nvGrpSpPr>
          <p:grpSpPr>
            <a:xfrm>
              <a:off x="1434741" y="6394060"/>
              <a:ext cx="259359" cy="259359"/>
              <a:chOff x="2136720" y="6352773"/>
              <a:chExt cx="259359" cy="259359"/>
            </a:xfrm>
          </p:grpSpPr>
          <p:sp>
            <p:nvSpPr>
              <p:cNvPr id="85" name="Oval 84">
                <a:extLst>
                  <a:ext uri="{FF2B5EF4-FFF2-40B4-BE49-F238E27FC236}">
                    <a16:creationId xmlns="" xmlns:a16="http://schemas.microsoft.com/office/drawing/2014/main" id="{823C1730-0FDF-4C73-8EE8-ACD75F58AE60}"/>
                  </a:ext>
                </a:extLst>
              </p:cNvPr>
              <p:cNvSpPr/>
              <p:nvPr/>
            </p:nvSpPr>
            <p:spPr>
              <a:xfrm>
                <a:off x="2136720" y="6352773"/>
                <a:ext cx="259359" cy="259359"/>
              </a:xfrm>
              <a:prstGeom prst="ellips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Freeform 11">
                <a:extLst>
                  <a:ext uri="{FF2B5EF4-FFF2-40B4-BE49-F238E27FC236}">
                    <a16:creationId xmlns="" xmlns:a16="http://schemas.microsoft.com/office/drawing/2014/main" id="{453E2690-B0DF-492E-A76F-47C03F8CE24F}"/>
                  </a:ext>
                </a:extLst>
              </p:cNvPr>
              <p:cNvSpPr>
                <a:spLocks noEditPoints="1"/>
              </p:cNvSpPr>
              <p:nvPr/>
            </p:nvSpPr>
            <p:spPr bwMode="auto">
              <a:xfrm>
                <a:off x="2191841" y="6413706"/>
                <a:ext cx="141548" cy="129066"/>
              </a:xfrm>
              <a:custGeom>
                <a:avLst/>
                <a:gdLst>
                  <a:gd name="T0" fmla="*/ 1768 w 2150"/>
                  <a:gd name="T1" fmla="*/ 287 h 1959"/>
                  <a:gd name="T2" fmla="*/ 1075 w 2150"/>
                  <a:gd name="T3" fmla="*/ 0 h 1959"/>
                  <a:gd name="T4" fmla="*/ 383 w 2150"/>
                  <a:gd name="T5" fmla="*/ 287 h 1959"/>
                  <a:gd name="T6" fmla="*/ 383 w 2150"/>
                  <a:gd name="T7" fmla="*/ 1672 h 1959"/>
                  <a:gd name="T8" fmla="*/ 1075 w 2150"/>
                  <a:gd name="T9" fmla="*/ 1959 h 1959"/>
                  <a:gd name="T10" fmla="*/ 1768 w 2150"/>
                  <a:gd name="T11" fmla="*/ 1672 h 1959"/>
                  <a:gd name="T12" fmla="*/ 1768 w 2150"/>
                  <a:gd name="T13" fmla="*/ 287 h 1959"/>
                  <a:gd name="T14" fmla="*/ 1701 w 2150"/>
                  <a:gd name="T15" fmla="*/ 1605 h 1959"/>
                  <a:gd name="T16" fmla="*/ 1075 w 2150"/>
                  <a:gd name="T17" fmla="*/ 1864 h 1959"/>
                  <a:gd name="T18" fmla="*/ 449 w 2150"/>
                  <a:gd name="T19" fmla="*/ 1605 h 1959"/>
                  <a:gd name="T20" fmla="*/ 190 w 2150"/>
                  <a:gd name="T21" fmla="*/ 979 h 1959"/>
                  <a:gd name="T22" fmla="*/ 449 w 2150"/>
                  <a:gd name="T23" fmla="*/ 354 h 1959"/>
                  <a:gd name="T24" fmla="*/ 1075 w 2150"/>
                  <a:gd name="T25" fmla="*/ 95 h 1959"/>
                  <a:gd name="T26" fmla="*/ 1701 w 2150"/>
                  <a:gd name="T27" fmla="*/ 354 h 1959"/>
                  <a:gd name="T28" fmla="*/ 1960 w 2150"/>
                  <a:gd name="T29" fmla="*/ 979 h 1959"/>
                  <a:gd name="T30" fmla="*/ 1701 w 2150"/>
                  <a:gd name="T31" fmla="*/ 1605 h 1959"/>
                  <a:gd name="T32" fmla="*/ 1373 w 2150"/>
                  <a:gd name="T33" fmla="*/ 751 h 1959"/>
                  <a:gd name="T34" fmla="*/ 1134 w 2150"/>
                  <a:gd name="T35" fmla="*/ 990 h 1959"/>
                  <a:gd name="T36" fmla="*/ 1373 w 2150"/>
                  <a:gd name="T37" fmla="*/ 1228 h 1959"/>
                  <a:gd name="T38" fmla="*/ 1373 w 2150"/>
                  <a:gd name="T39" fmla="*/ 1295 h 1959"/>
                  <a:gd name="T40" fmla="*/ 1339 w 2150"/>
                  <a:gd name="T41" fmla="*/ 1308 h 1959"/>
                  <a:gd name="T42" fmla="*/ 1306 w 2150"/>
                  <a:gd name="T43" fmla="*/ 1295 h 1959"/>
                  <a:gd name="T44" fmla="*/ 1068 w 2150"/>
                  <a:gd name="T45" fmla="*/ 1056 h 1959"/>
                  <a:gd name="T46" fmla="*/ 829 w 2150"/>
                  <a:gd name="T47" fmla="*/ 1295 h 1959"/>
                  <a:gd name="T48" fmla="*/ 796 w 2150"/>
                  <a:gd name="T49" fmla="*/ 1308 h 1959"/>
                  <a:gd name="T50" fmla="*/ 762 w 2150"/>
                  <a:gd name="T51" fmla="*/ 1295 h 1959"/>
                  <a:gd name="T52" fmla="*/ 762 w 2150"/>
                  <a:gd name="T53" fmla="*/ 1228 h 1959"/>
                  <a:gd name="T54" fmla="*/ 1001 w 2150"/>
                  <a:gd name="T55" fmla="*/ 990 h 1959"/>
                  <a:gd name="T56" fmla="*/ 762 w 2150"/>
                  <a:gd name="T57" fmla="*/ 751 h 1959"/>
                  <a:gd name="T58" fmla="*/ 762 w 2150"/>
                  <a:gd name="T59" fmla="*/ 684 h 1959"/>
                  <a:gd name="T60" fmla="*/ 829 w 2150"/>
                  <a:gd name="T61" fmla="*/ 684 h 1959"/>
                  <a:gd name="T62" fmla="*/ 1068 w 2150"/>
                  <a:gd name="T63" fmla="*/ 923 h 1959"/>
                  <a:gd name="T64" fmla="*/ 1306 w 2150"/>
                  <a:gd name="T65" fmla="*/ 684 h 1959"/>
                  <a:gd name="T66" fmla="*/ 1373 w 2150"/>
                  <a:gd name="T67" fmla="*/ 684 h 1959"/>
                  <a:gd name="T68" fmla="*/ 1373 w 2150"/>
                  <a:gd name="T69" fmla="*/ 751 h 1959"/>
                  <a:gd name="T70" fmla="*/ 1373 w 2150"/>
                  <a:gd name="T71" fmla="*/ 751 h 1959"/>
                  <a:gd name="T72" fmla="*/ 1373 w 2150"/>
                  <a:gd name="T73" fmla="*/ 751 h 1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50" h="1959">
                    <a:moveTo>
                      <a:pt x="1768" y="287"/>
                    </a:moveTo>
                    <a:cubicBezTo>
                      <a:pt x="1583" y="102"/>
                      <a:pt x="1337" y="0"/>
                      <a:pt x="1075" y="0"/>
                    </a:cubicBezTo>
                    <a:cubicBezTo>
                      <a:pt x="813" y="0"/>
                      <a:pt x="567" y="102"/>
                      <a:pt x="383" y="287"/>
                    </a:cubicBezTo>
                    <a:cubicBezTo>
                      <a:pt x="0" y="669"/>
                      <a:pt x="0" y="1290"/>
                      <a:pt x="383" y="1672"/>
                    </a:cubicBezTo>
                    <a:cubicBezTo>
                      <a:pt x="567" y="1857"/>
                      <a:pt x="813" y="1959"/>
                      <a:pt x="1075" y="1959"/>
                    </a:cubicBezTo>
                    <a:cubicBezTo>
                      <a:pt x="1337" y="1959"/>
                      <a:pt x="1583" y="1857"/>
                      <a:pt x="1768" y="1672"/>
                    </a:cubicBezTo>
                    <a:cubicBezTo>
                      <a:pt x="2150" y="1290"/>
                      <a:pt x="2150" y="669"/>
                      <a:pt x="1768" y="287"/>
                    </a:cubicBezTo>
                    <a:close/>
                    <a:moveTo>
                      <a:pt x="1701" y="1605"/>
                    </a:moveTo>
                    <a:cubicBezTo>
                      <a:pt x="1534" y="1772"/>
                      <a:pt x="1311" y="1864"/>
                      <a:pt x="1075" y="1864"/>
                    </a:cubicBezTo>
                    <a:cubicBezTo>
                      <a:pt x="839" y="1864"/>
                      <a:pt x="616" y="1772"/>
                      <a:pt x="449" y="1605"/>
                    </a:cubicBezTo>
                    <a:cubicBezTo>
                      <a:pt x="283" y="1439"/>
                      <a:pt x="190" y="1216"/>
                      <a:pt x="190" y="979"/>
                    </a:cubicBezTo>
                    <a:cubicBezTo>
                      <a:pt x="190" y="743"/>
                      <a:pt x="283" y="520"/>
                      <a:pt x="449" y="354"/>
                    </a:cubicBezTo>
                    <a:cubicBezTo>
                      <a:pt x="616" y="187"/>
                      <a:pt x="839" y="95"/>
                      <a:pt x="1075" y="95"/>
                    </a:cubicBezTo>
                    <a:cubicBezTo>
                      <a:pt x="1311" y="95"/>
                      <a:pt x="1534" y="187"/>
                      <a:pt x="1701" y="354"/>
                    </a:cubicBezTo>
                    <a:cubicBezTo>
                      <a:pt x="1868" y="520"/>
                      <a:pt x="1960" y="744"/>
                      <a:pt x="1960" y="979"/>
                    </a:cubicBezTo>
                    <a:cubicBezTo>
                      <a:pt x="1960" y="1215"/>
                      <a:pt x="1868" y="1439"/>
                      <a:pt x="1701" y="1605"/>
                    </a:cubicBezTo>
                    <a:close/>
                    <a:moveTo>
                      <a:pt x="1373" y="751"/>
                    </a:moveTo>
                    <a:cubicBezTo>
                      <a:pt x="1134" y="990"/>
                      <a:pt x="1134" y="990"/>
                      <a:pt x="1134" y="990"/>
                    </a:cubicBezTo>
                    <a:cubicBezTo>
                      <a:pt x="1373" y="1228"/>
                      <a:pt x="1373" y="1228"/>
                      <a:pt x="1373" y="1228"/>
                    </a:cubicBezTo>
                    <a:cubicBezTo>
                      <a:pt x="1391" y="1246"/>
                      <a:pt x="1391" y="1277"/>
                      <a:pt x="1373" y="1295"/>
                    </a:cubicBezTo>
                    <a:cubicBezTo>
                      <a:pt x="1363" y="1305"/>
                      <a:pt x="1352" y="1308"/>
                      <a:pt x="1339" y="1308"/>
                    </a:cubicBezTo>
                    <a:cubicBezTo>
                      <a:pt x="1327" y="1308"/>
                      <a:pt x="1316" y="1302"/>
                      <a:pt x="1306" y="1295"/>
                    </a:cubicBezTo>
                    <a:cubicBezTo>
                      <a:pt x="1068" y="1056"/>
                      <a:pt x="1068" y="1056"/>
                      <a:pt x="1068" y="1056"/>
                    </a:cubicBezTo>
                    <a:cubicBezTo>
                      <a:pt x="829" y="1295"/>
                      <a:pt x="829" y="1295"/>
                      <a:pt x="829" y="1295"/>
                    </a:cubicBezTo>
                    <a:cubicBezTo>
                      <a:pt x="819" y="1305"/>
                      <a:pt x="808" y="1308"/>
                      <a:pt x="796" y="1308"/>
                    </a:cubicBezTo>
                    <a:cubicBezTo>
                      <a:pt x="783" y="1308"/>
                      <a:pt x="773" y="1302"/>
                      <a:pt x="762" y="1295"/>
                    </a:cubicBezTo>
                    <a:cubicBezTo>
                      <a:pt x="744" y="1277"/>
                      <a:pt x="744" y="1246"/>
                      <a:pt x="762" y="1228"/>
                    </a:cubicBezTo>
                    <a:cubicBezTo>
                      <a:pt x="1001" y="990"/>
                      <a:pt x="1001" y="990"/>
                      <a:pt x="1001" y="990"/>
                    </a:cubicBezTo>
                    <a:cubicBezTo>
                      <a:pt x="762" y="751"/>
                      <a:pt x="762" y="751"/>
                      <a:pt x="762" y="751"/>
                    </a:cubicBezTo>
                    <a:cubicBezTo>
                      <a:pt x="744" y="733"/>
                      <a:pt x="744" y="703"/>
                      <a:pt x="762" y="684"/>
                    </a:cubicBezTo>
                    <a:cubicBezTo>
                      <a:pt x="780" y="666"/>
                      <a:pt x="811" y="666"/>
                      <a:pt x="829" y="684"/>
                    </a:cubicBezTo>
                    <a:cubicBezTo>
                      <a:pt x="1068" y="923"/>
                      <a:pt x="1068" y="923"/>
                      <a:pt x="1068" y="923"/>
                    </a:cubicBezTo>
                    <a:cubicBezTo>
                      <a:pt x="1306" y="684"/>
                      <a:pt x="1306" y="684"/>
                      <a:pt x="1306" y="684"/>
                    </a:cubicBezTo>
                    <a:cubicBezTo>
                      <a:pt x="1324" y="666"/>
                      <a:pt x="1355" y="666"/>
                      <a:pt x="1373" y="684"/>
                    </a:cubicBezTo>
                    <a:cubicBezTo>
                      <a:pt x="1391" y="703"/>
                      <a:pt x="1391" y="731"/>
                      <a:pt x="1373" y="751"/>
                    </a:cubicBezTo>
                    <a:close/>
                    <a:moveTo>
                      <a:pt x="1373" y="751"/>
                    </a:moveTo>
                    <a:cubicBezTo>
                      <a:pt x="1373" y="751"/>
                      <a:pt x="1373" y="751"/>
                      <a:pt x="1373" y="75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nvGrpSpPr>
            <p:cNvPr id="92" name="Group 91">
              <a:extLst>
                <a:ext uri="{FF2B5EF4-FFF2-40B4-BE49-F238E27FC236}">
                  <a16:creationId xmlns="" xmlns:a16="http://schemas.microsoft.com/office/drawing/2014/main" id="{B531B03C-7BC2-4FEE-852C-06E18F0C8A1A}"/>
                </a:ext>
              </a:extLst>
            </p:cNvPr>
            <p:cNvGrpSpPr/>
            <p:nvPr/>
          </p:nvGrpSpPr>
          <p:grpSpPr>
            <a:xfrm>
              <a:off x="374193" y="6394060"/>
              <a:ext cx="262930" cy="262930"/>
              <a:chOff x="-384476" y="6352773"/>
              <a:chExt cx="262930" cy="262930"/>
            </a:xfrm>
          </p:grpSpPr>
          <p:sp>
            <p:nvSpPr>
              <p:cNvPr id="87" name="Oval 86">
                <a:extLst>
                  <a:ext uri="{FF2B5EF4-FFF2-40B4-BE49-F238E27FC236}">
                    <a16:creationId xmlns="" xmlns:a16="http://schemas.microsoft.com/office/drawing/2014/main" id="{87617C46-5C0F-495E-A36D-FC89B278CE85}"/>
                  </a:ext>
                </a:extLst>
              </p:cNvPr>
              <p:cNvSpPr/>
              <p:nvPr/>
            </p:nvSpPr>
            <p:spPr>
              <a:xfrm>
                <a:off x="-384476" y="6352773"/>
                <a:ext cx="262930" cy="262930"/>
              </a:xfrm>
              <a:prstGeom prst="ellipse">
                <a:avLst/>
              </a:prstGeom>
              <a:solidFill>
                <a:srgbClr val="055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88" name="Group 4">
                <a:extLst>
                  <a:ext uri="{FF2B5EF4-FFF2-40B4-BE49-F238E27FC236}">
                    <a16:creationId xmlns="" xmlns:a16="http://schemas.microsoft.com/office/drawing/2014/main" id="{0234CAC7-0EFB-453D-83CF-C64845A9CC31}"/>
                  </a:ext>
                </a:extLst>
              </p:cNvPr>
              <p:cNvGrpSpPr>
                <a:grpSpLocks noChangeAspect="1"/>
              </p:cNvGrpSpPr>
              <p:nvPr/>
            </p:nvGrpSpPr>
            <p:grpSpPr bwMode="auto">
              <a:xfrm>
                <a:off x="-313358" y="6417114"/>
                <a:ext cx="127592" cy="111478"/>
                <a:chOff x="-94082" y="3"/>
                <a:chExt cx="4529" cy="3957"/>
              </a:xfrm>
              <a:solidFill>
                <a:schemeClr val="bg1"/>
              </a:solidFill>
            </p:grpSpPr>
            <p:sp>
              <p:nvSpPr>
                <p:cNvPr id="89" name="Freeform 5">
                  <a:extLst>
                    <a:ext uri="{FF2B5EF4-FFF2-40B4-BE49-F238E27FC236}">
                      <a16:creationId xmlns="" xmlns:a16="http://schemas.microsoft.com/office/drawing/2014/main" id="{1DFFADF7-251F-4729-A6AA-7EBF9C5E3D01}"/>
                    </a:ext>
                  </a:extLst>
                </p:cNvPr>
                <p:cNvSpPr>
                  <a:spLocks noEditPoints="1"/>
                </p:cNvSpPr>
                <p:nvPr/>
              </p:nvSpPr>
              <p:spPr bwMode="auto">
                <a:xfrm>
                  <a:off x="-94082" y="3"/>
                  <a:ext cx="4529" cy="3957"/>
                </a:xfrm>
                <a:custGeom>
                  <a:avLst/>
                  <a:gdLst>
                    <a:gd name="T0" fmla="*/ 896 w 1696"/>
                    <a:gd name="T1" fmla="*/ 27 h 1481"/>
                    <a:gd name="T2" fmla="*/ 849 w 1696"/>
                    <a:gd name="T3" fmla="*/ 0 h 1481"/>
                    <a:gd name="T4" fmla="*/ 802 w 1696"/>
                    <a:gd name="T5" fmla="*/ 27 h 1481"/>
                    <a:gd name="T6" fmla="*/ 9 w 1696"/>
                    <a:gd name="T7" fmla="*/ 1399 h 1481"/>
                    <a:gd name="T8" fmla="*/ 9 w 1696"/>
                    <a:gd name="T9" fmla="*/ 1453 h 1481"/>
                    <a:gd name="T10" fmla="*/ 57 w 1696"/>
                    <a:gd name="T11" fmla="*/ 1481 h 1481"/>
                    <a:gd name="T12" fmla="*/ 1641 w 1696"/>
                    <a:gd name="T13" fmla="*/ 1481 h 1481"/>
                    <a:gd name="T14" fmla="*/ 1696 w 1696"/>
                    <a:gd name="T15" fmla="*/ 1426 h 1481"/>
                    <a:gd name="T16" fmla="*/ 1687 w 1696"/>
                    <a:gd name="T17" fmla="*/ 1395 h 1481"/>
                    <a:gd name="T18" fmla="*/ 896 w 1696"/>
                    <a:gd name="T19" fmla="*/ 27 h 1481"/>
                    <a:gd name="T20" fmla="*/ 151 w 1696"/>
                    <a:gd name="T21" fmla="*/ 1372 h 1481"/>
                    <a:gd name="T22" fmla="*/ 849 w 1696"/>
                    <a:gd name="T23" fmla="*/ 163 h 1481"/>
                    <a:gd name="T24" fmla="*/ 1547 w 1696"/>
                    <a:gd name="T25" fmla="*/ 1372 h 1481"/>
                    <a:gd name="T26" fmla="*/ 151 w 1696"/>
                    <a:gd name="T27" fmla="*/ 1372 h 1481"/>
                    <a:gd name="T28" fmla="*/ 151 w 1696"/>
                    <a:gd name="T29" fmla="*/ 1372 h 1481"/>
                    <a:gd name="T30" fmla="*/ 151 w 1696"/>
                    <a:gd name="T31" fmla="*/ 1372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6" h="1481">
                      <a:moveTo>
                        <a:pt x="896" y="27"/>
                      </a:moveTo>
                      <a:cubicBezTo>
                        <a:pt x="886" y="10"/>
                        <a:pt x="868" y="0"/>
                        <a:pt x="849" y="0"/>
                      </a:cubicBezTo>
                      <a:cubicBezTo>
                        <a:pt x="830" y="0"/>
                        <a:pt x="812" y="10"/>
                        <a:pt x="802" y="27"/>
                      </a:cubicBezTo>
                      <a:cubicBezTo>
                        <a:pt x="9" y="1399"/>
                        <a:pt x="9" y="1399"/>
                        <a:pt x="9" y="1399"/>
                      </a:cubicBezTo>
                      <a:cubicBezTo>
                        <a:pt x="0" y="1416"/>
                        <a:pt x="0" y="1436"/>
                        <a:pt x="9" y="1453"/>
                      </a:cubicBezTo>
                      <a:cubicBezTo>
                        <a:pt x="19" y="1471"/>
                        <a:pt x="38" y="1481"/>
                        <a:pt x="57" y="1481"/>
                      </a:cubicBezTo>
                      <a:cubicBezTo>
                        <a:pt x="1641" y="1481"/>
                        <a:pt x="1641" y="1481"/>
                        <a:pt x="1641" y="1481"/>
                      </a:cubicBezTo>
                      <a:cubicBezTo>
                        <a:pt x="1671" y="1481"/>
                        <a:pt x="1696" y="1456"/>
                        <a:pt x="1696" y="1426"/>
                      </a:cubicBezTo>
                      <a:cubicBezTo>
                        <a:pt x="1696" y="1414"/>
                        <a:pt x="1692" y="1404"/>
                        <a:pt x="1687" y="1395"/>
                      </a:cubicBezTo>
                      <a:lnTo>
                        <a:pt x="896" y="27"/>
                      </a:lnTo>
                      <a:close/>
                      <a:moveTo>
                        <a:pt x="151" y="1372"/>
                      </a:moveTo>
                      <a:cubicBezTo>
                        <a:pt x="849" y="163"/>
                        <a:pt x="849" y="163"/>
                        <a:pt x="849" y="163"/>
                      </a:cubicBezTo>
                      <a:cubicBezTo>
                        <a:pt x="1547" y="1372"/>
                        <a:pt x="1547" y="1372"/>
                        <a:pt x="1547" y="1372"/>
                      </a:cubicBezTo>
                      <a:lnTo>
                        <a:pt x="151" y="1372"/>
                      </a:lnTo>
                      <a:close/>
                      <a:moveTo>
                        <a:pt x="151" y="1372"/>
                      </a:moveTo>
                      <a:cubicBezTo>
                        <a:pt x="151" y="1372"/>
                        <a:pt x="151" y="1372"/>
                        <a:pt x="151" y="13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90" name="Freeform 6">
                  <a:extLst>
                    <a:ext uri="{FF2B5EF4-FFF2-40B4-BE49-F238E27FC236}">
                      <a16:creationId xmlns="" xmlns:a16="http://schemas.microsoft.com/office/drawing/2014/main" id="{05D3B2FF-D7F5-48A2-98F3-9884C5277924}"/>
                    </a:ext>
                  </a:extLst>
                </p:cNvPr>
                <p:cNvSpPr>
                  <a:spLocks noEditPoints="1"/>
                </p:cNvSpPr>
                <p:nvPr/>
              </p:nvSpPr>
              <p:spPr bwMode="auto">
                <a:xfrm>
                  <a:off x="-91962" y="1293"/>
                  <a:ext cx="291" cy="1406"/>
                </a:xfrm>
                <a:custGeom>
                  <a:avLst/>
                  <a:gdLst>
                    <a:gd name="T0" fmla="*/ 0 w 109"/>
                    <a:gd name="T1" fmla="*/ 55 h 526"/>
                    <a:gd name="T2" fmla="*/ 0 w 109"/>
                    <a:gd name="T3" fmla="*/ 472 h 526"/>
                    <a:gd name="T4" fmla="*/ 54 w 109"/>
                    <a:gd name="T5" fmla="*/ 526 h 526"/>
                    <a:gd name="T6" fmla="*/ 109 w 109"/>
                    <a:gd name="T7" fmla="*/ 472 h 526"/>
                    <a:gd name="T8" fmla="*/ 109 w 109"/>
                    <a:gd name="T9" fmla="*/ 55 h 526"/>
                    <a:gd name="T10" fmla="*/ 54 w 109"/>
                    <a:gd name="T11" fmla="*/ 0 h 526"/>
                    <a:gd name="T12" fmla="*/ 0 w 109"/>
                    <a:gd name="T13" fmla="*/ 55 h 526"/>
                    <a:gd name="T14" fmla="*/ 0 w 109"/>
                    <a:gd name="T15" fmla="*/ 55 h 526"/>
                    <a:gd name="T16" fmla="*/ 0 w 109"/>
                    <a:gd name="T17" fmla="*/ 5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526">
                      <a:moveTo>
                        <a:pt x="0" y="55"/>
                      </a:moveTo>
                      <a:cubicBezTo>
                        <a:pt x="0" y="472"/>
                        <a:pt x="0" y="472"/>
                        <a:pt x="0" y="472"/>
                      </a:cubicBezTo>
                      <a:cubicBezTo>
                        <a:pt x="0" y="502"/>
                        <a:pt x="24" y="526"/>
                        <a:pt x="54" y="526"/>
                      </a:cubicBezTo>
                      <a:cubicBezTo>
                        <a:pt x="84" y="526"/>
                        <a:pt x="109" y="502"/>
                        <a:pt x="109" y="472"/>
                      </a:cubicBezTo>
                      <a:cubicBezTo>
                        <a:pt x="109" y="55"/>
                        <a:pt x="109" y="55"/>
                        <a:pt x="109" y="55"/>
                      </a:cubicBezTo>
                      <a:cubicBezTo>
                        <a:pt x="109" y="25"/>
                        <a:pt x="84" y="0"/>
                        <a:pt x="54" y="0"/>
                      </a:cubicBezTo>
                      <a:cubicBezTo>
                        <a:pt x="24" y="0"/>
                        <a:pt x="0" y="25"/>
                        <a:pt x="0" y="55"/>
                      </a:cubicBezTo>
                      <a:close/>
                      <a:moveTo>
                        <a:pt x="0" y="55"/>
                      </a:moveTo>
                      <a:cubicBezTo>
                        <a:pt x="0" y="55"/>
                        <a:pt x="0" y="55"/>
                        <a:pt x="0"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91" name="Freeform 7">
                  <a:extLst>
                    <a:ext uri="{FF2B5EF4-FFF2-40B4-BE49-F238E27FC236}">
                      <a16:creationId xmlns="" xmlns:a16="http://schemas.microsoft.com/office/drawing/2014/main" id="{A06DAFD0-0771-4F6E-A5E1-B696E34101D0}"/>
                    </a:ext>
                  </a:extLst>
                </p:cNvPr>
                <p:cNvSpPr>
                  <a:spLocks noEditPoints="1"/>
                </p:cNvSpPr>
                <p:nvPr/>
              </p:nvSpPr>
              <p:spPr bwMode="auto">
                <a:xfrm>
                  <a:off x="-91962" y="2894"/>
                  <a:ext cx="291" cy="387"/>
                </a:xfrm>
                <a:custGeom>
                  <a:avLst/>
                  <a:gdLst>
                    <a:gd name="T0" fmla="*/ 54 w 109"/>
                    <a:gd name="T1" fmla="*/ 0 h 145"/>
                    <a:gd name="T2" fmla="*/ 0 w 109"/>
                    <a:gd name="T3" fmla="*/ 54 h 145"/>
                    <a:gd name="T4" fmla="*/ 0 w 109"/>
                    <a:gd name="T5" fmla="*/ 90 h 145"/>
                    <a:gd name="T6" fmla="*/ 54 w 109"/>
                    <a:gd name="T7" fmla="*/ 145 h 145"/>
                    <a:gd name="T8" fmla="*/ 109 w 109"/>
                    <a:gd name="T9" fmla="*/ 90 h 145"/>
                    <a:gd name="T10" fmla="*/ 109 w 109"/>
                    <a:gd name="T11" fmla="*/ 54 h 145"/>
                    <a:gd name="T12" fmla="*/ 54 w 109"/>
                    <a:gd name="T13" fmla="*/ 0 h 145"/>
                    <a:gd name="T14" fmla="*/ 54 w 109"/>
                    <a:gd name="T15" fmla="*/ 0 h 145"/>
                    <a:gd name="T16" fmla="*/ 54 w 109"/>
                    <a:gd name="T1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145">
                      <a:moveTo>
                        <a:pt x="54" y="0"/>
                      </a:moveTo>
                      <a:cubicBezTo>
                        <a:pt x="24" y="0"/>
                        <a:pt x="0" y="24"/>
                        <a:pt x="0" y="54"/>
                      </a:cubicBezTo>
                      <a:cubicBezTo>
                        <a:pt x="0" y="90"/>
                        <a:pt x="0" y="90"/>
                        <a:pt x="0" y="90"/>
                      </a:cubicBezTo>
                      <a:cubicBezTo>
                        <a:pt x="0" y="120"/>
                        <a:pt x="24" y="145"/>
                        <a:pt x="54" y="145"/>
                      </a:cubicBezTo>
                      <a:cubicBezTo>
                        <a:pt x="84" y="145"/>
                        <a:pt x="109" y="120"/>
                        <a:pt x="109" y="90"/>
                      </a:cubicBezTo>
                      <a:cubicBezTo>
                        <a:pt x="109" y="54"/>
                        <a:pt x="109" y="54"/>
                        <a:pt x="109" y="54"/>
                      </a:cubicBezTo>
                      <a:cubicBezTo>
                        <a:pt x="109" y="24"/>
                        <a:pt x="84" y="0"/>
                        <a:pt x="54" y="0"/>
                      </a:cubicBezTo>
                      <a:close/>
                      <a:moveTo>
                        <a:pt x="54" y="0"/>
                      </a:moveTo>
                      <a:cubicBezTo>
                        <a:pt x="54" y="0"/>
                        <a:pt x="54" y="0"/>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grpSp>
      <p:grpSp>
        <p:nvGrpSpPr>
          <p:cNvPr id="97" name="Group 96">
            <a:extLst>
              <a:ext uri="{FF2B5EF4-FFF2-40B4-BE49-F238E27FC236}">
                <a16:creationId xmlns="" xmlns:a16="http://schemas.microsoft.com/office/drawing/2014/main" id="{0AB421D4-C89D-4EC3-96BE-5387362A43E6}"/>
              </a:ext>
            </a:extLst>
          </p:cNvPr>
          <p:cNvGrpSpPr/>
          <p:nvPr/>
        </p:nvGrpSpPr>
        <p:grpSpPr>
          <a:xfrm>
            <a:off x="5664578" y="1477725"/>
            <a:ext cx="563264" cy="563264"/>
            <a:chOff x="373009" y="1239467"/>
            <a:chExt cx="1197131" cy="1197131"/>
          </a:xfrm>
        </p:grpSpPr>
        <p:sp>
          <p:nvSpPr>
            <p:cNvPr id="95" name="Oval 94">
              <a:extLst>
                <a:ext uri="{FF2B5EF4-FFF2-40B4-BE49-F238E27FC236}">
                  <a16:creationId xmlns="" xmlns:a16="http://schemas.microsoft.com/office/drawing/2014/main" id="{DC5E4490-C93C-4ED0-B032-DCA224A92C10}"/>
                </a:ext>
              </a:extLst>
            </p:cNvPr>
            <p:cNvSpPr/>
            <p:nvPr/>
          </p:nvSpPr>
          <p:spPr>
            <a:xfrm>
              <a:off x="373009" y="1239467"/>
              <a:ext cx="1197131" cy="1197131"/>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96" name="Picture 21" descr="ROCAP">
              <a:extLst>
                <a:ext uri="{FF2B5EF4-FFF2-40B4-BE49-F238E27FC236}">
                  <a16:creationId xmlns="" xmlns:a16="http://schemas.microsoft.com/office/drawing/2014/main" id="{5BCC5D74-347E-42E3-9E5B-1B0046631DB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8365" y="1645735"/>
              <a:ext cx="920407" cy="427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6" name="Group 105">
            <a:extLst>
              <a:ext uri="{FF2B5EF4-FFF2-40B4-BE49-F238E27FC236}">
                <a16:creationId xmlns="" xmlns:a16="http://schemas.microsoft.com/office/drawing/2014/main" id="{75D3F6EF-FF0B-46B0-A39A-4F7014BFE64F}"/>
              </a:ext>
            </a:extLst>
          </p:cNvPr>
          <p:cNvGrpSpPr/>
          <p:nvPr/>
        </p:nvGrpSpPr>
        <p:grpSpPr>
          <a:xfrm>
            <a:off x="5950679" y="1952458"/>
            <a:ext cx="715610" cy="563264"/>
            <a:chOff x="5950677" y="1967698"/>
            <a:chExt cx="715610" cy="563264"/>
          </a:xfrm>
        </p:grpSpPr>
        <p:sp>
          <p:nvSpPr>
            <p:cNvPr id="102" name="Oval 101">
              <a:extLst>
                <a:ext uri="{FF2B5EF4-FFF2-40B4-BE49-F238E27FC236}">
                  <a16:creationId xmlns="" xmlns:a16="http://schemas.microsoft.com/office/drawing/2014/main" id="{674D851D-259D-4E4B-8CCC-879223575DED}"/>
                </a:ext>
              </a:extLst>
            </p:cNvPr>
            <p:cNvSpPr/>
            <p:nvPr/>
          </p:nvSpPr>
          <p:spPr>
            <a:xfrm>
              <a:off x="6027682" y="196769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5" name="Rectangle 23">
              <a:extLst>
                <a:ext uri="{FF2B5EF4-FFF2-40B4-BE49-F238E27FC236}">
                  <a16:creationId xmlns="" xmlns:a16="http://schemas.microsoft.com/office/drawing/2014/main" id="{E54FAECD-65AF-41DC-B4C0-D5D9AC3CB667}"/>
                </a:ext>
              </a:extLst>
            </p:cNvPr>
            <p:cNvSpPr>
              <a:spLocks noChangeArrowheads="1"/>
            </p:cNvSpPr>
            <p:nvPr/>
          </p:nvSpPr>
          <p:spPr bwMode="auto">
            <a:xfrm>
              <a:off x="5950677" y="2057500"/>
              <a:ext cx="715610" cy="381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a:spcBef>
                  <a:spcPct val="20000"/>
                </a:spcBef>
                <a:buClr>
                  <a:srgbClr val="61A0D7"/>
                </a:buClr>
                <a:buFont typeface="Arial" charset="0"/>
                <a:buChar char="•"/>
                <a:defRPr sz="3200" b="1">
                  <a:solidFill>
                    <a:srgbClr val="595959"/>
                  </a:solidFill>
                  <a:latin typeface="Calibri" pitchFamily="34" charset="0"/>
                  <a:ea typeface="ＭＳ Ｐゴシック" pitchFamily="34" charset="-128"/>
                  <a:cs typeface="Calibri" pitchFamily="34" charset="0"/>
                </a:defRPr>
              </a:lvl1pPr>
              <a:lvl2pPr marL="742950" indent="-285750">
                <a:spcBef>
                  <a:spcPct val="20000"/>
                </a:spcBef>
                <a:buClr>
                  <a:srgbClr val="61A0D7"/>
                </a:buClr>
                <a:buFont typeface="Arial" charset="0"/>
                <a:buChar char="–"/>
                <a:defRPr sz="2800">
                  <a:solidFill>
                    <a:srgbClr val="595959"/>
                  </a:solidFill>
                  <a:latin typeface="Calibri" pitchFamily="34" charset="0"/>
                  <a:ea typeface="ＭＳ Ｐゴシック" pitchFamily="34" charset="-128"/>
                </a:defRPr>
              </a:lvl2pPr>
              <a:lvl3pPr marL="1143000" indent="-228600">
                <a:spcBef>
                  <a:spcPct val="20000"/>
                </a:spcBef>
                <a:buClr>
                  <a:srgbClr val="61A0D7"/>
                </a:buClr>
                <a:buFont typeface="Arial" charset="0"/>
                <a:buChar char="•"/>
                <a:defRPr sz="2400">
                  <a:solidFill>
                    <a:srgbClr val="595959"/>
                  </a:solidFill>
                  <a:latin typeface="Calibri" pitchFamily="34" charset="0"/>
                  <a:ea typeface="ＭＳ Ｐゴシック" pitchFamily="34" charset="-128"/>
                </a:defRPr>
              </a:lvl3pPr>
              <a:lvl4pPr marL="16002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4pPr>
              <a:lvl5pPr marL="20574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9pPr>
            </a:lstStyle>
            <a:p>
              <a:pPr marL="0" marR="0" lvl="0" indent="0" algn="ctr" defTabSz="457200" rtl="0" eaLnBrk="1" fontAlgn="base" latinLnBrk="0" hangingPunct="1">
                <a:lnSpc>
                  <a:spcPct val="80000"/>
                </a:lnSpc>
                <a:spcBef>
                  <a:spcPct val="0"/>
                </a:spcBef>
                <a:spcAft>
                  <a:spcPct val="0"/>
                </a:spcAft>
                <a:buClrTx/>
                <a:buSzTx/>
                <a:buFont typeface="Arial" charset="0"/>
                <a:buNone/>
                <a:tabLst/>
                <a:defRPr/>
              </a:pPr>
              <a:r>
                <a:rPr kumimoji="0" lang="en-US" altLang="en-US" sz="600" b="1" i="0" u="none" strike="noStrike" kern="0" cap="none" spc="0" normalizeH="0" baseline="0" noProof="0" dirty="0" err="1">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PreeFil</a:t>
              </a:r>
              <a:endParaRPr kumimoji="0" lang="en-US" altLang="en-US" sz="600" b="0" i="0" u="none" strike="noStrike" kern="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457200" rtl="0" eaLnBrk="1" fontAlgn="base" latinLnBrk="0" hangingPunct="1">
                <a:lnSpc>
                  <a:spcPct val="80000"/>
                </a:lnSpc>
                <a:spcBef>
                  <a:spcPct val="0"/>
                </a:spcBef>
                <a:spcAft>
                  <a:spcPct val="0"/>
                </a:spcAft>
                <a:buClrTx/>
                <a:buSzTx/>
                <a:buFont typeface="Arial" charset="0"/>
                <a:buNone/>
                <a:tabLst/>
                <a:defRPr/>
              </a:pPr>
              <a:r>
                <a:rPr kumimoji="0" lang="en-US" altLang="en-US" sz="600" b="1" i="0" u="none" strike="noStrike" kern="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Corporation</a:t>
              </a:r>
            </a:p>
          </p:txBody>
        </p:sp>
      </p:grpSp>
      <p:grpSp>
        <p:nvGrpSpPr>
          <p:cNvPr id="107" name="Group 106">
            <a:extLst>
              <a:ext uri="{FF2B5EF4-FFF2-40B4-BE49-F238E27FC236}">
                <a16:creationId xmlns="" xmlns:a16="http://schemas.microsoft.com/office/drawing/2014/main" id="{1603A492-1C42-41A6-96ED-F987B59596EF}"/>
              </a:ext>
            </a:extLst>
          </p:cNvPr>
          <p:cNvGrpSpPr/>
          <p:nvPr/>
        </p:nvGrpSpPr>
        <p:grpSpPr>
          <a:xfrm>
            <a:off x="5287409" y="1952458"/>
            <a:ext cx="563264" cy="563264"/>
            <a:chOff x="5256929" y="1967698"/>
            <a:chExt cx="563264" cy="563264"/>
          </a:xfrm>
        </p:grpSpPr>
        <p:sp>
          <p:nvSpPr>
            <p:cNvPr id="99" name="Oval 98">
              <a:extLst>
                <a:ext uri="{FF2B5EF4-FFF2-40B4-BE49-F238E27FC236}">
                  <a16:creationId xmlns="" xmlns:a16="http://schemas.microsoft.com/office/drawing/2014/main" id="{9666FC1B-FE3C-4E37-9736-93ACBB000212}"/>
                </a:ext>
              </a:extLst>
            </p:cNvPr>
            <p:cNvSpPr/>
            <p:nvPr/>
          </p:nvSpPr>
          <p:spPr>
            <a:xfrm>
              <a:off x="5256929" y="196769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04" name="Picture 22">
              <a:extLst>
                <a:ext uri="{FF2B5EF4-FFF2-40B4-BE49-F238E27FC236}">
                  <a16:creationId xmlns="" xmlns:a16="http://schemas.microsoft.com/office/drawing/2014/main" id="{686DA083-3504-4330-A1DA-DAB68BFC957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l="1563" t="15625" r="78999" b="71875"/>
            <a:stretch>
              <a:fillRect/>
            </a:stretch>
          </p:blipFill>
          <p:spPr bwMode="auto">
            <a:xfrm>
              <a:off x="5302752" y="2148907"/>
              <a:ext cx="468305" cy="226415"/>
            </a:xfrm>
            <a:prstGeom prst="rect">
              <a:avLst/>
            </a:prstGeom>
            <a:noFill/>
            <a:ln>
              <a:noFill/>
            </a:ln>
            <a:effectLst/>
            <a:extLst>
              <a:ext uri="{909E8E84-426E-40DD-AFC4-6F175D3DCCD1}">
                <a14:hiddenFill xmlns:a14="http://schemas.microsoft.com/office/drawing/2010/main">
                  <a:solidFill>
                    <a:srgbClr val="A1BD6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BBD83"/>
                    </a:outerShdw>
                  </a:effectLst>
                </a14:hiddenEffects>
              </a:ext>
            </a:extLst>
          </p:spPr>
        </p:pic>
      </p:grpSp>
      <p:grpSp>
        <p:nvGrpSpPr>
          <p:cNvPr id="133" name="Group 132">
            <a:extLst>
              <a:ext uri="{FF2B5EF4-FFF2-40B4-BE49-F238E27FC236}">
                <a16:creationId xmlns="" xmlns:a16="http://schemas.microsoft.com/office/drawing/2014/main" id="{C2CDA7A0-5969-41C6-B91F-1F5CBBE5CF69}"/>
              </a:ext>
            </a:extLst>
          </p:cNvPr>
          <p:cNvGrpSpPr/>
          <p:nvPr/>
        </p:nvGrpSpPr>
        <p:grpSpPr>
          <a:xfrm>
            <a:off x="6714332" y="2799811"/>
            <a:ext cx="563264" cy="563264"/>
            <a:chOff x="6579310" y="2818888"/>
            <a:chExt cx="563264" cy="563264"/>
          </a:xfrm>
        </p:grpSpPr>
        <p:sp>
          <p:nvSpPr>
            <p:cNvPr id="134" name="Oval 133">
              <a:extLst>
                <a:ext uri="{FF2B5EF4-FFF2-40B4-BE49-F238E27FC236}">
                  <a16:creationId xmlns="" xmlns:a16="http://schemas.microsoft.com/office/drawing/2014/main" id="{A15352D1-D884-4E4E-B161-01D1253F1AF2}"/>
                </a:ext>
              </a:extLst>
            </p:cNvPr>
            <p:cNvSpPr/>
            <p:nvPr/>
          </p:nvSpPr>
          <p:spPr>
            <a:xfrm>
              <a:off x="6579310" y="281888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35" name="Picture 134">
              <a:extLst>
                <a:ext uri="{FF2B5EF4-FFF2-40B4-BE49-F238E27FC236}">
                  <a16:creationId xmlns="" xmlns:a16="http://schemas.microsoft.com/office/drawing/2014/main" id="{78E444F1-342E-435B-A00B-0327AB12AF01}"/>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b="58009"/>
            <a:stretch/>
          </p:blipFill>
          <p:spPr>
            <a:xfrm>
              <a:off x="6651301" y="3040242"/>
              <a:ext cx="435053" cy="104391"/>
            </a:xfrm>
            <a:prstGeom prst="rect">
              <a:avLst/>
            </a:prstGeom>
          </p:spPr>
        </p:pic>
      </p:grpSp>
      <p:grpSp>
        <p:nvGrpSpPr>
          <p:cNvPr id="142" name="Group 141">
            <a:extLst>
              <a:ext uri="{FF2B5EF4-FFF2-40B4-BE49-F238E27FC236}">
                <a16:creationId xmlns="" xmlns:a16="http://schemas.microsoft.com/office/drawing/2014/main" id="{D9652F9A-4AF9-42A4-93BC-BCB69322EAEF}"/>
              </a:ext>
            </a:extLst>
          </p:cNvPr>
          <p:cNvGrpSpPr/>
          <p:nvPr/>
        </p:nvGrpSpPr>
        <p:grpSpPr>
          <a:xfrm>
            <a:off x="6204529" y="2799811"/>
            <a:ext cx="563264" cy="563264"/>
            <a:chOff x="6378042" y="2818888"/>
            <a:chExt cx="563264" cy="563264"/>
          </a:xfrm>
        </p:grpSpPr>
        <p:sp>
          <p:nvSpPr>
            <p:cNvPr id="127" name="Oval 126">
              <a:extLst>
                <a:ext uri="{FF2B5EF4-FFF2-40B4-BE49-F238E27FC236}">
                  <a16:creationId xmlns="" xmlns:a16="http://schemas.microsoft.com/office/drawing/2014/main" id="{A4EC20D3-9F31-4644-A959-BC6AA1DC15C5}"/>
                </a:ext>
              </a:extLst>
            </p:cNvPr>
            <p:cNvSpPr/>
            <p:nvPr/>
          </p:nvSpPr>
          <p:spPr>
            <a:xfrm>
              <a:off x="6378042" y="281888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41" name="Picture 140">
              <a:extLst>
                <a:ext uri="{FF2B5EF4-FFF2-40B4-BE49-F238E27FC236}">
                  <a16:creationId xmlns="" xmlns:a16="http://schemas.microsoft.com/office/drawing/2014/main" id="{FCD5A627-60A6-46A0-814A-875206A7459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469225" y="2946496"/>
              <a:ext cx="386990" cy="274476"/>
            </a:xfrm>
            <a:prstGeom prst="rect">
              <a:avLst/>
            </a:prstGeom>
          </p:spPr>
        </p:pic>
      </p:grpSp>
      <p:grpSp>
        <p:nvGrpSpPr>
          <p:cNvPr id="132" name="Group 131">
            <a:extLst>
              <a:ext uri="{FF2B5EF4-FFF2-40B4-BE49-F238E27FC236}">
                <a16:creationId xmlns="" xmlns:a16="http://schemas.microsoft.com/office/drawing/2014/main" id="{CFB7496A-4A62-4E96-AD14-C4B7326355C0}"/>
              </a:ext>
            </a:extLst>
          </p:cNvPr>
          <p:cNvGrpSpPr/>
          <p:nvPr/>
        </p:nvGrpSpPr>
        <p:grpSpPr>
          <a:xfrm>
            <a:off x="5681135" y="2799811"/>
            <a:ext cx="563264" cy="563264"/>
            <a:chOff x="5970561" y="2818888"/>
            <a:chExt cx="563264" cy="563264"/>
          </a:xfrm>
        </p:grpSpPr>
        <p:sp>
          <p:nvSpPr>
            <p:cNvPr id="124" name="Oval 123">
              <a:extLst>
                <a:ext uri="{FF2B5EF4-FFF2-40B4-BE49-F238E27FC236}">
                  <a16:creationId xmlns="" xmlns:a16="http://schemas.microsoft.com/office/drawing/2014/main" id="{A955F9F1-BD66-4933-8A95-318D6F931F41}"/>
                </a:ext>
              </a:extLst>
            </p:cNvPr>
            <p:cNvSpPr/>
            <p:nvPr/>
          </p:nvSpPr>
          <p:spPr>
            <a:xfrm>
              <a:off x="5970561" y="281888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29" name="Picture 128">
              <a:extLst>
                <a:ext uri="{FF2B5EF4-FFF2-40B4-BE49-F238E27FC236}">
                  <a16:creationId xmlns="" xmlns:a16="http://schemas.microsoft.com/office/drawing/2014/main" id="{35D6166A-E009-4265-AC5D-A27E77A3D3F2}"/>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t="-5696" r="27848" b="-1"/>
            <a:stretch/>
          </p:blipFill>
          <p:spPr>
            <a:xfrm>
              <a:off x="6021505" y="3043239"/>
              <a:ext cx="471313" cy="138087"/>
            </a:xfrm>
            <a:prstGeom prst="rect">
              <a:avLst/>
            </a:prstGeom>
          </p:spPr>
        </p:pic>
      </p:grpSp>
      <p:grpSp>
        <p:nvGrpSpPr>
          <p:cNvPr id="118" name="Group 117">
            <a:extLst>
              <a:ext uri="{FF2B5EF4-FFF2-40B4-BE49-F238E27FC236}">
                <a16:creationId xmlns="" xmlns:a16="http://schemas.microsoft.com/office/drawing/2014/main" id="{6A221330-3610-41BB-8D20-8F9EC88CFC61}"/>
              </a:ext>
            </a:extLst>
          </p:cNvPr>
          <p:cNvGrpSpPr/>
          <p:nvPr/>
        </p:nvGrpSpPr>
        <p:grpSpPr>
          <a:xfrm>
            <a:off x="5134134" y="2799811"/>
            <a:ext cx="563264" cy="563264"/>
            <a:chOff x="5256929" y="1967698"/>
            <a:chExt cx="563264" cy="563264"/>
          </a:xfrm>
        </p:grpSpPr>
        <p:sp>
          <p:nvSpPr>
            <p:cNvPr id="119" name="Oval 118">
              <a:extLst>
                <a:ext uri="{FF2B5EF4-FFF2-40B4-BE49-F238E27FC236}">
                  <a16:creationId xmlns="" xmlns:a16="http://schemas.microsoft.com/office/drawing/2014/main" id="{4A265DB8-BB99-4044-A046-68F3EF82C2BA}"/>
                </a:ext>
              </a:extLst>
            </p:cNvPr>
            <p:cNvSpPr/>
            <p:nvPr/>
          </p:nvSpPr>
          <p:spPr>
            <a:xfrm>
              <a:off x="5256929" y="196769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20" name="Picture 22">
              <a:extLst>
                <a:ext uri="{FF2B5EF4-FFF2-40B4-BE49-F238E27FC236}">
                  <a16:creationId xmlns="" xmlns:a16="http://schemas.microsoft.com/office/drawing/2014/main" id="{33DD52C8-9D60-4E2E-92FB-8196872CE6A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l="1563" t="15625" r="78999" b="71875"/>
            <a:stretch>
              <a:fillRect/>
            </a:stretch>
          </p:blipFill>
          <p:spPr bwMode="auto">
            <a:xfrm>
              <a:off x="5302752" y="2148907"/>
              <a:ext cx="468305" cy="226415"/>
            </a:xfrm>
            <a:prstGeom prst="rect">
              <a:avLst/>
            </a:prstGeom>
            <a:noFill/>
            <a:ln>
              <a:noFill/>
            </a:ln>
            <a:effectLst/>
            <a:extLst>
              <a:ext uri="{909E8E84-426E-40DD-AFC4-6F175D3DCCD1}">
                <a14:hiddenFill xmlns:a14="http://schemas.microsoft.com/office/drawing/2010/main">
                  <a:solidFill>
                    <a:srgbClr val="A1BD6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BBD83"/>
                    </a:outerShdw>
                  </a:effectLst>
                </a14:hiddenEffects>
              </a:ext>
            </a:extLst>
          </p:spPr>
        </p:pic>
      </p:grpSp>
      <p:grpSp>
        <p:nvGrpSpPr>
          <p:cNvPr id="185" name="Group 184">
            <a:extLst>
              <a:ext uri="{FF2B5EF4-FFF2-40B4-BE49-F238E27FC236}">
                <a16:creationId xmlns="" xmlns:a16="http://schemas.microsoft.com/office/drawing/2014/main" id="{0AC0A613-6C0F-4544-85C7-8C3F47817BF0}"/>
              </a:ext>
            </a:extLst>
          </p:cNvPr>
          <p:cNvGrpSpPr/>
          <p:nvPr/>
        </p:nvGrpSpPr>
        <p:grpSpPr>
          <a:xfrm>
            <a:off x="7479102" y="3740706"/>
            <a:ext cx="596290" cy="563264"/>
            <a:chOff x="8167157" y="3695697"/>
            <a:chExt cx="596290" cy="563264"/>
          </a:xfrm>
        </p:grpSpPr>
        <p:sp>
          <p:nvSpPr>
            <p:cNvPr id="173" name="Oval 172">
              <a:extLst>
                <a:ext uri="{FF2B5EF4-FFF2-40B4-BE49-F238E27FC236}">
                  <a16:creationId xmlns="" xmlns:a16="http://schemas.microsoft.com/office/drawing/2014/main" id="{40E72184-2746-434C-AD46-9055D9220AC5}"/>
                </a:ext>
              </a:extLst>
            </p:cNvPr>
            <p:cNvSpPr/>
            <p:nvPr/>
          </p:nvSpPr>
          <p:spPr>
            <a:xfrm>
              <a:off x="8167157" y="3695697"/>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4" name="Rectangle 33">
              <a:extLst>
                <a:ext uri="{FF2B5EF4-FFF2-40B4-BE49-F238E27FC236}">
                  <a16:creationId xmlns="" xmlns:a16="http://schemas.microsoft.com/office/drawing/2014/main" id="{7658AB70-9A1D-4474-B86A-3A5912BF6125}"/>
                </a:ext>
              </a:extLst>
            </p:cNvPr>
            <p:cNvSpPr>
              <a:spLocks noChangeArrowheads="1"/>
            </p:cNvSpPr>
            <p:nvPr/>
          </p:nvSpPr>
          <p:spPr bwMode="auto">
            <a:xfrm>
              <a:off x="8170016" y="3787823"/>
              <a:ext cx="593431" cy="41549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a:spcBef>
                  <a:spcPct val="20000"/>
                </a:spcBef>
                <a:buClr>
                  <a:srgbClr val="61A0D7"/>
                </a:buClr>
                <a:buFont typeface="Arial" charset="0"/>
                <a:buChar char="•"/>
                <a:defRPr sz="3200" b="1">
                  <a:solidFill>
                    <a:srgbClr val="595959"/>
                  </a:solidFill>
                  <a:latin typeface="Calibri" pitchFamily="34" charset="0"/>
                  <a:ea typeface="ＭＳ Ｐゴシック" pitchFamily="34" charset="-128"/>
                  <a:cs typeface="Calibri" pitchFamily="34" charset="0"/>
                </a:defRPr>
              </a:lvl1pPr>
              <a:lvl2pPr marL="742950" indent="-285750">
                <a:spcBef>
                  <a:spcPct val="20000"/>
                </a:spcBef>
                <a:buClr>
                  <a:srgbClr val="61A0D7"/>
                </a:buClr>
                <a:buFont typeface="Arial" charset="0"/>
                <a:buChar char="–"/>
                <a:defRPr sz="2800">
                  <a:solidFill>
                    <a:srgbClr val="595959"/>
                  </a:solidFill>
                  <a:latin typeface="Calibri" pitchFamily="34" charset="0"/>
                  <a:ea typeface="ＭＳ Ｐゴシック" pitchFamily="34" charset="-128"/>
                </a:defRPr>
              </a:lvl2pPr>
              <a:lvl3pPr marL="1143000" indent="-228600">
                <a:spcBef>
                  <a:spcPct val="20000"/>
                </a:spcBef>
                <a:buClr>
                  <a:srgbClr val="61A0D7"/>
                </a:buClr>
                <a:buFont typeface="Arial" charset="0"/>
                <a:buChar char="•"/>
                <a:defRPr sz="2400">
                  <a:solidFill>
                    <a:srgbClr val="595959"/>
                  </a:solidFill>
                  <a:latin typeface="Calibri" pitchFamily="34" charset="0"/>
                  <a:ea typeface="ＭＳ Ｐゴシック" pitchFamily="34" charset="-128"/>
                </a:defRPr>
              </a:lvl3pPr>
              <a:lvl4pPr marL="16002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4pPr>
              <a:lvl5pPr marL="20574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9pPr>
            </a:lstStyle>
            <a:p>
              <a:pPr marL="0" marR="0" lvl="0" indent="0" algn="ctr" defTabSz="457200" rtl="0" eaLnBrk="0" fontAlgn="base" latinLnBrk="0" hangingPunct="0">
                <a:lnSpc>
                  <a:spcPct val="100000"/>
                </a:lnSpc>
                <a:spcBef>
                  <a:spcPct val="0"/>
                </a:spcBef>
                <a:spcAft>
                  <a:spcPct val="0"/>
                </a:spcAft>
                <a:buClrTx/>
                <a:buSzTx/>
                <a:buFont typeface="Arial" charset="0"/>
                <a:buNone/>
                <a:tabLst/>
                <a:defRPr/>
              </a:pPr>
              <a:r>
                <a:rPr kumimoji="0" lang="en-US" altLang="en-US" sz="700" b="1" i="0" u="none" strike="noStrike" kern="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IV Flush, </a:t>
              </a:r>
              <a:br>
                <a:rPr kumimoji="0" lang="en-US" altLang="en-US" sz="700" b="1" i="0" u="none" strike="noStrike" kern="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altLang="en-US" sz="700" b="1" i="0" u="none" strike="noStrike" kern="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LLC</a:t>
              </a:r>
            </a:p>
          </p:txBody>
        </p:sp>
      </p:grpSp>
      <p:grpSp>
        <p:nvGrpSpPr>
          <p:cNvPr id="188" name="Group 187">
            <a:extLst>
              <a:ext uri="{FF2B5EF4-FFF2-40B4-BE49-F238E27FC236}">
                <a16:creationId xmlns="" xmlns:a16="http://schemas.microsoft.com/office/drawing/2014/main" id="{61A7FA30-8A6C-4164-B73A-994E4ADB551A}"/>
              </a:ext>
            </a:extLst>
          </p:cNvPr>
          <p:cNvGrpSpPr/>
          <p:nvPr/>
        </p:nvGrpSpPr>
        <p:grpSpPr>
          <a:xfrm>
            <a:off x="7001520" y="3740706"/>
            <a:ext cx="563264" cy="563264"/>
            <a:chOff x="7567595" y="3695697"/>
            <a:chExt cx="563264" cy="563264"/>
          </a:xfrm>
        </p:grpSpPr>
        <p:sp>
          <p:nvSpPr>
            <p:cNvPr id="176" name="Oval 175">
              <a:extLst>
                <a:ext uri="{FF2B5EF4-FFF2-40B4-BE49-F238E27FC236}">
                  <a16:creationId xmlns="" xmlns:a16="http://schemas.microsoft.com/office/drawing/2014/main" id="{9524E05B-8ABE-49CE-95D9-BB687E80948B}"/>
                </a:ext>
              </a:extLst>
            </p:cNvPr>
            <p:cNvSpPr/>
            <p:nvPr/>
          </p:nvSpPr>
          <p:spPr>
            <a:xfrm>
              <a:off x="7567595" y="3695697"/>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51" name="Picture 36" descr="DEEN_L">
              <a:extLst>
                <a:ext uri="{FF2B5EF4-FFF2-40B4-BE49-F238E27FC236}">
                  <a16:creationId xmlns="" xmlns:a16="http://schemas.microsoft.com/office/drawing/2014/main" id="{8C7E0509-B4EF-4527-9FA6-24929EF4EE7D}"/>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19782" r="24828" b="17266"/>
            <a:stretch/>
          </p:blipFill>
          <p:spPr bwMode="auto">
            <a:xfrm>
              <a:off x="7697347" y="3823305"/>
              <a:ext cx="300673" cy="298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7" name="Group 186">
            <a:extLst>
              <a:ext uri="{FF2B5EF4-FFF2-40B4-BE49-F238E27FC236}">
                <a16:creationId xmlns="" xmlns:a16="http://schemas.microsoft.com/office/drawing/2014/main" id="{CE4CFAE9-FBA8-43E0-87EC-0426B0BC7DED}"/>
              </a:ext>
            </a:extLst>
          </p:cNvPr>
          <p:cNvGrpSpPr/>
          <p:nvPr/>
        </p:nvGrpSpPr>
        <p:grpSpPr>
          <a:xfrm>
            <a:off x="6505015" y="3740706"/>
            <a:ext cx="563264" cy="563264"/>
            <a:chOff x="6969800" y="3695697"/>
            <a:chExt cx="563264" cy="563264"/>
          </a:xfrm>
        </p:grpSpPr>
        <p:sp>
          <p:nvSpPr>
            <p:cNvPr id="179" name="Oval 178">
              <a:extLst>
                <a:ext uri="{FF2B5EF4-FFF2-40B4-BE49-F238E27FC236}">
                  <a16:creationId xmlns="" xmlns:a16="http://schemas.microsoft.com/office/drawing/2014/main" id="{B0E39957-797D-46ED-803C-E912B5F68874}"/>
                </a:ext>
              </a:extLst>
            </p:cNvPr>
            <p:cNvSpPr/>
            <p:nvPr/>
          </p:nvSpPr>
          <p:spPr>
            <a:xfrm>
              <a:off x="6969800" y="3695697"/>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50" name="Picture 35" descr="logo">
              <a:extLst>
                <a:ext uri="{FF2B5EF4-FFF2-40B4-BE49-F238E27FC236}">
                  <a16:creationId xmlns="" xmlns:a16="http://schemas.microsoft.com/office/drawing/2014/main" id="{F0908019-366E-4D45-8E68-AAB05ECF6B6E}"/>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4706" r="41959" b="47293"/>
            <a:stretch/>
          </p:blipFill>
          <p:spPr bwMode="auto">
            <a:xfrm>
              <a:off x="7008033" y="3931231"/>
              <a:ext cx="491317" cy="91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6" name="Group 185">
            <a:extLst>
              <a:ext uri="{FF2B5EF4-FFF2-40B4-BE49-F238E27FC236}">
                <a16:creationId xmlns="" xmlns:a16="http://schemas.microsoft.com/office/drawing/2014/main" id="{05808377-3F0A-4A06-A2E1-D20D932873C3}"/>
              </a:ext>
            </a:extLst>
          </p:cNvPr>
          <p:cNvGrpSpPr/>
          <p:nvPr/>
        </p:nvGrpSpPr>
        <p:grpSpPr>
          <a:xfrm>
            <a:off x="5971274" y="3742036"/>
            <a:ext cx="563264" cy="563264"/>
            <a:chOff x="6360399" y="3697027"/>
            <a:chExt cx="563264" cy="563264"/>
          </a:xfrm>
        </p:grpSpPr>
        <p:sp>
          <p:nvSpPr>
            <p:cNvPr id="182" name="Oval 181">
              <a:extLst>
                <a:ext uri="{FF2B5EF4-FFF2-40B4-BE49-F238E27FC236}">
                  <a16:creationId xmlns="" xmlns:a16="http://schemas.microsoft.com/office/drawing/2014/main" id="{74C46922-E6F4-4650-870E-2CFEE53F3568}"/>
                </a:ext>
              </a:extLst>
            </p:cNvPr>
            <p:cNvSpPr/>
            <p:nvPr/>
          </p:nvSpPr>
          <p:spPr>
            <a:xfrm>
              <a:off x="6360399" y="3697027"/>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49" name="Picture 34">
              <a:extLst>
                <a:ext uri="{FF2B5EF4-FFF2-40B4-BE49-F238E27FC236}">
                  <a16:creationId xmlns="" xmlns:a16="http://schemas.microsoft.com/office/drawing/2014/main" id="{CD483F23-1610-43A4-9E2E-C53A5982134A}"/>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6035" t="21055" r="76154" b="73846"/>
            <a:stretch/>
          </p:blipFill>
          <p:spPr bwMode="auto">
            <a:xfrm>
              <a:off x="6380905" y="3920048"/>
              <a:ext cx="522251" cy="112197"/>
            </a:xfrm>
            <a:prstGeom prst="rect">
              <a:avLst/>
            </a:prstGeom>
            <a:noFill/>
            <a:ln>
              <a:noFill/>
            </a:ln>
            <a:effectLst/>
            <a:extLst>
              <a:ext uri="{909E8E84-426E-40DD-AFC4-6F175D3DCCD1}">
                <a14:hiddenFill xmlns:a14="http://schemas.microsoft.com/office/drawing/2010/main">
                  <a:solidFill>
                    <a:srgbClr val="A1BD6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BBD83"/>
                    </a:outerShdw>
                  </a:effectLst>
                </a14:hiddenEffects>
              </a:ext>
            </a:extLst>
          </p:spPr>
        </p:pic>
      </p:grpSp>
      <p:grpSp>
        <p:nvGrpSpPr>
          <p:cNvPr id="160" name="Group 159">
            <a:extLst>
              <a:ext uri="{FF2B5EF4-FFF2-40B4-BE49-F238E27FC236}">
                <a16:creationId xmlns="" xmlns:a16="http://schemas.microsoft.com/office/drawing/2014/main" id="{6C7FEA7D-A1E7-4C8D-BB59-66D5915109F8}"/>
              </a:ext>
            </a:extLst>
          </p:cNvPr>
          <p:cNvGrpSpPr/>
          <p:nvPr/>
        </p:nvGrpSpPr>
        <p:grpSpPr>
          <a:xfrm>
            <a:off x="5432686" y="3740706"/>
            <a:ext cx="563264" cy="563264"/>
            <a:chOff x="6378042" y="2818888"/>
            <a:chExt cx="563264" cy="563264"/>
          </a:xfrm>
        </p:grpSpPr>
        <p:sp>
          <p:nvSpPr>
            <p:cNvPr id="161" name="Oval 160">
              <a:extLst>
                <a:ext uri="{FF2B5EF4-FFF2-40B4-BE49-F238E27FC236}">
                  <a16:creationId xmlns="" xmlns:a16="http://schemas.microsoft.com/office/drawing/2014/main" id="{1A2DF2D3-D2F7-4D99-BCED-652AD00C10BA}"/>
                </a:ext>
              </a:extLst>
            </p:cNvPr>
            <p:cNvSpPr/>
            <p:nvPr/>
          </p:nvSpPr>
          <p:spPr>
            <a:xfrm>
              <a:off x="6378042" y="281888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62" name="Picture 161">
              <a:extLst>
                <a:ext uri="{FF2B5EF4-FFF2-40B4-BE49-F238E27FC236}">
                  <a16:creationId xmlns="" xmlns:a16="http://schemas.microsoft.com/office/drawing/2014/main" id="{C4BF4E5A-FCB0-44D1-9BA3-61E7FEBC5B7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469225" y="2946496"/>
              <a:ext cx="386990" cy="274476"/>
            </a:xfrm>
            <a:prstGeom prst="rect">
              <a:avLst/>
            </a:prstGeom>
          </p:spPr>
        </p:pic>
      </p:grpSp>
      <p:grpSp>
        <p:nvGrpSpPr>
          <p:cNvPr id="163" name="Group 162">
            <a:extLst>
              <a:ext uri="{FF2B5EF4-FFF2-40B4-BE49-F238E27FC236}">
                <a16:creationId xmlns="" xmlns:a16="http://schemas.microsoft.com/office/drawing/2014/main" id="{408FD6B6-3CE0-4E85-9997-1A29FA8BDB25}"/>
              </a:ext>
            </a:extLst>
          </p:cNvPr>
          <p:cNvGrpSpPr/>
          <p:nvPr/>
        </p:nvGrpSpPr>
        <p:grpSpPr>
          <a:xfrm>
            <a:off x="4920372" y="3740706"/>
            <a:ext cx="563264" cy="563264"/>
            <a:chOff x="5970561" y="2818888"/>
            <a:chExt cx="563264" cy="563264"/>
          </a:xfrm>
        </p:grpSpPr>
        <p:sp>
          <p:nvSpPr>
            <p:cNvPr id="164" name="Oval 163">
              <a:extLst>
                <a:ext uri="{FF2B5EF4-FFF2-40B4-BE49-F238E27FC236}">
                  <a16:creationId xmlns="" xmlns:a16="http://schemas.microsoft.com/office/drawing/2014/main" id="{5B12095C-3B86-4677-837C-A10C9DF10B97}"/>
                </a:ext>
              </a:extLst>
            </p:cNvPr>
            <p:cNvSpPr/>
            <p:nvPr/>
          </p:nvSpPr>
          <p:spPr>
            <a:xfrm>
              <a:off x="5970561" y="281888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65" name="Picture 164">
              <a:extLst>
                <a:ext uri="{FF2B5EF4-FFF2-40B4-BE49-F238E27FC236}">
                  <a16:creationId xmlns="" xmlns:a16="http://schemas.microsoft.com/office/drawing/2014/main" id="{CBEEA537-5FD0-42DF-A79D-3F88C5EE98F1}"/>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t="-5696" r="27848" b="-1"/>
            <a:stretch/>
          </p:blipFill>
          <p:spPr>
            <a:xfrm>
              <a:off x="6021505" y="3043239"/>
              <a:ext cx="471313" cy="138087"/>
            </a:xfrm>
            <a:prstGeom prst="rect">
              <a:avLst/>
            </a:prstGeom>
          </p:spPr>
        </p:pic>
      </p:grpSp>
      <p:grpSp>
        <p:nvGrpSpPr>
          <p:cNvPr id="166" name="Group 165">
            <a:extLst>
              <a:ext uri="{FF2B5EF4-FFF2-40B4-BE49-F238E27FC236}">
                <a16:creationId xmlns="" xmlns:a16="http://schemas.microsoft.com/office/drawing/2014/main" id="{A41719D6-F8EB-4871-A951-2B6AD59F5D7C}"/>
              </a:ext>
            </a:extLst>
          </p:cNvPr>
          <p:cNvGrpSpPr/>
          <p:nvPr/>
        </p:nvGrpSpPr>
        <p:grpSpPr>
          <a:xfrm>
            <a:off x="4370701" y="3740706"/>
            <a:ext cx="563264" cy="563264"/>
            <a:chOff x="5256929" y="1967698"/>
            <a:chExt cx="563264" cy="563264"/>
          </a:xfrm>
        </p:grpSpPr>
        <p:sp>
          <p:nvSpPr>
            <p:cNvPr id="167" name="Oval 166">
              <a:extLst>
                <a:ext uri="{FF2B5EF4-FFF2-40B4-BE49-F238E27FC236}">
                  <a16:creationId xmlns="" xmlns:a16="http://schemas.microsoft.com/office/drawing/2014/main" id="{531E6783-6D93-4FBC-9B56-A1D84316DC9E}"/>
                </a:ext>
              </a:extLst>
            </p:cNvPr>
            <p:cNvSpPr/>
            <p:nvPr/>
          </p:nvSpPr>
          <p:spPr>
            <a:xfrm>
              <a:off x="5256929" y="196769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68" name="Picture 22">
              <a:extLst>
                <a:ext uri="{FF2B5EF4-FFF2-40B4-BE49-F238E27FC236}">
                  <a16:creationId xmlns="" xmlns:a16="http://schemas.microsoft.com/office/drawing/2014/main" id="{B1F85249-845E-4D0E-BEB5-58D1C40639A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l="1563" t="15625" r="78999" b="71875"/>
            <a:stretch>
              <a:fillRect/>
            </a:stretch>
          </p:blipFill>
          <p:spPr bwMode="auto">
            <a:xfrm>
              <a:off x="5302752" y="2148907"/>
              <a:ext cx="468305" cy="226415"/>
            </a:xfrm>
            <a:prstGeom prst="rect">
              <a:avLst/>
            </a:prstGeom>
            <a:noFill/>
            <a:ln>
              <a:noFill/>
            </a:ln>
            <a:effectLst/>
            <a:extLst>
              <a:ext uri="{909E8E84-426E-40DD-AFC4-6F175D3DCCD1}">
                <a14:hiddenFill xmlns:a14="http://schemas.microsoft.com/office/drawing/2010/main">
                  <a:solidFill>
                    <a:srgbClr val="A1BD6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BBD83"/>
                    </a:outerShdw>
                  </a:effectLst>
                </a14:hiddenEffects>
              </a:ext>
            </a:extLst>
          </p:spPr>
        </p:pic>
      </p:grpSp>
      <p:grpSp>
        <p:nvGrpSpPr>
          <p:cNvPr id="213" name="Group 212">
            <a:extLst>
              <a:ext uri="{FF2B5EF4-FFF2-40B4-BE49-F238E27FC236}">
                <a16:creationId xmlns="" xmlns:a16="http://schemas.microsoft.com/office/drawing/2014/main" id="{99CEB72A-AAFF-4B33-902D-88E6F3399084}"/>
              </a:ext>
            </a:extLst>
          </p:cNvPr>
          <p:cNvGrpSpPr/>
          <p:nvPr/>
        </p:nvGrpSpPr>
        <p:grpSpPr>
          <a:xfrm>
            <a:off x="6655791" y="4655668"/>
            <a:ext cx="563264" cy="563264"/>
            <a:chOff x="6969800" y="3695697"/>
            <a:chExt cx="563264" cy="563264"/>
          </a:xfrm>
        </p:grpSpPr>
        <p:sp>
          <p:nvSpPr>
            <p:cNvPr id="214" name="Oval 213">
              <a:extLst>
                <a:ext uri="{FF2B5EF4-FFF2-40B4-BE49-F238E27FC236}">
                  <a16:creationId xmlns="" xmlns:a16="http://schemas.microsoft.com/office/drawing/2014/main" id="{22B9F268-561A-4855-B993-711B915B35D7}"/>
                </a:ext>
              </a:extLst>
            </p:cNvPr>
            <p:cNvSpPr/>
            <p:nvPr/>
          </p:nvSpPr>
          <p:spPr>
            <a:xfrm>
              <a:off x="6969800" y="3695697"/>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15" name="Picture 35" descr="logo">
              <a:extLst>
                <a:ext uri="{FF2B5EF4-FFF2-40B4-BE49-F238E27FC236}">
                  <a16:creationId xmlns="" xmlns:a16="http://schemas.microsoft.com/office/drawing/2014/main" id="{99EE6F2A-96DD-48BF-8653-7F53FF9C592A}"/>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4706" r="41959" b="47293"/>
            <a:stretch/>
          </p:blipFill>
          <p:spPr bwMode="auto">
            <a:xfrm>
              <a:off x="7008033" y="3931231"/>
              <a:ext cx="491317" cy="91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16" name="Group 215">
            <a:extLst>
              <a:ext uri="{FF2B5EF4-FFF2-40B4-BE49-F238E27FC236}">
                <a16:creationId xmlns="" xmlns:a16="http://schemas.microsoft.com/office/drawing/2014/main" id="{F3519C5A-C34F-4CB9-BED9-26495AFFE5ED}"/>
              </a:ext>
            </a:extLst>
          </p:cNvPr>
          <p:cNvGrpSpPr/>
          <p:nvPr/>
        </p:nvGrpSpPr>
        <p:grpSpPr>
          <a:xfrm>
            <a:off x="5951517" y="4656998"/>
            <a:ext cx="563264" cy="563264"/>
            <a:chOff x="6360399" y="3697027"/>
            <a:chExt cx="563264" cy="563264"/>
          </a:xfrm>
        </p:grpSpPr>
        <p:sp>
          <p:nvSpPr>
            <p:cNvPr id="217" name="Oval 216">
              <a:extLst>
                <a:ext uri="{FF2B5EF4-FFF2-40B4-BE49-F238E27FC236}">
                  <a16:creationId xmlns="" xmlns:a16="http://schemas.microsoft.com/office/drawing/2014/main" id="{FB363C05-820D-4D30-B2EC-45EA22F58C4D}"/>
                </a:ext>
              </a:extLst>
            </p:cNvPr>
            <p:cNvSpPr/>
            <p:nvPr/>
          </p:nvSpPr>
          <p:spPr>
            <a:xfrm>
              <a:off x="6360399" y="3697027"/>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18" name="Picture 34">
              <a:extLst>
                <a:ext uri="{FF2B5EF4-FFF2-40B4-BE49-F238E27FC236}">
                  <a16:creationId xmlns="" xmlns:a16="http://schemas.microsoft.com/office/drawing/2014/main" id="{C6439DCC-9CF7-458D-85CC-CD1977F8E1E3}"/>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6035" t="21055" r="76154" b="73846"/>
            <a:stretch/>
          </p:blipFill>
          <p:spPr bwMode="auto">
            <a:xfrm>
              <a:off x="6380905" y="3920048"/>
              <a:ext cx="522251" cy="112197"/>
            </a:xfrm>
            <a:prstGeom prst="rect">
              <a:avLst/>
            </a:prstGeom>
            <a:noFill/>
            <a:ln>
              <a:noFill/>
            </a:ln>
            <a:effectLst/>
            <a:extLst>
              <a:ext uri="{909E8E84-426E-40DD-AFC4-6F175D3DCCD1}">
                <a14:hiddenFill xmlns:a14="http://schemas.microsoft.com/office/drawing/2010/main">
                  <a:solidFill>
                    <a:srgbClr val="A1BD6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BBD83"/>
                    </a:outerShdw>
                  </a:effectLst>
                </a14:hiddenEffects>
              </a:ext>
            </a:extLst>
          </p:spPr>
        </p:pic>
      </p:grpSp>
      <p:grpSp>
        <p:nvGrpSpPr>
          <p:cNvPr id="219" name="Group 218">
            <a:extLst>
              <a:ext uri="{FF2B5EF4-FFF2-40B4-BE49-F238E27FC236}">
                <a16:creationId xmlns="" xmlns:a16="http://schemas.microsoft.com/office/drawing/2014/main" id="{C1F0AA4E-9143-4DBD-B4FB-2F786157AC12}"/>
              </a:ext>
            </a:extLst>
          </p:cNvPr>
          <p:cNvGrpSpPr/>
          <p:nvPr/>
        </p:nvGrpSpPr>
        <p:grpSpPr>
          <a:xfrm>
            <a:off x="5247243" y="4655668"/>
            <a:ext cx="563264" cy="563264"/>
            <a:chOff x="6378042" y="2818888"/>
            <a:chExt cx="563264" cy="563264"/>
          </a:xfrm>
        </p:grpSpPr>
        <p:sp>
          <p:nvSpPr>
            <p:cNvPr id="220" name="Oval 219">
              <a:extLst>
                <a:ext uri="{FF2B5EF4-FFF2-40B4-BE49-F238E27FC236}">
                  <a16:creationId xmlns="" xmlns:a16="http://schemas.microsoft.com/office/drawing/2014/main" id="{C1F95643-2B7A-47F2-B60E-D0D31B2EAE46}"/>
                </a:ext>
              </a:extLst>
            </p:cNvPr>
            <p:cNvSpPr/>
            <p:nvPr/>
          </p:nvSpPr>
          <p:spPr>
            <a:xfrm>
              <a:off x="6378042" y="281888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21" name="Picture 220">
              <a:extLst>
                <a:ext uri="{FF2B5EF4-FFF2-40B4-BE49-F238E27FC236}">
                  <a16:creationId xmlns="" xmlns:a16="http://schemas.microsoft.com/office/drawing/2014/main" id="{26397C17-6ADD-41F6-AEBC-2AFB9ACDD4D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469225" y="2946496"/>
              <a:ext cx="386990" cy="274476"/>
            </a:xfrm>
            <a:prstGeom prst="rect">
              <a:avLst/>
            </a:prstGeom>
          </p:spPr>
        </p:pic>
      </p:grpSp>
      <p:grpSp>
        <p:nvGrpSpPr>
          <p:cNvPr id="222" name="Group 221">
            <a:extLst>
              <a:ext uri="{FF2B5EF4-FFF2-40B4-BE49-F238E27FC236}">
                <a16:creationId xmlns="" xmlns:a16="http://schemas.microsoft.com/office/drawing/2014/main" id="{F039A53C-3436-41F4-940F-F8F9D99FBA0E}"/>
              </a:ext>
            </a:extLst>
          </p:cNvPr>
          <p:cNvGrpSpPr/>
          <p:nvPr/>
        </p:nvGrpSpPr>
        <p:grpSpPr>
          <a:xfrm>
            <a:off x="4542969" y="4655668"/>
            <a:ext cx="563264" cy="563264"/>
            <a:chOff x="5970561" y="2818888"/>
            <a:chExt cx="563264" cy="563264"/>
          </a:xfrm>
        </p:grpSpPr>
        <p:sp>
          <p:nvSpPr>
            <p:cNvPr id="223" name="Oval 222">
              <a:extLst>
                <a:ext uri="{FF2B5EF4-FFF2-40B4-BE49-F238E27FC236}">
                  <a16:creationId xmlns="" xmlns:a16="http://schemas.microsoft.com/office/drawing/2014/main" id="{7CCD655C-34C2-4AA9-A14C-9E29C67EFFB7}"/>
                </a:ext>
              </a:extLst>
            </p:cNvPr>
            <p:cNvSpPr/>
            <p:nvPr/>
          </p:nvSpPr>
          <p:spPr>
            <a:xfrm>
              <a:off x="5970561" y="281888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24" name="Picture 223">
              <a:extLst>
                <a:ext uri="{FF2B5EF4-FFF2-40B4-BE49-F238E27FC236}">
                  <a16:creationId xmlns="" xmlns:a16="http://schemas.microsoft.com/office/drawing/2014/main" id="{6D9CE3DE-DAD5-407F-A8F3-6E56DDA36041}"/>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t="-5696" r="27848" b="-1"/>
            <a:stretch/>
          </p:blipFill>
          <p:spPr>
            <a:xfrm>
              <a:off x="6021505" y="3043239"/>
              <a:ext cx="471313" cy="138087"/>
            </a:xfrm>
            <a:prstGeom prst="rect">
              <a:avLst/>
            </a:prstGeom>
          </p:spPr>
        </p:pic>
      </p:grpSp>
      <p:grpSp>
        <p:nvGrpSpPr>
          <p:cNvPr id="225" name="Group 224">
            <a:extLst>
              <a:ext uri="{FF2B5EF4-FFF2-40B4-BE49-F238E27FC236}">
                <a16:creationId xmlns="" xmlns:a16="http://schemas.microsoft.com/office/drawing/2014/main" id="{C3EBB640-66F6-4873-AB92-DFD826536154}"/>
              </a:ext>
            </a:extLst>
          </p:cNvPr>
          <p:cNvGrpSpPr/>
          <p:nvPr/>
        </p:nvGrpSpPr>
        <p:grpSpPr>
          <a:xfrm>
            <a:off x="3838695" y="4655668"/>
            <a:ext cx="563264" cy="563264"/>
            <a:chOff x="5256929" y="1967698"/>
            <a:chExt cx="563264" cy="563264"/>
          </a:xfrm>
        </p:grpSpPr>
        <p:sp>
          <p:nvSpPr>
            <p:cNvPr id="226" name="Oval 225">
              <a:extLst>
                <a:ext uri="{FF2B5EF4-FFF2-40B4-BE49-F238E27FC236}">
                  <a16:creationId xmlns="" xmlns:a16="http://schemas.microsoft.com/office/drawing/2014/main" id="{AFC026EC-02A6-41CC-9C07-4EF47B1EC131}"/>
                </a:ext>
              </a:extLst>
            </p:cNvPr>
            <p:cNvSpPr/>
            <p:nvPr/>
          </p:nvSpPr>
          <p:spPr>
            <a:xfrm>
              <a:off x="5256929" y="196769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27" name="Picture 22">
              <a:extLst>
                <a:ext uri="{FF2B5EF4-FFF2-40B4-BE49-F238E27FC236}">
                  <a16:creationId xmlns="" xmlns:a16="http://schemas.microsoft.com/office/drawing/2014/main" id="{212AC37F-10DE-4726-BEC2-9972E6048D1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l="1563" t="15625" r="78999" b="71875"/>
            <a:stretch>
              <a:fillRect/>
            </a:stretch>
          </p:blipFill>
          <p:spPr bwMode="auto">
            <a:xfrm>
              <a:off x="5302752" y="2148907"/>
              <a:ext cx="468305" cy="226415"/>
            </a:xfrm>
            <a:prstGeom prst="rect">
              <a:avLst/>
            </a:prstGeom>
            <a:noFill/>
            <a:ln>
              <a:noFill/>
            </a:ln>
            <a:effectLst/>
            <a:extLst>
              <a:ext uri="{909E8E84-426E-40DD-AFC4-6F175D3DCCD1}">
                <a14:hiddenFill xmlns:a14="http://schemas.microsoft.com/office/drawing/2010/main">
                  <a:solidFill>
                    <a:srgbClr val="A1BD6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BBD83"/>
                    </a:outerShdw>
                  </a:effectLst>
                </a14:hiddenEffects>
              </a:ext>
            </a:extLst>
          </p:spPr>
        </p:pic>
      </p:grpSp>
      <p:grpSp>
        <p:nvGrpSpPr>
          <p:cNvPr id="232" name="Group 231">
            <a:extLst>
              <a:ext uri="{FF2B5EF4-FFF2-40B4-BE49-F238E27FC236}">
                <a16:creationId xmlns="" xmlns:a16="http://schemas.microsoft.com/office/drawing/2014/main" id="{C4896A23-BC4D-4BD9-BBDF-4AE6B7AAFAEB}"/>
              </a:ext>
            </a:extLst>
          </p:cNvPr>
          <p:cNvGrpSpPr/>
          <p:nvPr/>
        </p:nvGrpSpPr>
        <p:grpSpPr>
          <a:xfrm>
            <a:off x="7360065" y="4655668"/>
            <a:ext cx="563264" cy="563264"/>
            <a:chOff x="7360065" y="4655668"/>
            <a:chExt cx="563264" cy="563264"/>
          </a:xfrm>
        </p:grpSpPr>
        <p:sp>
          <p:nvSpPr>
            <p:cNvPr id="211" name="Oval 210">
              <a:extLst>
                <a:ext uri="{FF2B5EF4-FFF2-40B4-BE49-F238E27FC236}">
                  <a16:creationId xmlns="" xmlns:a16="http://schemas.microsoft.com/office/drawing/2014/main" id="{F37DE2C0-1672-453D-AC94-B7C0030949A5}"/>
                </a:ext>
              </a:extLst>
            </p:cNvPr>
            <p:cNvSpPr/>
            <p:nvPr/>
          </p:nvSpPr>
          <p:spPr>
            <a:xfrm>
              <a:off x="7360065" y="465566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31" name="Picture 230">
              <a:extLst>
                <a:ext uri="{FF2B5EF4-FFF2-40B4-BE49-F238E27FC236}">
                  <a16:creationId xmlns="" xmlns:a16="http://schemas.microsoft.com/office/drawing/2014/main" id="{0DC1BCF9-C7F8-44B9-ADE6-C88A06852B48}"/>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429827" y="4888091"/>
              <a:ext cx="414439" cy="134983"/>
            </a:xfrm>
            <a:prstGeom prst="rect">
              <a:avLst/>
            </a:prstGeom>
          </p:spPr>
        </p:pic>
      </p:grpSp>
      <p:grpSp>
        <p:nvGrpSpPr>
          <p:cNvPr id="233" name="Group 232">
            <a:extLst>
              <a:ext uri="{FF2B5EF4-FFF2-40B4-BE49-F238E27FC236}">
                <a16:creationId xmlns="" xmlns:a16="http://schemas.microsoft.com/office/drawing/2014/main" id="{DC1142EA-454F-47B0-A87B-37377A7915D5}"/>
              </a:ext>
            </a:extLst>
          </p:cNvPr>
          <p:cNvGrpSpPr/>
          <p:nvPr/>
        </p:nvGrpSpPr>
        <p:grpSpPr>
          <a:xfrm>
            <a:off x="8056465" y="4655668"/>
            <a:ext cx="579005" cy="563264"/>
            <a:chOff x="8056465" y="4655668"/>
            <a:chExt cx="579005" cy="563264"/>
          </a:xfrm>
        </p:grpSpPr>
        <p:sp>
          <p:nvSpPr>
            <p:cNvPr id="208" name="Oval 207">
              <a:extLst>
                <a:ext uri="{FF2B5EF4-FFF2-40B4-BE49-F238E27FC236}">
                  <a16:creationId xmlns="" xmlns:a16="http://schemas.microsoft.com/office/drawing/2014/main" id="{E49A4873-4CEC-4F63-A6C2-8AA70EB218E9}"/>
                </a:ext>
              </a:extLst>
            </p:cNvPr>
            <p:cNvSpPr/>
            <p:nvPr/>
          </p:nvSpPr>
          <p:spPr>
            <a:xfrm>
              <a:off x="8064336" y="465566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8" name="Rectangle 48">
              <a:extLst>
                <a:ext uri="{FF2B5EF4-FFF2-40B4-BE49-F238E27FC236}">
                  <a16:creationId xmlns="" xmlns:a16="http://schemas.microsoft.com/office/drawing/2014/main" id="{F6BE2B33-1B55-4FD9-AEC6-6E1D30DEED72}"/>
                </a:ext>
              </a:extLst>
            </p:cNvPr>
            <p:cNvSpPr>
              <a:spLocks noChangeArrowheads="1"/>
            </p:cNvSpPr>
            <p:nvPr/>
          </p:nvSpPr>
          <p:spPr bwMode="auto">
            <a:xfrm>
              <a:off x="8056465" y="4851417"/>
              <a:ext cx="579005" cy="200055"/>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20000"/>
                </a:spcBef>
                <a:buClr>
                  <a:srgbClr val="61A0D7"/>
                </a:buClr>
                <a:buFont typeface="Arial" charset="0"/>
                <a:buChar char="•"/>
                <a:defRPr sz="3200" b="1">
                  <a:solidFill>
                    <a:srgbClr val="595959"/>
                  </a:solidFill>
                  <a:latin typeface="Calibri" pitchFamily="34" charset="0"/>
                  <a:ea typeface="ＭＳ Ｐゴシック" pitchFamily="34" charset="-128"/>
                  <a:cs typeface="Calibri" pitchFamily="34" charset="0"/>
                </a:defRPr>
              </a:lvl1pPr>
              <a:lvl2pPr marL="742950" indent="-285750">
                <a:spcBef>
                  <a:spcPct val="20000"/>
                </a:spcBef>
                <a:buClr>
                  <a:srgbClr val="61A0D7"/>
                </a:buClr>
                <a:buFont typeface="Arial" charset="0"/>
                <a:buChar char="–"/>
                <a:defRPr sz="2800">
                  <a:solidFill>
                    <a:srgbClr val="595959"/>
                  </a:solidFill>
                  <a:latin typeface="Calibri" pitchFamily="34" charset="0"/>
                  <a:ea typeface="ＭＳ Ｐゴシック" pitchFamily="34" charset="-128"/>
                </a:defRPr>
              </a:lvl2pPr>
              <a:lvl3pPr marL="1143000" indent="-228600">
                <a:spcBef>
                  <a:spcPct val="20000"/>
                </a:spcBef>
                <a:buClr>
                  <a:srgbClr val="61A0D7"/>
                </a:buClr>
                <a:buFont typeface="Arial" charset="0"/>
                <a:buChar char="•"/>
                <a:defRPr sz="2400">
                  <a:solidFill>
                    <a:srgbClr val="595959"/>
                  </a:solidFill>
                  <a:latin typeface="Calibri" pitchFamily="34" charset="0"/>
                  <a:ea typeface="ＭＳ Ｐゴシック" pitchFamily="34" charset="-128"/>
                </a:defRPr>
              </a:lvl3pPr>
              <a:lvl4pPr marL="16002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4pPr>
              <a:lvl5pPr marL="20574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9pPr>
            </a:lstStyle>
            <a:p>
              <a:pPr marL="0" marR="0" lvl="0" indent="0" algn="ctr" defTabSz="457200" rtl="0" eaLnBrk="0" fontAlgn="base" latinLnBrk="0" hangingPunct="0">
                <a:lnSpc>
                  <a:spcPct val="100000"/>
                </a:lnSpc>
                <a:spcBef>
                  <a:spcPct val="0"/>
                </a:spcBef>
                <a:spcAft>
                  <a:spcPct val="0"/>
                </a:spcAft>
                <a:buClrTx/>
                <a:buSzTx/>
                <a:buFont typeface="Arial" charset="0"/>
                <a:buNone/>
                <a:tabLst/>
                <a:defRPr/>
              </a:pPr>
              <a:r>
                <a:rPr kumimoji="0" lang="en-US" altLang="en-US" sz="700" b="1" i="0" u="none" strike="noStrike" kern="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Am2Pat</a:t>
              </a:r>
            </a:p>
          </p:txBody>
        </p:sp>
      </p:grpSp>
      <p:grpSp>
        <p:nvGrpSpPr>
          <p:cNvPr id="256" name="Group 255">
            <a:extLst>
              <a:ext uri="{FF2B5EF4-FFF2-40B4-BE49-F238E27FC236}">
                <a16:creationId xmlns="" xmlns:a16="http://schemas.microsoft.com/office/drawing/2014/main" id="{FBBD3175-1EDB-4BEB-9996-2ABFF0D43301}"/>
              </a:ext>
            </a:extLst>
          </p:cNvPr>
          <p:cNvGrpSpPr/>
          <p:nvPr/>
        </p:nvGrpSpPr>
        <p:grpSpPr>
          <a:xfrm>
            <a:off x="4131922" y="5557682"/>
            <a:ext cx="563264" cy="563264"/>
            <a:chOff x="6378042" y="2818888"/>
            <a:chExt cx="563264" cy="563264"/>
          </a:xfrm>
        </p:grpSpPr>
        <p:sp>
          <p:nvSpPr>
            <p:cNvPr id="257" name="Oval 256">
              <a:extLst>
                <a:ext uri="{FF2B5EF4-FFF2-40B4-BE49-F238E27FC236}">
                  <a16:creationId xmlns="" xmlns:a16="http://schemas.microsoft.com/office/drawing/2014/main" id="{9402690A-B784-4D55-A3BA-60C8DD548707}"/>
                </a:ext>
              </a:extLst>
            </p:cNvPr>
            <p:cNvSpPr/>
            <p:nvPr/>
          </p:nvSpPr>
          <p:spPr>
            <a:xfrm>
              <a:off x="6378042" y="281888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58" name="Picture 257">
              <a:extLst>
                <a:ext uri="{FF2B5EF4-FFF2-40B4-BE49-F238E27FC236}">
                  <a16:creationId xmlns="" xmlns:a16="http://schemas.microsoft.com/office/drawing/2014/main" id="{53BF85E6-E02D-4C09-BCFC-46889496F8E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469225" y="2946496"/>
              <a:ext cx="386990" cy="274476"/>
            </a:xfrm>
            <a:prstGeom prst="rect">
              <a:avLst/>
            </a:prstGeom>
          </p:spPr>
        </p:pic>
      </p:grpSp>
      <p:grpSp>
        <p:nvGrpSpPr>
          <p:cNvPr id="259" name="Group 258">
            <a:extLst>
              <a:ext uri="{FF2B5EF4-FFF2-40B4-BE49-F238E27FC236}">
                <a16:creationId xmlns="" xmlns:a16="http://schemas.microsoft.com/office/drawing/2014/main" id="{CE50516A-3A96-4391-A362-46CED68B0614}"/>
              </a:ext>
            </a:extLst>
          </p:cNvPr>
          <p:cNvGrpSpPr/>
          <p:nvPr/>
        </p:nvGrpSpPr>
        <p:grpSpPr>
          <a:xfrm>
            <a:off x="3353402" y="5557682"/>
            <a:ext cx="563264" cy="563264"/>
            <a:chOff x="5970561" y="2818888"/>
            <a:chExt cx="563264" cy="563264"/>
          </a:xfrm>
        </p:grpSpPr>
        <p:sp>
          <p:nvSpPr>
            <p:cNvPr id="260" name="Oval 259">
              <a:extLst>
                <a:ext uri="{FF2B5EF4-FFF2-40B4-BE49-F238E27FC236}">
                  <a16:creationId xmlns="" xmlns:a16="http://schemas.microsoft.com/office/drawing/2014/main" id="{97EB0DCA-9A54-4BB5-B466-BA02B4853B3E}"/>
                </a:ext>
              </a:extLst>
            </p:cNvPr>
            <p:cNvSpPr/>
            <p:nvPr/>
          </p:nvSpPr>
          <p:spPr>
            <a:xfrm>
              <a:off x="5970561" y="281888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61" name="Picture 260">
              <a:extLst>
                <a:ext uri="{FF2B5EF4-FFF2-40B4-BE49-F238E27FC236}">
                  <a16:creationId xmlns="" xmlns:a16="http://schemas.microsoft.com/office/drawing/2014/main" id="{27357026-BC3A-4990-93BC-509E719F9216}"/>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t="-5696" r="27848" b="-1"/>
            <a:stretch/>
          </p:blipFill>
          <p:spPr>
            <a:xfrm>
              <a:off x="6021505" y="3043239"/>
              <a:ext cx="471313" cy="138087"/>
            </a:xfrm>
            <a:prstGeom prst="rect">
              <a:avLst/>
            </a:prstGeom>
          </p:spPr>
        </p:pic>
      </p:grpSp>
      <p:grpSp>
        <p:nvGrpSpPr>
          <p:cNvPr id="278" name="Group 277">
            <a:extLst>
              <a:ext uri="{FF2B5EF4-FFF2-40B4-BE49-F238E27FC236}">
                <a16:creationId xmlns="" xmlns:a16="http://schemas.microsoft.com/office/drawing/2014/main" id="{8790927E-721E-40F1-B871-80C668FA63E3}"/>
              </a:ext>
            </a:extLst>
          </p:cNvPr>
          <p:cNvGrpSpPr/>
          <p:nvPr/>
        </p:nvGrpSpPr>
        <p:grpSpPr>
          <a:xfrm>
            <a:off x="4920372" y="5557682"/>
            <a:ext cx="563264" cy="563264"/>
            <a:chOff x="4920372" y="5557682"/>
            <a:chExt cx="563264" cy="563264"/>
          </a:xfrm>
        </p:grpSpPr>
        <p:sp>
          <p:nvSpPr>
            <p:cNvPr id="263" name="Oval 262">
              <a:extLst>
                <a:ext uri="{FF2B5EF4-FFF2-40B4-BE49-F238E27FC236}">
                  <a16:creationId xmlns="" xmlns:a16="http://schemas.microsoft.com/office/drawing/2014/main" id="{C3EBCB10-1711-4B41-A6FC-84007CA0AE91}"/>
                </a:ext>
              </a:extLst>
            </p:cNvPr>
            <p:cNvSpPr/>
            <p:nvPr/>
          </p:nvSpPr>
          <p:spPr>
            <a:xfrm>
              <a:off x="4920372" y="5557682"/>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77" name="Picture 35" descr="logo">
              <a:extLst>
                <a:ext uri="{FF2B5EF4-FFF2-40B4-BE49-F238E27FC236}">
                  <a16:creationId xmlns="" xmlns:a16="http://schemas.microsoft.com/office/drawing/2014/main" id="{A1949E5B-AEB2-47B7-A521-594561C3FF9C}"/>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4706" r="41959" b="47293"/>
            <a:stretch/>
          </p:blipFill>
          <p:spPr bwMode="auto">
            <a:xfrm>
              <a:off x="4956345" y="5793216"/>
              <a:ext cx="491317" cy="91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a:extLst>
              <a:ext uri="{FF2B5EF4-FFF2-40B4-BE49-F238E27FC236}">
                <a16:creationId xmlns="" xmlns:a16="http://schemas.microsoft.com/office/drawing/2014/main" id="{3BD15B2A-B65D-40F4-AC41-E7805963C869}"/>
              </a:ext>
            </a:extLst>
          </p:cNvPr>
          <p:cNvGrpSpPr/>
          <p:nvPr/>
        </p:nvGrpSpPr>
        <p:grpSpPr>
          <a:xfrm>
            <a:off x="5682691" y="5559012"/>
            <a:ext cx="563264" cy="563264"/>
            <a:chOff x="5682691" y="5559012"/>
            <a:chExt cx="563264" cy="563264"/>
          </a:xfrm>
        </p:grpSpPr>
        <p:sp>
          <p:nvSpPr>
            <p:cNvPr id="254" name="Oval 253">
              <a:extLst>
                <a:ext uri="{FF2B5EF4-FFF2-40B4-BE49-F238E27FC236}">
                  <a16:creationId xmlns="" xmlns:a16="http://schemas.microsoft.com/office/drawing/2014/main" id="{BFF73064-4A1E-4CEC-94F7-C844CB0D1BE6}"/>
                </a:ext>
              </a:extLst>
            </p:cNvPr>
            <p:cNvSpPr/>
            <p:nvPr/>
          </p:nvSpPr>
          <p:spPr>
            <a:xfrm>
              <a:off x="5682691" y="5559012"/>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79" name="Picture 2">
              <a:extLst>
                <a:ext uri="{FF2B5EF4-FFF2-40B4-BE49-F238E27FC236}">
                  <a16:creationId xmlns="" xmlns:a16="http://schemas.microsoft.com/office/drawing/2014/main" id="{CB429D69-1967-4A9C-A453-A1A97E9056F9}"/>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726743" y="5793170"/>
              <a:ext cx="481780" cy="1158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81" name="Group 280">
            <a:extLst>
              <a:ext uri="{FF2B5EF4-FFF2-40B4-BE49-F238E27FC236}">
                <a16:creationId xmlns="" xmlns:a16="http://schemas.microsoft.com/office/drawing/2014/main" id="{84DA7379-5647-438A-88AD-9FC7A1E1C724}"/>
              </a:ext>
            </a:extLst>
          </p:cNvPr>
          <p:cNvGrpSpPr/>
          <p:nvPr/>
        </p:nvGrpSpPr>
        <p:grpSpPr>
          <a:xfrm>
            <a:off x="6461211" y="5557682"/>
            <a:ext cx="563264" cy="563264"/>
            <a:chOff x="6461211" y="5557682"/>
            <a:chExt cx="563264" cy="563264"/>
          </a:xfrm>
        </p:grpSpPr>
        <p:sp>
          <p:nvSpPr>
            <p:cNvPr id="251" name="Oval 250">
              <a:extLst>
                <a:ext uri="{FF2B5EF4-FFF2-40B4-BE49-F238E27FC236}">
                  <a16:creationId xmlns="" xmlns:a16="http://schemas.microsoft.com/office/drawing/2014/main" id="{87648B03-5690-403A-AD44-8B8803A870BF}"/>
                </a:ext>
              </a:extLst>
            </p:cNvPr>
            <p:cNvSpPr/>
            <p:nvPr/>
          </p:nvSpPr>
          <p:spPr>
            <a:xfrm>
              <a:off x="6461211" y="5557682"/>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80" name="Picture 58" descr="Homepage of Cardinal Health">
              <a:hlinkClick r:id="rId17"/>
              <a:extLst>
                <a:ext uri="{FF2B5EF4-FFF2-40B4-BE49-F238E27FC236}">
                  <a16:creationId xmlns="" xmlns:a16="http://schemas.microsoft.com/office/drawing/2014/main" id="{275CDD12-4147-4A18-8D52-5FCB30C530A6}"/>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499105" y="5761370"/>
              <a:ext cx="462622" cy="166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3" name="Group 282">
            <a:extLst>
              <a:ext uri="{FF2B5EF4-FFF2-40B4-BE49-F238E27FC236}">
                <a16:creationId xmlns="" xmlns:a16="http://schemas.microsoft.com/office/drawing/2014/main" id="{7A74B861-DDE1-4A8C-BA4B-92BA91673F3B}"/>
              </a:ext>
            </a:extLst>
          </p:cNvPr>
          <p:cNvGrpSpPr/>
          <p:nvPr/>
        </p:nvGrpSpPr>
        <p:grpSpPr>
          <a:xfrm>
            <a:off x="7239731" y="5557682"/>
            <a:ext cx="563264" cy="563264"/>
            <a:chOff x="7239731" y="5557682"/>
            <a:chExt cx="563264" cy="563264"/>
          </a:xfrm>
        </p:grpSpPr>
        <p:sp>
          <p:nvSpPr>
            <p:cNvPr id="269" name="Oval 268">
              <a:extLst>
                <a:ext uri="{FF2B5EF4-FFF2-40B4-BE49-F238E27FC236}">
                  <a16:creationId xmlns="" xmlns:a16="http://schemas.microsoft.com/office/drawing/2014/main" id="{24872D18-2745-4B60-A084-65F4A06B5480}"/>
                </a:ext>
              </a:extLst>
            </p:cNvPr>
            <p:cNvSpPr/>
            <p:nvPr/>
          </p:nvSpPr>
          <p:spPr>
            <a:xfrm>
              <a:off x="7239731" y="5557682"/>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82" name="Picture 3">
              <a:extLst>
                <a:ext uri="{FF2B5EF4-FFF2-40B4-BE49-F238E27FC236}">
                  <a16:creationId xmlns="" xmlns:a16="http://schemas.microsoft.com/office/drawing/2014/main" id="{F10738D4-A712-44BD-8254-DF38CA60BDD6}"/>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276270" y="5793100"/>
              <a:ext cx="498054" cy="1064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85" name="Group 284">
            <a:extLst>
              <a:ext uri="{FF2B5EF4-FFF2-40B4-BE49-F238E27FC236}">
                <a16:creationId xmlns="" xmlns:a16="http://schemas.microsoft.com/office/drawing/2014/main" id="{9926C1CF-FEA5-4FD1-B44C-DC89222392B8}"/>
              </a:ext>
            </a:extLst>
          </p:cNvPr>
          <p:cNvGrpSpPr/>
          <p:nvPr/>
        </p:nvGrpSpPr>
        <p:grpSpPr>
          <a:xfrm>
            <a:off x="8018251" y="5557682"/>
            <a:ext cx="563264" cy="563264"/>
            <a:chOff x="8018251" y="5557682"/>
            <a:chExt cx="563264" cy="563264"/>
          </a:xfrm>
        </p:grpSpPr>
        <p:sp>
          <p:nvSpPr>
            <p:cNvPr id="275" name="Oval 274">
              <a:extLst>
                <a:ext uri="{FF2B5EF4-FFF2-40B4-BE49-F238E27FC236}">
                  <a16:creationId xmlns="" xmlns:a16="http://schemas.microsoft.com/office/drawing/2014/main" id="{92B726DD-6C3C-450B-BFD8-0EA37D6923A7}"/>
                </a:ext>
              </a:extLst>
            </p:cNvPr>
            <p:cNvSpPr/>
            <p:nvPr/>
          </p:nvSpPr>
          <p:spPr>
            <a:xfrm>
              <a:off x="8018251" y="5557682"/>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84" name="Picture 283">
              <a:extLst>
                <a:ext uri="{FF2B5EF4-FFF2-40B4-BE49-F238E27FC236}">
                  <a16:creationId xmlns="" xmlns:a16="http://schemas.microsoft.com/office/drawing/2014/main" id="{F720C74A-B107-4D2D-9CFF-C8F034417782}"/>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075412" y="5706158"/>
              <a:ext cx="426146" cy="280309"/>
            </a:xfrm>
            <a:prstGeom prst="rect">
              <a:avLst/>
            </a:prstGeom>
          </p:spPr>
        </p:pic>
      </p:grpSp>
      <p:grpSp>
        <p:nvGrpSpPr>
          <p:cNvPr id="290" name="Group 289">
            <a:extLst>
              <a:ext uri="{FF2B5EF4-FFF2-40B4-BE49-F238E27FC236}">
                <a16:creationId xmlns="" xmlns:a16="http://schemas.microsoft.com/office/drawing/2014/main" id="{1A26A987-40EE-4E0C-80A2-B74557968DF1}"/>
              </a:ext>
            </a:extLst>
          </p:cNvPr>
          <p:cNvGrpSpPr/>
          <p:nvPr/>
        </p:nvGrpSpPr>
        <p:grpSpPr>
          <a:xfrm>
            <a:off x="8804639" y="5557682"/>
            <a:ext cx="563264" cy="563264"/>
            <a:chOff x="8804639" y="5557682"/>
            <a:chExt cx="563264" cy="563264"/>
          </a:xfrm>
        </p:grpSpPr>
        <p:sp>
          <p:nvSpPr>
            <p:cNvPr id="272" name="Oval 271">
              <a:extLst>
                <a:ext uri="{FF2B5EF4-FFF2-40B4-BE49-F238E27FC236}">
                  <a16:creationId xmlns="" xmlns:a16="http://schemas.microsoft.com/office/drawing/2014/main" id="{A4E00AD2-8BD8-44AD-9F63-C44E7218ECDB}"/>
                </a:ext>
              </a:extLst>
            </p:cNvPr>
            <p:cNvSpPr/>
            <p:nvPr/>
          </p:nvSpPr>
          <p:spPr>
            <a:xfrm>
              <a:off x="8804639" y="5557682"/>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89" name="Picture 288">
              <a:extLst>
                <a:ext uri="{FF2B5EF4-FFF2-40B4-BE49-F238E27FC236}">
                  <a16:creationId xmlns="" xmlns:a16="http://schemas.microsoft.com/office/drawing/2014/main" id="{B5879225-95AF-45F9-83F6-DEADA7197C05}"/>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871986" y="5637577"/>
              <a:ext cx="417469" cy="417469"/>
            </a:xfrm>
            <a:prstGeom prst="rect">
              <a:avLst/>
            </a:prstGeom>
          </p:spPr>
        </p:pic>
      </p:grpSp>
      <p:grpSp>
        <p:nvGrpSpPr>
          <p:cNvPr id="292" name="Group 291">
            <a:extLst>
              <a:ext uri="{FF2B5EF4-FFF2-40B4-BE49-F238E27FC236}">
                <a16:creationId xmlns="" xmlns:a16="http://schemas.microsoft.com/office/drawing/2014/main" id="{E37D7E9C-FF62-4993-9777-6EC4603FF99E}"/>
              </a:ext>
            </a:extLst>
          </p:cNvPr>
          <p:cNvGrpSpPr/>
          <p:nvPr/>
        </p:nvGrpSpPr>
        <p:grpSpPr>
          <a:xfrm>
            <a:off x="5686741" y="2800999"/>
            <a:ext cx="558238" cy="558238"/>
            <a:chOff x="9670612" y="958287"/>
            <a:chExt cx="638664" cy="638664"/>
          </a:xfrm>
        </p:grpSpPr>
        <p:sp>
          <p:nvSpPr>
            <p:cNvPr id="293" name="Oval 292">
              <a:extLst>
                <a:ext uri="{FF2B5EF4-FFF2-40B4-BE49-F238E27FC236}">
                  <a16:creationId xmlns="" xmlns:a16="http://schemas.microsoft.com/office/drawing/2014/main" id="{7A155352-BE64-4084-B048-C2C23D2FED49}"/>
                </a:ext>
              </a:extLst>
            </p:cNvPr>
            <p:cNvSpPr/>
            <p:nvPr/>
          </p:nvSpPr>
          <p:spPr>
            <a:xfrm>
              <a:off x="9670612" y="958287"/>
              <a:ext cx="638664" cy="638664"/>
            </a:xfrm>
            <a:prstGeom prst="ellipse">
              <a:avLst/>
            </a:prstGeom>
            <a:solidFill>
              <a:srgbClr val="05589C">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94" name="Group 4">
              <a:extLst>
                <a:ext uri="{FF2B5EF4-FFF2-40B4-BE49-F238E27FC236}">
                  <a16:creationId xmlns="" xmlns:a16="http://schemas.microsoft.com/office/drawing/2014/main" id="{1E01DC4C-E8AA-4FA0-8FAB-5500E76697DC}"/>
                </a:ext>
              </a:extLst>
            </p:cNvPr>
            <p:cNvGrpSpPr>
              <a:grpSpLocks noChangeAspect="1"/>
            </p:cNvGrpSpPr>
            <p:nvPr/>
          </p:nvGrpSpPr>
          <p:grpSpPr bwMode="auto">
            <a:xfrm>
              <a:off x="9843355" y="1114574"/>
              <a:ext cx="309924" cy="270782"/>
              <a:chOff x="-1" y="3"/>
              <a:chExt cx="4529" cy="3957"/>
            </a:xfrm>
            <a:solidFill>
              <a:schemeClr val="bg1"/>
            </a:solidFill>
          </p:grpSpPr>
          <p:sp>
            <p:nvSpPr>
              <p:cNvPr id="295" name="Freeform 5">
                <a:extLst>
                  <a:ext uri="{FF2B5EF4-FFF2-40B4-BE49-F238E27FC236}">
                    <a16:creationId xmlns="" xmlns:a16="http://schemas.microsoft.com/office/drawing/2014/main" id="{338397E3-6B13-4303-B8A2-7B70E8E2570B}"/>
                  </a:ext>
                </a:extLst>
              </p:cNvPr>
              <p:cNvSpPr>
                <a:spLocks noEditPoints="1"/>
              </p:cNvSpPr>
              <p:nvPr/>
            </p:nvSpPr>
            <p:spPr bwMode="auto">
              <a:xfrm>
                <a:off x="-1" y="3"/>
                <a:ext cx="4529" cy="3957"/>
              </a:xfrm>
              <a:custGeom>
                <a:avLst/>
                <a:gdLst>
                  <a:gd name="T0" fmla="*/ 896 w 1696"/>
                  <a:gd name="T1" fmla="*/ 27 h 1481"/>
                  <a:gd name="T2" fmla="*/ 849 w 1696"/>
                  <a:gd name="T3" fmla="*/ 0 h 1481"/>
                  <a:gd name="T4" fmla="*/ 802 w 1696"/>
                  <a:gd name="T5" fmla="*/ 27 h 1481"/>
                  <a:gd name="T6" fmla="*/ 9 w 1696"/>
                  <a:gd name="T7" fmla="*/ 1399 h 1481"/>
                  <a:gd name="T8" fmla="*/ 9 w 1696"/>
                  <a:gd name="T9" fmla="*/ 1453 h 1481"/>
                  <a:gd name="T10" fmla="*/ 57 w 1696"/>
                  <a:gd name="T11" fmla="*/ 1481 h 1481"/>
                  <a:gd name="T12" fmla="*/ 1641 w 1696"/>
                  <a:gd name="T13" fmla="*/ 1481 h 1481"/>
                  <a:gd name="T14" fmla="*/ 1696 w 1696"/>
                  <a:gd name="T15" fmla="*/ 1426 h 1481"/>
                  <a:gd name="T16" fmla="*/ 1687 w 1696"/>
                  <a:gd name="T17" fmla="*/ 1395 h 1481"/>
                  <a:gd name="T18" fmla="*/ 896 w 1696"/>
                  <a:gd name="T19" fmla="*/ 27 h 1481"/>
                  <a:gd name="T20" fmla="*/ 151 w 1696"/>
                  <a:gd name="T21" fmla="*/ 1372 h 1481"/>
                  <a:gd name="T22" fmla="*/ 849 w 1696"/>
                  <a:gd name="T23" fmla="*/ 163 h 1481"/>
                  <a:gd name="T24" fmla="*/ 1547 w 1696"/>
                  <a:gd name="T25" fmla="*/ 1372 h 1481"/>
                  <a:gd name="T26" fmla="*/ 151 w 1696"/>
                  <a:gd name="T27" fmla="*/ 1372 h 1481"/>
                  <a:gd name="T28" fmla="*/ 151 w 1696"/>
                  <a:gd name="T29" fmla="*/ 1372 h 1481"/>
                  <a:gd name="T30" fmla="*/ 151 w 1696"/>
                  <a:gd name="T31" fmla="*/ 1372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6" h="1481">
                    <a:moveTo>
                      <a:pt x="896" y="27"/>
                    </a:moveTo>
                    <a:cubicBezTo>
                      <a:pt x="886" y="10"/>
                      <a:pt x="868" y="0"/>
                      <a:pt x="849" y="0"/>
                    </a:cubicBezTo>
                    <a:cubicBezTo>
                      <a:pt x="830" y="0"/>
                      <a:pt x="812" y="10"/>
                      <a:pt x="802" y="27"/>
                    </a:cubicBezTo>
                    <a:cubicBezTo>
                      <a:pt x="9" y="1399"/>
                      <a:pt x="9" y="1399"/>
                      <a:pt x="9" y="1399"/>
                    </a:cubicBezTo>
                    <a:cubicBezTo>
                      <a:pt x="0" y="1416"/>
                      <a:pt x="0" y="1436"/>
                      <a:pt x="9" y="1453"/>
                    </a:cubicBezTo>
                    <a:cubicBezTo>
                      <a:pt x="19" y="1471"/>
                      <a:pt x="38" y="1481"/>
                      <a:pt x="57" y="1481"/>
                    </a:cubicBezTo>
                    <a:cubicBezTo>
                      <a:pt x="1641" y="1481"/>
                      <a:pt x="1641" y="1481"/>
                      <a:pt x="1641" y="1481"/>
                    </a:cubicBezTo>
                    <a:cubicBezTo>
                      <a:pt x="1671" y="1481"/>
                      <a:pt x="1696" y="1456"/>
                      <a:pt x="1696" y="1426"/>
                    </a:cubicBezTo>
                    <a:cubicBezTo>
                      <a:pt x="1696" y="1414"/>
                      <a:pt x="1692" y="1404"/>
                      <a:pt x="1687" y="1395"/>
                    </a:cubicBezTo>
                    <a:lnTo>
                      <a:pt x="896" y="27"/>
                    </a:lnTo>
                    <a:close/>
                    <a:moveTo>
                      <a:pt x="151" y="1372"/>
                    </a:moveTo>
                    <a:cubicBezTo>
                      <a:pt x="849" y="163"/>
                      <a:pt x="849" y="163"/>
                      <a:pt x="849" y="163"/>
                    </a:cubicBezTo>
                    <a:cubicBezTo>
                      <a:pt x="1547" y="1372"/>
                      <a:pt x="1547" y="1372"/>
                      <a:pt x="1547" y="1372"/>
                    </a:cubicBezTo>
                    <a:lnTo>
                      <a:pt x="151" y="1372"/>
                    </a:lnTo>
                    <a:close/>
                    <a:moveTo>
                      <a:pt x="151" y="1372"/>
                    </a:moveTo>
                    <a:cubicBezTo>
                      <a:pt x="151" y="1372"/>
                      <a:pt x="151" y="1372"/>
                      <a:pt x="151" y="13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296" name="Freeform 6">
                <a:extLst>
                  <a:ext uri="{FF2B5EF4-FFF2-40B4-BE49-F238E27FC236}">
                    <a16:creationId xmlns="" xmlns:a16="http://schemas.microsoft.com/office/drawing/2014/main" id="{95F68E60-F21C-43E3-B3AB-336A36E18BAB}"/>
                  </a:ext>
                </a:extLst>
              </p:cNvPr>
              <p:cNvSpPr>
                <a:spLocks noEditPoints="1"/>
              </p:cNvSpPr>
              <p:nvPr/>
            </p:nvSpPr>
            <p:spPr bwMode="auto">
              <a:xfrm>
                <a:off x="2119" y="1293"/>
                <a:ext cx="291" cy="1406"/>
              </a:xfrm>
              <a:custGeom>
                <a:avLst/>
                <a:gdLst>
                  <a:gd name="T0" fmla="*/ 0 w 109"/>
                  <a:gd name="T1" fmla="*/ 55 h 526"/>
                  <a:gd name="T2" fmla="*/ 0 w 109"/>
                  <a:gd name="T3" fmla="*/ 472 h 526"/>
                  <a:gd name="T4" fmla="*/ 54 w 109"/>
                  <a:gd name="T5" fmla="*/ 526 h 526"/>
                  <a:gd name="T6" fmla="*/ 109 w 109"/>
                  <a:gd name="T7" fmla="*/ 472 h 526"/>
                  <a:gd name="T8" fmla="*/ 109 w 109"/>
                  <a:gd name="T9" fmla="*/ 55 h 526"/>
                  <a:gd name="T10" fmla="*/ 54 w 109"/>
                  <a:gd name="T11" fmla="*/ 0 h 526"/>
                  <a:gd name="T12" fmla="*/ 0 w 109"/>
                  <a:gd name="T13" fmla="*/ 55 h 526"/>
                  <a:gd name="T14" fmla="*/ 0 w 109"/>
                  <a:gd name="T15" fmla="*/ 55 h 526"/>
                  <a:gd name="T16" fmla="*/ 0 w 109"/>
                  <a:gd name="T17" fmla="*/ 5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526">
                    <a:moveTo>
                      <a:pt x="0" y="55"/>
                    </a:moveTo>
                    <a:cubicBezTo>
                      <a:pt x="0" y="472"/>
                      <a:pt x="0" y="472"/>
                      <a:pt x="0" y="472"/>
                    </a:cubicBezTo>
                    <a:cubicBezTo>
                      <a:pt x="0" y="502"/>
                      <a:pt x="24" y="526"/>
                      <a:pt x="54" y="526"/>
                    </a:cubicBezTo>
                    <a:cubicBezTo>
                      <a:pt x="84" y="526"/>
                      <a:pt x="109" y="502"/>
                      <a:pt x="109" y="472"/>
                    </a:cubicBezTo>
                    <a:cubicBezTo>
                      <a:pt x="109" y="55"/>
                      <a:pt x="109" y="55"/>
                      <a:pt x="109" y="55"/>
                    </a:cubicBezTo>
                    <a:cubicBezTo>
                      <a:pt x="109" y="25"/>
                      <a:pt x="84" y="0"/>
                      <a:pt x="54" y="0"/>
                    </a:cubicBezTo>
                    <a:cubicBezTo>
                      <a:pt x="24" y="0"/>
                      <a:pt x="0" y="25"/>
                      <a:pt x="0" y="55"/>
                    </a:cubicBezTo>
                    <a:close/>
                    <a:moveTo>
                      <a:pt x="0" y="55"/>
                    </a:moveTo>
                    <a:cubicBezTo>
                      <a:pt x="0" y="55"/>
                      <a:pt x="0" y="55"/>
                      <a:pt x="0"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297" name="Freeform 7">
                <a:extLst>
                  <a:ext uri="{FF2B5EF4-FFF2-40B4-BE49-F238E27FC236}">
                    <a16:creationId xmlns="" xmlns:a16="http://schemas.microsoft.com/office/drawing/2014/main" id="{1119FAB3-5FF6-4117-834A-65CC420D5C01}"/>
                  </a:ext>
                </a:extLst>
              </p:cNvPr>
              <p:cNvSpPr>
                <a:spLocks noEditPoints="1"/>
              </p:cNvSpPr>
              <p:nvPr/>
            </p:nvSpPr>
            <p:spPr bwMode="auto">
              <a:xfrm>
                <a:off x="2119" y="2894"/>
                <a:ext cx="291" cy="387"/>
              </a:xfrm>
              <a:custGeom>
                <a:avLst/>
                <a:gdLst>
                  <a:gd name="T0" fmla="*/ 54 w 109"/>
                  <a:gd name="T1" fmla="*/ 0 h 145"/>
                  <a:gd name="T2" fmla="*/ 0 w 109"/>
                  <a:gd name="T3" fmla="*/ 54 h 145"/>
                  <a:gd name="T4" fmla="*/ 0 w 109"/>
                  <a:gd name="T5" fmla="*/ 90 h 145"/>
                  <a:gd name="T6" fmla="*/ 54 w 109"/>
                  <a:gd name="T7" fmla="*/ 145 h 145"/>
                  <a:gd name="T8" fmla="*/ 109 w 109"/>
                  <a:gd name="T9" fmla="*/ 90 h 145"/>
                  <a:gd name="T10" fmla="*/ 109 w 109"/>
                  <a:gd name="T11" fmla="*/ 54 h 145"/>
                  <a:gd name="T12" fmla="*/ 54 w 109"/>
                  <a:gd name="T13" fmla="*/ 0 h 145"/>
                  <a:gd name="T14" fmla="*/ 54 w 109"/>
                  <a:gd name="T15" fmla="*/ 0 h 145"/>
                  <a:gd name="T16" fmla="*/ 54 w 109"/>
                  <a:gd name="T1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145">
                    <a:moveTo>
                      <a:pt x="54" y="0"/>
                    </a:moveTo>
                    <a:cubicBezTo>
                      <a:pt x="24" y="0"/>
                      <a:pt x="0" y="24"/>
                      <a:pt x="0" y="54"/>
                    </a:cubicBezTo>
                    <a:cubicBezTo>
                      <a:pt x="0" y="90"/>
                      <a:pt x="0" y="90"/>
                      <a:pt x="0" y="90"/>
                    </a:cubicBezTo>
                    <a:cubicBezTo>
                      <a:pt x="0" y="120"/>
                      <a:pt x="24" y="145"/>
                      <a:pt x="54" y="145"/>
                    </a:cubicBezTo>
                    <a:cubicBezTo>
                      <a:pt x="84" y="145"/>
                      <a:pt x="109" y="120"/>
                      <a:pt x="109" y="90"/>
                    </a:cubicBezTo>
                    <a:cubicBezTo>
                      <a:pt x="109" y="54"/>
                      <a:pt x="109" y="54"/>
                      <a:pt x="109" y="54"/>
                    </a:cubicBezTo>
                    <a:cubicBezTo>
                      <a:pt x="109" y="24"/>
                      <a:pt x="84" y="0"/>
                      <a:pt x="54" y="0"/>
                    </a:cubicBezTo>
                    <a:close/>
                    <a:moveTo>
                      <a:pt x="54" y="0"/>
                    </a:moveTo>
                    <a:cubicBezTo>
                      <a:pt x="54" y="0"/>
                      <a:pt x="54" y="0"/>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grpSp>
        <p:nvGrpSpPr>
          <p:cNvPr id="298" name="Group 297">
            <a:extLst>
              <a:ext uri="{FF2B5EF4-FFF2-40B4-BE49-F238E27FC236}">
                <a16:creationId xmlns="" xmlns:a16="http://schemas.microsoft.com/office/drawing/2014/main" id="{781E325B-8F27-4317-96B4-CB11621EDA3C}"/>
              </a:ext>
            </a:extLst>
          </p:cNvPr>
          <p:cNvGrpSpPr/>
          <p:nvPr/>
        </p:nvGrpSpPr>
        <p:grpSpPr>
          <a:xfrm>
            <a:off x="5667936" y="1481758"/>
            <a:ext cx="558238" cy="558238"/>
            <a:chOff x="6179441" y="990600"/>
            <a:chExt cx="638664" cy="638664"/>
          </a:xfrm>
        </p:grpSpPr>
        <p:sp>
          <p:nvSpPr>
            <p:cNvPr id="299" name="Oval 298">
              <a:extLst>
                <a:ext uri="{FF2B5EF4-FFF2-40B4-BE49-F238E27FC236}">
                  <a16:creationId xmlns="" xmlns:a16="http://schemas.microsoft.com/office/drawing/2014/main" id="{8CD0BB36-EC62-405E-B910-DA50E4BD0104}"/>
                </a:ext>
              </a:extLst>
            </p:cNvPr>
            <p:cNvSpPr/>
            <p:nvPr/>
          </p:nvSpPr>
          <p:spPr>
            <a:xfrm>
              <a:off x="6179441" y="990600"/>
              <a:ext cx="638664" cy="638664"/>
            </a:xfrm>
            <a:prstGeom prst="ellipse">
              <a:avLst/>
            </a:prstGeom>
            <a:solidFill>
              <a:srgbClr val="F26926">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0" name="Freeform 11">
              <a:extLst>
                <a:ext uri="{FF2B5EF4-FFF2-40B4-BE49-F238E27FC236}">
                  <a16:creationId xmlns="" xmlns:a16="http://schemas.microsoft.com/office/drawing/2014/main" id="{98538157-2F4E-416A-A370-9C7CE88546E6}"/>
                </a:ext>
              </a:extLst>
            </p:cNvPr>
            <p:cNvSpPr>
              <a:spLocks noEditPoints="1"/>
            </p:cNvSpPr>
            <p:nvPr/>
          </p:nvSpPr>
          <p:spPr bwMode="auto">
            <a:xfrm>
              <a:off x="6328480" y="1140645"/>
              <a:ext cx="348558" cy="317821"/>
            </a:xfrm>
            <a:custGeom>
              <a:avLst/>
              <a:gdLst>
                <a:gd name="T0" fmla="*/ 1768 w 2150"/>
                <a:gd name="T1" fmla="*/ 287 h 1959"/>
                <a:gd name="T2" fmla="*/ 1075 w 2150"/>
                <a:gd name="T3" fmla="*/ 0 h 1959"/>
                <a:gd name="T4" fmla="*/ 383 w 2150"/>
                <a:gd name="T5" fmla="*/ 287 h 1959"/>
                <a:gd name="T6" fmla="*/ 383 w 2150"/>
                <a:gd name="T7" fmla="*/ 1672 h 1959"/>
                <a:gd name="T8" fmla="*/ 1075 w 2150"/>
                <a:gd name="T9" fmla="*/ 1959 h 1959"/>
                <a:gd name="T10" fmla="*/ 1768 w 2150"/>
                <a:gd name="T11" fmla="*/ 1672 h 1959"/>
                <a:gd name="T12" fmla="*/ 1768 w 2150"/>
                <a:gd name="T13" fmla="*/ 287 h 1959"/>
                <a:gd name="T14" fmla="*/ 1701 w 2150"/>
                <a:gd name="T15" fmla="*/ 1605 h 1959"/>
                <a:gd name="T16" fmla="*/ 1075 w 2150"/>
                <a:gd name="T17" fmla="*/ 1864 h 1959"/>
                <a:gd name="T18" fmla="*/ 449 w 2150"/>
                <a:gd name="T19" fmla="*/ 1605 h 1959"/>
                <a:gd name="T20" fmla="*/ 190 w 2150"/>
                <a:gd name="T21" fmla="*/ 979 h 1959"/>
                <a:gd name="T22" fmla="*/ 449 w 2150"/>
                <a:gd name="T23" fmla="*/ 354 h 1959"/>
                <a:gd name="T24" fmla="*/ 1075 w 2150"/>
                <a:gd name="T25" fmla="*/ 95 h 1959"/>
                <a:gd name="T26" fmla="*/ 1701 w 2150"/>
                <a:gd name="T27" fmla="*/ 354 h 1959"/>
                <a:gd name="T28" fmla="*/ 1960 w 2150"/>
                <a:gd name="T29" fmla="*/ 979 h 1959"/>
                <a:gd name="T30" fmla="*/ 1701 w 2150"/>
                <a:gd name="T31" fmla="*/ 1605 h 1959"/>
                <a:gd name="T32" fmla="*/ 1373 w 2150"/>
                <a:gd name="T33" fmla="*/ 751 h 1959"/>
                <a:gd name="T34" fmla="*/ 1134 w 2150"/>
                <a:gd name="T35" fmla="*/ 990 h 1959"/>
                <a:gd name="T36" fmla="*/ 1373 w 2150"/>
                <a:gd name="T37" fmla="*/ 1228 h 1959"/>
                <a:gd name="T38" fmla="*/ 1373 w 2150"/>
                <a:gd name="T39" fmla="*/ 1295 h 1959"/>
                <a:gd name="T40" fmla="*/ 1339 w 2150"/>
                <a:gd name="T41" fmla="*/ 1308 h 1959"/>
                <a:gd name="T42" fmla="*/ 1306 w 2150"/>
                <a:gd name="T43" fmla="*/ 1295 h 1959"/>
                <a:gd name="T44" fmla="*/ 1068 w 2150"/>
                <a:gd name="T45" fmla="*/ 1056 h 1959"/>
                <a:gd name="T46" fmla="*/ 829 w 2150"/>
                <a:gd name="T47" fmla="*/ 1295 h 1959"/>
                <a:gd name="T48" fmla="*/ 796 w 2150"/>
                <a:gd name="T49" fmla="*/ 1308 h 1959"/>
                <a:gd name="T50" fmla="*/ 762 w 2150"/>
                <a:gd name="T51" fmla="*/ 1295 h 1959"/>
                <a:gd name="T52" fmla="*/ 762 w 2150"/>
                <a:gd name="T53" fmla="*/ 1228 h 1959"/>
                <a:gd name="T54" fmla="*/ 1001 w 2150"/>
                <a:gd name="T55" fmla="*/ 990 h 1959"/>
                <a:gd name="T56" fmla="*/ 762 w 2150"/>
                <a:gd name="T57" fmla="*/ 751 h 1959"/>
                <a:gd name="T58" fmla="*/ 762 w 2150"/>
                <a:gd name="T59" fmla="*/ 684 h 1959"/>
                <a:gd name="T60" fmla="*/ 829 w 2150"/>
                <a:gd name="T61" fmla="*/ 684 h 1959"/>
                <a:gd name="T62" fmla="*/ 1068 w 2150"/>
                <a:gd name="T63" fmla="*/ 923 h 1959"/>
                <a:gd name="T64" fmla="*/ 1306 w 2150"/>
                <a:gd name="T65" fmla="*/ 684 h 1959"/>
                <a:gd name="T66" fmla="*/ 1373 w 2150"/>
                <a:gd name="T67" fmla="*/ 684 h 1959"/>
                <a:gd name="T68" fmla="*/ 1373 w 2150"/>
                <a:gd name="T69" fmla="*/ 751 h 1959"/>
                <a:gd name="T70" fmla="*/ 1373 w 2150"/>
                <a:gd name="T71" fmla="*/ 751 h 1959"/>
                <a:gd name="T72" fmla="*/ 1373 w 2150"/>
                <a:gd name="T73" fmla="*/ 751 h 1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50" h="1959">
                  <a:moveTo>
                    <a:pt x="1768" y="287"/>
                  </a:moveTo>
                  <a:cubicBezTo>
                    <a:pt x="1583" y="102"/>
                    <a:pt x="1337" y="0"/>
                    <a:pt x="1075" y="0"/>
                  </a:cubicBezTo>
                  <a:cubicBezTo>
                    <a:pt x="813" y="0"/>
                    <a:pt x="567" y="102"/>
                    <a:pt x="383" y="287"/>
                  </a:cubicBezTo>
                  <a:cubicBezTo>
                    <a:pt x="0" y="669"/>
                    <a:pt x="0" y="1290"/>
                    <a:pt x="383" y="1672"/>
                  </a:cubicBezTo>
                  <a:cubicBezTo>
                    <a:pt x="567" y="1857"/>
                    <a:pt x="813" y="1959"/>
                    <a:pt x="1075" y="1959"/>
                  </a:cubicBezTo>
                  <a:cubicBezTo>
                    <a:pt x="1337" y="1959"/>
                    <a:pt x="1583" y="1857"/>
                    <a:pt x="1768" y="1672"/>
                  </a:cubicBezTo>
                  <a:cubicBezTo>
                    <a:pt x="2150" y="1290"/>
                    <a:pt x="2150" y="669"/>
                    <a:pt x="1768" y="287"/>
                  </a:cubicBezTo>
                  <a:close/>
                  <a:moveTo>
                    <a:pt x="1701" y="1605"/>
                  </a:moveTo>
                  <a:cubicBezTo>
                    <a:pt x="1534" y="1772"/>
                    <a:pt x="1311" y="1864"/>
                    <a:pt x="1075" y="1864"/>
                  </a:cubicBezTo>
                  <a:cubicBezTo>
                    <a:pt x="839" y="1864"/>
                    <a:pt x="616" y="1772"/>
                    <a:pt x="449" y="1605"/>
                  </a:cubicBezTo>
                  <a:cubicBezTo>
                    <a:pt x="283" y="1439"/>
                    <a:pt x="190" y="1216"/>
                    <a:pt x="190" y="979"/>
                  </a:cubicBezTo>
                  <a:cubicBezTo>
                    <a:pt x="190" y="743"/>
                    <a:pt x="283" y="520"/>
                    <a:pt x="449" y="354"/>
                  </a:cubicBezTo>
                  <a:cubicBezTo>
                    <a:pt x="616" y="187"/>
                    <a:pt x="839" y="95"/>
                    <a:pt x="1075" y="95"/>
                  </a:cubicBezTo>
                  <a:cubicBezTo>
                    <a:pt x="1311" y="95"/>
                    <a:pt x="1534" y="187"/>
                    <a:pt x="1701" y="354"/>
                  </a:cubicBezTo>
                  <a:cubicBezTo>
                    <a:pt x="1868" y="520"/>
                    <a:pt x="1960" y="744"/>
                    <a:pt x="1960" y="979"/>
                  </a:cubicBezTo>
                  <a:cubicBezTo>
                    <a:pt x="1960" y="1215"/>
                    <a:pt x="1868" y="1439"/>
                    <a:pt x="1701" y="1605"/>
                  </a:cubicBezTo>
                  <a:close/>
                  <a:moveTo>
                    <a:pt x="1373" y="751"/>
                  </a:moveTo>
                  <a:cubicBezTo>
                    <a:pt x="1134" y="990"/>
                    <a:pt x="1134" y="990"/>
                    <a:pt x="1134" y="990"/>
                  </a:cubicBezTo>
                  <a:cubicBezTo>
                    <a:pt x="1373" y="1228"/>
                    <a:pt x="1373" y="1228"/>
                    <a:pt x="1373" y="1228"/>
                  </a:cubicBezTo>
                  <a:cubicBezTo>
                    <a:pt x="1391" y="1246"/>
                    <a:pt x="1391" y="1277"/>
                    <a:pt x="1373" y="1295"/>
                  </a:cubicBezTo>
                  <a:cubicBezTo>
                    <a:pt x="1363" y="1305"/>
                    <a:pt x="1352" y="1308"/>
                    <a:pt x="1339" y="1308"/>
                  </a:cubicBezTo>
                  <a:cubicBezTo>
                    <a:pt x="1327" y="1308"/>
                    <a:pt x="1316" y="1302"/>
                    <a:pt x="1306" y="1295"/>
                  </a:cubicBezTo>
                  <a:cubicBezTo>
                    <a:pt x="1068" y="1056"/>
                    <a:pt x="1068" y="1056"/>
                    <a:pt x="1068" y="1056"/>
                  </a:cubicBezTo>
                  <a:cubicBezTo>
                    <a:pt x="829" y="1295"/>
                    <a:pt x="829" y="1295"/>
                    <a:pt x="829" y="1295"/>
                  </a:cubicBezTo>
                  <a:cubicBezTo>
                    <a:pt x="819" y="1305"/>
                    <a:pt x="808" y="1308"/>
                    <a:pt x="796" y="1308"/>
                  </a:cubicBezTo>
                  <a:cubicBezTo>
                    <a:pt x="783" y="1308"/>
                    <a:pt x="773" y="1302"/>
                    <a:pt x="762" y="1295"/>
                  </a:cubicBezTo>
                  <a:cubicBezTo>
                    <a:pt x="744" y="1277"/>
                    <a:pt x="744" y="1246"/>
                    <a:pt x="762" y="1228"/>
                  </a:cubicBezTo>
                  <a:cubicBezTo>
                    <a:pt x="1001" y="990"/>
                    <a:pt x="1001" y="990"/>
                    <a:pt x="1001" y="990"/>
                  </a:cubicBezTo>
                  <a:cubicBezTo>
                    <a:pt x="762" y="751"/>
                    <a:pt x="762" y="751"/>
                    <a:pt x="762" y="751"/>
                  </a:cubicBezTo>
                  <a:cubicBezTo>
                    <a:pt x="744" y="733"/>
                    <a:pt x="744" y="703"/>
                    <a:pt x="762" y="684"/>
                  </a:cubicBezTo>
                  <a:cubicBezTo>
                    <a:pt x="780" y="666"/>
                    <a:pt x="811" y="666"/>
                    <a:pt x="829" y="684"/>
                  </a:cubicBezTo>
                  <a:cubicBezTo>
                    <a:pt x="1068" y="923"/>
                    <a:pt x="1068" y="923"/>
                    <a:pt x="1068" y="923"/>
                  </a:cubicBezTo>
                  <a:cubicBezTo>
                    <a:pt x="1306" y="684"/>
                    <a:pt x="1306" y="684"/>
                    <a:pt x="1306" y="684"/>
                  </a:cubicBezTo>
                  <a:cubicBezTo>
                    <a:pt x="1324" y="666"/>
                    <a:pt x="1355" y="666"/>
                    <a:pt x="1373" y="684"/>
                  </a:cubicBezTo>
                  <a:cubicBezTo>
                    <a:pt x="1391" y="703"/>
                    <a:pt x="1391" y="731"/>
                    <a:pt x="1373" y="751"/>
                  </a:cubicBezTo>
                  <a:close/>
                  <a:moveTo>
                    <a:pt x="1373" y="751"/>
                  </a:moveTo>
                  <a:cubicBezTo>
                    <a:pt x="1373" y="751"/>
                    <a:pt x="1373" y="751"/>
                    <a:pt x="1373" y="75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nvGrpSpPr>
          <p:cNvPr id="237" name="Group 236">
            <a:extLst>
              <a:ext uri="{FF2B5EF4-FFF2-40B4-BE49-F238E27FC236}">
                <a16:creationId xmlns="" xmlns:a16="http://schemas.microsoft.com/office/drawing/2014/main" id="{076877D5-19B1-4A1C-8682-E2B0E3671167}"/>
              </a:ext>
            </a:extLst>
          </p:cNvPr>
          <p:cNvGrpSpPr/>
          <p:nvPr/>
        </p:nvGrpSpPr>
        <p:grpSpPr>
          <a:xfrm>
            <a:off x="6718167" y="2804595"/>
            <a:ext cx="558238" cy="558238"/>
            <a:chOff x="6179441" y="990600"/>
            <a:chExt cx="638664" cy="638664"/>
          </a:xfrm>
        </p:grpSpPr>
        <p:sp>
          <p:nvSpPr>
            <p:cNvPr id="238" name="Oval 237">
              <a:extLst>
                <a:ext uri="{FF2B5EF4-FFF2-40B4-BE49-F238E27FC236}">
                  <a16:creationId xmlns="" xmlns:a16="http://schemas.microsoft.com/office/drawing/2014/main" id="{15780D64-E22D-400E-8AE9-9284F19AD6F4}"/>
                </a:ext>
              </a:extLst>
            </p:cNvPr>
            <p:cNvSpPr/>
            <p:nvPr/>
          </p:nvSpPr>
          <p:spPr>
            <a:xfrm>
              <a:off x="6179441" y="990600"/>
              <a:ext cx="638664" cy="638664"/>
            </a:xfrm>
            <a:prstGeom prst="ellipse">
              <a:avLst/>
            </a:prstGeom>
            <a:solidFill>
              <a:srgbClr val="F26926">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9" name="Freeform 11">
              <a:extLst>
                <a:ext uri="{FF2B5EF4-FFF2-40B4-BE49-F238E27FC236}">
                  <a16:creationId xmlns="" xmlns:a16="http://schemas.microsoft.com/office/drawing/2014/main" id="{78EB1F4A-81CB-4B8B-A081-EDE886C08134}"/>
                </a:ext>
              </a:extLst>
            </p:cNvPr>
            <p:cNvSpPr>
              <a:spLocks noEditPoints="1"/>
            </p:cNvSpPr>
            <p:nvPr/>
          </p:nvSpPr>
          <p:spPr bwMode="auto">
            <a:xfrm>
              <a:off x="6328480" y="1140645"/>
              <a:ext cx="348558" cy="317821"/>
            </a:xfrm>
            <a:custGeom>
              <a:avLst/>
              <a:gdLst>
                <a:gd name="T0" fmla="*/ 1768 w 2150"/>
                <a:gd name="T1" fmla="*/ 287 h 1959"/>
                <a:gd name="T2" fmla="*/ 1075 w 2150"/>
                <a:gd name="T3" fmla="*/ 0 h 1959"/>
                <a:gd name="T4" fmla="*/ 383 w 2150"/>
                <a:gd name="T5" fmla="*/ 287 h 1959"/>
                <a:gd name="T6" fmla="*/ 383 w 2150"/>
                <a:gd name="T7" fmla="*/ 1672 h 1959"/>
                <a:gd name="T8" fmla="*/ 1075 w 2150"/>
                <a:gd name="T9" fmla="*/ 1959 h 1959"/>
                <a:gd name="T10" fmla="*/ 1768 w 2150"/>
                <a:gd name="T11" fmla="*/ 1672 h 1959"/>
                <a:gd name="T12" fmla="*/ 1768 w 2150"/>
                <a:gd name="T13" fmla="*/ 287 h 1959"/>
                <a:gd name="T14" fmla="*/ 1701 w 2150"/>
                <a:gd name="T15" fmla="*/ 1605 h 1959"/>
                <a:gd name="T16" fmla="*/ 1075 w 2150"/>
                <a:gd name="T17" fmla="*/ 1864 h 1959"/>
                <a:gd name="T18" fmla="*/ 449 w 2150"/>
                <a:gd name="T19" fmla="*/ 1605 h 1959"/>
                <a:gd name="T20" fmla="*/ 190 w 2150"/>
                <a:gd name="T21" fmla="*/ 979 h 1959"/>
                <a:gd name="T22" fmla="*/ 449 w 2150"/>
                <a:gd name="T23" fmla="*/ 354 h 1959"/>
                <a:gd name="T24" fmla="*/ 1075 w 2150"/>
                <a:gd name="T25" fmla="*/ 95 h 1959"/>
                <a:gd name="T26" fmla="*/ 1701 w 2150"/>
                <a:gd name="T27" fmla="*/ 354 h 1959"/>
                <a:gd name="T28" fmla="*/ 1960 w 2150"/>
                <a:gd name="T29" fmla="*/ 979 h 1959"/>
                <a:gd name="T30" fmla="*/ 1701 w 2150"/>
                <a:gd name="T31" fmla="*/ 1605 h 1959"/>
                <a:gd name="T32" fmla="*/ 1373 w 2150"/>
                <a:gd name="T33" fmla="*/ 751 h 1959"/>
                <a:gd name="T34" fmla="*/ 1134 w 2150"/>
                <a:gd name="T35" fmla="*/ 990 h 1959"/>
                <a:gd name="T36" fmla="*/ 1373 w 2150"/>
                <a:gd name="T37" fmla="*/ 1228 h 1959"/>
                <a:gd name="T38" fmla="*/ 1373 w 2150"/>
                <a:gd name="T39" fmla="*/ 1295 h 1959"/>
                <a:gd name="T40" fmla="*/ 1339 w 2150"/>
                <a:gd name="T41" fmla="*/ 1308 h 1959"/>
                <a:gd name="T42" fmla="*/ 1306 w 2150"/>
                <a:gd name="T43" fmla="*/ 1295 h 1959"/>
                <a:gd name="T44" fmla="*/ 1068 w 2150"/>
                <a:gd name="T45" fmla="*/ 1056 h 1959"/>
                <a:gd name="T46" fmla="*/ 829 w 2150"/>
                <a:gd name="T47" fmla="*/ 1295 h 1959"/>
                <a:gd name="T48" fmla="*/ 796 w 2150"/>
                <a:gd name="T49" fmla="*/ 1308 h 1959"/>
                <a:gd name="T50" fmla="*/ 762 w 2150"/>
                <a:gd name="T51" fmla="*/ 1295 h 1959"/>
                <a:gd name="T52" fmla="*/ 762 w 2150"/>
                <a:gd name="T53" fmla="*/ 1228 h 1959"/>
                <a:gd name="T54" fmla="*/ 1001 w 2150"/>
                <a:gd name="T55" fmla="*/ 990 h 1959"/>
                <a:gd name="T56" fmla="*/ 762 w 2150"/>
                <a:gd name="T57" fmla="*/ 751 h 1959"/>
                <a:gd name="T58" fmla="*/ 762 w 2150"/>
                <a:gd name="T59" fmla="*/ 684 h 1959"/>
                <a:gd name="T60" fmla="*/ 829 w 2150"/>
                <a:gd name="T61" fmla="*/ 684 h 1959"/>
                <a:gd name="T62" fmla="*/ 1068 w 2150"/>
                <a:gd name="T63" fmla="*/ 923 h 1959"/>
                <a:gd name="T64" fmla="*/ 1306 w 2150"/>
                <a:gd name="T65" fmla="*/ 684 h 1959"/>
                <a:gd name="T66" fmla="*/ 1373 w 2150"/>
                <a:gd name="T67" fmla="*/ 684 h 1959"/>
                <a:gd name="T68" fmla="*/ 1373 w 2150"/>
                <a:gd name="T69" fmla="*/ 751 h 1959"/>
                <a:gd name="T70" fmla="*/ 1373 w 2150"/>
                <a:gd name="T71" fmla="*/ 751 h 1959"/>
                <a:gd name="T72" fmla="*/ 1373 w 2150"/>
                <a:gd name="T73" fmla="*/ 751 h 1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50" h="1959">
                  <a:moveTo>
                    <a:pt x="1768" y="287"/>
                  </a:moveTo>
                  <a:cubicBezTo>
                    <a:pt x="1583" y="102"/>
                    <a:pt x="1337" y="0"/>
                    <a:pt x="1075" y="0"/>
                  </a:cubicBezTo>
                  <a:cubicBezTo>
                    <a:pt x="813" y="0"/>
                    <a:pt x="567" y="102"/>
                    <a:pt x="383" y="287"/>
                  </a:cubicBezTo>
                  <a:cubicBezTo>
                    <a:pt x="0" y="669"/>
                    <a:pt x="0" y="1290"/>
                    <a:pt x="383" y="1672"/>
                  </a:cubicBezTo>
                  <a:cubicBezTo>
                    <a:pt x="567" y="1857"/>
                    <a:pt x="813" y="1959"/>
                    <a:pt x="1075" y="1959"/>
                  </a:cubicBezTo>
                  <a:cubicBezTo>
                    <a:pt x="1337" y="1959"/>
                    <a:pt x="1583" y="1857"/>
                    <a:pt x="1768" y="1672"/>
                  </a:cubicBezTo>
                  <a:cubicBezTo>
                    <a:pt x="2150" y="1290"/>
                    <a:pt x="2150" y="669"/>
                    <a:pt x="1768" y="287"/>
                  </a:cubicBezTo>
                  <a:close/>
                  <a:moveTo>
                    <a:pt x="1701" y="1605"/>
                  </a:moveTo>
                  <a:cubicBezTo>
                    <a:pt x="1534" y="1772"/>
                    <a:pt x="1311" y="1864"/>
                    <a:pt x="1075" y="1864"/>
                  </a:cubicBezTo>
                  <a:cubicBezTo>
                    <a:pt x="839" y="1864"/>
                    <a:pt x="616" y="1772"/>
                    <a:pt x="449" y="1605"/>
                  </a:cubicBezTo>
                  <a:cubicBezTo>
                    <a:pt x="283" y="1439"/>
                    <a:pt x="190" y="1216"/>
                    <a:pt x="190" y="979"/>
                  </a:cubicBezTo>
                  <a:cubicBezTo>
                    <a:pt x="190" y="743"/>
                    <a:pt x="283" y="520"/>
                    <a:pt x="449" y="354"/>
                  </a:cubicBezTo>
                  <a:cubicBezTo>
                    <a:pt x="616" y="187"/>
                    <a:pt x="839" y="95"/>
                    <a:pt x="1075" y="95"/>
                  </a:cubicBezTo>
                  <a:cubicBezTo>
                    <a:pt x="1311" y="95"/>
                    <a:pt x="1534" y="187"/>
                    <a:pt x="1701" y="354"/>
                  </a:cubicBezTo>
                  <a:cubicBezTo>
                    <a:pt x="1868" y="520"/>
                    <a:pt x="1960" y="744"/>
                    <a:pt x="1960" y="979"/>
                  </a:cubicBezTo>
                  <a:cubicBezTo>
                    <a:pt x="1960" y="1215"/>
                    <a:pt x="1868" y="1439"/>
                    <a:pt x="1701" y="1605"/>
                  </a:cubicBezTo>
                  <a:close/>
                  <a:moveTo>
                    <a:pt x="1373" y="751"/>
                  </a:moveTo>
                  <a:cubicBezTo>
                    <a:pt x="1134" y="990"/>
                    <a:pt x="1134" y="990"/>
                    <a:pt x="1134" y="990"/>
                  </a:cubicBezTo>
                  <a:cubicBezTo>
                    <a:pt x="1373" y="1228"/>
                    <a:pt x="1373" y="1228"/>
                    <a:pt x="1373" y="1228"/>
                  </a:cubicBezTo>
                  <a:cubicBezTo>
                    <a:pt x="1391" y="1246"/>
                    <a:pt x="1391" y="1277"/>
                    <a:pt x="1373" y="1295"/>
                  </a:cubicBezTo>
                  <a:cubicBezTo>
                    <a:pt x="1363" y="1305"/>
                    <a:pt x="1352" y="1308"/>
                    <a:pt x="1339" y="1308"/>
                  </a:cubicBezTo>
                  <a:cubicBezTo>
                    <a:pt x="1327" y="1308"/>
                    <a:pt x="1316" y="1302"/>
                    <a:pt x="1306" y="1295"/>
                  </a:cubicBezTo>
                  <a:cubicBezTo>
                    <a:pt x="1068" y="1056"/>
                    <a:pt x="1068" y="1056"/>
                    <a:pt x="1068" y="1056"/>
                  </a:cubicBezTo>
                  <a:cubicBezTo>
                    <a:pt x="829" y="1295"/>
                    <a:pt x="829" y="1295"/>
                    <a:pt x="829" y="1295"/>
                  </a:cubicBezTo>
                  <a:cubicBezTo>
                    <a:pt x="819" y="1305"/>
                    <a:pt x="808" y="1308"/>
                    <a:pt x="796" y="1308"/>
                  </a:cubicBezTo>
                  <a:cubicBezTo>
                    <a:pt x="783" y="1308"/>
                    <a:pt x="773" y="1302"/>
                    <a:pt x="762" y="1295"/>
                  </a:cubicBezTo>
                  <a:cubicBezTo>
                    <a:pt x="744" y="1277"/>
                    <a:pt x="744" y="1246"/>
                    <a:pt x="762" y="1228"/>
                  </a:cubicBezTo>
                  <a:cubicBezTo>
                    <a:pt x="1001" y="990"/>
                    <a:pt x="1001" y="990"/>
                    <a:pt x="1001" y="990"/>
                  </a:cubicBezTo>
                  <a:cubicBezTo>
                    <a:pt x="762" y="751"/>
                    <a:pt x="762" y="751"/>
                    <a:pt x="762" y="751"/>
                  </a:cubicBezTo>
                  <a:cubicBezTo>
                    <a:pt x="744" y="733"/>
                    <a:pt x="744" y="703"/>
                    <a:pt x="762" y="684"/>
                  </a:cubicBezTo>
                  <a:cubicBezTo>
                    <a:pt x="780" y="666"/>
                    <a:pt x="811" y="666"/>
                    <a:pt x="829" y="684"/>
                  </a:cubicBezTo>
                  <a:cubicBezTo>
                    <a:pt x="1068" y="923"/>
                    <a:pt x="1068" y="923"/>
                    <a:pt x="1068" y="923"/>
                  </a:cubicBezTo>
                  <a:cubicBezTo>
                    <a:pt x="1306" y="684"/>
                    <a:pt x="1306" y="684"/>
                    <a:pt x="1306" y="684"/>
                  </a:cubicBezTo>
                  <a:cubicBezTo>
                    <a:pt x="1324" y="666"/>
                    <a:pt x="1355" y="666"/>
                    <a:pt x="1373" y="684"/>
                  </a:cubicBezTo>
                  <a:cubicBezTo>
                    <a:pt x="1391" y="703"/>
                    <a:pt x="1391" y="731"/>
                    <a:pt x="1373" y="751"/>
                  </a:cubicBezTo>
                  <a:close/>
                  <a:moveTo>
                    <a:pt x="1373" y="751"/>
                  </a:moveTo>
                  <a:cubicBezTo>
                    <a:pt x="1373" y="751"/>
                    <a:pt x="1373" y="751"/>
                    <a:pt x="1373" y="75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nvGrpSpPr>
          <p:cNvPr id="240" name="Group 239">
            <a:extLst>
              <a:ext uri="{FF2B5EF4-FFF2-40B4-BE49-F238E27FC236}">
                <a16:creationId xmlns="" xmlns:a16="http://schemas.microsoft.com/office/drawing/2014/main" id="{DBE421A3-BB76-4E0E-98FD-79B468B7A961}"/>
              </a:ext>
            </a:extLst>
          </p:cNvPr>
          <p:cNvGrpSpPr/>
          <p:nvPr/>
        </p:nvGrpSpPr>
        <p:grpSpPr>
          <a:xfrm>
            <a:off x="7003107" y="3744506"/>
            <a:ext cx="558238" cy="558238"/>
            <a:chOff x="6179441" y="990600"/>
            <a:chExt cx="638664" cy="638664"/>
          </a:xfrm>
        </p:grpSpPr>
        <p:sp>
          <p:nvSpPr>
            <p:cNvPr id="241" name="Oval 240">
              <a:extLst>
                <a:ext uri="{FF2B5EF4-FFF2-40B4-BE49-F238E27FC236}">
                  <a16:creationId xmlns="" xmlns:a16="http://schemas.microsoft.com/office/drawing/2014/main" id="{A2B295AF-3B8D-4726-9217-4F3680A885D0}"/>
                </a:ext>
              </a:extLst>
            </p:cNvPr>
            <p:cNvSpPr/>
            <p:nvPr/>
          </p:nvSpPr>
          <p:spPr>
            <a:xfrm>
              <a:off x="6179441" y="990600"/>
              <a:ext cx="638664" cy="638664"/>
            </a:xfrm>
            <a:prstGeom prst="ellipse">
              <a:avLst/>
            </a:prstGeom>
            <a:solidFill>
              <a:srgbClr val="F26926">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2" name="Freeform 11">
              <a:extLst>
                <a:ext uri="{FF2B5EF4-FFF2-40B4-BE49-F238E27FC236}">
                  <a16:creationId xmlns="" xmlns:a16="http://schemas.microsoft.com/office/drawing/2014/main" id="{32458811-B58F-4067-9866-B57E841B5B70}"/>
                </a:ext>
              </a:extLst>
            </p:cNvPr>
            <p:cNvSpPr>
              <a:spLocks noEditPoints="1"/>
            </p:cNvSpPr>
            <p:nvPr/>
          </p:nvSpPr>
          <p:spPr bwMode="auto">
            <a:xfrm>
              <a:off x="6328480" y="1140645"/>
              <a:ext cx="348558" cy="317821"/>
            </a:xfrm>
            <a:custGeom>
              <a:avLst/>
              <a:gdLst>
                <a:gd name="T0" fmla="*/ 1768 w 2150"/>
                <a:gd name="T1" fmla="*/ 287 h 1959"/>
                <a:gd name="T2" fmla="*/ 1075 w 2150"/>
                <a:gd name="T3" fmla="*/ 0 h 1959"/>
                <a:gd name="T4" fmla="*/ 383 w 2150"/>
                <a:gd name="T5" fmla="*/ 287 h 1959"/>
                <a:gd name="T6" fmla="*/ 383 w 2150"/>
                <a:gd name="T7" fmla="*/ 1672 h 1959"/>
                <a:gd name="T8" fmla="*/ 1075 w 2150"/>
                <a:gd name="T9" fmla="*/ 1959 h 1959"/>
                <a:gd name="T10" fmla="*/ 1768 w 2150"/>
                <a:gd name="T11" fmla="*/ 1672 h 1959"/>
                <a:gd name="T12" fmla="*/ 1768 w 2150"/>
                <a:gd name="T13" fmla="*/ 287 h 1959"/>
                <a:gd name="T14" fmla="*/ 1701 w 2150"/>
                <a:gd name="T15" fmla="*/ 1605 h 1959"/>
                <a:gd name="T16" fmla="*/ 1075 w 2150"/>
                <a:gd name="T17" fmla="*/ 1864 h 1959"/>
                <a:gd name="T18" fmla="*/ 449 w 2150"/>
                <a:gd name="T19" fmla="*/ 1605 h 1959"/>
                <a:gd name="T20" fmla="*/ 190 w 2150"/>
                <a:gd name="T21" fmla="*/ 979 h 1959"/>
                <a:gd name="T22" fmla="*/ 449 w 2150"/>
                <a:gd name="T23" fmla="*/ 354 h 1959"/>
                <a:gd name="T24" fmla="*/ 1075 w 2150"/>
                <a:gd name="T25" fmla="*/ 95 h 1959"/>
                <a:gd name="T26" fmla="*/ 1701 w 2150"/>
                <a:gd name="T27" fmla="*/ 354 h 1959"/>
                <a:gd name="T28" fmla="*/ 1960 w 2150"/>
                <a:gd name="T29" fmla="*/ 979 h 1959"/>
                <a:gd name="T30" fmla="*/ 1701 w 2150"/>
                <a:gd name="T31" fmla="*/ 1605 h 1959"/>
                <a:gd name="T32" fmla="*/ 1373 w 2150"/>
                <a:gd name="T33" fmla="*/ 751 h 1959"/>
                <a:gd name="T34" fmla="*/ 1134 w 2150"/>
                <a:gd name="T35" fmla="*/ 990 h 1959"/>
                <a:gd name="T36" fmla="*/ 1373 w 2150"/>
                <a:gd name="T37" fmla="*/ 1228 h 1959"/>
                <a:gd name="T38" fmla="*/ 1373 w 2150"/>
                <a:gd name="T39" fmla="*/ 1295 h 1959"/>
                <a:gd name="T40" fmla="*/ 1339 w 2150"/>
                <a:gd name="T41" fmla="*/ 1308 h 1959"/>
                <a:gd name="T42" fmla="*/ 1306 w 2150"/>
                <a:gd name="T43" fmla="*/ 1295 h 1959"/>
                <a:gd name="T44" fmla="*/ 1068 w 2150"/>
                <a:gd name="T45" fmla="*/ 1056 h 1959"/>
                <a:gd name="T46" fmla="*/ 829 w 2150"/>
                <a:gd name="T47" fmla="*/ 1295 h 1959"/>
                <a:gd name="T48" fmla="*/ 796 w 2150"/>
                <a:gd name="T49" fmla="*/ 1308 h 1959"/>
                <a:gd name="T50" fmla="*/ 762 w 2150"/>
                <a:gd name="T51" fmla="*/ 1295 h 1959"/>
                <a:gd name="T52" fmla="*/ 762 w 2150"/>
                <a:gd name="T53" fmla="*/ 1228 h 1959"/>
                <a:gd name="T54" fmla="*/ 1001 w 2150"/>
                <a:gd name="T55" fmla="*/ 990 h 1959"/>
                <a:gd name="T56" fmla="*/ 762 w 2150"/>
                <a:gd name="T57" fmla="*/ 751 h 1959"/>
                <a:gd name="T58" fmla="*/ 762 w 2150"/>
                <a:gd name="T59" fmla="*/ 684 h 1959"/>
                <a:gd name="T60" fmla="*/ 829 w 2150"/>
                <a:gd name="T61" fmla="*/ 684 h 1959"/>
                <a:gd name="T62" fmla="*/ 1068 w 2150"/>
                <a:gd name="T63" fmla="*/ 923 h 1959"/>
                <a:gd name="T64" fmla="*/ 1306 w 2150"/>
                <a:gd name="T65" fmla="*/ 684 h 1959"/>
                <a:gd name="T66" fmla="*/ 1373 w 2150"/>
                <a:gd name="T67" fmla="*/ 684 h 1959"/>
                <a:gd name="T68" fmla="*/ 1373 w 2150"/>
                <a:gd name="T69" fmla="*/ 751 h 1959"/>
                <a:gd name="T70" fmla="*/ 1373 w 2150"/>
                <a:gd name="T71" fmla="*/ 751 h 1959"/>
                <a:gd name="T72" fmla="*/ 1373 w 2150"/>
                <a:gd name="T73" fmla="*/ 751 h 1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50" h="1959">
                  <a:moveTo>
                    <a:pt x="1768" y="287"/>
                  </a:moveTo>
                  <a:cubicBezTo>
                    <a:pt x="1583" y="102"/>
                    <a:pt x="1337" y="0"/>
                    <a:pt x="1075" y="0"/>
                  </a:cubicBezTo>
                  <a:cubicBezTo>
                    <a:pt x="813" y="0"/>
                    <a:pt x="567" y="102"/>
                    <a:pt x="383" y="287"/>
                  </a:cubicBezTo>
                  <a:cubicBezTo>
                    <a:pt x="0" y="669"/>
                    <a:pt x="0" y="1290"/>
                    <a:pt x="383" y="1672"/>
                  </a:cubicBezTo>
                  <a:cubicBezTo>
                    <a:pt x="567" y="1857"/>
                    <a:pt x="813" y="1959"/>
                    <a:pt x="1075" y="1959"/>
                  </a:cubicBezTo>
                  <a:cubicBezTo>
                    <a:pt x="1337" y="1959"/>
                    <a:pt x="1583" y="1857"/>
                    <a:pt x="1768" y="1672"/>
                  </a:cubicBezTo>
                  <a:cubicBezTo>
                    <a:pt x="2150" y="1290"/>
                    <a:pt x="2150" y="669"/>
                    <a:pt x="1768" y="287"/>
                  </a:cubicBezTo>
                  <a:close/>
                  <a:moveTo>
                    <a:pt x="1701" y="1605"/>
                  </a:moveTo>
                  <a:cubicBezTo>
                    <a:pt x="1534" y="1772"/>
                    <a:pt x="1311" y="1864"/>
                    <a:pt x="1075" y="1864"/>
                  </a:cubicBezTo>
                  <a:cubicBezTo>
                    <a:pt x="839" y="1864"/>
                    <a:pt x="616" y="1772"/>
                    <a:pt x="449" y="1605"/>
                  </a:cubicBezTo>
                  <a:cubicBezTo>
                    <a:pt x="283" y="1439"/>
                    <a:pt x="190" y="1216"/>
                    <a:pt x="190" y="979"/>
                  </a:cubicBezTo>
                  <a:cubicBezTo>
                    <a:pt x="190" y="743"/>
                    <a:pt x="283" y="520"/>
                    <a:pt x="449" y="354"/>
                  </a:cubicBezTo>
                  <a:cubicBezTo>
                    <a:pt x="616" y="187"/>
                    <a:pt x="839" y="95"/>
                    <a:pt x="1075" y="95"/>
                  </a:cubicBezTo>
                  <a:cubicBezTo>
                    <a:pt x="1311" y="95"/>
                    <a:pt x="1534" y="187"/>
                    <a:pt x="1701" y="354"/>
                  </a:cubicBezTo>
                  <a:cubicBezTo>
                    <a:pt x="1868" y="520"/>
                    <a:pt x="1960" y="744"/>
                    <a:pt x="1960" y="979"/>
                  </a:cubicBezTo>
                  <a:cubicBezTo>
                    <a:pt x="1960" y="1215"/>
                    <a:pt x="1868" y="1439"/>
                    <a:pt x="1701" y="1605"/>
                  </a:cubicBezTo>
                  <a:close/>
                  <a:moveTo>
                    <a:pt x="1373" y="751"/>
                  </a:moveTo>
                  <a:cubicBezTo>
                    <a:pt x="1134" y="990"/>
                    <a:pt x="1134" y="990"/>
                    <a:pt x="1134" y="990"/>
                  </a:cubicBezTo>
                  <a:cubicBezTo>
                    <a:pt x="1373" y="1228"/>
                    <a:pt x="1373" y="1228"/>
                    <a:pt x="1373" y="1228"/>
                  </a:cubicBezTo>
                  <a:cubicBezTo>
                    <a:pt x="1391" y="1246"/>
                    <a:pt x="1391" y="1277"/>
                    <a:pt x="1373" y="1295"/>
                  </a:cubicBezTo>
                  <a:cubicBezTo>
                    <a:pt x="1363" y="1305"/>
                    <a:pt x="1352" y="1308"/>
                    <a:pt x="1339" y="1308"/>
                  </a:cubicBezTo>
                  <a:cubicBezTo>
                    <a:pt x="1327" y="1308"/>
                    <a:pt x="1316" y="1302"/>
                    <a:pt x="1306" y="1295"/>
                  </a:cubicBezTo>
                  <a:cubicBezTo>
                    <a:pt x="1068" y="1056"/>
                    <a:pt x="1068" y="1056"/>
                    <a:pt x="1068" y="1056"/>
                  </a:cubicBezTo>
                  <a:cubicBezTo>
                    <a:pt x="829" y="1295"/>
                    <a:pt x="829" y="1295"/>
                    <a:pt x="829" y="1295"/>
                  </a:cubicBezTo>
                  <a:cubicBezTo>
                    <a:pt x="819" y="1305"/>
                    <a:pt x="808" y="1308"/>
                    <a:pt x="796" y="1308"/>
                  </a:cubicBezTo>
                  <a:cubicBezTo>
                    <a:pt x="783" y="1308"/>
                    <a:pt x="773" y="1302"/>
                    <a:pt x="762" y="1295"/>
                  </a:cubicBezTo>
                  <a:cubicBezTo>
                    <a:pt x="744" y="1277"/>
                    <a:pt x="744" y="1246"/>
                    <a:pt x="762" y="1228"/>
                  </a:cubicBezTo>
                  <a:cubicBezTo>
                    <a:pt x="1001" y="990"/>
                    <a:pt x="1001" y="990"/>
                    <a:pt x="1001" y="990"/>
                  </a:cubicBezTo>
                  <a:cubicBezTo>
                    <a:pt x="762" y="751"/>
                    <a:pt x="762" y="751"/>
                    <a:pt x="762" y="751"/>
                  </a:cubicBezTo>
                  <a:cubicBezTo>
                    <a:pt x="744" y="733"/>
                    <a:pt x="744" y="703"/>
                    <a:pt x="762" y="684"/>
                  </a:cubicBezTo>
                  <a:cubicBezTo>
                    <a:pt x="780" y="666"/>
                    <a:pt x="811" y="666"/>
                    <a:pt x="829" y="684"/>
                  </a:cubicBezTo>
                  <a:cubicBezTo>
                    <a:pt x="1068" y="923"/>
                    <a:pt x="1068" y="923"/>
                    <a:pt x="1068" y="923"/>
                  </a:cubicBezTo>
                  <a:cubicBezTo>
                    <a:pt x="1306" y="684"/>
                    <a:pt x="1306" y="684"/>
                    <a:pt x="1306" y="684"/>
                  </a:cubicBezTo>
                  <a:cubicBezTo>
                    <a:pt x="1324" y="666"/>
                    <a:pt x="1355" y="666"/>
                    <a:pt x="1373" y="684"/>
                  </a:cubicBezTo>
                  <a:cubicBezTo>
                    <a:pt x="1391" y="703"/>
                    <a:pt x="1391" y="731"/>
                    <a:pt x="1373" y="751"/>
                  </a:cubicBezTo>
                  <a:close/>
                  <a:moveTo>
                    <a:pt x="1373" y="751"/>
                  </a:moveTo>
                  <a:cubicBezTo>
                    <a:pt x="1373" y="751"/>
                    <a:pt x="1373" y="751"/>
                    <a:pt x="1373" y="75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nvGrpSpPr>
          <p:cNvPr id="243" name="Group 242">
            <a:extLst>
              <a:ext uri="{FF2B5EF4-FFF2-40B4-BE49-F238E27FC236}">
                <a16:creationId xmlns="" xmlns:a16="http://schemas.microsoft.com/office/drawing/2014/main" id="{175609BB-9A93-4756-9E08-CD092A70606F}"/>
              </a:ext>
            </a:extLst>
          </p:cNvPr>
          <p:cNvGrpSpPr/>
          <p:nvPr/>
        </p:nvGrpSpPr>
        <p:grpSpPr>
          <a:xfrm>
            <a:off x="7484128" y="3744506"/>
            <a:ext cx="558238" cy="558238"/>
            <a:chOff x="6179441" y="990600"/>
            <a:chExt cx="638664" cy="638664"/>
          </a:xfrm>
        </p:grpSpPr>
        <p:sp>
          <p:nvSpPr>
            <p:cNvPr id="244" name="Oval 243">
              <a:extLst>
                <a:ext uri="{FF2B5EF4-FFF2-40B4-BE49-F238E27FC236}">
                  <a16:creationId xmlns="" xmlns:a16="http://schemas.microsoft.com/office/drawing/2014/main" id="{0760A472-9099-4016-9277-700AAD6D7877}"/>
                </a:ext>
              </a:extLst>
            </p:cNvPr>
            <p:cNvSpPr/>
            <p:nvPr/>
          </p:nvSpPr>
          <p:spPr>
            <a:xfrm>
              <a:off x="6179441" y="990600"/>
              <a:ext cx="638664" cy="638664"/>
            </a:xfrm>
            <a:prstGeom prst="ellipse">
              <a:avLst/>
            </a:prstGeom>
            <a:solidFill>
              <a:srgbClr val="F26926">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5" name="Freeform 11">
              <a:extLst>
                <a:ext uri="{FF2B5EF4-FFF2-40B4-BE49-F238E27FC236}">
                  <a16:creationId xmlns="" xmlns:a16="http://schemas.microsoft.com/office/drawing/2014/main" id="{DE2B9B8F-5142-422F-8868-8CB289EBFE8C}"/>
                </a:ext>
              </a:extLst>
            </p:cNvPr>
            <p:cNvSpPr>
              <a:spLocks noEditPoints="1"/>
            </p:cNvSpPr>
            <p:nvPr/>
          </p:nvSpPr>
          <p:spPr bwMode="auto">
            <a:xfrm>
              <a:off x="6328480" y="1140645"/>
              <a:ext cx="348558" cy="317821"/>
            </a:xfrm>
            <a:custGeom>
              <a:avLst/>
              <a:gdLst>
                <a:gd name="T0" fmla="*/ 1768 w 2150"/>
                <a:gd name="T1" fmla="*/ 287 h 1959"/>
                <a:gd name="T2" fmla="*/ 1075 w 2150"/>
                <a:gd name="T3" fmla="*/ 0 h 1959"/>
                <a:gd name="T4" fmla="*/ 383 w 2150"/>
                <a:gd name="T5" fmla="*/ 287 h 1959"/>
                <a:gd name="T6" fmla="*/ 383 w 2150"/>
                <a:gd name="T7" fmla="*/ 1672 h 1959"/>
                <a:gd name="T8" fmla="*/ 1075 w 2150"/>
                <a:gd name="T9" fmla="*/ 1959 h 1959"/>
                <a:gd name="T10" fmla="*/ 1768 w 2150"/>
                <a:gd name="T11" fmla="*/ 1672 h 1959"/>
                <a:gd name="T12" fmla="*/ 1768 w 2150"/>
                <a:gd name="T13" fmla="*/ 287 h 1959"/>
                <a:gd name="T14" fmla="*/ 1701 w 2150"/>
                <a:gd name="T15" fmla="*/ 1605 h 1959"/>
                <a:gd name="T16" fmla="*/ 1075 w 2150"/>
                <a:gd name="T17" fmla="*/ 1864 h 1959"/>
                <a:gd name="T18" fmla="*/ 449 w 2150"/>
                <a:gd name="T19" fmla="*/ 1605 h 1959"/>
                <a:gd name="T20" fmla="*/ 190 w 2150"/>
                <a:gd name="T21" fmla="*/ 979 h 1959"/>
                <a:gd name="T22" fmla="*/ 449 w 2150"/>
                <a:gd name="T23" fmla="*/ 354 h 1959"/>
                <a:gd name="T24" fmla="*/ 1075 w 2150"/>
                <a:gd name="T25" fmla="*/ 95 h 1959"/>
                <a:gd name="T26" fmla="*/ 1701 w 2150"/>
                <a:gd name="T27" fmla="*/ 354 h 1959"/>
                <a:gd name="T28" fmla="*/ 1960 w 2150"/>
                <a:gd name="T29" fmla="*/ 979 h 1959"/>
                <a:gd name="T30" fmla="*/ 1701 w 2150"/>
                <a:gd name="T31" fmla="*/ 1605 h 1959"/>
                <a:gd name="T32" fmla="*/ 1373 w 2150"/>
                <a:gd name="T33" fmla="*/ 751 h 1959"/>
                <a:gd name="T34" fmla="*/ 1134 w 2150"/>
                <a:gd name="T35" fmla="*/ 990 h 1959"/>
                <a:gd name="T36" fmla="*/ 1373 w 2150"/>
                <a:gd name="T37" fmla="*/ 1228 h 1959"/>
                <a:gd name="T38" fmla="*/ 1373 w 2150"/>
                <a:gd name="T39" fmla="*/ 1295 h 1959"/>
                <a:gd name="T40" fmla="*/ 1339 w 2150"/>
                <a:gd name="T41" fmla="*/ 1308 h 1959"/>
                <a:gd name="T42" fmla="*/ 1306 w 2150"/>
                <a:gd name="T43" fmla="*/ 1295 h 1959"/>
                <a:gd name="T44" fmla="*/ 1068 w 2150"/>
                <a:gd name="T45" fmla="*/ 1056 h 1959"/>
                <a:gd name="T46" fmla="*/ 829 w 2150"/>
                <a:gd name="T47" fmla="*/ 1295 h 1959"/>
                <a:gd name="T48" fmla="*/ 796 w 2150"/>
                <a:gd name="T49" fmla="*/ 1308 h 1959"/>
                <a:gd name="T50" fmla="*/ 762 w 2150"/>
                <a:gd name="T51" fmla="*/ 1295 h 1959"/>
                <a:gd name="T52" fmla="*/ 762 w 2150"/>
                <a:gd name="T53" fmla="*/ 1228 h 1959"/>
                <a:gd name="T54" fmla="*/ 1001 w 2150"/>
                <a:gd name="T55" fmla="*/ 990 h 1959"/>
                <a:gd name="T56" fmla="*/ 762 w 2150"/>
                <a:gd name="T57" fmla="*/ 751 h 1959"/>
                <a:gd name="T58" fmla="*/ 762 w 2150"/>
                <a:gd name="T59" fmla="*/ 684 h 1959"/>
                <a:gd name="T60" fmla="*/ 829 w 2150"/>
                <a:gd name="T61" fmla="*/ 684 h 1959"/>
                <a:gd name="T62" fmla="*/ 1068 w 2150"/>
                <a:gd name="T63" fmla="*/ 923 h 1959"/>
                <a:gd name="T64" fmla="*/ 1306 w 2150"/>
                <a:gd name="T65" fmla="*/ 684 h 1959"/>
                <a:gd name="T66" fmla="*/ 1373 w 2150"/>
                <a:gd name="T67" fmla="*/ 684 h 1959"/>
                <a:gd name="T68" fmla="*/ 1373 w 2150"/>
                <a:gd name="T69" fmla="*/ 751 h 1959"/>
                <a:gd name="T70" fmla="*/ 1373 w 2150"/>
                <a:gd name="T71" fmla="*/ 751 h 1959"/>
                <a:gd name="T72" fmla="*/ 1373 w 2150"/>
                <a:gd name="T73" fmla="*/ 751 h 1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50" h="1959">
                  <a:moveTo>
                    <a:pt x="1768" y="287"/>
                  </a:moveTo>
                  <a:cubicBezTo>
                    <a:pt x="1583" y="102"/>
                    <a:pt x="1337" y="0"/>
                    <a:pt x="1075" y="0"/>
                  </a:cubicBezTo>
                  <a:cubicBezTo>
                    <a:pt x="813" y="0"/>
                    <a:pt x="567" y="102"/>
                    <a:pt x="383" y="287"/>
                  </a:cubicBezTo>
                  <a:cubicBezTo>
                    <a:pt x="0" y="669"/>
                    <a:pt x="0" y="1290"/>
                    <a:pt x="383" y="1672"/>
                  </a:cubicBezTo>
                  <a:cubicBezTo>
                    <a:pt x="567" y="1857"/>
                    <a:pt x="813" y="1959"/>
                    <a:pt x="1075" y="1959"/>
                  </a:cubicBezTo>
                  <a:cubicBezTo>
                    <a:pt x="1337" y="1959"/>
                    <a:pt x="1583" y="1857"/>
                    <a:pt x="1768" y="1672"/>
                  </a:cubicBezTo>
                  <a:cubicBezTo>
                    <a:pt x="2150" y="1290"/>
                    <a:pt x="2150" y="669"/>
                    <a:pt x="1768" y="287"/>
                  </a:cubicBezTo>
                  <a:close/>
                  <a:moveTo>
                    <a:pt x="1701" y="1605"/>
                  </a:moveTo>
                  <a:cubicBezTo>
                    <a:pt x="1534" y="1772"/>
                    <a:pt x="1311" y="1864"/>
                    <a:pt x="1075" y="1864"/>
                  </a:cubicBezTo>
                  <a:cubicBezTo>
                    <a:pt x="839" y="1864"/>
                    <a:pt x="616" y="1772"/>
                    <a:pt x="449" y="1605"/>
                  </a:cubicBezTo>
                  <a:cubicBezTo>
                    <a:pt x="283" y="1439"/>
                    <a:pt x="190" y="1216"/>
                    <a:pt x="190" y="979"/>
                  </a:cubicBezTo>
                  <a:cubicBezTo>
                    <a:pt x="190" y="743"/>
                    <a:pt x="283" y="520"/>
                    <a:pt x="449" y="354"/>
                  </a:cubicBezTo>
                  <a:cubicBezTo>
                    <a:pt x="616" y="187"/>
                    <a:pt x="839" y="95"/>
                    <a:pt x="1075" y="95"/>
                  </a:cubicBezTo>
                  <a:cubicBezTo>
                    <a:pt x="1311" y="95"/>
                    <a:pt x="1534" y="187"/>
                    <a:pt x="1701" y="354"/>
                  </a:cubicBezTo>
                  <a:cubicBezTo>
                    <a:pt x="1868" y="520"/>
                    <a:pt x="1960" y="744"/>
                    <a:pt x="1960" y="979"/>
                  </a:cubicBezTo>
                  <a:cubicBezTo>
                    <a:pt x="1960" y="1215"/>
                    <a:pt x="1868" y="1439"/>
                    <a:pt x="1701" y="1605"/>
                  </a:cubicBezTo>
                  <a:close/>
                  <a:moveTo>
                    <a:pt x="1373" y="751"/>
                  </a:moveTo>
                  <a:cubicBezTo>
                    <a:pt x="1134" y="990"/>
                    <a:pt x="1134" y="990"/>
                    <a:pt x="1134" y="990"/>
                  </a:cubicBezTo>
                  <a:cubicBezTo>
                    <a:pt x="1373" y="1228"/>
                    <a:pt x="1373" y="1228"/>
                    <a:pt x="1373" y="1228"/>
                  </a:cubicBezTo>
                  <a:cubicBezTo>
                    <a:pt x="1391" y="1246"/>
                    <a:pt x="1391" y="1277"/>
                    <a:pt x="1373" y="1295"/>
                  </a:cubicBezTo>
                  <a:cubicBezTo>
                    <a:pt x="1363" y="1305"/>
                    <a:pt x="1352" y="1308"/>
                    <a:pt x="1339" y="1308"/>
                  </a:cubicBezTo>
                  <a:cubicBezTo>
                    <a:pt x="1327" y="1308"/>
                    <a:pt x="1316" y="1302"/>
                    <a:pt x="1306" y="1295"/>
                  </a:cubicBezTo>
                  <a:cubicBezTo>
                    <a:pt x="1068" y="1056"/>
                    <a:pt x="1068" y="1056"/>
                    <a:pt x="1068" y="1056"/>
                  </a:cubicBezTo>
                  <a:cubicBezTo>
                    <a:pt x="829" y="1295"/>
                    <a:pt x="829" y="1295"/>
                    <a:pt x="829" y="1295"/>
                  </a:cubicBezTo>
                  <a:cubicBezTo>
                    <a:pt x="819" y="1305"/>
                    <a:pt x="808" y="1308"/>
                    <a:pt x="796" y="1308"/>
                  </a:cubicBezTo>
                  <a:cubicBezTo>
                    <a:pt x="783" y="1308"/>
                    <a:pt x="773" y="1302"/>
                    <a:pt x="762" y="1295"/>
                  </a:cubicBezTo>
                  <a:cubicBezTo>
                    <a:pt x="744" y="1277"/>
                    <a:pt x="744" y="1246"/>
                    <a:pt x="762" y="1228"/>
                  </a:cubicBezTo>
                  <a:cubicBezTo>
                    <a:pt x="1001" y="990"/>
                    <a:pt x="1001" y="990"/>
                    <a:pt x="1001" y="990"/>
                  </a:cubicBezTo>
                  <a:cubicBezTo>
                    <a:pt x="762" y="751"/>
                    <a:pt x="762" y="751"/>
                    <a:pt x="762" y="751"/>
                  </a:cubicBezTo>
                  <a:cubicBezTo>
                    <a:pt x="744" y="733"/>
                    <a:pt x="744" y="703"/>
                    <a:pt x="762" y="684"/>
                  </a:cubicBezTo>
                  <a:cubicBezTo>
                    <a:pt x="780" y="666"/>
                    <a:pt x="811" y="666"/>
                    <a:pt x="829" y="684"/>
                  </a:cubicBezTo>
                  <a:cubicBezTo>
                    <a:pt x="1068" y="923"/>
                    <a:pt x="1068" y="923"/>
                    <a:pt x="1068" y="923"/>
                  </a:cubicBezTo>
                  <a:cubicBezTo>
                    <a:pt x="1306" y="684"/>
                    <a:pt x="1306" y="684"/>
                    <a:pt x="1306" y="684"/>
                  </a:cubicBezTo>
                  <a:cubicBezTo>
                    <a:pt x="1324" y="666"/>
                    <a:pt x="1355" y="666"/>
                    <a:pt x="1373" y="684"/>
                  </a:cubicBezTo>
                  <a:cubicBezTo>
                    <a:pt x="1391" y="703"/>
                    <a:pt x="1391" y="731"/>
                    <a:pt x="1373" y="751"/>
                  </a:cubicBezTo>
                  <a:close/>
                  <a:moveTo>
                    <a:pt x="1373" y="751"/>
                  </a:moveTo>
                  <a:cubicBezTo>
                    <a:pt x="1373" y="751"/>
                    <a:pt x="1373" y="751"/>
                    <a:pt x="1373" y="75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nvGrpSpPr>
          <p:cNvPr id="246" name="Group 245">
            <a:extLst>
              <a:ext uri="{FF2B5EF4-FFF2-40B4-BE49-F238E27FC236}">
                <a16:creationId xmlns="" xmlns:a16="http://schemas.microsoft.com/office/drawing/2014/main" id="{76B0F3FE-047D-4805-8FAD-EAC52A3F3A32}"/>
              </a:ext>
            </a:extLst>
          </p:cNvPr>
          <p:cNvGrpSpPr/>
          <p:nvPr/>
        </p:nvGrpSpPr>
        <p:grpSpPr>
          <a:xfrm>
            <a:off x="8068762" y="4657986"/>
            <a:ext cx="558238" cy="558238"/>
            <a:chOff x="6179441" y="990600"/>
            <a:chExt cx="638664" cy="638664"/>
          </a:xfrm>
        </p:grpSpPr>
        <p:sp>
          <p:nvSpPr>
            <p:cNvPr id="247" name="Oval 246">
              <a:extLst>
                <a:ext uri="{FF2B5EF4-FFF2-40B4-BE49-F238E27FC236}">
                  <a16:creationId xmlns="" xmlns:a16="http://schemas.microsoft.com/office/drawing/2014/main" id="{D315288D-90FF-4601-9BE4-64E9596E63F4}"/>
                </a:ext>
              </a:extLst>
            </p:cNvPr>
            <p:cNvSpPr/>
            <p:nvPr/>
          </p:nvSpPr>
          <p:spPr>
            <a:xfrm>
              <a:off x="6179441" y="990600"/>
              <a:ext cx="638664" cy="638664"/>
            </a:xfrm>
            <a:prstGeom prst="ellipse">
              <a:avLst/>
            </a:prstGeom>
            <a:solidFill>
              <a:srgbClr val="F26926">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8" name="Freeform 11">
              <a:extLst>
                <a:ext uri="{FF2B5EF4-FFF2-40B4-BE49-F238E27FC236}">
                  <a16:creationId xmlns="" xmlns:a16="http://schemas.microsoft.com/office/drawing/2014/main" id="{B06795F6-830F-4C38-8D0B-414A9FC7D110}"/>
                </a:ext>
              </a:extLst>
            </p:cNvPr>
            <p:cNvSpPr>
              <a:spLocks noEditPoints="1"/>
            </p:cNvSpPr>
            <p:nvPr/>
          </p:nvSpPr>
          <p:spPr bwMode="auto">
            <a:xfrm>
              <a:off x="6328480" y="1140645"/>
              <a:ext cx="348558" cy="317821"/>
            </a:xfrm>
            <a:custGeom>
              <a:avLst/>
              <a:gdLst>
                <a:gd name="T0" fmla="*/ 1768 w 2150"/>
                <a:gd name="T1" fmla="*/ 287 h 1959"/>
                <a:gd name="T2" fmla="*/ 1075 w 2150"/>
                <a:gd name="T3" fmla="*/ 0 h 1959"/>
                <a:gd name="T4" fmla="*/ 383 w 2150"/>
                <a:gd name="T5" fmla="*/ 287 h 1959"/>
                <a:gd name="T6" fmla="*/ 383 w 2150"/>
                <a:gd name="T7" fmla="*/ 1672 h 1959"/>
                <a:gd name="T8" fmla="*/ 1075 w 2150"/>
                <a:gd name="T9" fmla="*/ 1959 h 1959"/>
                <a:gd name="T10" fmla="*/ 1768 w 2150"/>
                <a:gd name="T11" fmla="*/ 1672 h 1959"/>
                <a:gd name="T12" fmla="*/ 1768 w 2150"/>
                <a:gd name="T13" fmla="*/ 287 h 1959"/>
                <a:gd name="T14" fmla="*/ 1701 w 2150"/>
                <a:gd name="T15" fmla="*/ 1605 h 1959"/>
                <a:gd name="T16" fmla="*/ 1075 w 2150"/>
                <a:gd name="T17" fmla="*/ 1864 h 1959"/>
                <a:gd name="T18" fmla="*/ 449 w 2150"/>
                <a:gd name="T19" fmla="*/ 1605 h 1959"/>
                <a:gd name="T20" fmla="*/ 190 w 2150"/>
                <a:gd name="T21" fmla="*/ 979 h 1959"/>
                <a:gd name="T22" fmla="*/ 449 w 2150"/>
                <a:gd name="T23" fmla="*/ 354 h 1959"/>
                <a:gd name="T24" fmla="*/ 1075 w 2150"/>
                <a:gd name="T25" fmla="*/ 95 h 1959"/>
                <a:gd name="T26" fmla="*/ 1701 w 2150"/>
                <a:gd name="T27" fmla="*/ 354 h 1959"/>
                <a:gd name="T28" fmla="*/ 1960 w 2150"/>
                <a:gd name="T29" fmla="*/ 979 h 1959"/>
                <a:gd name="T30" fmla="*/ 1701 w 2150"/>
                <a:gd name="T31" fmla="*/ 1605 h 1959"/>
                <a:gd name="T32" fmla="*/ 1373 w 2150"/>
                <a:gd name="T33" fmla="*/ 751 h 1959"/>
                <a:gd name="T34" fmla="*/ 1134 w 2150"/>
                <a:gd name="T35" fmla="*/ 990 h 1959"/>
                <a:gd name="T36" fmla="*/ 1373 w 2150"/>
                <a:gd name="T37" fmla="*/ 1228 h 1959"/>
                <a:gd name="T38" fmla="*/ 1373 w 2150"/>
                <a:gd name="T39" fmla="*/ 1295 h 1959"/>
                <a:gd name="T40" fmla="*/ 1339 w 2150"/>
                <a:gd name="T41" fmla="*/ 1308 h 1959"/>
                <a:gd name="T42" fmla="*/ 1306 w 2150"/>
                <a:gd name="T43" fmla="*/ 1295 h 1959"/>
                <a:gd name="T44" fmla="*/ 1068 w 2150"/>
                <a:gd name="T45" fmla="*/ 1056 h 1959"/>
                <a:gd name="T46" fmla="*/ 829 w 2150"/>
                <a:gd name="T47" fmla="*/ 1295 h 1959"/>
                <a:gd name="T48" fmla="*/ 796 w 2150"/>
                <a:gd name="T49" fmla="*/ 1308 h 1959"/>
                <a:gd name="T50" fmla="*/ 762 w 2150"/>
                <a:gd name="T51" fmla="*/ 1295 h 1959"/>
                <a:gd name="T52" fmla="*/ 762 w 2150"/>
                <a:gd name="T53" fmla="*/ 1228 h 1959"/>
                <a:gd name="T54" fmla="*/ 1001 w 2150"/>
                <a:gd name="T55" fmla="*/ 990 h 1959"/>
                <a:gd name="T56" fmla="*/ 762 w 2150"/>
                <a:gd name="T57" fmla="*/ 751 h 1959"/>
                <a:gd name="T58" fmla="*/ 762 w 2150"/>
                <a:gd name="T59" fmla="*/ 684 h 1959"/>
                <a:gd name="T60" fmla="*/ 829 w 2150"/>
                <a:gd name="T61" fmla="*/ 684 h 1959"/>
                <a:gd name="T62" fmla="*/ 1068 w 2150"/>
                <a:gd name="T63" fmla="*/ 923 h 1959"/>
                <a:gd name="T64" fmla="*/ 1306 w 2150"/>
                <a:gd name="T65" fmla="*/ 684 h 1959"/>
                <a:gd name="T66" fmla="*/ 1373 w 2150"/>
                <a:gd name="T67" fmla="*/ 684 h 1959"/>
                <a:gd name="T68" fmla="*/ 1373 w 2150"/>
                <a:gd name="T69" fmla="*/ 751 h 1959"/>
                <a:gd name="T70" fmla="*/ 1373 w 2150"/>
                <a:gd name="T71" fmla="*/ 751 h 1959"/>
                <a:gd name="T72" fmla="*/ 1373 w 2150"/>
                <a:gd name="T73" fmla="*/ 751 h 1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50" h="1959">
                  <a:moveTo>
                    <a:pt x="1768" y="287"/>
                  </a:moveTo>
                  <a:cubicBezTo>
                    <a:pt x="1583" y="102"/>
                    <a:pt x="1337" y="0"/>
                    <a:pt x="1075" y="0"/>
                  </a:cubicBezTo>
                  <a:cubicBezTo>
                    <a:pt x="813" y="0"/>
                    <a:pt x="567" y="102"/>
                    <a:pt x="383" y="287"/>
                  </a:cubicBezTo>
                  <a:cubicBezTo>
                    <a:pt x="0" y="669"/>
                    <a:pt x="0" y="1290"/>
                    <a:pt x="383" y="1672"/>
                  </a:cubicBezTo>
                  <a:cubicBezTo>
                    <a:pt x="567" y="1857"/>
                    <a:pt x="813" y="1959"/>
                    <a:pt x="1075" y="1959"/>
                  </a:cubicBezTo>
                  <a:cubicBezTo>
                    <a:pt x="1337" y="1959"/>
                    <a:pt x="1583" y="1857"/>
                    <a:pt x="1768" y="1672"/>
                  </a:cubicBezTo>
                  <a:cubicBezTo>
                    <a:pt x="2150" y="1290"/>
                    <a:pt x="2150" y="669"/>
                    <a:pt x="1768" y="287"/>
                  </a:cubicBezTo>
                  <a:close/>
                  <a:moveTo>
                    <a:pt x="1701" y="1605"/>
                  </a:moveTo>
                  <a:cubicBezTo>
                    <a:pt x="1534" y="1772"/>
                    <a:pt x="1311" y="1864"/>
                    <a:pt x="1075" y="1864"/>
                  </a:cubicBezTo>
                  <a:cubicBezTo>
                    <a:pt x="839" y="1864"/>
                    <a:pt x="616" y="1772"/>
                    <a:pt x="449" y="1605"/>
                  </a:cubicBezTo>
                  <a:cubicBezTo>
                    <a:pt x="283" y="1439"/>
                    <a:pt x="190" y="1216"/>
                    <a:pt x="190" y="979"/>
                  </a:cubicBezTo>
                  <a:cubicBezTo>
                    <a:pt x="190" y="743"/>
                    <a:pt x="283" y="520"/>
                    <a:pt x="449" y="354"/>
                  </a:cubicBezTo>
                  <a:cubicBezTo>
                    <a:pt x="616" y="187"/>
                    <a:pt x="839" y="95"/>
                    <a:pt x="1075" y="95"/>
                  </a:cubicBezTo>
                  <a:cubicBezTo>
                    <a:pt x="1311" y="95"/>
                    <a:pt x="1534" y="187"/>
                    <a:pt x="1701" y="354"/>
                  </a:cubicBezTo>
                  <a:cubicBezTo>
                    <a:pt x="1868" y="520"/>
                    <a:pt x="1960" y="744"/>
                    <a:pt x="1960" y="979"/>
                  </a:cubicBezTo>
                  <a:cubicBezTo>
                    <a:pt x="1960" y="1215"/>
                    <a:pt x="1868" y="1439"/>
                    <a:pt x="1701" y="1605"/>
                  </a:cubicBezTo>
                  <a:close/>
                  <a:moveTo>
                    <a:pt x="1373" y="751"/>
                  </a:moveTo>
                  <a:cubicBezTo>
                    <a:pt x="1134" y="990"/>
                    <a:pt x="1134" y="990"/>
                    <a:pt x="1134" y="990"/>
                  </a:cubicBezTo>
                  <a:cubicBezTo>
                    <a:pt x="1373" y="1228"/>
                    <a:pt x="1373" y="1228"/>
                    <a:pt x="1373" y="1228"/>
                  </a:cubicBezTo>
                  <a:cubicBezTo>
                    <a:pt x="1391" y="1246"/>
                    <a:pt x="1391" y="1277"/>
                    <a:pt x="1373" y="1295"/>
                  </a:cubicBezTo>
                  <a:cubicBezTo>
                    <a:pt x="1363" y="1305"/>
                    <a:pt x="1352" y="1308"/>
                    <a:pt x="1339" y="1308"/>
                  </a:cubicBezTo>
                  <a:cubicBezTo>
                    <a:pt x="1327" y="1308"/>
                    <a:pt x="1316" y="1302"/>
                    <a:pt x="1306" y="1295"/>
                  </a:cubicBezTo>
                  <a:cubicBezTo>
                    <a:pt x="1068" y="1056"/>
                    <a:pt x="1068" y="1056"/>
                    <a:pt x="1068" y="1056"/>
                  </a:cubicBezTo>
                  <a:cubicBezTo>
                    <a:pt x="829" y="1295"/>
                    <a:pt x="829" y="1295"/>
                    <a:pt x="829" y="1295"/>
                  </a:cubicBezTo>
                  <a:cubicBezTo>
                    <a:pt x="819" y="1305"/>
                    <a:pt x="808" y="1308"/>
                    <a:pt x="796" y="1308"/>
                  </a:cubicBezTo>
                  <a:cubicBezTo>
                    <a:pt x="783" y="1308"/>
                    <a:pt x="773" y="1302"/>
                    <a:pt x="762" y="1295"/>
                  </a:cubicBezTo>
                  <a:cubicBezTo>
                    <a:pt x="744" y="1277"/>
                    <a:pt x="744" y="1246"/>
                    <a:pt x="762" y="1228"/>
                  </a:cubicBezTo>
                  <a:cubicBezTo>
                    <a:pt x="1001" y="990"/>
                    <a:pt x="1001" y="990"/>
                    <a:pt x="1001" y="990"/>
                  </a:cubicBezTo>
                  <a:cubicBezTo>
                    <a:pt x="762" y="751"/>
                    <a:pt x="762" y="751"/>
                    <a:pt x="762" y="751"/>
                  </a:cubicBezTo>
                  <a:cubicBezTo>
                    <a:pt x="744" y="733"/>
                    <a:pt x="744" y="703"/>
                    <a:pt x="762" y="684"/>
                  </a:cubicBezTo>
                  <a:cubicBezTo>
                    <a:pt x="780" y="666"/>
                    <a:pt x="811" y="666"/>
                    <a:pt x="829" y="684"/>
                  </a:cubicBezTo>
                  <a:cubicBezTo>
                    <a:pt x="1068" y="923"/>
                    <a:pt x="1068" y="923"/>
                    <a:pt x="1068" y="923"/>
                  </a:cubicBezTo>
                  <a:cubicBezTo>
                    <a:pt x="1306" y="684"/>
                    <a:pt x="1306" y="684"/>
                    <a:pt x="1306" y="684"/>
                  </a:cubicBezTo>
                  <a:cubicBezTo>
                    <a:pt x="1324" y="666"/>
                    <a:pt x="1355" y="666"/>
                    <a:pt x="1373" y="684"/>
                  </a:cubicBezTo>
                  <a:cubicBezTo>
                    <a:pt x="1391" y="703"/>
                    <a:pt x="1391" y="731"/>
                    <a:pt x="1373" y="751"/>
                  </a:cubicBezTo>
                  <a:close/>
                  <a:moveTo>
                    <a:pt x="1373" y="751"/>
                  </a:moveTo>
                  <a:cubicBezTo>
                    <a:pt x="1373" y="751"/>
                    <a:pt x="1373" y="751"/>
                    <a:pt x="1373" y="75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nvGrpSpPr>
          <p:cNvPr id="249" name="Group 248">
            <a:extLst>
              <a:ext uri="{FF2B5EF4-FFF2-40B4-BE49-F238E27FC236}">
                <a16:creationId xmlns="" xmlns:a16="http://schemas.microsoft.com/office/drawing/2014/main" id="{4D3E2B0C-79FB-41C4-86CD-5BA1D7B677BB}"/>
              </a:ext>
            </a:extLst>
          </p:cNvPr>
          <p:cNvGrpSpPr/>
          <p:nvPr/>
        </p:nvGrpSpPr>
        <p:grpSpPr>
          <a:xfrm>
            <a:off x="7242980" y="5560378"/>
            <a:ext cx="558238" cy="558238"/>
            <a:chOff x="6179441" y="990600"/>
            <a:chExt cx="638664" cy="638664"/>
          </a:xfrm>
        </p:grpSpPr>
        <p:sp>
          <p:nvSpPr>
            <p:cNvPr id="250" name="Oval 249">
              <a:extLst>
                <a:ext uri="{FF2B5EF4-FFF2-40B4-BE49-F238E27FC236}">
                  <a16:creationId xmlns="" xmlns:a16="http://schemas.microsoft.com/office/drawing/2014/main" id="{7D0677EC-2762-41D1-A148-3397B0136DF1}"/>
                </a:ext>
              </a:extLst>
            </p:cNvPr>
            <p:cNvSpPr/>
            <p:nvPr/>
          </p:nvSpPr>
          <p:spPr>
            <a:xfrm>
              <a:off x="6179441" y="990600"/>
              <a:ext cx="638664" cy="638664"/>
            </a:xfrm>
            <a:prstGeom prst="ellipse">
              <a:avLst/>
            </a:prstGeom>
            <a:solidFill>
              <a:srgbClr val="F26926">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2" name="Freeform 11">
              <a:extLst>
                <a:ext uri="{FF2B5EF4-FFF2-40B4-BE49-F238E27FC236}">
                  <a16:creationId xmlns="" xmlns:a16="http://schemas.microsoft.com/office/drawing/2014/main" id="{FEF4031D-4ED0-4B45-BC67-9469B18609E3}"/>
                </a:ext>
              </a:extLst>
            </p:cNvPr>
            <p:cNvSpPr>
              <a:spLocks noEditPoints="1"/>
            </p:cNvSpPr>
            <p:nvPr/>
          </p:nvSpPr>
          <p:spPr bwMode="auto">
            <a:xfrm>
              <a:off x="6328480" y="1140645"/>
              <a:ext cx="348558" cy="317821"/>
            </a:xfrm>
            <a:custGeom>
              <a:avLst/>
              <a:gdLst>
                <a:gd name="T0" fmla="*/ 1768 w 2150"/>
                <a:gd name="T1" fmla="*/ 287 h 1959"/>
                <a:gd name="T2" fmla="*/ 1075 w 2150"/>
                <a:gd name="T3" fmla="*/ 0 h 1959"/>
                <a:gd name="T4" fmla="*/ 383 w 2150"/>
                <a:gd name="T5" fmla="*/ 287 h 1959"/>
                <a:gd name="T6" fmla="*/ 383 w 2150"/>
                <a:gd name="T7" fmla="*/ 1672 h 1959"/>
                <a:gd name="T8" fmla="*/ 1075 w 2150"/>
                <a:gd name="T9" fmla="*/ 1959 h 1959"/>
                <a:gd name="T10" fmla="*/ 1768 w 2150"/>
                <a:gd name="T11" fmla="*/ 1672 h 1959"/>
                <a:gd name="T12" fmla="*/ 1768 w 2150"/>
                <a:gd name="T13" fmla="*/ 287 h 1959"/>
                <a:gd name="T14" fmla="*/ 1701 w 2150"/>
                <a:gd name="T15" fmla="*/ 1605 h 1959"/>
                <a:gd name="T16" fmla="*/ 1075 w 2150"/>
                <a:gd name="T17" fmla="*/ 1864 h 1959"/>
                <a:gd name="T18" fmla="*/ 449 w 2150"/>
                <a:gd name="T19" fmla="*/ 1605 h 1959"/>
                <a:gd name="T20" fmla="*/ 190 w 2150"/>
                <a:gd name="T21" fmla="*/ 979 h 1959"/>
                <a:gd name="T22" fmla="*/ 449 w 2150"/>
                <a:gd name="T23" fmla="*/ 354 h 1959"/>
                <a:gd name="T24" fmla="*/ 1075 w 2150"/>
                <a:gd name="T25" fmla="*/ 95 h 1959"/>
                <a:gd name="T26" fmla="*/ 1701 w 2150"/>
                <a:gd name="T27" fmla="*/ 354 h 1959"/>
                <a:gd name="T28" fmla="*/ 1960 w 2150"/>
                <a:gd name="T29" fmla="*/ 979 h 1959"/>
                <a:gd name="T30" fmla="*/ 1701 w 2150"/>
                <a:gd name="T31" fmla="*/ 1605 h 1959"/>
                <a:gd name="T32" fmla="*/ 1373 w 2150"/>
                <a:gd name="T33" fmla="*/ 751 h 1959"/>
                <a:gd name="T34" fmla="*/ 1134 w 2150"/>
                <a:gd name="T35" fmla="*/ 990 h 1959"/>
                <a:gd name="T36" fmla="*/ 1373 w 2150"/>
                <a:gd name="T37" fmla="*/ 1228 h 1959"/>
                <a:gd name="T38" fmla="*/ 1373 w 2150"/>
                <a:gd name="T39" fmla="*/ 1295 h 1959"/>
                <a:gd name="T40" fmla="*/ 1339 w 2150"/>
                <a:gd name="T41" fmla="*/ 1308 h 1959"/>
                <a:gd name="T42" fmla="*/ 1306 w 2150"/>
                <a:gd name="T43" fmla="*/ 1295 h 1959"/>
                <a:gd name="T44" fmla="*/ 1068 w 2150"/>
                <a:gd name="T45" fmla="*/ 1056 h 1959"/>
                <a:gd name="T46" fmla="*/ 829 w 2150"/>
                <a:gd name="T47" fmla="*/ 1295 h 1959"/>
                <a:gd name="T48" fmla="*/ 796 w 2150"/>
                <a:gd name="T49" fmla="*/ 1308 h 1959"/>
                <a:gd name="T50" fmla="*/ 762 w 2150"/>
                <a:gd name="T51" fmla="*/ 1295 h 1959"/>
                <a:gd name="T52" fmla="*/ 762 w 2150"/>
                <a:gd name="T53" fmla="*/ 1228 h 1959"/>
                <a:gd name="T54" fmla="*/ 1001 w 2150"/>
                <a:gd name="T55" fmla="*/ 990 h 1959"/>
                <a:gd name="T56" fmla="*/ 762 w 2150"/>
                <a:gd name="T57" fmla="*/ 751 h 1959"/>
                <a:gd name="T58" fmla="*/ 762 w 2150"/>
                <a:gd name="T59" fmla="*/ 684 h 1959"/>
                <a:gd name="T60" fmla="*/ 829 w 2150"/>
                <a:gd name="T61" fmla="*/ 684 h 1959"/>
                <a:gd name="T62" fmla="*/ 1068 w 2150"/>
                <a:gd name="T63" fmla="*/ 923 h 1959"/>
                <a:gd name="T64" fmla="*/ 1306 w 2150"/>
                <a:gd name="T65" fmla="*/ 684 h 1959"/>
                <a:gd name="T66" fmla="*/ 1373 w 2150"/>
                <a:gd name="T67" fmla="*/ 684 h 1959"/>
                <a:gd name="T68" fmla="*/ 1373 w 2150"/>
                <a:gd name="T69" fmla="*/ 751 h 1959"/>
                <a:gd name="T70" fmla="*/ 1373 w 2150"/>
                <a:gd name="T71" fmla="*/ 751 h 1959"/>
                <a:gd name="T72" fmla="*/ 1373 w 2150"/>
                <a:gd name="T73" fmla="*/ 751 h 1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50" h="1959">
                  <a:moveTo>
                    <a:pt x="1768" y="287"/>
                  </a:moveTo>
                  <a:cubicBezTo>
                    <a:pt x="1583" y="102"/>
                    <a:pt x="1337" y="0"/>
                    <a:pt x="1075" y="0"/>
                  </a:cubicBezTo>
                  <a:cubicBezTo>
                    <a:pt x="813" y="0"/>
                    <a:pt x="567" y="102"/>
                    <a:pt x="383" y="287"/>
                  </a:cubicBezTo>
                  <a:cubicBezTo>
                    <a:pt x="0" y="669"/>
                    <a:pt x="0" y="1290"/>
                    <a:pt x="383" y="1672"/>
                  </a:cubicBezTo>
                  <a:cubicBezTo>
                    <a:pt x="567" y="1857"/>
                    <a:pt x="813" y="1959"/>
                    <a:pt x="1075" y="1959"/>
                  </a:cubicBezTo>
                  <a:cubicBezTo>
                    <a:pt x="1337" y="1959"/>
                    <a:pt x="1583" y="1857"/>
                    <a:pt x="1768" y="1672"/>
                  </a:cubicBezTo>
                  <a:cubicBezTo>
                    <a:pt x="2150" y="1290"/>
                    <a:pt x="2150" y="669"/>
                    <a:pt x="1768" y="287"/>
                  </a:cubicBezTo>
                  <a:close/>
                  <a:moveTo>
                    <a:pt x="1701" y="1605"/>
                  </a:moveTo>
                  <a:cubicBezTo>
                    <a:pt x="1534" y="1772"/>
                    <a:pt x="1311" y="1864"/>
                    <a:pt x="1075" y="1864"/>
                  </a:cubicBezTo>
                  <a:cubicBezTo>
                    <a:pt x="839" y="1864"/>
                    <a:pt x="616" y="1772"/>
                    <a:pt x="449" y="1605"/>
                  </a:cubicBezTo>
                  <a:cubicBezTo>
                    <a:pt x="283" y="1439"/>
                    <a:pt x="190" y="1216"/>
                    <a:pt x="190" y="979"/>
                  </a:cubicBezTo>
                  <a:cubicBezTo>
                    <a:pt x="190" y="743"/>
                    <a:pt x="283" y="520"/>
                    <a:pt x="449" y="354"/>
                  </a:cubicBezTo>
                  <a:cubicBezTo>
                    <a:pt x="616" y="187"/>
                    <a:pt x="839" y="95"/>
                    <a:pt x="1075" y="95"/>
                  </a:cubicBezTo>
                  <a:cubicBezTo>
                    <a:pt x="1311" y="95"/>
                    <a:pt x="1534" y="187"/>
                    <a:pt x="1701" y="354"/>
                  </a:cubicBezTo>
                  <a:cubicBezTo>
                    <a:pt x="1868" y="520"/>
                    <a:pt x="1960" y="744"/>
                    <a:pt x="1960" y="979"/>
                  </a:cubicBezTo>
                  <a:cubicBezTo>
                    <a:pt x="1960" y="1215"/>
                    <a:pt x="1868" y="1439"/>
                    <a:pt x="1701" y="1605"/>
                  </a:cubicBezTo>
                  <a:close/>
                  <a:moveTo>
                    <a:pt x="1373" y="751"/>
                  </a:moveTo>
                  <a:cubicBezTo>
                    <a:pt x="1134" y="990"/>
                    <a:pt x="1134" y="990"/>
                    <a:pt x="1134" y="990"/>
                  </a:cubicBezTo>
                  <a:cubicBezTo>
                    <a:pt x="1373" y="1228"/>
                    <a:pt x="1373" y="1228"/>
                    <a:pt x="1373" y="1228"/>
                  </a:cubicBezTo>
                  <a:cubicBezTo>
                    <a:pt x="1391" y="1246"/>
                    <a:pt x="1391" y="1277"/>
                    <a:pt x="1373" y="1295"/>
                  </a:cubicBezTo>
                  <a:cubicBezTo>
                    <a:pt x="1363" y="1305"/>
                    <a:pt x="1352" y="1308"/>
                    <a:pt x="1339" y="1308"/>
                  </a:cubicBezTo>
                  <a:cubicBezTo>
                    <a:pt x="1327" y="1308"/>
                    <a:pt x="1316" y="1302"/>
                    <a:pt x="1306" y="1295"/>
                  </a:cubicBezTo>
                  <a:cubicBezTo>
                    <a:pt x="1068" y="1056"/>
                    <a:pt x="1068" y="1056"/>
                    <a:pt x="1068" y="1056"/>
                  </a:cubicBezTo>
                  <a:cubicBezTo>
                    <a:pt x="829" y="1295"/>
                    <a:pt x="829" y="1295"/>
                    <a:pt x="829" y="1295"/>
                  </a:cubicBezTo>
                  <a:cubicBezTo>
                    <a:pt x="819" y="1305"/>
                    <a:pt x="808" y="1308"/>
                    <a:pt x="796" y="1308"/>
                  </a:cubicBezTo>
                  <a:cubicBezTo>
                    <a:pt x="783" y="1308"/>
                    <a:pt x="773" y="1302"/>
                    <a:pt x="762" y="1295"/>
                  </a:cubicBezTo>
                  <a:cubicBezTo>
                    <a:pt x="744" y="1277"/>
                    <a:pt x="744" y="1246"/>
                    <a:pt x="762" y="1228"/>
                  </a:cubicBezTo>
                  <a:cubicBezTo>
                    <a:pt x="1001" y="990"/>
                    <a:pt x="1001" y="990"/>
                    <a:pt x="1001" y="990"/>
                  </a:cubicBezTo>
                  <a:cubicBezTo>
                    <a:pt x="762" y="751"/>
                    <a:pt x="762" y="751"/>
                    <a:pt x="762" y="751"/>
                  </a:cubicBezTo>
                  <a:cubicBezTo>
                    <a:pt x="744" y="733"/>
                    <a:pt x="744" y="703"/>
                    <a:pt x="762" y="684"/>
                  </a:cubicBezTo>
                  <a:cubicBezTo>
                    <a:pt x="780" y="666"/>
                    <a:pt x="811" y="666"/>
                    <a:pt x="829" y="684"/>
                  </a:cubicBezTo>
                  <a:cubicBezTo>
                    <a:pt x="1068" y="923"/>
                    <a:pt x="1068" y="923"/>
                    <a:pt x="1068" y="923"/>
                  </a:cubicBezTo>
                  <a:cubicBezTo>
                    <a:pt x="1306" y="684"/>
                    <a:pt x="1306" y="684"/>
                    <a:pt x="1306" y="684"/>
                  </a:cubicBezTo>
                  <a:cubicBezTo>
                    <a:pt x="1324" y="666"/>
                    <a:pt x="1355" y="666"/>
                    <a:pt x="1373" y="684"/>
                  </a:cubicBezTo>
                  <a:cubicBezTo>
                    <a:pt x="1391" y="703"/>
                    <a:pt x="1391" y="731"/>
                    <a:pt x="1373" y="751"/>
                  </a:cubicBezTo>
                  <a:close/>
                  <a:moveTo>
                    <a:pt x="1373" y="751"/>
                  </a:moveTo>
                  <a:cubicBezTo>
                    <a:pt x="1373" y="751"/>
                    <a:pt x="1373" y="751"/>
                    <a:pt x="1373" y="75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nvGrpSpPr>
          <p:cNvPr id="253" name="Group 252">
            <a:extLst>
              <a:ext uri="{FF2B5EF4-FFF2-40B4-BE49-F238E27FC236}">
                <a16:creationId xmlns="" xmlns:a16="http://schemas.microsoft.com/office/drawing/2014/main" id="{9D8974DA-CF0B-4A53-9CE5-7552FF8BEA65}"/>
              </a:ext>
            </a:extLst>
          </p:cNvPr>
          <p:cNvGrpSpPr/>
          <p:nvPr/>
        </p:nvGrpSpPr>
        <p:grpSpPr>
          <a:xfrm>
            <a:off x="4134412" y="5560378"/>
            <a:ext cx="558238" cy="558238"/>
            <a:chOff x="6179441" y="990600"/>
            <a:chExt cx="638664" cy="638664"/>
          </a:xfrm>
        </p:grpSpPr>
        <p:sp>
          <p:nvSpPr>
            <p:cNvPr id="255" name="Oval 254">
              <a:extLst>
                <a:ext uri="{FF2B5EF4-FFF2-40B4-BE49-F238E27FC236}">
                  <a16:creationId xmlns="" xmlns:a16="http://schemas.microsoft.com/office/drawing/2014/main" id="{F3F2E192-ABEC-40D9-8889-3AC9AD3A1AF3}"/>
                </a:ext>
              </a:extLst>
            </p:cNvPr>
            <p:cNvSpPr/>
            <p:nvPr/>
          </p:nvSpPr>
          <p:spPr>
            <a:xfrm>
              <a:off x="6179441" y="990600"/>
              <a:ext cx="638664" cy="638664"/>
            </a:xfrm>
            <a:prstGeom prst="ellipse">
              <a:avLst/>
            </a:prstGeom>
            <a:solidFill>
              <a:srgbClr val="F26926">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2" name="Freeform 11">
              <a:extLst>
                <a:ext uri="{FF2B5EF4-FFF2-40B4-BE49-F238E27FC236}">
                  <a16:creationId xmlns="" xmlns:a16="http://schemas.microsoft.com/office/drawing/2014/main" id="{0B0F8FAC-AB08-40F4-976B-7B995E07821A}"/>
                </a:ext>
              </a:extLst>
            </p:cNvPr>
            <p:cNvSpPr>
              <a:spLocks noEditPoints="1"/>
            </p:cNvSpPr>
            <p:nvPr/>
          </p:nvSpPr>
          <p:spPr bwMode="auto">
            <a:xfrm>
              <a:off x="6328480" y="1140645"/>
              <a:ext cx="348558" cy="317821"/>
            </a:xfrm>
            <a:custGeom>
              <a:avLst/>
              <a:gdLst>
                <a:gd name="T0" fmla="*/ 1768 w 2150"/>
                <a:gd name="T1" fmla="*/ 287 h 1959"/>
                <a:gd name="T2" fmla="*/ 1075 w 2150"/>
                <a:gd name="T3" fmla="*/ 0 h 1959"/>
                <a:gd name="T4" fmla="*/ 383 w 2150"/>
                <a:gd name="T5" fmla="*/ 287 h 1959"/>
                <a:gd name="T6" fmla="*/ 383 w 2150"/>
                <a:gd name="T7" fmla="*/ 1672 h 1959"/>
                <a:gd name="T8" fmla="*/ 1075 w 2150"/>
                <a:gd name="T9" fmla="*/ 1959 h 1959"/>
                <a:gd name="T10" fmla="*/ 1768 w 2150"/>
                <a:gd name="T11" fmla="*/ 1672 h 1959"/>
                <a:gd name="T12" fmla="*/ 1768 w 2150"/>
                <a:gd name="T13" fmla="*/ 287 h 1959"/>
                <a:gd name="T14" fmla="*/ 1701 w 2150"/>
                <a:gd name="T15" fmla="*/ 1605 h 1959"/>
                <a:gd name="T16" fmla="*/ 1075 w 2150"/>
                <a:gd name="T17" fmla="*/ 1864 h 1959"/>
                <a:gd name="T18" fmla="*/ 449 w 2150"/>
                <a:gd name="T19" fmla="*/ 1605 h 1959"/>
                <a:gd name="T20" fmla="*/ 190 w 2150"/>
                <a:gd name="T21" fmla="*/ 979 h 1959"/>
                <a:gd name="T22" fmla="*/ 449 w 2150"/>
                <a:gd name="T23" fmla="*/ 354 h 1959"/>
                <a:gd name="T24" fmla="*/ 1075 w 2150"/>
                <a:gd name="T25" fmla="*/ 95 h 1959"/>
                <a:gd name="T26" fmla="*/ 1701 w 2150"/>
                <a:gd name="T27" fmla="*/ 354 h 1959"/>
                <a:gd name="T28" fmla="*/ 1960 w 2150"/>
                <a:gd name="T29" fmla="*/ 979 h 1959"/>
                <a:gd name="T30" fmla="*/ 1701 w 2150"/>
                <a:gd name="T31" fmla="*/ 1605 h 1959"/>
                <a:gd name="T32" fmla="*/ 1373 w 2150"/>
                <a:gd name="T33" fmla="*/ 751 h 1959"/>
                <a:gd name="T34" fmla="*/ 1134 w 2150"/>
                <a:gd name="T35" fmla="*/ 990 h 1959"/>
                <a:gd name="T36" fmla="*/ 1373 w 2150"/>
                <a:gd name="T37" fmla="*/ 1228 h 1959"/>
                <a:gd name="T38" fmla="*/ 1373 w 2150"/>
                <a:gd name="T39" fmla="*/ 1295 h 1959"/>
                <a:gd name="T40" fmla="*/ 1339 w 2150"/>
                <a:gd name="T41" fmla="*/ 1308 h 1959"/>
                <a:gd name="T42" fmla="*/ 1306 w 2150"/>
                <a:gd name="T43" fmla="*/ 1295 h 1959"/>
                <a:gd name="T44" fmla="*/ 1068 w 2150"/>
                <a:gd name="T45" fmla="*/ 1056 h 1959"/>
                <a:gd name="T46" fmla="*/ 829 w 2150"/>
                <a:gd name="T47" fmla="*/ 1295 h 1959"/>
                <a:gd name="T48" fmla="*/ 796 w 2150"/>
                <a:gd name="T49" fmla="*/ 1308 h 1959"/>
                <a:gd name="T50" fmla="*/ 762 w 2150"/>
                <a:gd name="T51" fmla="*/ 1295 h 1959"/>
                <a:gd name="T52" fmla="*/ 762 w 2150"/>
                <a:gd name="T53" fmla="*/ 1228 h 1959"/>
                <a:gd name="T54" fmla="*/ 1001 w 2150"/>
                <a:gd name="T55" fmla="*/ 990 h 1959"/>
                <a:gd name="T56" fmla="*/ 762 w 2150"/>
                <a:gd name="T57" fmla="*/ 751 h 1959"/>
                <a:gd name="T58" fmla="*/ 762 w 2150"/>
                <a:gd name="T59" fmla="*/ 684 h 1959"/>
                <a:gd name="T60" fmla="*/ 829 w 2150"/>
                <a:gd name="T61" fmla="*/ 684 h 1959"/>
                <a:gd name="T62" fmla="*/ 1068 w 2150"/>
                <a:gd name="T63" fmla="*/ 923 h 1959"/>
                <a:gd name="T64" fmla="*/ 1306 w 2150"/>
                <a:gd name="T65" fmla="*/ 684 h 1959"/>
                <a:gd name="T66" fmla="*/ 1373 w 2150"/>
                <a:gd name="T67" fmla="*/ 684 h 1959"/>
                <a:gd name="T68" fmla="*/ 1373 w 2150"/>
                <a:gd name="T69" fmla="*/ 751 h 1959"/>
                <a:gd name="T70" fmla="*/ 1373 w 2150"/>
                <a:gd name="T71" fmla="*/ 751 h 1959"/>
                <a:gd name="T72" fmla="*/ 1373 w 2150"/>
                <a:gd name="T73" fmla="*/ 751 h 1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50" h="1959">
                  <a:moveTo>
                    <a:pt x="1768" y="287"/>
                  </a:moveTo>
                  <a:cubicBezTo>
                    <a:pt x="1583" y="102"/>
                    <a:pt x="1337" y="0"/>
                    <a:pt x="1075" y="0"/>
                  </a:cubicBezTo>
                  <a:cubicBezTo>
                    <a:pt x="813" y="0"/>
                    <a:pt x="567" y="102"/>
                    <a:pt x="383" y="287"/>
                  </a:cubicBezTo>
                  <a:cubicBezTo>
                    <a:pt x="0" y="669"/>
                    <a:pt x="0" y="1290"/>
                    <a:pt x="383" y="1672"/>
                  </a:cubicBezTo>
                  <a:cubicBezTo>
                    <a:pt x="567" y="1857"/>
                    <a:pt x="813" y="1959"/>
                    <a:pt x="1075" y="1959"/>
                  </a:cubicBezTo>
                  <a:cubicBezTo>
                    <a:pt x="1337" y="1959"/>
                    <a:pt x="1583" y="1857"/>
                    <a:pt x="1768" y="1672"/>
                  </a:cubicBezTo>
                  <a:cubicBezTo>
                    <a:pt x="2150" y="1290"/>
                    <a:pt x="2150" y="669"/>
                    <a:pt x="1768" y="287"/>
                  </a:cubicBezTo>
                  <a:close/>
                  <a:moveTo>
                    <a:pt x="1701" y="1605"/>
                  </a:moveTo>
                  <a:cubicBezTo>
                    <a:pt x="1534" y="1772"/>
                    <a:pt x="1311" y="1864"/>
                    <a:pt x="1075" y="1864"/>
                  </a:cubicBezTo>
                  <a:cubicBezTo>
                    <a:pt x="839" y="1864"/>
                    <a:pt x="616" y="1772"/>
                    <a:pt x="449" y="1605"/>
                  </a:cubicBezTo>
                  <a:cubicBezTo>
                    <a:pt x="283" y="1439"/>
                    <a:pt x="190" y="1216"/>
                    <a:pt x="190" y="979"/>
                  </a:cubicBezTo>
                  <a:cubicBezTo>
                    <a:pt x="190" y="743"/>
                    <a:pt x="283" y="520"/>
                    <a:pt x="449" y="354"/>
                  </a:cubicBezTo>
                  <a:cubicBezTo>
                    <a:pt x="616" y="187"/>
                    <a:pt x="839" y="95"/>
                    <a:pt x="1075" y="95"/>
                  </a:cubicBezTo>
                  <a:cubicBezTo>
                    <a:pt x="1311" y="95"/>
                    <a:pt x="1534" y="187"/>
                    <a:pt x="1701" y="354"/>
                  </a:cubicBezTo>
                  <a:cubicBezTo>
                    <a:pt x="1868" y="520"/>
                    <a:pt x="1960" y="744"/>
                    <a:pt x="1960" y="979"/>
                  </a:cubicBezTo>
                  <a:cubicBezTo>
                    <a:pt x="1960" y="1215"/>
                    <a:pt x="1868" y="1439"/>
                    <a:pt x="1701" y="1605"/>
                  </a:cubicBezTo>
                  <a:close/>
                  <a:moveTo>
                    <a:pt x="1373" y="751"/>
                  </a:moveTo>
                  <a:cubicBezTo>
                    <a:pt x="1134" y="990"/>
                    <a:pt x="1134" y="990"/>
                    <a:pt x="1134" y="990"/>
                  </a:cubicBezTo>
                  <a:cubicBezTo>
                    <a:pt x="1373" y="1228"/>
                    <a:pt x="1373" y="1228"/>
                    <a:pt x="1373" y="1228"/>
                  </a:cubicBezTo>
                  <a:cubicBezTo>
                    <a:pt x="1391" y="1246"/>
                    <a:pt x="1391" y="1277"/>
                    <a:pt x="1373" y="1295"/>
                  </a:cubicBezTo>
                  <a:cubicBezTo>
                    <a:pt x="1363" y="1305"/>
                    <a:pt x="1352" y="1308"/>
                    <a:pt x="1339" y="1308"/>
                  </a:cubicBezTo>
                  <a:cubicBezTo>
                    <a:pt x="1327" y="1308"/>
                    <a:pt x="1316" y="1302"/>
                    <a:pt x="1306" y="1295"/>
                  </a:cubicBezTo>
                  <a:cubicBezTo>
                    <a:pt x="1068" y="1056"/>
                    <a:pt x="1068" y="1056"/>
                    <a:pt x="1068" y="1056"/>
                  </a:cubicBezTo>
                  <a:cubicBezTo>
                    <a:pt x="829" y="1295"/>
                    <a:pt x="829" y="1295"/>
                    <a:pt x="829" y="1295"/>
                  </a:cubicBezTo>
                  <a:cubicBezTo>
                    <a:pt x="819" y="1305"/>
                    <a:pt x="808" y="1308"/>
                    <a:pt x="796" y="1308"/>
                  </a:cubicBezTo>
                  <a:cubicBezTo>
                    <a:pt x="783" y="1308"/>
                    <a:pt x="773" y="1302"/>
                    <a:pt x="762" y="1295"/>
                  </a:cubicBezTo>
                  <a:cubicBezTo>
                    <a:pt x="744" y="1277"/>
                    <a:pt x="744" y="1246"/>
                    <a:pt x="762" y="1228"/>
                  </a:cubicBezTo>
                  <a:cubicBezTo>
                    <a:pt x="1001" y="990"/>
                    <a:pt x="1001" y="990"/>
                    <a:pt x="1001" y="990"/>
                  </a:cubicBezTo>
                  <a:cubicBezTo>
                    <a:pt x="762" y="751"/>
                    <a:pt x="762" y="751"/>
                    <a:pt x="762" y="751"/>
                  </a:cubicBezTo>
                  <a:cubicBezTo>
                    <a:pt x="744" y="733"/>
                    <a:pt x="744" y="703"/>
                    <a:pt x="762" y="684"/>
                  </a:cubicBezTo>
                  <a:cubicBezTo>
                    <a:pt x="780" y="666"/>
                    <a:pt x="811" y="666"/>
                    <a:pt x="829" y="684"/>
                  </a:cubicBezTo>
                  <a:cubicBezTo>
                    <a:pt x="1068" y="923"/>
                    <a:pt x="1068" y="923"/>
                    <a:pt x="1068" y="923"/>
                  </a:cubicBezTo>
                  <a:cubicBezTo>
                    <a:pt x="1306" y="684"/>
                    <a:pt x="1306" y="684"/>
                    <a:pt x="1306" y="684"/>
                  </a:cubicBezTo>
                  <a:cubicBezTo>
                    <a:pt x="1324" y="666"/>
                    <a:pt x="1355" y="666"/>
                    <a:pt x="1373" y="684"/>
                  </a:cubicBezTo>
                  <a:cubicBezTo>
                    <a:pt x="1391" y="703"/>
                    <a:pt x="1391" y="731"/>
                    <a:pt x="1373" y="751"/>
                  </a:cubicBezTo>
                  <a:close/>
                  <a:moveTo>
                    <a:pt x="1373" y="751"/>
                  </a:moveTo>
                  <a:cubicBezTo>
                    <a:pt x="1373" y="751"/>
                    <a:pt x="1373" y="751"/>
                    <a:pt x="1373" y="751"/>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nvGrpSpPr>
          <p:cNvPr id="264" name="Group 263">
            <a:extLst>
              <a:ext uri="{FF2B5EF4-FFF2-40B4-BE49-F238E27FC236}">
                <a16:creationId xmlns="" xmlns:a16="http://schemas.microsoft.com/office/drawing/2014/main" id="{7B238E67-9BCD-4422-ADDB-A44F67C3F3F5}"/>
              </a:ext>
            </a:extLst>
          </p:cNvPr>
          <p:cNvGrpSpPr/>
          <p:nvPr/>
        </p:nvGrpSpPr>
        <p:grpSpPr>
          <a:xfrm>
            <a:off x="3843100" y="4659789"/>
            <a:ext cx="558238" cy="558238"/>
            <a:chOff x="9670612" y="958287"/>
            <a:chExt cx="638664" cy="638664"/>
          </a:xfrm>
        </p:grpSpPr>
        <p:sp>
          <p:nvSpPr>
            <p:cNvPr id="268" name="Oval 267">
              <a:extLst>
                <a:ext uri="{FF2B5EF4-FFF2-40B4-BE49-F238E27FC236}">
                  <a16:creationId xmlns="" xmlns:a16="http://schemas.microsoft.com/office/drawing/2014/main" id="{02482A32-7EED-41F5-8ACE-37E167C52D34}"/>
                </a:ext>
              </a:extLst>
            </p:cNvPr>
            <p:cNvSpPr/>
            <p:nvPr/>
          </p:nvSpPr>
          <p:spPr>
            <a:xfrm>
              <a:off x="9670612" y="958287"/>
              <a:ext cx="638664" cy="638664"/>
            </a:xfrm>
            <a:prstGeom prst="ellipse">
              <a:avLst/>
            </a:prstGeom>
            <a:solidFill>
              <a:srgbClr val="05589C">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70" name="Group 4">
              <a:extLst>
                <a:ext uri="{FF2B5EF4-FFF2-40B4-BE49-F238E27FC236}">
                  <a16:creationId xmlns="" xmlns:a16="http://schemas.microsoft.com/office/drawing/2014/main" id="{DD887A2F-EFA8-4ABF-8F8C-0A5CB80BF0FC}"/>
                </a:ext>
              </a:extLst>
            </p:cNvPr>
            <p:cNvGrpSpPr>
              <a:grpSpLocks noChangeAspect="1"/>
            </p:cNvGrpSpPr>
            <p:nvPr/>
          </p:nvGrpSpPr>
          <p:grpSpPr bwMode="auto">
            <a:xfrm>
              <a:off x="9843355" y="1114574"/>
              <a:ext cx="309924" cy="270782"/>
              <a:chOff x="-1" y="3"/>
              <a:chExt cx="4529" cy="3957"/>
            </a:xfrm>
            <a:solidFill>
              <a:schemeClr val="bg1"/>
            </a:solidFill>
          </p:grpSpPr>
          <p:sp>
            <p:nvSpPr>
              <p:cNvPr id="271" name="Freeform 5">
                <a:extLst>
                  <a:ext uri="{FF2B5EF4-FFF2-40B4-BE49-F238E27FC236}">
                    <a16:creationId xmlns="" xmlns:a16="http://schemas.microsoft.com/office/drawing/2014/main" id="{F015915F-6DD1-42E2-A198-399240AAAD7D}"/>
                  </a:ext>
                </a:extLst>
              </p:cNvPr>
              <p:cNvSpPr>
                <a:spLocks noEditPoints="1"/>
              </p:cNvSpPr>
              <p:nvPr/>
            </p:nvSpPr>
            <p:spPr bwMode="auto">
              <a:xfrm>
                <a:off x="-1" y="3"/>
                <a:ext cx="4529" cy="3957"/>
              </a:xfrm>
              <a:custGeom>
                <a:avLst/>
                <a:gdLst>
                  <a:gd name="T0" fmla="*/ 896 w 1696"/>
                  <a:gd name="T1" fmla="*/ 27 h 1481"/>
                  <a:gd name="T2" fmla="*/ 849 w 1696"/>
                  <a:gd name="T3" fmla="*/ 0 h 1481"/>
                  <a:gd name="T4" fmla="*/ 802 w 1696"/>
                  <a:gd name="T5" fmla="*/ 27 h 1481"/>
                  <a:gd name="T6" fmla="*/ 9 w 1696"/>
                  <a:gd name="T7" fmla="*/ 1399 h 1481"/>
                  <a:gd name="T8" fmla="*/ 9 w 1696"/>
                  <a:gd name="T9" fmla="*/ 1453 h 1481"/>
                  <a:gd name="T10" fmla="*/ 57 w 1696"/>
                  <a:gd name="T11" fmla="*/ 1481 h 1481"/>
                  <a:gd name="T12" fmla="*/ 1641 w 1696"/>
                  <a:gd name="T13" fmla="*/ 1481 h 1481"/>
                  <a:gd name="T14" fmla="*/ 1696 w 1696"/>
                  <a:gd name="T15" fmla="*/ 1426 h 1481"/>
                  <a:gd name="T16" fmla="*/ 1687 w 1696"/>
                  <a:gd name="T17" fmla="*/ 1395 h 1481"/>
                  <a:gd name="T18" fmla="*/ 896 w 1696"/>
                  <a:gd name="T19" fmla="*/ 27 h 1481"/>
                  <a:gd name="T20" fmla="*/ 151 w 1696"/>
                  <a:gd name="T21" fmla="*/ 1372 h 1481"/>
                  <a:gd name="T22" fmla="*/ 849 w 1696"/>
                  <a:gd name="T23" fmla="*/ 163 h 1481"/>
                  <a:gd name="T24" fmla="*/ 1547 w 1696"/>
                  <a:gd name="T25" fmla="*/ 1372 h 1481"/>
                  <a:gd name="T26" fmla="*/ 151 w 1696"/>
                  <a:gd name="T27" fmla="*/ 1372 h 1481"/>
                  <a:gd name="T28" fmla="*/ 151 w 1696"/>
                  <a:gd name="T29" fmla="*/ 1372 h 1481"/>
                  <a:gd name="T30" fmla="*/ 151 w 1696"/>
                  <a:gd name="T31" fmla="*/ 1372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6" h="1481">
                    <a:moveTo>
                      <a:pt x="896" y="27"/>
                    </a:moveTo>
                    <a:cubicBezTo>
                      <a:pt x="886" y="10"/>
                      <a:pt x="868" y="0"/>
                      <a:pt x="849" y="0"/>
                    </a:cubicBezTo>
                    <a:cubicBezTo>
                      <a:pt x="830" y="0"/>
                      <a:pt x="812" y="10"/>
                      <a:pt x="802" y="27"/>
                    </a:cubicBezTo>
                    <a:cubicBezTo>
                      <a:pt x="9" y="1399"/>
                      <a:pt x="9" y="1399"/>
                      <a:pt x="9" y="1399"/>
                    </a:cubicBezTo>
                    <a:cubicBezTo>
                      <a:pt x="0" y="1416"/>
                      <a:pt x="0" y="1436"/>
                      <a:pt x="9" y="1453"/>
                    </a:cubicBezTo>
                    <a:cubicBezTo>
                      <a:pt x="19" y="1471"/>
                      <a:pt x="38" y="1481"/>
                      <a:pt x="57" y="1481"/>
                    </a:cubicBezTo>
                    <a:cubicBezTo>
                      <a:pt x="1641" y="1481"/>
                      <a:pt x="1641" y="1481"/>
                      <a:pt x="1641" y="1481"/>
                    </a:cubicBezTo>
                    <a:cubicBezTo>
                      <a:pt x="1671" y="1481"/>
                      <a:pt x="1696" y="1456"/>
                      <a:pt x="1696" y="1426"/>
                    </a:cubicBezTo>
                    <a:cubicBezTo>
                      <a:pt x="1696" y="1414"/>
                      <a:pt x="1692" y="1404"/>
                      <a:pt x="1687" y="1395"/>
                    </a:cubicBezTo>
                    <a:lnTo>
                      <a:pt x="896" y="27"/>
                    </a:lnTo>
                    <a:close/>
                    <a:moveTo>
                      <a:pt x="151" y="1372"/>
                    </a:moveTo>
                    <a:cubicBezTo>
                      <a:pt x="849" y="163"/>
                      <a:pt x="849" y="163"/>
                      <a:pt x="849" y="163"/>
                    </a:cubicBezTo>
                    <a:cubicBezTo>
                      <a:pt x="1547" y="1372"/>
                      <a:pt x="1547" y="1372"/>
                      <a:pt x="1547" y="1372"/>
                    </a:cubicBezTo>
                    <a:lnTo>
                      <a:pt x="151" y="1372"/>
                    </a:lnTo>
                    <a:close/>
                    <a:moveTo>
                      <a:pt x="151" y="1372"/>
                    </a:moveTo>
                    <a:cubicBezTo>
                      <a:pt x="151" y="1372"/>
                      <a:pt x="151" y="1372"/>
                      <a:pt x="151" y="13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273" name="Freeform 6">
                <a:extLst>
                  <a:ext uri="{FF2B5EF4-FFF2-40B4-BE49-F238E27FC236}">
                    <a16:creationId xmlns="" xmlns:a16="http://schemas.microsoft.com/office/drawing/2014/main" id="{CFCC7F25-5CF2-4B0B-A220-8365CE0D47C2}"/>
                  </a:ext>
                </a:extLst>
              </p:cNvPr>
              <p:cNvSpPr>
                <a:spLocks noEditPoints="1"/>
              </p:cNvSpPr>
              <p:nvPr/>
            </p:nvSpPr>
            <p:spPr bwMode="auto">
              <a:xfrm>
                <a:off x="2119" y="1293"/>
                <a:ext cx="291" cy="1406"/>
              </a:xfrm>
              <a:custGeom>
                <a:avLst/>
                <a:gdLst>
                  <a:gd name="T0" fmla="*/ 0 w 109"/>
                  <a:gd name="T1" fmla="*/ 55 h 526"/>
                  <a:gd name="T2" fmla="*/ 0 w 109"/>
                  <a:gd name="T3" fmla="*/ 472 h 526"/>
                  <a:gd name="T4" fmla="*/ 54 w 109"/>
                  <a:gd name="T5" fmla="*/ 526 h 526"/>
                  <a:gd name="T6" fmla="*/ 109 w 109"/>
                  <a:gd name="T7" fmla="*/ 472 h 526"/>
                  <a:gd name="T8" fmla="*/ 109 w 109"/>
                  <a:gd name="T9" fmla="*/ 55 h 526"/>
                  <a:gd name="T10" fmla="*/ 54 w 109"/>
                  <a:gd name="T11" fmla="*/ 0 h 526"/>
                  <a:gd name="T12" fmla="*/ 0 w 109"/>
                  <a:gd name="T13" fmla="*/ 55 h 526"/>
                  <a:gd name="T14" fmla="*/ 0 w 109"/>
                  <a:gd name="T15" fmla="*/ 55 h 526"/>
                  <a:gd name="T16" fmla="*/ 0 w 109"/>
                  <a:gd name="T17" fmla="*/ 5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526">
                    <a:moveTo>
                      <a:pt x="0" y="55"/>
                    </a:moveTo>
                    <a:cubicBezTo>
                      <a:pt x="0" y="472"/>
                      <a:pt x="0" y="472"/>
                      <a:pt x="0" y="472"/>
                    </a:cubicBezTo>
                    <a:cubicBezTo>
                      <a:pt x="0" y="502"/>
                      <a:pt x="24" y="526"/>
                      <a:pt x="54" y="526"/>
                    </a:cubicBezTo>
                    <a:cubicBezTo>
                      <a:pt x="84" y="526"/>
                      <a:pt x="109" y="502"/>
                      <a:pt x="109" y="472"/>
                    </a:cubicBezTo>
                    <a:cubicBezTo>
                      <a:pt x="109" y="55"/>
                      <a:pt x="109" y="55"/>
                      <a:pt x="109" y="55"/>
                    </a:cubicBezTo>
                    <a:cubicBezTo>
                      <a:pt x="109" y="25"/>
                      <a:pt x="84" y="0"/>
                      <a:pt x="54" y="0"/>
                    </a:cubicBezTo>
                    <a:cubicBezTo>
                      <a:pt x="24" y="0"/>
                      <a:pt x="0" y="25"/>
                      <a:pt x="0" y="55"/>
                    </a:cubicBezTo>
                    <a:close/>
                    <a:moveTo>
                      <a:pt x="0" y="55"/>
                    </a:moveTo>
                    <a:cubicBezTo>
                      <a:pt x="0" y="55"/>
                      <a:pt x="0" y="55"/>
                      <a:pt x="0"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274" name="Freeform 7">
                <a:extLst>
                  <a:ext uri="{FF2B5EF4-FFF2-40B4-BE49-F238E27FC236}">
                    <a16:creationId xmlns="" xmlns:a16="http://schemas.microsoft.com/office/drawing/2014/main" id="{6F45B7EA-B480-4478-A56C-40B60A89A0D1}"/>
                  </a:ext>
                </a:extLst>
              </p:cNvPr>
              <p:cNvSpPr>
                <a:spLocks noEditPoints="1"/>
              </p:cNvSpPr>
              <p:nvPr/>
            </p:nvSpPr>
            <p:spPr bwMode="auto">
              <a:xfrm>
                <a:off x="2119" y="2894"/>
                <a:ext cx="291" cy="387"/>
              </a:xfrm>
              <a:custGeom>
                <a:avLst/>
                <a:gdLst>
                  <a:gd name="T0" fmla="*/ 54 w 109"/>
                  <a:gd name="T1" fmla="*/ 0 h 145"/>
                  <a:gd name="T2" fmla="*/ 0 w 109"/>
                  <a:gd name="T3" fmla="*/ 54 h 145"/>
                  <a:gd name="T4" fmla="*/ 0 w 109"/>
                  <a:gd name="T5" fmla="*/ 90 h 145"/>
                  <a:gd name="T6" fmla="*/ 54 w 109"/>
                  <a:gd name="T7" fmla="*/ 145 h 145"/>
                  <a:gd name="T8" fmla="*/ 109 w 109"/>
                  <a:gd name="T9" fmla="*/ 90 h 145"/>
                  <a:gd name="T10" fmla="*/ 109 w 109"/>
                  <a:gd name="T11" fmla="*/ 54 h 145"/>
                  <a:gd name="T12" fmla="*/ 54 w 109"/>
                  <a:gd name="T13" fmla="*/ 0 h 145"/>
                  <a:gd name="T14" fmla="*/ 54 w 109"/>
                  <a:gd name="T15" fmla="*/ 0 h 145"/>
                  <a:gd name="T16" fmla="*/ 54 w 109"/>
                  <a:gd name="T1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145">
                    <a:moveTo>
                      <a:pt x="54" y="0"/>
                    </a:moveTo>
                    <a:cubicBezTo>
                      <a:pt x="24" y="0"/>
                      <a:pt x="0" y="24"/>
                      <a:pt x="0" y="54"/>
                    </a:cubicBezTo>
                    <a:cubicBezTo>
                      <a:pt x="0" y="90"/>
                      <a:pt x="0" y="90"/>
                      <a:pt x="0" y="90"/>
                    </a:cubicBezTo>
                    <a:cubicBezTo>
                      <a:pt x="0" y="120"/>
                      <a:pt x="24" y="145"/>
                      <a:pt x="54" y="145"/>
                    </a:cubicBezTo>
                    <a:cubicBezTo>
                      <a:pt x="84" y="145"/>
                      <a:pt x="109" y="120"/>
                      <a:pt x="109" y="90"/>
                    </a:cubicBezTo>
                    <a:cubicBezTo>
                      <a:pt x="109" y="54"/>
                      <a:pt x="109" y="54"/>
                      <a:pt x="109" y="54"/>
                    </a:cubicBezTo>
                    <a:cubicBezTo>
                      <a:pt x="109" y="24"/>
                      <a:pt x="84" y="0"/>
                      <a:pt x="54" y="0"/>
                    </a:cubicBezTo>
                    <a:close/>
                    <a:moveTo>
                      <a:pt x="54" y="0"/>
                    </a:moveTo>
                    <a:cubicBezTo>
                      <a:pt x="54" y="0"/>
                      <a:pt x="54" y="0"/>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grpSp>
        <p:nvGrpSpPr>
          <p:cNvPr id="276" name="Group 275">
            <a:extLst>
              <a:ext uri="{FF2B5EF4-FFF2-40B4-BE49-F238E27FC236}">
                <a16:creationId xmlns="" xmlns:a16="http://schemas.microsoft.com/office/drawing/2014/main" id="{E4483481-B557-4AB7-9AC9-52660D5BCC28}"/>
              </a:ext>
            </a:extLst>
          </p:cNvPr>
          <p:cNvGrpSpPr/>
          <p:nvPr/>
        </p:nvGrpSpPr>
        <p:grpSpPr>
          <a:xfrm>
            <a:off x="4546266" y="4659789"/>
            <a:ext cx="558238" cy="558238"/>
            <a:chOff x="9670612" y="958287"/>
            <a:chExt cx="638664" cy="638664"/>
          </a:xfrm>
        </p:grpSpPr>
        <p:sp>
          <p:nvSpPr>
            <p:cNvPr id="286" name="Oval 285">
              <a:extLst>
                <a:ext uri="{FF2B5EF4-FFF2-40B4-BE49-F238E27FC236}">
                  <a16:creationId xmlns="" xmlns:a16="http://schemas.microsoft.com/office/drawing/2014/main" id="{F47F6C59-5358-45C0-8076-DC1A300EDE74}"/>
                </a:ext>
              </a:extLst>
            </p:cNvPr>
            <p:cNvSpPr/>
            <p:nvPr/>
          </p:nvSpPr>
          <p:spPr>
            <a:xfrm>
              <a:off x="9670612" y="958287"/>
              <a:ext cx="638664" cy="638664"/>
            </a:xfrm>
            <a:prstGeom prst="ellipse">
              <a:avLst/>
            </a:prstGeom>
            <a:solidFill>
              <a:srgbClr val="05589C">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87" name="Group 4">
              <a:extLst>
                <a:ext uri="{FF2B5EF4-FFF2-40B4-BE49-F238E27FC236}">
                  <a16:creationId xmlns="" xmlns:a16="http://schemas.microsoft.com/office/drawing/2014/main" id="{D5F4AB64-CC36-481D-9969-6A7862CCF8C3}"/>
                </a:ext>
              </a:extLst>
            </p:cNvPr>
            <p:cNvGrpSpPr>
              <a:grpSpLocks noChangeAspect="1"/>
            </p:cNvGrpSpPr>
            <p:nvPr/>
          </p:nvGrpSpPr>
          <p:grpSpPr bwMode="auto">
            <a:xfrm>
              <a:off x="9843355" y="1114574"/>
              <a:ext cx="309924" cy="270782"/>
              <a:chOff x="-1" y="3"/>
              <a:chExt cx="4529" cy="3957"/>
            </a:xfrm>
            <a:solidFill>
              <a:schemeClr val="bg1"/>
            </a:solidFill>
          </p:grpSpPr>
          <p:sp>
            <p:nvSpPr>
              <p:cNvPr id="288" name="Freeform 5">
                <a:extLst>
                  <a:ext uri="{FF2B5EF4-FFF2-40B4-BE49-F238E27FC236}">
                    <a16:creationId xmlns="" xmlns:a16="http://schemas.microsoft.com/office/drawing/2014/main" id="{7FB22B93-9666-4C7B-BDED-E43DF83D6A68}"/>
                  </a:ext>
                </a:extLst>
              </p:cNvPr>
              <p:cNvSpPr>
                <a:spLocks noEditPoints="1"/>
              </p:cNvSpPr>
              <p:nvPr/>
            </p:nvSpPr>
            <p:spPr bwMode="auto">
              <a:xfrm>
                <a:off x="-1" y="3"/>
                <a:ext cx="4529" cy="3957"/>
              </a:xfrm>
              <a:custGeom>
                <a:avLst/>
                <a:gdLst>
                  <a:gd name="T0" fmla="*/ 896 w 1696"/>
                  <a:gd name="T1" fmla="*/ 27 h 1481"/>
                  <a:gd name="T2" fmla="*/ 849 w 1696"/>
                  <a:gd name="T3" fmla="*/ 0 h 1481"/>
                  <a:gd name="T4" fmla="*/ 802 w 1696"/>
                  <a:gd name="T5" fmla="*/ 27 h 1481"/>
                  <a:gd name="T6" fmla="*/ 9 w 1696"/>
                  <a:gd name="T7" fmla="*/ 1399 h 1481"/>
                  <a:gd name="T8" fmla="*/ 9 w 1696"/>
                  <a:gd name="T9" fmla="*/ 1453 h 1481"/>
                  <a:gd name="T10" fmla="*/ 57 w 1696"/>
                  <a:gd name="T11" fmla="*/ 1481 h 1481"/>
                  <a:gd name="T12" fmla="*/ 1641 w 1696"/>
                  <a:gd name="T13" fmla="*/ 1481 h 1481"/>
                  <a:gd name="T14" fmla="*/ 1696 w 1696"/>
                  <a:gd name="T15" fmla="*/ 1426 h 1481"/>
                  <a:gd name="T16" fmla="*/ 1687 w 1696"/>
                  <a:gd name="T17" fmla="*/ 1395 h 1481"/>
                  <a:gd name="T18" fmla="*/ 896 w 1696"/>
                  <a:gd name="T19" fmla="*/ 27 h 1481"/>
                  <a:gd name="T20" fmla="*/ 151 w 1696"/>
                  <a:gd name="T21" fmla="*/ 1372 h 1481"/>
                  <a:gd name="T22" fmla="*/ 849 w 1696"/>
                  <a:gd name="T23" fmla="*/ 163 h 1481"/>
                  <a:gd name="T24" fmla="*/ 1547 w 1696"/>
                  <a:gd name="T25" fmla="*/ 1372 h 1481"/>
                  <a:gd name="T26" fmla="*/ 151 w 1696"/>
                  <a:gd name="T27" fmla="*/ 1372 h 1481"/>
                  <a:gd name="T28" fmla="*/ 151 w 1696"/>
                  <a:gd name="T29" fmla="*/ 1372 h 1481"/>
                  <a:gd name="T30" fmla="*/ 151 w 1696"/>
                  <a:gd name="T31" fmla="*/ 1372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6" h="1481">
                    <a:moveTo>
                      <a:pt x="896" y="27"/>
                    </a:moveTo>
                    <a:cubicBezTo>
                      <a:pt x="886" y="10"/>
                      <a:pt x="868" y="0"/>
                      <a:pt x="849" y="0"/>
                    </a:cubicBezTo>
                    <a:cubicBezTo>
                      <a:pt x="830" y="0"/>
                      <a:pt x="812" y="10"/>
                      <a:pt x="802" y="27"/>
                    </a:cubicBezTo>
                    <a:cubicBezTo>
                      <a:pt x="9" y="1399"/>
                      <a:pt x="9" y="1399"/>
                      <a:pt x="9" y="1399"/>
                    </a:cubicBezTo>
                    <a:cubicBezTo>
                      <a:pt x="0" y="1416"/>
                      <a:pt x="0" y="1436"/>
                      <a:pt x="9" y="1453"/>
                    </a:cubicBezTo>
                    <a:cubicBezTo>
                      <a:pt x="19" y="1471"/>
                      <a:pt x="38" y="1481"/>
                      <a:pt x="57" y="1481"/>
                    </a:cubicBezTo>
                    <a:cubicBezTo>
                      <a:pt x="1641" y="1481"/>
                      <a:pt x="1641" y="1481"/>
                      <a:pt x="1641" y="1481"/>
                    </a:cubicBezTo>
                    <a:cubicBezTo>
                      <a:pt x="1671" y="1481"/>
                      <a:pt x="1696" y="1456"/>
                      <a:pt x="1696" y="1426"/>
                    </a:cubicBezTo>
                    <a:cubicBezTo>
                      <a:pt x="1696" y="1414"/>
                      <a:pt x="1692" y="1404"/>
                      <a:pt x="1687" y="1395"/>
                    </a:cubicBezTo>
                    <a:lnTo>
                      <a:pt x="896" y="27"/>
                    </a:lnTo>
                    <a:close/>
                    <a:moveTo>
                      <a:pt x="151" y="1372"/>
                    </a:moveTo>
                    <a:cubicBezTo>
                      <a:pt x="849" y="163"/>
                      <a:pt x="849" y="163"/>
                      <a:pt x="849" y="163"/>
                    </a:cubicBezTo>
                    <a:cubicBezTo>
                      <a:pt x="1547" y="1372"/>
                      <a:pt x="1547" y="1372"/>
                      <a:pt x="1547" y="1372"/>
                    </a:cubicBezTo>
                    <a:lnTo>
                      <a:pt x="151" y="1372"/>
                    </a:lnTo>
                    <a:close/>
                    <a:moveTo>
                      <a:pt x="151" y="1372"/>
                    </a:moveTo>
                    <a:cubicBezTo>
                      <a:pt x="151" y="1372"/>
                      <a:pt x="151" y="1372"/>
                      <a:pt x="151" y="13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364" name="Freeform 6">
                <a:extLst>
                  <a:ext uri="{FF2B5EF4-FFF2-40B4-BE49-F238E27FC236}">
                    <a16:creationId xmlns="" xmlns:a16="http://schemas.microsoft.com/office/drawing/2014/main" id="{0D6920C6-175D-4D09-B982-7F500A126340}"/>
                  </a:ext>
                </a:extLst>
              </p:cNvPr>
              <p:cNvSpPr>
                <a:spLocks noEditPoints="1"/>
              </p:cNvSpPr>
              <p:nvPr/>
            </p:nvSpPr>
            <p:spPr bwMode="auto">
              <a:xfrm>
                <a:off x="2119" y="1293"/>
                <a:ext cx="291" cy="1406"/>
              </a:xfrm>
              <a:custGeom>
                <a:avLst/>
                <a:gdLst>
                  <a:gd name="T0" fmla="*/ 0 w 109"/>
                  <a:gd name="T1" fmla="*/ 55 h 526"/>
                  <a:gd name="T2" fmla="*/ 0 w 109"/>
                  <a:gd name="T3" fmla="*/ 472 h 526"/>
                  <a:gd name="T4" fmla="*/ 54 w 109"/>
                  <a:gd name="T5" fmla="*/ 526 h 526"/>
                  <a:gd name="T6" fmla="*/ 109 w 109"/>
                  <a:gd name="T7" fmla="*/ 472 h 526"/>
                  <a:gd name="T8" fmla="*/ 109 w 109"/>
                  <a:gd name="T9" fmla="*/ 55 h 526"/>
                  <a:gd name="T10" fmla="*/ 54 w 109"/>
                  <a:gd name="T11" fmla="*/ 0 h 526"/>
                  <a:gd name="T12" fmla="*/ 0 w 109"/>
                  <a:gd name="T13" fmla="*/ 55 h 526"/>
                  <a:gd name="T14" fmla="*/ 0 w 109"/>
                  <a:gd name="T15" fmla="*/ 55 h 526"/>
                  <a:gd name="T16" fmla="*/ 0 w 109"/>
                  <a:gd name="T17" fmla="*/ 5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526">
                    <a:moveTo>
                      <a:pt x="0" y="55"/>
                    </a:moveTo>
                    <a:cubicBezTo>
                      <a:pt x="0" y="472"/>
                      <a:pt x="0" y="472"/>
                      <a:pt x="0" y="472"/>
                    </a:cubicBezTo>
                    <a:cubicBezTo>
                      <a:pt x="0" y="502"/>
                      <a:pt x="24" y="526"/>
                      <a:pt x="54" y="526"/>
                    </a:cubicBezTo>
                    <a:cubicBezTo>
                      <a:pt x="84" y="526"/>
                      <a:pt x="109" y="502"/>
                      <a:pt x="109" y="472"/>
                    </a:cubicBezTo>
                    <a:cubicBezTo>
                      <a:pt x="109" y="55"/>
                      <a:pt x="109" y="55"/>
                      <a:pt x="109" y="55"/>
                    </a:cubicBezTo>
                    <a:cubicBezTo>
                      <a:pt x="109" y="25"/>
                      <a:pt x="84" y="0"/>
                      <a:pt x="54" y="0"/>
                    </a:cubicBezTo>
                    <a:cubicBezTo>
                      <a:pt x="24" y="0"/>
                      <a:pt x="0" y="25"/>
                      <a:pt x="0" y="55"/>
                    </a:cubicBezTo>
                    <a:close/>
                    <a:moveTo>
                      <a:pt x="0" y="55"/>
                    </a:moveTo>
                    <a:cubicBezTo>
                      <a:pt x="0" y="55"/>
                      <a:pt x="0" y="55"/>
                      <a:pt x="0"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365" name="Freeform 7">
                <a:extLst>
                  <a:ext uri="{FF2B5EF4-FFF2-40B4-BE49-F238E27FC236}">
                    <a16:creationId xmlns="" xmlns:a16="http://schemas.microsoft.com/office/drawing/2014/main" id="{81BC6376-5478-46CE-B0CA-D12C5D0E8207}"/>
                  </a:ext>
                </a:extLst>
              </p:cNvPr>
              <p:cNvSpPr>
                <a:spLocks noEditPoints="1"/>
              </p:cNvSpPr>
              <p:nvPr/>
            </p:nvSpPr>
            <p:spPr bwMode="auto">
              <a:xfrm>
                <a:off x="2119" y="2894"/>
                <a:ext cx="291" cy="387"/>
              </a:xfrm>
              <a:custGeom>
                <a:avLst/>
                <a:gdLst>
                  <a:gd name="T0" fmla="*/ 54 w 109"/>
                  <a:gd name="T1" fmla="*/ 0 h 145"/>
                  <a:gd name="T2" fmla="*/ 0 w 109"/>
                  <a:gd name="T3" fmla="*/ 54 h 145"/>
                  <a:gd name="T4" fmla="*/ 0 w 109"/>
                  <a:gd name="T5" fmla="*/ 90 h 145"/>
                  <a:gd name="T6" fmla="*/ 54 w 109"/>
                  <a:gd name="T7" fmla="*/ 145 h 145"/>
                  <a:gd name="T8" fmla="*/ 109 w 109"/>
                  <a:gd name="T9" fmla="*/ 90 h 145"/>
                  <a:gd name="T10" fmla="*/ 109 w 109"/>
                  <a:gd name="T11" fmla="*/ 54 h 145"/>
                  <a:gd name="T12" fmla="*/ 54 w 109"/>
                  <a:gd name="T13" fmla="*/ 0 h 145"/>
                  <a:gd name="T14" fmla="*/ 54 w 109"/>
                  <a:gd name="T15" fmla="*/ 0 h 145"/>
                  <a:gd name="T16" fmla="*/ 54 w 109"/>
                  <a:gd name="T1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145">
                    <a:moveTo>
                      <a:pt x="54" y="0"/>
                    </a:moveTo>
                    <a:cubicBezTo>
                      <a:pt x="24" y="0"/>
                      <a:pt x="0" y="24"/>
                      <a:pt x="0" y="54"/>
                    </a:cubicBezTo>
                    <a:cubicBezTo>
                      <a:pt x="0" y="90"/>
                      <a:pt x="0" y="90"/>
                      <a:pt x="0" y="90"/>
                    </a:cubicBezTo>
                    <a:cubicBezTo>
                      <a:pt x="0" y="120"/>
                      <a:pt x="24" y="145"/>
                      <a:pt x="54" y="145"/>
                    </a:cubicBezTo>
                    <a:cubicBezTo>
                      <a:pt x="84" y="145"/>
                      <a:pt x="109" y="120"/>
                      <a:pt x="109" y="90"/>
                    </a:cubicBezTo>
                    <a:cubicBezTo>
                      <a:pt x="109" y="54"/>
                      <a:pt x="109" y="54"/>
                      <a:pt x="109" y="54"/>
                    </a:cubicBezTo>
                    <a:cubicBezTo>
                      <a:pt x="109" y="24"/>
                      <a:pt x="84" y="0"/>
                      <a:pt x="54" y="0"/>
                    </a:cubicBezTo>
                    <a:close/>
                    <a:moveTo>
                      <a:pt x="54" y="0"/>
                    </a:moveTo>
                    <a:cubicBezTo>
                      <a:pt x="54" y="0"/>
                      <a:pt x="54" y="0"/>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grpSp>
        <p:nvGrpSpPr>
          <p:cNvPr id="366" name="Group 365">
            <a:extLst>
              <a:ext uri="{FF2B5EF4-FFF2-40B4-BE49-F238E27FC236}">
                <a16:creationId xmlns="" xmlns:a16="http://schemas.microsoft.com/office/drawing/2014/main" id="{D6B1F1A4-1140-44DD-AA27-0D5875434660}"/>
              </a:ext>
            </a:extLst>
          </p:cNvPr>
          <p:cNvGrpSpPr/>
          <p:nvPr/>
        </p:nvGrpSpPr>
        <p:grpSpPr>
          <a:xfrm>
            <a:off x="5955793" y="4659789"/>
            <a:ext cx="558238" cy="558238"/>
            <a:chOff x="9670612" y="958287"/>
            <a:chExt cx="638664" cy="638664"/>
          </a:xfrm>
        </p:grpSpPr>
        <p:sp>
          <p:nvSpPr>
            <p:cNvPr id="367" name="Oval 366">
              <a:extLst>
                <a:ext uri="{FF2B5EF4-FFF2-40B4-BE49-F238E27FC236}">
                  <a16:creationId xmlns="" xmlns:a16="http://schemas.microsoft.com/office/drawing/2014/main" id="{FC201F28-BD68-4B6E-904B-3BDD1CB4EBA1}"/>
                </a:ext>
              </a:extLst>
            </p:cNvPr>
            <p:cNvSpPr/>
            <p:nvPr/>
          </p:nvSpPr>
          <p:spPr>
            <a:xfrm>
              <a:off x="9670612" y="958287"/>
              <a:ext cx="638664" cy="638664"/>
            </a:xfrm>
            <a:prstGeom prst="ellipse">
              <a:avLst/>
            </a:prstGeom>
            <a:solidFill>
              <a:srgbClr val="05589C">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68" name="Group 4">
              <a:extLst>
                <a:ext uri="{FF2B5EF4-FFF2-40B4-BE49-F238E27FC236}">
                  <a16:creationId xmlns="" xmlns:a16="http://schemas.microsoft.com/office/drawing/2014/main" id="{9660A9AD-5BAA-4DDE-8D51-9B2C677262AE}"/>
                </a:ext>
              </a:extLst>
            </p:cNvPr>
            <p:cNvGrpSpPr>
              <a:grpSpLocks noChangeAspect="1"/>
            </p:cNvGrpSpPr>
            <p:nvPr/>
          </p:nvGrpSpPr>
          <p:grpSpPr bwMode="auto">
            <a:xfrm>
              <a:off x="9843355" y="1114574"/>
              <a:ext cx="309924" cy="270782"/>
              <a:chOff x="-1" y="3"/>
              <a:chExt cx="4529" cy="3957"/>
            </a:xfrm>
            <a:solidFill>
              <a:schemeClr val="bg1"/>
            </a:solidFill>
          </p:grpSpPr>
          <p:sp>
            <p:nvSpPr>
              <p:cNvPr id="369" name="Freeform 5">
                <a:extLst>
                  <a:ext uri="{FF2B5EF4-FFF2-40B4-BE49-F238E27FC236}">
                    <a16:creationId xmlns="" xmlns:a16="http://schemas.microsoft.com/office/drawing/2014/main" id="{2D3631D1-4AA1-40F0-B425-47C3DE099760}"/>
                  </a:ext>
                </a:extLst>
              </p:cNvPr>
              <p:cNvSpPr>
                <a:spLocks noEditPoints="1"/>
              </p:cNvSpPr>
              <p:nvPr/>
            </p:nvSpPr>
            <p:spPr bwMode="auto">
              <a:xfrm>
                <a:off x="-1" y="3"/>
                <a:ext cx="4529" cy="3957"/>
              </a:xfrm>
              <a:custGeom>
                <a:avLst/>
                <a:gdLst>
                  <a:gd name="T0" fmla="*/ 896 w 1696"/>
                  <a:gd name="T1" fmla="*/ 27 h 1481"/>
                  <a:gd name="T2" fmla="*/ 849 w 1696"/>
                  <a:gd name="T3" fmla="*/ 0 h 1481"/>
                  <a:gd name="T4" fmla="*/ 802 w 1696"/>
                  <a:gd name="T5" fmla="*/ 27 h 1481"/>
                  <a:gd name="T6" fmla="*/ 9 w 1696"/>
                  <a:gd name="T7" fmla="*/ 1399 h 1481"/>
                  <a:gd name="T8" fmla="*/ 9 w 1696"/>
                  <a:gd name="T9" fmla="*/ 1453 h 1481"/>
                  <a:gd name="T10" fmla="*/ 57 w 1696"/>
                  <a:gd name="T11" fmla="*/ 1481 h 1481"/>
                  <a:gd name="T12" fmla="*/ 1641 w 1696"/>
                  <a:gd name="T13" fmla="*/ 1481 h 1481"/>
                  <a:gd name="T14" fmla="*/ 1696 w 1696"/>
                  <a:gd name="T15" fmla="*/ 1426 h 1481"/>
                  <a:gd name="T16" fmla="*/ 1687 w 1696"/>
                  <a:gd name="T17" fmla="*/ 1395 h 1481"/>
                  <a:gd name="T18" fmla="*/ 896 w 1696"/>
                  <a:gd name="T19" fmla="*/ 27 h 1481"/>
                  <a:gd name="T20" fmla="*/ 151 w 1696"/>
                  <a:gd name="T21" fmla="*/ 1372 h 1481"/>
                  <a:gd name="T22" fmla="*/ 849 w 1696"/>
                  <a:gd name="T23" fmla="*/ 163 h 1481"/>
                  <a:gd name="T24" fmla="*/ 1547 w 1696"/>
                  <a:gd name="T25" fmla="*/ 1372 h 1481"/>
                  <a:gd name="T26" fmla="*/ 151 w 1696"/>
                  <a:gd name="T27" fmla="*/ 1372 h 1481"/>
                  <a:gd name="T28" fmla="*/ 151 w 1696"/>
                  <a:gd name="T29" fmla="*/ 1372 h 1481"/>
                  <a:gd name="T30" fmla="*/ 151 w 1696"/>
                  <a:gd name="T31" fmla="*/ 1372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6" h="1481">
                    <a:moveTo>
                      <a:pt x="896" y="27"/>
                    </a:moveTo>
                    <a:cubicBezTo>
                      <a:pt x="886" y="10"/>
                      <a:pt x="868" y="0"/>
                      <a:pt x="849" y="0"/>
                    </a:cubicBezTo>
                    <a:cubicBezTo>
                      <a:pt x="830" y="0"/>
                      <a:pt x="812" y="10"/>
                      <a:pt x="802" y="27"/>
                    </a:cubicBezTo>
                    <a:cubicBezTo>
                      <a:pt x="9" y="1399"/>
                      <a:pt x="9" y="1399"/>
                      <a:pt x="9" y="1399"/>
                    </a:cubicBezTo>
                    <a:cubicBezTo>
                      <a:pt x="0" y="1416"/>
                      <a:pt x="0" y="1436"/>
                      <a:pt x="9" y="1453"/>
                    </a:cubicBezTo>
                    <a:cubicBezTo>
                      <a:pt x="19" y="1471"/>
                      <a:pt x="38" y="1481"/>
                      <a:pt x="57" y="1481"/>
                    </a:cubicBezTo>
                    <a:cubicBezTo>
                      <a:pt x="1641" y="1481"/>
                      <a:pt x="1641" y="1481"/>
                      <a:pt x="1641" y="1481"/>
                    </a:cubicBezTo>
                    <a:cubicBezTo>
                      <a:pt x="1671" y="1481"/>
                      <a:pt x="1696" y="1456"/>
                      <a:pt x="1696" y="1426"/>
                    </a:cubicBezTo>
                    <a:cubicBezTo>
                      <a:pt x="1696" y="1414"/>
                      <a:pt x="1692" y="1404"/>
                      <a:pt x="1687" y="1395"/>
                    </a:cubicBezTo>
                    <a:lnTo>
                      <a:pt x="896" y="27"/>
                    </a:lnTo>
                    <a:close/>
                    <a:moveTo>
                      <a:pt x="151" y="1372"/>
                    </a:moveTo>
                    <a:cubicBezTo>
                      <a:pt x="849" y="163"/>
                      <a:pt x="849" y="163"/>
                      <a:pt x="849" y="163"/>
                    </a:cubicBezTo>
                    <a:cubicBezTo>
                      <a:pt x="1547" y="1372"/>
                      <a:pt x="1547" y="1372"/>
                      <a:pt x="1547" y="1372"/>
                    </a:cubicBezTo>
                    <a:lnTo>
                      <a:pt x="151" y="1372"/>
                    </a:lnTo>
                    <a:close/>
                    <a:moveTo>
                      <a:pt x="151" y="1372"/>
                    </a:moveTo>
                    <a:cubicBezTo>
                      <a:pt x="151" y="1372"/>
                      <a:pt x="151" y="1372"/>
                      <a:pt x="151" y="13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370" name="Freeform 6">
                <a:extLst>
                  <a:ext uri="{FF2B5EF4-FFF2-40B4-BE49-F238E27FC236}">
                    <a16:creationId xmlns="" xmlns:a16="http://schemas.microsoft.com/office/drawing/2014/main" id="{1B87B2E9-93D2-4595-A639-1CC572D14E0B}"/>
                  </a:ext>
                </a:extLst>
              </p:cNvPr>
              <p:cNvSpPr>
                <a:spLocks noEditPoints="1"/>
              </p:cNvSpPr>
              <p:nvPr/>
            </p:nvSpPr>
            <p:spPr bwMode="auto">
              <a:xfrm>
                <a:off x="2119" y="1293"/>
                <a:ext cx="291" cy="1406"/>
              </a:xfrm>
              <a:custGeom>
                <a:avLst/>
                <a:gdLst>
                  <a:gd name="T0" fmla="*/ 0 w 109"/>
                  <a:gd name="T1" fmla="*/ 55 h 526"/>
                  <a:gd name="T2" fmla="*/ 0 w 109"/>
                  <a:gd name="T3" fmla="*/ 472 h 526"/>
                  <a:gd name="T4" fmla="*/ 54 w 109"/>
                  <a:gd name="T5" fmla="*/ 526 h 526"/>
                  <a:gd name="T6" fmla="*/ 109 w 109"/>
                  <a:gd name="T7" fmla="*/ 472 h 526"/>
                  <a:gd name="T8" fmla="*/ 109 w 109"/>
                  <a:gd name="T9" fmla="*/ 55 h 526"/>
                  <a:gd name="T10" fmla="*/ 54 w 109"/>
                  <a:gd name="T11" fmla="*/ 0 h 526"/>
                  <a:gd name="T12" fmla="*/ 0 w 109"/>
                  <a:gd name="T13" fmla="*/ 55 h 526"/>
                  <a:gd name="T14" fmla="*/ 0 w 109"/>
                  <a:gd name="T15" fmla="*/ 55 h 526"/>
                  <a:gd name="T16" fmla="*/ 0 w 109"/>
                  <a:gd name="T17" fmla="*/ 5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526">
                    <a:moveTo>
                      <a:pt x="0" y="55"/>
                    </a:moveTo>
                    <a:cubicBezTo>
                      <a:pt x="0" y="472"/>
                      <a:pt x="0" y="472"/>
                      <a:pt x="0" y="472"/>
                    </a:cubicBezTo>
                    <a:cubicBezTo>
                      <a:pt x="0" y="502"/>
                      <a:pt x="24" y="526"/>
                      <a:pt x="54" y="526"/>
                    </a:cubicBezTo>
                    <a:cubicBezTo>
                      <a:pt x="84" y="526"/>
                      <a:pt x="109" y="502"/>
                      <a:pt x="109" y="472"/>
                    </a:cubicBezTo>
                    <a:cubicBezTo>
                      <a:pt x="109" y="55"/>
                      <a:pt x="109" y="55"/>
                      <a:pt x="109" y="55"/>
                    </a:cubicBezTo>
                    <a:cubicBezTo>
                      <a:pt x="109" y="25"/>
                      <a:pt x="84" y="0"/>
                      <a:pt x="54" y="0"/>
                    </a:cubicBezTo>
                    <a:cubicBezTo>
                      <a:pt x="24" y="0"/>
                      <a:pt x="0" y="25"/>
                      <a:pt x="0" y="55"/>
                    </a:cubicBezTo>
                    <a:close/>
                    <a:moveTo>
                      <a:pt x="0" y="55"/>
                    </a:moveTo>
                    <a:cubicBezTo>
                      <a:pt x="0" y="55"/>
                      <a:pt x="0" y="55"/>
                      <a:pt x="0"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371" name="Freeform 7">
                <a:extLst>
                  <a:ext uri="{FF2B5EF4-FFF2-40B4-BE49-F238E27FC236}">
                    <a16:creationId xmlns="" xmlns:a16="http://schemas.microsoft.com/office/drawing/2014/main" id="{BDA73579-180D-4799-ADCC-DF8EDD8F097E}"/>
                  </a:ext>
                </a:extLst>
              </p:cNvPr>
              <p:cNvSpPr>
                <a:spLocks noEditPoints="1"/>
              </p:cNvSpPr>
              <p:nvPr/>
            </p:nvSpPr>
            <p:spPr bwMode="auto">
              <a:xfrm>
                <a:off x="2119" y="2894"/>
                <a:ext cx="291" cy="387"/>
              </a:xfrm>
              <a:custGeom>
                <a:avLst/>
                <a:gdLst>
                  <a:gd name="T0" fmla="*/ 54 w 109"/>
                  <a:gd name="T1" fmla="*/ 0 h 145"/>
                  <a:gd name="T2" fmla="*/ 0 w 109"/>
                  <a:gd name="T3" fmla="*/ 54 h 145"/>
                  <a:gd name="T4" fmla="*/ 0 w 109"/>
                  <a:gd name="T5" fmla="*/ 90 h 145"/>
                  <a:gd name="T6" fmla="*/ 54 w 109"/>
                  <a:gd name="T7" fmla="*/ 145 h 145"/>
                  <a:gd name="T8" fmla="*/ 109 w 109"/>
                  <a:gd name="T9" fmla="*/ 90 h 145"/>
                  <a:gd name="T10" fmla="*/ 109 w 109"/>
                  <a:gd name="T11" fmla="*/ 54 h 145"/>
                  <a:gd name="T12" fmla="*/ 54 w 109"/>
                  <a:gd name="T13" fmla="*/ 0 h 145"/>
                  <a:gd name="T14" fmla="*/ 54 w 109"/>
                  <a:gd name="T15" fmla="*/ 0 h 145"/>
                  <a:gd name="T16" fmla="*/ 54 w 109"/>
                  <a:gd name="T1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145">
                    <a:moveTo>
                      <a:pt x="54" y="0"/>
                    </a:moveTo>
                    <a:cubicBezTo>
                      <a:pt x="24" y="0"/>
                      <a:pt x="0" y="24"/>
                      <a:pt x="0" y="54"/>
                    </a:cubicBezTo>
                    <a:cubicBezTo>
                      <a:pt x="0" y="90"/>
                      <a:pt x="0" y="90"/>
                      <a:pt x="0" y="90"/>
                    </a:cubicBezTo>
                    <a:cubicBezTo>
                      <a:pt x="0" y="120"/>
                      <a:pt x="24" y="145"/>
                      <a:pt x="54" y="145"/>
                    </a:cubicBezTo>
                    <a:cubicBezTo>
                      <a:pt x="84" y="145"/>
                      <a:pt x="109" y="120"/>
                      <a:pt x="109" y="90"/>
                    </a:cubicBezTo>
                    <a:cubicBezTo>
                      <a:pt x="109" y="54"/>
                      <a:pt x="109" y="54"/>
                      <a:pt x="109" y="54"/>
                    </a:cubicBezTo>
                    <a:cubicBezTo>
                      <a:pt x="109" y="24"/>
                      <a:pt x="84" y="0"/>
                      <a:pt x="54" y="0"/>
                    </a:cubicBezTo>
                    <a:close/>
                    <a:moveTo>
                      <a:pt x="54" y="0"/>
                    </a:moveTo>
                    <a:cubicBezTo>
                      <a:pt x="54" y="0"/>
                      <a:pt x="54" y="0"/>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grpSp>
        <p:nvGrpSpPr>
          <p:cNvPr id="372" name="Group 371">
            <a:extLst>
              <a:ext uri="{FF2B5EF4-FFF2-40B4-BE49-F238E27FC236}">
                <a16:creationId xmlns="" xmlns:a16="http://schemas.microsoft.com/office/drawing/2014/main" id="{9C85EC96-F862-4682-8E75-D6F4CBB06866}"/>
              </a:ext>
            </a:extLst>
          </p:cNvPr>
          <p:cNvGrpSpPr/>
          <p:nvPr/>
        </p:nvGrpSpPr>
        <p:grpSpPr>
          <a:xfrm>
            <a:off x="6659736" y="4659789"/>
            <a:ext cx="558238" cy="558238"/>
            <a:chOff x="9670612" y="958287"/>
            <a:chExt cx="638664" cy="638664"/>
          </a:xfrm>
        </p:grpSpPr>
        <p:sp>
          <p:nvSpPr>
            <p:cNvPr id="373" name="Oval 372">
              <a:extLst>
                <a:ext uri="{FF2B5EF4-FFF2-40B4-BE49-F238E27FC236}">
                  <a16:creationId xmlns="" xmlns:a16="http://schemas.microsoft.com/office/drawing/2014/main" id="{F94566A8-3004-4CF1-B5AD-910020080EAE}"/>
                </a:ext>
              </a:extLst>
            </p:cNvPr>
            <p:cNvSpPr/>
            <p:nvPr/>
          </p:nvSpPr>
          <p:spPr>
            <a:xfrm>
              <a:off x="9670612" y="958287"/>
              <a:ext cx="638664" cy="638664"/>
            </a:xfrm>
            <a:prstGeom prst="ellipse">
              <a:avLst/>
            </a:prstGeom>
            <a:solidFill>
              <a:srgbClr val="05589C">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74" name="Group 4">
              <a:extLst>
                <a:ext uri="{FF2B5EF4-FFF2-40B4-BE49-F238E27FC236}">
                  <a16:creationId xmlns="" xmlns:a16="http://schemas.microsoft.com/office/drawing/2014/main" id="{137ECF06-94B9-4C57-A018-7806F64C92D7}"/>
                </a:ext>
              </a:extLst>
            </p:cNvPr>
            <p:cNvGrpSpPr>
              <a:grpSpLocks noChangeAspect="1"/>
            </p:cNvGrpSpPr>
            <p:nvPr/>
          </p:nvGrpSpPr>
          <p:grpSpPr bwMode="auto">
            <a:xfrm>
              <a:off x="9843355" y="1114574"/>
              <a:ext cx="309924" cy="270782"/>
              <a:chOff x="-1" y="3"/>
              <a:chExt cx="4529" cy="3957"/>
            </a:xfrm>
            <a:solidFill>
              <a:schemeClr val="bg1"/>
            </a:solidFill>
          </p:grpSpPr>
          <p:sp>
            <p:nvSpPr>
              <p:cNvPr id="375" name="Freeform 5">
                <a:extLst>
                  <a:ext uri="{FF2B5EF4-FFF2-40B4-BE49-F238E27FC236}">
                    <a16:creationId xmlns="" xmlns:a16="http://schemas.microsoft.com/office/drawing/2014/main" id="{09037FB8-4864-4FEC-91CC-9933E70202E6}"/>
                  </a:ext>
                </a:extLst>
              </p:cNvPr>
              <p:cNvSpPr>
                <a:spLocks noEditPoints="1"/>
              </p:cNvSpPr>
              <p:nvPr/>
            </p:nvSpPr>
            <p:spPr bwMode="auto">
              <a:xfrm>
                <a:off x="-1" y="3"/>
                <a:ext cx="4529" cy="3957"/>
              </a:xfrm>
              <a:custGeom>
                <a:avLst/>
                <a:gdLst>
                  <a:gd name="T0" fmla="*/ 896 w 1696"/>
                  <a:gd name="T1" fmla="*/ 27 h 1481"/>
                  <a:gd name="T2" fmla="*/ 849 w 1696"/>
                  <a:gd name="T3" fmla="*/ 0 h 1481"/>
                  <a:gd name="T4" fmla="*/ 802 w 1696"/>
                  <a:gd name="T5" fmla="*/ 27 h 1481"/>
                  <a:gd name="T6" fmla="*/ 9 w 1696"/>
                  <a:gd name="T7" fmla="*/ 1399 h 1481"/>
                  <a:gd name="T8" fmla="*/ 9 w 1696"/>
                  <a:gd name="T9" fmla="*/ 1453 h 1481"/>
                  <a:gd name="T10" fmla="*/ 57 w 1696"/>
                  <a:gd name="T11" fmla="*/ 1481 h 1481"/>
                  <a:gd name="T12" fmla="*/ 1641 w 1696"/>
                  <a:gd name="T13" fmla="*/ 1481 h 1481"/>
                  <a:gd name="T14" fmla="*/ 1696 w 1696"/>
                  <a:gd name="T15" fmla="*/ 1426 h 1481"/>
                  <a:gd name="T16" fmla="*/ 1687 w 1696"/>
                  <a:gd name="T17" fmla="*/ 1395 h 1481"/>
                  <a:gd name="T18" fmla="*/ 896 w 1696"/>
                  <a:gd name="T19" fmla="*/ 27 h 1481"/>
                  <a:gd name="T20" fmla="*/ 151 w 1696"/>
                  <a:gd name="T21" fmla="*/ 1372 h 1481"/>
                  <a:gd name="T22" fmla="*/ 849 w 1696"/>
                  <a:gd name="T23" fmla="*/ 163 h 1481"/>
                  <a:gd name="T24" fmla="*/ 1547 w 1696"/>
                  <a:gd name="T25" fmla="*/ 1372 h 1481"/>
                  <a:gd name="T26" fmla="*/ 151 w 1696"/>
                  <a:gd name="T27" fmla="*/ 1372 h 1481"/>
                  <a:gd name="T28" fmla="*/ 151 w 1696"/>
                  <a:gd name="T29" fmla="*/ 1372 h 1481"/>
                  <a:gd name="T30" fmla="*/ 151 w 1696"/>
                  <a:gd name="T31" fmla="*/ 1372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6" h="1481">
                    <a:moveTo>
                      <a:pt x="896" y="27"/>
                    </a:moveTo>
                    <a:cubicBezTo>
                      <a:pt x="886" y="10"/>
                      <a:pt x="868" y="0"/>
                      <a:pt x="849" y="0"/>
                    </a:cubicBezTo>
                    <a:cubicBezTo>
                      <a:pt x="830" y="0"/>
                      <a:pt x="812" y="10"/>
                      <a:pt x="802" y="27"/>
                    </a:cubicBezTo>
                    <a:cubicBezTo>
                      <a:pt x="9" y="1399"/>
                      <a:pt x="9" y="1399"/>
                      <a:pt x="9" y="1399"/>
                    </a:cubicBezTo>
                    <a:cubicBezTo>
                      <a:pt x="0" y="1416"/>
                      <a:pt x="0" y="1436"/>
                      <a:pt x="9" y="1453"/>
                    </a:cubicBezTo>
                    <a:cubicBezTo>
                      <a:pt x="19" y="1471"/>
                      <a:pt x="38" y="1481"/>
                      <a:pt x="57" y="1481"/>
                    </a:cubicBezTo>
                    <a:cubicBezTo>
                      <a:pt x="1641" y="1481"/>
                      <a:pt x="1641" y="1481"/>
                      <a:pt x="1641" y="1481"/>
                    </a:cubicBezTo>
                    <a:cubicBezTo>
                      <a:pt x="1671" y="1481"/>
                      <a:pt x="1696" y="1456"/>
                      <a:pt x="1696" y="1426"/>
                    </a:cubicBezTo>
                    <a:cubicBezTo>
                      <a:pt x="1696" y="1414"/>
                      <a:pt x="1692" y="1404"/>
                      <a:pt x="1687" y="1395"/>
                    </a:cubicBezTo>
                    <a:lnTo>
                      <a:pt x="896" y="27"/>
                    </a:lnTo>
                    <a:close/>
                    <a:moveTo>
                      <a:pt x="151" y="1372"/>
                    </a:moveTo>
                    <a:cubicBezTo>
                      <a:pt x="849" y="163"/>
                      <a:pt x="849" y="163"/>
                      <a:pt x="849" y="163"/>
                    </a:cubicBezTo>
                    <a:cubicBezTo>
                      <a:pt x="1547" y="1372"/>
                      <a:pt x="1547" y="1372"/>
                      <a:pt x="1547" y="1372"/>
                    </a:cubicBezTo>
                    <a:lnTo>
                      <a:pt x="151" y="1372"/>
                    </a:lnTo>
                    <a:close/>
                    <a:moveTo>
                      <a:pt x="151" y="1372"/>
                    </a:moveTo>
                    <a:cubicBezTo>
                      <a:pt x="151" y="1372"/>
                      <a:pt x="151" y="1372"/>
                      <a:pt x="151" y="13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376" name="Freeform 6">
                <a:extLst>
                  <a:ext uri="{FF2B5EF4-FFF2-40B4-BE49-F238E27FC236}">
                    <a16:creationId xmlns="" xmlns:a16="http://schemas.microsoft.com/office/drawing/2014/main" id="{C74262BE-0910-4D27-A0D9-45DBB23A09A2}"/>
                  </a:ext>
                </a:extLst>
              </p:cNvPr>
              <p:cNvSpPr>
                <a:spLocks noEditPoints="1"/>
              </p:cNvSpPr>
              <p:nvPr/>
            </p:nvSpPr>
            <p:spPr bwMode="auto">
              <a:xfrm>
                <a:off x="2119" y="1293"/>
                <a:ext cx="291" cy="1406"/>
              </a:xfrm>
              <a:custGeom>
                <a:avLst/>
                <a:gdLst>
                  <a:gd name="T0" fmla="*/ 0 w 109"/>
                  <a:gd name="T1" fmla="*/ 55 h 526"/>
                  <a:gd name="T2" fmla="*/ 0 w 109"/>
                  <a:gd name="T3" fmla="*/ 472 h 526"/>
                  <a:gd name="T4" fmla="*/ 54 w 109"/>
                  <a:gd name="T5" fmla="*/ 526 h 526"/>
                  <a:gd name="T6" fmla="*/ 109 w 109"/>
                  <a:gd name="T7" fmla="*/ 472 h 526"/>
                  <a:gd name="T8" fmla="*/ 109 w 109"/>
                  <a:gd name="T9" fmla="*/ 55 h 526"/>
                  <a:gd name="T10" fmla="*/ 54 w 109"/>
                  <a:gd name="T11" fmla="*/ 0 h 526"/>
                  <a:gd name="T12" fmla="*/ 0 w 109"/>
                  <a:gd name="T13" fmla="*/ 55 h 526"/>
                  <a:gd name="T14" fmla="*/ 0 w 109"/>
                  <a:gd name="T15" fmla="*/ 55 h 526"/>
                  <a:gd name="T16" fmla="*/ 0 w 109"/>
                  <a:gd name="T17" fmla="*/ 5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526">
                    <a:moveTo>
                      <a:pt x="0" y="55"/>
                    </a:moveTo>
                    <a:cubicBezTo>
                      <a:pt x="0" y="472"/>
                      <a:pt x="0" y="472"/>
                      <a:pt x="0" y="472"/>
                    </a:cubicBezTo>
                    <a:cubicBezTo>
                      <a:pt x="0" y="502"/>
                      <a:pt x="24" y="526"/>
                      <a:pt x="54" y="526"/>
                    </a:cubicBezTo>
                    <a:cubicBezTo>
                      <a:pt x="84" y="526"/>
                      <a:pt x="109" y="502"/>
                      <a:pt x="109" y="472"/>
                    </a:cubicBezTo>
                    <a:cubicBezTo>
                      <a:pt x="109" y="55"/>
                      <a:pt x="109" y="55"/>
                      <a:pt x="109" y="55"/>
                    </a:cubicBezTo>
                    <a:cubicBezTo>
                      <a:pt x="109" y="25"/>
                      <a:pt x="84" y="0"/>
                      <a:pt x="54" y="0"/>
                    </a:cubicBezTo>
                    <a:cubicBezTo>
                      <a:pt x="24" y="0"/>
                      <a:pt x="0" y="25"/>
                      <a:pt x="0" y="55"/>
                    </a:cubicBezTo>
                    <a:close/>
                    <a:moveTo>
                      <a:pt x="0" y="55"/>
                    </a:moveTo>
                    <a:cubicBezTo>
                      <a:pt x="0" y="55"/>
                      <a:pt x="0" y="55"/>
                      <a:pt x="0"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377" name="Freeform 7">
                <a:extLst>
                  <a:ext uri="{FF2B5EF4-FFF2-40B4-BE49-F238E27FC236}">
                    <a16:creationId xmlns="" xmlns:a16="http://schemas.microsoft.com/office/drawing/2014/main" id="{13AEAD62-2E84-47B3-BAF1-A703767C32AB}"/>
                  </a:ext>
                </a:extLst>
              </p:cNvPr>
              <p:cNvSpPr>
                <a:spLocks noEditPoints="1"/>
              </p:cNvSpPr>
              <p:nvPr/>
            </p:nvSpPr>
            <p:spPr bwMode="auto">
              <a:xfrm>
                <a:off x="2119" y="2894"/>
                <a:ext cx="291" cy="387"/>
              </a:xfrm>
              <a:custGeom>
                <a:avLst/>
                <a:gdLst>
                  <a:gd name="T0" fmla="*/ 54 w 109"/>
                  <a:gd name="T1" fmla="*/ 0 h 145"/>
                  <a:gd name="T2" fmla="*/ 0 w 109"/>
                  <a:gd name="T3" fmla="*/ 54 h 145"/>
                  <a:gd name="T4" fmla="*/ 0 w 109"/>
                  <a:gd name="T5" fmla="*/ 90 h 145"/>
                  <a:gd name="T6" fmla="*/ 54 w 109"/>
                  <a:gd name="T7" fmla="*/ 145 h 145"/>
                  <a:gd name="T8" fmla="*/ 109 w 109"/>
                  <a:gd name="T9" fmla="*/ 90 h 145"/>
                  <a:gd name="T10" fmla="*/ 109 w 109"/>
                  <a:gd name="T11" fmla="*/ 54 h 145"/>
                  <a:gd name="T12" fmla="*/ 54 w 109"/>
                  <a:gd name="T13" fmla="*/ 0 h 145"/>
                  <a:gd name="T14" fmla="*/ 54 w 109"/>
                  <a:gd name="T15" fmla="*/ 0 h 145"/>
                  <a:gd name="T16" fmla="*/ 54 w 109"/>
                  <a:gd name="T1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145">
                    <a:moveTo>
                      <a:pt x="54" y="0"/>
                    </a:moveTo>
                    <a:cubicBezTo>
                      <a:pt x="24" y="0"/>
                      <a:pt x="0" y="24"/>
                      <a:pt x="0" y="54"/>
                    </a:cubicBezTo>
                    <a:cubicBezTo>
                      <a:pt x="0" y="90"/>
                      <a:pt x="0" y="90"/>
                      <a:pt x="0" y="90"/>
                    </a:cubicBezTo>
                    <a:cubicBezTo>
                      <a:pt x="0" y="120"/>
                      <a:pt x="24" y="145"/>
                      <a:pt x="54" y="145"/>
                    </a:cubicBezTo>
                    <a:cubicBezTo>
                      <a:pt x="84" y="145"/>
                      <a:pt x="109" y="120"/>
                      <a:pt x="109" y="90"/>
                    </a:cubicBezTo>
                    <a:cubicBezTo>
                      <a:pt x="109" y="54"/>
                      <a:pt x="109" y="54"/>
                      <a:pt x="109" y="54"/>
                    </a:cubicBezTo>
                    <a:cubicBezTo>
                      <a:pt x="109" y="24"/>
                      <a:pt x="84" y="0"/>
                      <a:pt x="54" y="0"/>
                    </a:cubicBezTo>
                    <a:close/>
                    <a:moveTo>
                      <a:pt x="54" y="0"/>
                    </a:moveTo>
                    <a:cubicBezTo>
                      <a:pt x="54" y="0"/>
                      <a:pt x="54" y="0"/>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grpSp>
        <p:nvGrpSpPr>
          <p:cNvPr id="378" name="Group 377">
            <a:extLst>
              <a:ext uri="{FF2B5EF4-FFF2-40B4-BE49-F238E27FC236}">
                <a16:creationId xmlns="" xmlns:a16="http://schemas.microsoft.com/office/drawing/2014/main" id="{DE36A7CB-EFB7-413D-8EBD-64DC7CA9D49D}"/>
              </a:ext>
            </a:extLst>
          </p:cNvPr>
          <p:cNvGrpSpPr/>
          <p:nvPr/>
        </p:nvGrpSpPr>
        <p:grpSpPr>
          <a:xfrm>
            <a:off x="7364942" y="4659789"/>
            <a:ext cx="558238" cy="558238"/>
            <a:chOff x="9670612" y="958287"/>
            <a:chExt cx="638664" cy="638664"/>
          </a:xfrm>
        </p:grpSpPr>
        <p:sp>
          <p:nvSpPr>
            <p:cNvPr id="379" name="Oval 378">
              <a:extLst>
                <a:ext uri="{FF2B5EF4-FFF2-40B4-BE49-F238E27FC236}">
                  <a16:creationId xmlns="" xmlns:a16="http://schemas.microsoft.com/office/drawing/2014/main" id="{5D4A7639-02E3-49C0-AB7E-F712D0E42AC9}"/>
                </a:ext>
              </a:extLst>
            </p:cNvPr>
            <p:cNvSpPr/>
            <p:nvPr/>
          </p:nvSpPr>
          <p:spPr>
            <a:xfrm>
              <a:off x="9670612" y="958287"/>
              <a:ext cx="638664" cy="638664"/>
            </a:xfrm>
            <a:prstGeom prst="ellipse">
              <a:avLst/>
            </a:prstGeom>
            <a:solidFill>
              <a:srgbClr val="05589C">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80" name="Group 4">
              <a:extLst>
                <a:ext uri="{FF2B5EF4-FFF2-40B4-BE49-F238E27FC236}">
                  <a16:creationId xmlns="" xmlns:a16="http://schemas.microsoft.com/office/drawing/2014/main" id="{65D2BCCB-B02D-4300-9E2E-FD6EE6BE8838}"/>
                </a:ext>
              </a:extLst>
            </p:cNvPr>
            <p:cNvGrpSpPr>
              <a:grpSpLocks noChangeAspect="1"/>
            </p:cNvGrpSpPr>
            <p:nvPr/>
          </p:nvGrpSpPr>
          <p:grpSpPr bwMode="auto">
            <a:xfrm>
              <a:off x="9843355" y="1114574"/>
              <a:ext cx="309924" cy="270782"/>
              <a:chOff x="-1" y="3"/>
              <a:chExt cx="4529" cy="3957"/>
            </a:xfrm>
            <a:solidFill>
              <a:schemeClr val="bg1"/>
            </a:solidFill>
          </p:grpSpPr>
          <p:sp>
            <p:nvSpPr>
              <p:cNvPr id="381" name="Freeform 5">
                <a:extLst>
                  <a:ext uri="{FF2B5EF4-FFF2-40B4-BE49-F238E27FC236}">
                    <a16:creationId xmlns="" xmlns:a16="http://schemas.microsoft.com/office/drawing/2014/main" id="{940ACD3F-7C51-4A92-9ADF-9015A9221BC0}"/>
                  </a:ext>
                </a:extLst>
              </p:cNvPr>
              <p:cNvSpPr>
                <a:spLocks noEditPoints="1"/>
              </p:cNvSpPr>
              <p:nvPr/>
            </p:nvSpPr>
            <p:spPr bwMode="auto">
              <a:xfrm>
                <a:off x="-1" y="3"/>
                <a:ext cx="4529" cy="3957"/>
              </a:xfrm>
              <a:custGeom>
                <a:avLst/>
                <a:gdLst>
                  <a:gd name="T0" fmla="*/ 896 w 1696"/>
                  <a:gd name="T1" fmla="*/ 27 h 1481"/>
                  <a:gd name="T2" fmla="*/ 849 w 1696"/>
                  <a:gd name="T3" fmla="*/ 0 h 1481"/>
                  <a:gd name="T4" fmla="*/ 802 w 1696"/>
                  <a:gd name="T5" fmla="*/ 27 h 1481"/>
                  <a:gd name="T6" fmla="*/ 9 w 1696"/>
                  <a:gd name="T7" fmla="*/ 1399 h 1481"/>
                  <a:gd name="T8" fmla="*/ 9 w 1696"/>
                  <a:gd name="T9" fmla="*/ 1453 h 1481"/>
                  <a:gd name="T10" fmla="*/ 57 w 1696"/>
                  <a:gd name="T11" fmla="*/ 1481 h 1481"/>
                  <a:gd name="T12" fmla="*/ 1641 w 1696"/>
                  <a:gd name="T13" fmla="*/ 1481 h 1481"/>
                  <a:gd name="T14" fmla="*/ 1696 w 1696"/>
                  <a:gd name="T15" fmla="*/ 1426 h 1481"/>
                  <a:gd name="T16" fmla="*/ 1687 w 1696"/>
                  <a:gd name="T17" fmla="*/ 1395 h 1481"/>
                  <a:gd name="T18" fmla="*/ 896 w 1696"/>
                  <a:gd name="T19" fmla="*/ 27 h 1481"/>
                  <a:gd name="T20" fmla="*/ 151 w 1696"/>
                  <a:gd name="T21" fmla="*/ 1372 h 1481"/>
                  <a:gd name="T22" fmla="*/ 849 w 1696"/>
                  <a:gd name="T23" fmla="*/ 163 h 1481"/>
                  <a:gd name="T24" fmla="*/ 1547 w 1696"/>
                  <a:gd name="T25" fmla="*/ 1372 h 1481"/>
                  <a:gd name="T26" fmla="*/ 151 w 1696"/>
                  <a:gd name="T27" fmla="*/ 1372 h 1481"/>
                  <a:gd name="T28" fmla="*/ 151 w 1696"/>
                  <a:gd name="T29" fmla="*/ 1372 h 1481"/>
                  <a:gd name="T30" fmla="*/ 151 w 1696"/>
                  <a:gd name="T31" fmla="*/ 1372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6" h="1481">
                    <a:moveTo>
                      <a:pt x="896" y="27"/>
                    </a:moveTo>
                    <a:cubicBezTo>
                      <a:pt x="886" y="10"/>
                      <a:pt x="868" y="0"/>
                      <a:pt x="849" y="0"/>
                    </a:cubicBezTo>
                    <a:cubicBezTo>
                      <a:pt x="830" y="0"/>
                      <a:pt x="812" y="10"/>
                      <a:pt x="802" y="27"/>
                    </a:cubicBezTo>
                    <a:cubicBezTo>
                      <a:pt x="9" y="1399"/>
                      <a:pt x="9" y="1399"/>
                      <a:pt x="9" y="1399"/>
                    </a:cubicBezTo>
                    <a:cubicBezTo>
                      <a:pt x="0" y="1416"/>
                      <a:pt x="0" y="1436"/>
                      <a:pt x="9" y="1453"/>
                    </a:cubicBezTo>
                    <a:cubicBezTo>
                      <a:pt x="19" y="1471"/>
                      <a:pt x="38" y="1481"/>
                      <a:pt x="57" y="1481"/>
                    </a:cubicBezTo>
                    <a:cubicBezTo>
                      <a:pt x="1641" y="1481"/>
                      <a:pt x="1641" y="1481"/>
                      <a:pt x="1641" y="1481"/>
                    </a:cubicBezTo>
                    <a:cubicBezTo>
                      <a:pt x="1671" y="1481"/>
                      <a:pt x="1696" y="1456"/>
                      <a:pt x="1696" y="1426"/>
                    </a:cubicBezTo>
                    <a:cubicBezTo>
                      <a:pt x="1696" y="1414"/>
                      <a:pt x="1692" y="1404"/>
                      <a:pt x="1687" y="1395"/>
                    </a:cubicBezTo>
                    <a:lnTo>
                      <a:pt x="896" y="27"/>
                    </a:lnTo>
                    <a:close/>
                    <a:moveTo>
                      <a:pt x="151" y="1372"/>
                    </a:moveTo>
                    <a:cubicBezTo>
                      <a:pt x="849" y="163"/>
                      <a:pt x="849" y="163"/>
                      <a:pt x="849" y="163"/>
                    </a:cubicBezTo>
                    <a:cubicBezTo>
                      <a:pt x="1547" y="1372"/>
                      <a:pt x="1547" y="1372"/>
                      <a:pt x="1547" y="1372"/>
                    </a:cubicBezTo>
                    <a:lnTo>
                      <a:pt x="151" y="1372"/>
                    </a:lnTo>
                    <a:close/>
                    <a:moveTo>
                      <a:pt x="151" y="1372"/>
                    </a:moveTo>
                    <a:cubicBezTo>
                      <a:pt x="151" y="1372"/>
                      <a:pt x="151" y="1372"/>
                      <a:pt x="151" y="13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382" name="Freeform 6">
                <a:extLst>
                  <a:ext uri="{FF2B5EF4-FFF2-40B4-BE49-F238E27FC236}">
                    <a16:creationId xmlns="" xmlns:a16="http://schemas.microsoft.com/office/drawing/2014/main" id="{AE03EBB7-C0DE-4660-8CE5-3C2258512732}"/>
                  </a:ext>
                </a:extLst>
              </p:cNvPr>
              <p:cNvSpPr>
                <a:spLocks noEditPoints="1"/>
              </p:cNvSpPr>
              <p:nvPr/>
            </p:nvSpPr>
            <p:spPr bwMode="auto">
              <a:xfrm>
                <a:off x="2119" y="1293"/>
                <a:ext cx="291" cy="1406"/>
              </a:xfrm>
              <a:custGeom>
                <a:avLst/>
                <a:gdLst>
                  <a:gd name="T0" fmla="*/ 0 w 109"/>
                  <a:gd name="T1" fmla="*/ 55 h 526"/>
                  <a:gd name="T2" fmla="*/ 0 w 109"/>
                  <a:gd name="T3" fmla="*/ 472 h 526"/>
                  <a:gd name="T4" fmla="*/ 54 w 109"/>
                  <a:gd name="T5" fmla="*/ 526 h 526"/>
                  <a:gd name="T6" fmla="*/ 109 w 109"/>
                  <a:gd name="T7" fmla="*/ 472 h 526"/>
                  <a:gd name="T8" fmla="*/ 109 w 109"/>
                  <a:gd name="T9" fmla="*/ 55 h 526"/>
                  <a:gd name="T10" fmla="*/ 54 w 109"/>
                  <a:gd name="T11" fmla="*/ 0 h 526"/>
                  <a:gd name="T12" fmla="*/ 0 w 109"/>
                  <a:gd name="T13" fmla="*/ 55 h 526"/>
                  <a:gd name="T14" fmla="*/ 0 w 109"/>
                  <a:gd name="T15" fmla="*/ 55 h 526"/>
                  <a:gd name="T16" fmla="*/ 0 w 109"/>
                  <a:gd name="T17" fmla="*/ 5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526">
                    <a:moveTo>
                      <a:pt x="0" y="55"/>
                    </a:moveTo>
                    <a:cubicBezTo>
                      <a:pt x="0" y="472"/>
                      <a:pt x="0" y="472"/>
                      <a:pt x="0" y="472"/>
                    </a:cubicBezTo>
                    <a:cubicBezTo>
                      <a:pt x="0" y="502"/>
                      <a:pt x="24" y="526"/>
                      <a:pt x="54" y="526"/>
                    </a:cubicBezTo>
                    <a:cubicBezTo>
                      <a:pt x="84" y="526"/>
                      <a:pt x="109" y="502"/>
                      <a:pt x="109" y="472"/>
                    </a:cubicBezTo>
                    <a:cubicBezTo>
                      <a:pt x="109" y="55"/>
                      <a:pt x="109" y="55"/>
                      <a:pt x="109" y="55"/>
                    </a:cubicBezTo>
                    <a:cubicBezTo>
                      <a:pt x="109" y="25"/>
                      <a:pt x="84" y="0"/>
                      <a:pt x="54" y="0"/>
                    </a:cubicBezTo>
                    <a:cubicBezTo>
                      <a:pt x="24" y="0"/>
                      <a:pt x="0" y="25"/>
                      <a:pt x="0" y="55"/>
                    </a:cubicBezTo>
                    <a:close/>
                    <a:moveTo>
                      <a:pt x="0" y="55"/>
                    </a:moveTo>
                    <a:cubicBezTo>
                      <a:pt x="0" y="55"/>
                      <a:pt x="0" y="55"/>
                      <a:pt x="0"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383" name="Freeform 7">
                <a:extLst>
                  <a:ext uri="{FF2B5EF4-FFF2-40B4-BE49-F238E27FC236}">
                    <a16:creationId xmlns="" xmlns:a16="http://schemas.microsoft.com/office/drawing/2014/main" id="{E2691F77-9EF5-4F8C-94D9-F0EABBB47491}"/>
                  </a:ext>
                </a:extLst>
              </p:cNvPr>
              <p:cNvSpPr>
                <a:spLocks noEditPoints="1"/>
              </p:cNvSpPr>
              <p:nvPr/>
            </p:nvSpPr>
            <p:spPr bwMode="auto">
              <a:xfrm>
                <a:off x="2119" y="2894"/>
                <a:ext cx="291" cy="387"/>
              </a:xfrm>
              <a:custGeom>
                <a:avLst/>
                <a:gdLst>
                  <a:gd name="T0" fmla="*/ 54 w 109"/>
                  <a:gd name="T1" fmla="*/ 0 h 145"/>
                  <a:gd name="T2" fmla="*/ 0 w 109"/>
                  <a:gd name="T3" fmla="*/ 54 h 145"/>
                  <a:gd name="T4" fmla="*/ 0 w 109"/>
                  <a:gd name="T5" fmla="*/ 90 h 145"/>
                  <a:gd name="T6" fmla="*/ 54 w 109"/>
                  <a:gd name="T7" fmla="*/ 145 h 145"/>
                  <a:gd name="T8" fmla="*/ 109 w 109"/>
                  <a:gd name="T9" fmla="*/ 90 h 145"/>
                  <a:gd name="T10" fmla="*/ 109 w 109"/>
                  <a:gd name="T11" fmla="*/ 54 h 145"/>
                  <a:gd name="T12" fmla="*/ 54 w 109"/>
                  <a:gd name="T13" fmla="*/ 0 h 145"/>
                  <a:gd name="T14" fmla="*/ 54 w 109"/>
                  <a:gd name="T15" fmla="*/ 0 h 145"/>
                  <a:gd name="T16" fmla="*/ 54 w 109"/>
                  <a:gd name="T1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145">
                    <a:moveTo>
                      <a:pt x="54" y="0"/>
                    </a:moveTo>
                    <a:cubicBezTo>
                      <a:pt x="24" y="0"/>
                      <a:pt x="0" y="24"/>
                      <a:pt x="0" y="54"/>
                    </a:cubicBezTo>
                    <a:cubicBezTo>
                      <a:pt x="0" y="90"/>
                      <a:pt x="0" y="90"/>
                      <a:pt x="0" y="90"/>
                    </a:cubicBezTo>
                    <a:cubicBezTo>
                      <a:pt x="0" y="120"/>
                      <a:pt x="24" y="145"/>
                      <a:pt x="54" y="145"/>
                    </a:cubicBezTo>
                    <a:cubicBezTo>
                      <a:pt x="84" y="145"/>
                      <a:pt x="109" y="120"/>
                      <a:pt x="109" y="90"/>
                    </a:cubicBezTo>
                    <a:cubicBezTo>
                      <a:pt x="109" y="54"/>
                      <a:pt x="109" y="54"/>
                      <a:pt x="109" y="54"/>
                    </a:cubicBezTo>
                    <a:cubicBezTo>
                      <a:pt x="109" y="24"/>
                      <a:pt x="84" y="0"/>
                      <a:pt x="54" y="0"/>
                    </a:cubicBezTo>
                    <a:close/>
                    <a:moveTo>
                      <a:pt x="54" y="0"/>
                    </a:moveTo>
                    <a:cubicBezTo>
                      <a:pt x="54" y="0"/>
                      <a:pt x="54" y="0"/>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grpSp>
        <p:nvGrpSpPr>
          <p:cNvPr id="384" name="Group 383">
            <a:extLst>
              <a:ext uri="{FF2B5EF4-FFF2-40B4-BE49-F238E27FC236}">
                <a16:creationId xmlns="" xmlns:a16="http://schemas.microsoft.com/office/drawing/2014/main" id="{0BF42E22-0C6C-4DF0-96A7-D2D92F2F09AE}"/>
              </a:ext>
            </a:extLst>
          </p:cNvPr>
          <p:cNvGrpSpPr/>
          <p:nvPr/>
        </p:nvGrpSpPr>
        <p:grpSpPr>
          <a:xfrm>
            <a:off x="5687414" y="5562153"/>
            <a:ext cx="558238" cy="558238"/>
            <a:chOff x="9670612" y="958287"/>
            <a:chExt cx="638664" cy="638664"/>
          </a:xfrm>
        </p:grpSpPr>
        <p:sp>
          <p:nvSpPr>
            <p:cNvPr id="385" name="Oval 384">
              <a:extLst>
                <a:ext uri="{FF2B5EF4-FFF2-40B4-BE49-F238E27FC236}">
                  <a16:creationId xmlns="" xmlns:a16="http://schemas.microsoft.com/office/drawing/2014/main" id="{573CE847-773D-4A37-BCB3-A956A6317F7F}"/>
                </a:ext>
              </a:extLst>
            </p:cNvPr>
            <p:cNvSpPr/>
            <p:nvPr/>
          </p:nvSpPr>
          <p:spPr>
            <a:xfrm>
              <a:off x="9670612" y="958287"/>
              <a:ext cx="638664" cy="638664"/>
            </a:xfrm>
            <a:prstGeom prst="ellipse">
              <a:avLst/>
            </a:prstGeom>
            <a:solidFill>
              <a:srgbClr val="05589C">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86" name="Group 4">
              <a:extLst>
                <a:ext uri="{FF2B5EF4-FFF2-40B4-BE49-F238E27FC236}">
                  <a16:creationId xmlns="" xmlns:a16="http://schemas.microsoft.com/office/drawing/2014/main" id="{69077471-F790-45BC-AC20-39AE3F9AA041}"/>
                </a:ext>
              </a:extLst>
            </p:cNvPr>
            <p:cNvGrpSpPr>
              <a:grpSpLocks noChangeAspect="1"/>
            </p:cNvGrpSpPr>
            <p:nvPr/>
          </p:nvGrpSpPr>
          <p:grpSpPr bwMode="auto">
            <a:xfrm>
              <a:off x="9843355" y="1114574"/>
              <a:ext cx="309924" cy="270782"/>
              <a:chOff x="-1" y="3"/>
              <a:chExt cx="4529" cy="3957"/>
            </a:xfrm>
            <a:solidFill>
              <a:schemeClr val="bg1"/>
            </a:solidFill>
          </p:grpSpPr>
          <p:sp>
            <p:nvSpPr>
              <p:cNvPr id="387" name="Freeform 5">
                <a:extLst>
                  <a:ext uri="{FF2B5EF4-FFF2-40B4-BE49-F238E27FC236}">
                    <a16:creationId xmlns="" xmlns:a16="http://schemas.microsoft.com/office/drawing/2014/main" id="{29359AF2-2865-4257-A69B-6AFFDEBEB163}"/>
                  </a:ext>
                </a:extLst>
              </p:cNvPr>
              <p:cNvSpPr>
                <a:spLocks noEditPoints="1"/>
              </p:cNvSpPr>
              <p:nvPr/>
            </p:nvSpPr>
            <p:spPr bwMode="auto">
              <a:xfrm>
                <a:off x="-1" y="3"/>
                <a:ext cx="4529" cy="3957"/>
              </a:xfrm>
              <a:custGeom>
                <a:avLst/>
                <a:gdLst>
                  <a:gd name="T0" fmla="*/ 896 w 1696"/>
                  <a:gd name="T1" fmla="*/ 27 h 1481"/>
                  <a:gd name="T2" fmla="*/ 849 w 1696"/>
                  <a:gd name="T3" fmla="*/ 0 h 1481"/>
                  <a:gd name="T4" fmla="*/ 802 w 1696"/>
                  <a:gd name="T5" fmla="*/ 27 h 1481"/>
                  <a:gd name="T6" fmla="*/ 9 w 1696"/>
                  <a:gd name="T7" fmla="*/ 1399 h 1481"/>
                  <a:gd name="T8" fmla="*/ 9 w 1696"/>
                  <a:gd name="T9" fmla="*/ 1453 h 1481"/>
                  <a:gd name="T10" fmla="*/ 57 w 1696"/>
                  <a:gd name="T11" fmla="*/ 1481 h 1481"/>
                  <a:gd name="T12" fmla="*/ 1641 w 1696"/>
                  <a:gd name="T13" fmla="*/ 1481 h 1481"/>
                  <a:gd name="T14" fmla="*/ 1696 w 1696"/>
                  <a:gd name="T15" fmla="*/ 1426 h 1481"/>
                  <a:gd name="T16" fmla="*/ 1687 w 1696"/>
                  <a:gd name="T17" fmla="*/ 1395 h 1481"/>
                  <a:gd name="T18" fmla="*/ 896 w 1696"/>
                  <a:gd name="T19" fmla="*/ 27 h 1481"/>
                  <a:gd name="T20" fmla="*/ 151 w 1696"/>
                  <a:gd name="T21" fmla="*/ 1372 h 1481"/>
                  <a:gd name="T22" fmla="*/ 849 w 1696"/>
                  <a:gd name="T23" fmla="*/ 163 h 1481"/>
                  <a:gd name="T24" fmla="*/ 1547 w 1696"/>
                  <a:gd name="T25" fmla="*/ 1372 h 1481"/>
                  <a:gd name="T26" fmla="*/ 151 w 1696"/>
                  <a:gd name="T27" fmla="*/ 1372 h 1481"/>
                  <a:gd name="T28" fmla="*/ 151 w 1696"/>
                  <a:gd name="T29" fmla="*/ 1372 h 1481"/>
                  <a:gd name="T30" fmla="*/ 151 w 1696"/>
                  <a:gd name="T31" fmla="*/ 1372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6" h="1481">
                    <a:moveTo>
                      <a:pt x="896" y="27"/>
                    </a:moveTo>
                    <a:cubicBezTo>
                      <a:pt x="886" y="10"/>
                      <a:pt x="868" y="0"/>
                      <a:pt x="849" y="0"/>
                    </a:cubicBezTo>
                    <a:cubicBezTo>
                      <a:pt x="830" y="0"/>
                      <a:pt x="812" y="10"/>
                      <a:pt x="802" y="27"/>
                    </a:cubicBezTo>
                    <a:cubicBezTo>
                      <a:pt x="9" y="1399"/>
                      <a:pt x="9" y="1399"/>
                      <a:pt x="9" y="1399"/>
                    </a:cubicBezTo>
                    <a:cubicBezTo>
                      <a:pt x="0" y="1416"/>
                      <a:pt x="0" y="1436"/>
                      <a:pt x="9" y="1453"/>
                    </a:cubicBezTo>
                    <a:cubicBezTo>
                      <a:pt x="19" y="1471"/>
                      <a:pt x="38" y="1481"/>
                      <a:pt x="57" y="1481"/>
                    </a:cubicBezTo>
                    <a:cubicBezTo>
                      <a:pt x="1641" y="1481"/>
                      <a:pt x="1641" y="1481"/>
                      <a:pt x="1641" y="1481"/>
                    </a:cubicBezTo>
                    <a:cubicBezTo>
                      <a:pt x="1671" y="1481"/>
                      <a:pt x="1696" y="1456"/>
                      <a:pt x="1696" y="1426"/>
                    </a:cubicBezTo>
                    <a:cubicBezTo>
                      <a:pt x="1696" y="1414"/>
                      <a:pt x="1692" y="1404"/>
                      <a:pt x="1687" y="1395"/>
                    </a:cubicBezTo>
                    <a:lnTo>
                      <a:pt x="896" y="27"/>
                    </a:lnTo>
                    <a:close/>
                    <a:moveTo>
                      <a:pt x="151" y="1372"/>
                    </a:moveTo>
                    <a:cubicBezTo>
                      <a:pt x="849" y="163"/>
                      <a:pt x="849" y="163"/>
                      <a:pt x="849" y="163"/>
                    </a:cubicBezTo>
                    <a:cubicBezTo>
                      <a:pt x="1547" y="1372"/>
                      <a:pt x="1547" y="1372"/>
                      <a:pt x="1547" y="1372"/>
                    </a:cubicBezTo>
                    <a:lnTo>
                      <a:pt x="151" y="1372"/>
                    </a:lnTo>
                    <a:close/>
                    <a:moveTo>
                      <a:pt x="151" y="1372"/>
                    </a:moveTo>
                    <a:cubicBezTo>
                      <a:pt x="151" y="1372"/>
                      <a:pt x="151" y="1372"/>
                      <a:pt x="151" y="13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388" name="Freeform 6">
                <a:extLst>
                  <a:ext uri="{FF2B5EF4-FFF2-40B4-BE49-F238E27FC236}">
                    <a16:creationId xmlns="" xmlns:a16="http://schemas.microsoft.com/office/drawing/2014/main" id="{0CFCEB88-D17B-4201-BE7C-4ED182BD41B4}"/>
                  </a:ext>
                </a:extLst>
              </p:cNvPr>
              <p:cNvSpPr>
                <a:spLocks noEditPoints="1"/>
              </p:cNvSpPr>
              <p:nvPr/>
            </p:nvSpPr>
            <p:spPr bwMode="auto">
              <a:xfrm>
                <a:off x="2119" y="1293"/>
                <a:ext cx="291" cy="1406"/>
              </a:xfrm>
              <a:custGeom>
                <a:avLst/>
                <a:gdLst>
                  <a:gd name="T0" fmla="*/ 0 w 109"/>
                  <a:gd name="T1" fmla="*/ 55 h 526"/>
                  <a:gd name="T2" fmla="*/ 0 w 109"/>
                  <a:gd name="T3" fmla="*/ 472 h 526"/>
                  <a:gd name="T4" fmla="*/ 54 w 109"/>
                  <a:gd name="T5" fmla="*/ 526 h 526"/>
                  <a:gd name="T6" fmla="*/ 109 w 109"/>
                  <a:gd name="T7" fmla="*/ 472 h 526"/>
                  <a:gd name="T8" fmla="*/ 109 w 109"/>
                  <a:gd name="T9" fmla="*/ 55 h 526"/>
                  <a:gd name="T10" fmla="*/ 54 w 109"/>
                  <a:gd name="T11" fmla="*/ 0 h 526"/>
                  <a:gd name="T12" fmla="*/ 0 w 109"/>
                  <a:gd name="T13" fmla="*/ 55 h 526"/>
                  <a:gd name="T14" fmla="*/ 0 w 109"/>
                  <a:gd name="T15" fmla="*/ 55 h 526"/>
                  <a:gd name="T16" fmla="*/ 0 w 109"/>
                  <a:gd name="T17" fmla="*/ 5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526">
                    <a:moveTo>
                      <a:pt x="0" y="55"/>
                    </a:moveTo>
                    <a:cubicBezTo>
                      <a:pt x="0" y="472"/>
                      <a:pt x="0" y="472"/>
                      <a:pt x="0" y="472"/>
                    </a:cubicBezTo>
                    <a:cubicBezTo>
                      <a:pt x="0" y="502"/>
                      <a:pt x="24" y="526"/>
                      <a:pt x="54" y="526"/>
                    </a:cubicBezTo>
                    <a:cubicBezTo>
                      <a:pt x="84" y="526"/>
                      <a:pt x="109" y="502"/>
                      <a:pt x="109" y="472"/>
                    </a:cubicBezTo>
                    <a:cubicBezTo>
                      <a:pt x="109" y="55"/>
                      <a:pt x="109" y="55"/>
                      <a:pt x="109" y="55"/>
                    </a:cubicBezTo>
                    <a:cubicBezTo>
                      <a:pt x="109" y="25"/>
                      <a:pt x="84" y="0"/>
                      <a:pt x="54" y="0"/>
                    </a:cubicBezTo>
                    <a:cubicBezTo>
                      <a:pt x="24" y="0"/>
                      <a:pt x="0" y="25"/>
                      <a:pt x="0" y="55"/>
                    </a:cubicBezTo>
                    <a:close/>
                    <a:moveTo>
                      <a:pt x="0" y="55"/>
                    </a:moveTo>
                    <a:cubicBezTo>
                      <a:pt x="0" y="55"/>
                      <a:pt x="0" y="55"/>
                      <a:pt x="0"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389" name="Freeform 7">
                <a:extLst>
                  <a:ext uri="{FF2B5EF4-FFF2-40B4-BE49-F238E27FC236}">
                    <a16:creationId xmlns="" xmlns:a16="http://schemas.microsoft.com/office/drawing/2014/main" id="{FC920B68-535E-4168-B93B-31B18B697CD6}"/>
                  </a:ext>
                </a:extLst>
              </p:cNvPr>
              <p:cNvSpPr>
                <a:spLocks noEditPoints="1"/>
              </p:cNvSpPr>
              <p:nvPr/>
            </p:nvSpPr>
            <p:spPr bwMode="auto">
              <a:xfrm>
                <a:off x="2119" y="2894"/>
                <a:ext cx="291" cy="387"/>
              </a:xfrm>
              <a:custGeom>
                <a:avLst/>
                <a:gdLst>
                  <a:gd name="T0" fmla="*/ 54 w 109"/>
                  <a:gd name="T1" fmla="*/ 0 h 145"/>
                  <a:gd name="T2" fmla="*/ 0 w 109"/>
                  <a:gd name="T3" fmla="*/ 54 h 145"/>
                  <a:gd name="T4" fmla="*/ 0 w 109"/>
                  <a:gd name="T5" fmla="*/ 90 h 145"/>
                  <a:gd name="T6" fmla="*/ 54 w 109"/>
                  <a:gd name="T7" fmla="*/ 145 h 145"/>
                  <a:gd name="T8" fmla="*/ 109 w 109"/>
                  <a:gd name="T9" fmla="*/ 90 h 145"/>
                  <a:gd name="T10" fmla="*/ 109 w 109"/>
                  <a:gd name="T11" fmla="*/ 54 h 145"/>
                  <a:gd name="T12" fmla="*/ 54 w 109"/>
                  <a:gd name="T13" fmla="*/ 0 h 145"/>
                  <a:gd name="T14" fmla="*/ 54 w 109"/>
                  <a:gd name="T15" fmla="*/ 0 h 145"/>
                  <a:gd name="T16" fmla="*/ 54 w 109"/>
                  <a:gd name="T1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145">
                    <a:moveTo>
                      <a:pt x="54" y="0"/>
                    </a:moveTo>
                    <a:cubicBezTo>
                      <a:pt x="24" y="0"/>
                      <a:pt x="0" y="24"/>
                      <a:pt x="0" y="54"/>
                    </a:cubicBezTo>
                    <a:cubicBezTo>
                      <a:pt x="0" y="90"/>
                      <a:pt x="0" y="90"/>
                      <a:pt x="0" y="90"/>
                    </a:cubicBezTo>
                    <a:cubicBezTo>
                      <a:pt x="0" y="120"/>
                      <a:pt x="24" y="145"/>
                      <a:pt x="54" y="145"/>
                    </a:cubicBezTo>
                    <a:cubicBezTo>
                      <a:pt x="84" y="145"/>
                      <a:pt x="109" y="120"/>
                      <a:pt x="109" y="90"/>
                    </a:cubicBezTo>
                    <a:cubicBezTo>
                      <a:pt x="109" y="54"/>
                      <a:pt x="109" y="54"/>
                      <a:pt x="109" y="54"/>
                    </a:cubicBezTo>
                    <a:cubicBezTo>
                      <a:pt x="109" y="24"/>
                      <a:pt x="84" y="0"/>
                      <a:pt x="54" y="0"/>
                    </a:cubicBezTo>
                    <a:close/>
                    <a:moveTo>
                      <a:pt x="54" y="0"/>
                    </a:moveTo>
                    <a:cubicBezTo>
                      <a:pt x="54" y="0"/>
                      <a:pt x="54" y="0"/>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grpSp>
        <p:nvGrpSpPr>
          <p:cNvPr id="390" name="Group 389">
            <a:extLst>
              <a:ext uri="{FF2B5EF4-FFF2-40B4-BE49-F238E27FC236}">
                <a16:creationId xmlns="" xmlns:a16="http://schemas.microsoft.com/office/drawing/2014/main" id="{959A4DDE-9F8E-404D-B3C8-203CE1C8E150}"/>
              </a:ext>
            </a:extLst>
          </p:cNvPr>
          <p:cNvGrpSpPr/>
          <p:nvPr/>
        </p:nvGrpSpPr>
        <p:grpSpPr>
          <a:xfrm>
            <a:off x="8023025" y="5560671"/>
            <a:ext cx="558238" cy="558238"/>
            <a:chOff x="9670612" y="958287"/>
            <a:chExt cx="638664" cy="638664"/>
          </a:xfrm>
        </p:grpSpPr>
        <p:sp>
          <p:nvSpPr>
            <p:cNvPr id="391" name="Oval 390">
              <a:extLst>
                <a:ext uri="{FF2B5EF4-FFF2-40B4-BE49-F238E27FC236}">
                  <a16:creationId xmlns="" xmlns:a16="http://schemas.microsoft.com/office/drawing/2014/main" id="{FEADCF97-C4D4-4580-AD82-851DFA6BE9C0}"/>
                </a:ext>
              </a:extLst>
            </p:cNvPr>
            <p:cNvSpPr/>
            <p:nvPr/>
          </p:nvSpPr>
          <p:spPr>
            <a:xfrm>
              <a:off x="9670612" y="958287"/>
              <a:ext cx="638664" cy="638664"/>
            </a:xfrm>
            <a:prstGeom prst="ellipse">
              <a:avLst/>
            </a:prstGeom>
            <a:solidFill>
              <a:srgbClr val="05589C">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92" name="Group 4">
              <a:extLst>
                <a:ext uri="{FF2B5EF4-FFF2-40B4-BE49-F238E27FC236}">
                  <a16:creationId xmlns="" xmlns:a16="http://schemas.microsoft.com/office/drawing/2014/main" id="{98BBBCCF-92B1-4BA4-83EA-BCD187EC1A58}"/>
                </a:ext>
              </a:extLst>
            </p:cNvPr>
            <p:cNvGrpSpPr>
              <a:grpSpLocks noChangeAspect="1"/>
            </p:cNvGrpSpPr>
            <p:nvPr/>
          </p:nvGrpSpPr>
          <p:grpSpPr bwMode="auto">
            <a:xfrm>
              <a:off x="9843355" y="1114574"/>
              <a:ext cx="309924" cy="270782"/>
              <a:chOff x="-1" y="3"/>
              <a:chExt cx="4529" cy="3957"/>
            </a:xfrm>
            <a:solidFill>
              <a:schemeClr val="bg1"/>
            </a:solidFill>
          </p:grpSpPr>
          <p:sp>
            <p:nvSpPr>
              <p:cNvPr id="393" name="Freeform 5">
                <a:extLst>
                  <a:ext uri="{FF2B5EF4-FFF2-40B4-BE49-F238E27FC236}">
                    <a16:creationId xmlns="" xmlns:a16="http://schemas.microsoft.com/office/drawing/2014/main" id="{6DDC582E-7F4B-4719-9E73-365D9A979B01}"/>
                  </a:ext>
                </a:extLst>
              </p:cNvPr>
              <p:cNvSpPr>
                <a:spLocks noEditPoints="1"/>
              </p:cNvSpPr>
              <p:nvPr/>
            </p:nvSpPr>
            <p:spPr bwMode="auto">
              <a:xfrm>
                <a:off x="-1" y="3"/>
                <a:ext cx="4529" cy="3957"/>
              </a:xfrm>
              <a:custGeom>
                <a:avLst/>
                <a:gdLst>
                  <a:gd name="T0" fmla="*/ 896 w 1696"/>
                  <a:gd name="T1" fmla="*/ 27 h 1481"/>
                  <a:gd name="T2" fmla="*/ 849 w 1696"/>
                  <a:gd name="T3" fmla="*/ 0 h 1481"/>
                  <a:gd name="T4" fmla="*/ 802 w 1696"/>
                  <a:gd name="T5" fmla="*/ 27 h 1481"/>
                  <a:gd name="T6" fmla="*/ 9 w 1696"/>
                  <a:gd name="T7" fmla="*/ 1399 h 1481"/>
                  <a:gd name="T8" fmla="*/ 9 w 1696"/>
                  <a:gd name="T9" fmla="*/ 1453 h 1481"/>
                  <a:gd name="T10" fmla="*/ 57 w 1696"/>
                  <a:gd name="T11" fmla="*/ 1481 h 1481"/>
                  <a:gd name="T12" fmla="*/ 1641 w 1696"/>
                  <a:gd name="T13" fmla="*/ 1481 h 1481"/>
                  <a:gd name="T14" fmla="*/ 1696 w 1696"/>
                  <a:gd name="T15" fmla="*/ 1426 h 1481"/>
                  <a:gd name="T16" fmla="*/ 1687 w 1696"/>
                  <a:gd name="T17" fmla="*/ 1395 h 1481"/>
                  <a:gd name="T18" fmla="*/ 896 w 1696"/>
                  <a:gd name="T19" fmla="*/ 27 h 1481"/>
                  <a:gd name="T20" fmla="*/ 151 w 1696"/>
                  <a:gd name="T21" fmla="*/ 1372 h 1481"/>
                  <a:gd name="T22" fmla="*/ 849 w 1696"/>
                  <a:gd name="T23" fmla="*/ 163 h 1481"/>
                  <a:gd name="T24" fmla="*/ 1547 w 1696"/>
                  <a:gd name="T25" fmla="*/ 1372 h 1481"/>
                  <a:gd name="T26" fmla="*/ 151 w 1696"/>
                  <a:gd name="T27" fmla="*/ 1372 h 1481"/>
                  <a:gd name="T28" fmla="*/ 151 w 1696"/>
                  <a:gd name="T29" fmla="*/ 1372 h 1481"/>
                  <a:gd name="T30" fmla="*/ 151 w 1696"/>
                  <a:gd name="T31" fmla="*/ 1372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96" h="1481">
                    <a:moveTo>
                      <a:pt x="896" y="27"/>
                    </a:moveTo>
                    <a:cubicBezTo>
                      <a:pt x="886" y="10"/>
                      <a:pt x="868" y="0"/>
                      <a:pt x="849" y="0"/>
                    </a:cubicBezTo>
                    <a:cubicBezTo>
                      <a:pt x="830" y="0"/>
                      <a:pt x="812" y="10"/>
                      <a:pt x="802" y="27"/>
                    </a:cubicBezTo>
                    <a:cubicBezTo>
                      <a:pt x="9" y="1399"/>
                      <a:pt x="9" y="1399"/>
                      <a:pt x="9" y="1399"/>
                    </a:cubicBezTo>
                    <a:cubicBezTo>
                      <a:pt x="0" y="1416"/>
                      <a:pt x="0" y="1436"/>
                      <a:pt x="9" y="1453"/>
                    </a:cubicBezTo>
                    <a:cubicBezTo>
                      <a:pt x="19" y="1471"/>
                      <a:pt x="38" y="1481"/>
                      <a:pt x="57" y="1481"/>
                    </a:cubicBezTo>
                    <a:cubicBezTo>
                      <a:pt x="1641" y="1481"/>
                      <a:pt x="1641" y="1481"/>
                      <a:pt x="1641" y="1481"/>
                    </a:cubicBezTo>
                    <a:cubicBezTo>
                      <a:pt x="1671" y="1481"/>
                      <a:pt x="1696" y="1456"/>
                      <a:pt x="1696" y="1426"/>
                    </a:cubicBezTo>
                    <a:cubicBezTo>
                      <a:pt x="1696" y="1414"/>
                      <a:pt x="1692" y="1404"/>
                      <a:pt x="1687" y="1395"/>
                    </a:cubicBezTo>
                    <a:lnTo>
                      <a:pt x="896" y="27"/>
                    </a:lnTo>
                    <a:close/>
                    <a:moveTo>
                      <a:pt x="151" y="1372"/>
                    </a:moveTo>
                    <a:cubicBezTo>
                      <a:pt x="849" y="163"/>
                      <a:pt x="849" y="163"/>
                      <a:pt x="849" y="163"/>
                    </a:cubicBezTo>
                    <a:cubicBezTo>
                      <a:pt x="1547" y="1372"/>
                      <a:pt x="1547" y="1372"/>
                      <a:pt x="1547" y="1372"/>
                    </a:cubicBezTo>
                    <a:lnTo>
                      <a:pt x="151" y="1372"/>
                    </a:lnTo>
                    <a:close/>
                    <a:moveTo>
                      <a:pt x="151" y="1372"/>
                    </a:moveTo>
                    <a:cubicBezTo>
                      <a:pt x="151" y="1372"/>
                      <a:pt x="151" y="1372"/>
                      <a:pt x="151" y="13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394" name="Freeform 6">
                <a:extLst>
                  <a:ext uri="{FF2B5EF4-FFF2-40B4-BE49-F238E27FC236}">
                    <a16:creationId xmlns="" xmlns:a16="http://schemas.microsoft.com/office/drawing/2014/main" id="{4F75FC0F-8B87-4245-934B-F8E990DE51FA}"/>
                  </a:ext>
                </a:extLst>
              </p:cNvPr>
              <p:cNvSpPr>
                <a:spLocks noEditPoints="1"/>
              </p:cNvSpPr>
              <p:nvPr/>
            </p:nvSpPr>
            <p:spPr bwMode="auto">
              <a:xfrm>
                <a:off x="2119" y="1293"/>
                <a:ext cx="291" cy="1406"/>
              </a:xfrm>
              <a:custGeom>
                <a:avLst/>
                <a:gdLst>
                  <a:gd name="T0" fmla="*/ 0 w 109"/>
                  <a:gd name="T1" fmla="*/ 55 h 526"/>
                  <a:gd name="T2" fmla="*/ 0 w 109"/>
                  <a:gd name="T3" fmla="*/ 472 h 526"/>
                  <a:gd name="T4" fmla="*/ 54 w 109"/>
                  <a:gd name="T5" fmla="*/ 526 h 526"/>
                  <a:gd name="T6" fmla="*/ 109 w 109"/>
                  <a:gd name="T7" fmla="*/ 472 h 526"/>
                  <a:gd name="T8" fmla="*/ 109 w 109"/>
                  <a:gd name="T9" fmla="*/ 55 h 526"/>
                  <a:gd name="T10" fmla="*/ 54 w 109"/>
                  <a:gd name="T11" fmla="*/ 0 h 526"/>
                  <a:gd name="T12" fmla="*/ 0 w 109"/>
                  <a:gd name="T13" fmla="*/ 55 h 526"/>
                  <a:gd name="T14" fmla="*/ 0 w 109"/>
                  <a:gd name="T15" fmla="*/ 55 h 526"/>
                  <a:gd name="T16" fmla="*/ 0 w 109"/>
                  <a:gd name="T17" fmla="*/ 5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526">
                    <a:moveTo>
                      <a:pt x="0" y="55"/>
                    </a:moveTo>
                    <a:cubicBezTo>
                      <a:pt x="0" y="472"/>
                      <a:pt x="0" y="472"/>
                      <a:pt x="0" y="472"/>
                    </a:cubicBezTo>
                    <a:cubicBezTo>
                      <a:pt x="0" y="502"/>
                      <a:pt x="24" y="526"/>
                      <a:pt x="54" y="526"/>
                    </a:cubicBezTo>
                    <a:cubicBezTo>
                      <a:pt x="84" y="526"/>
                      <a:pt x="109" y="502"/>
                      <a:pt x="109" y="472"/>
                    </a:cubicBezTo>
                    <a:cubicBezTo>
                      <a:pt x="109" y="55"/>
                      <a:pt x="109" y="55"/>
                      <a:pt x="109" y="55"/>
                    </a:cubicBezTo>
                    <a:cubicBezTo>
                      <a:pt x="109" y="25"/>
                      <a:pt x="84" y="0"/>
                      <a:pt x="54" y="0"/>
                    </a:cubicBezTo>
                    <a:cubicBezTo>
                      <a:pt x="24" y="0"/>
                      <a:pt x="0" y="25"/>
                      <a:pt x="0" y="55"/>
                    </a:cubicBezTo>
                    <a:close/>
                    <a:moveTo>
                      <a:pt x="0" y="55"/>
                    </a:moveTo>
                    <a:cubicBezTo>
                      <a:pt x="0" y="55"/>
                      <a:pt x="0" y="55"/>
                      <a:pt x="0"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395" name="Freeform 7">
                <a:extLst>
                  <a:ext uri="{FF2B5EF4-FFF2-40B4-BE49-F238E27FC236}">
                    <a16:creationId xmlns="" xmlns:a16="http://schemas.microsoft.com/office/drawing/2014/main" id="{91FBD5AF-D71F-44E4-8EFD-97510B872537}"/>
                  </a:ext>
                </a:extLst>
              </p:cNvPr>
              <p:cNvSpPr>
                <a:spLocks noEditPoints="1"/>
              </p:cNvSpPr>
              <p:nvPr/>
            </p:nvSpPr>
            <p:spPr bwMode="auto">
              <a:xfrm>
                <a:off x="2119" y="2894"/>
                <a:ext cx="291" cy="387"/>
              </a:xfrm>
              <a:custGeom>
                <a:avLst/>
                <a:gdLst>
                  <a:gd name="T0" fmla="*/ 54 w 109"/>
                  <a:gd name="T1" fmla="*/ 0 h 145"/>
                  <a:gd name="T2" fmla="*/ 0 w 109"/>
                  <a:gd name="T3" fmla="*/ 54 h 145"/>
                  <a:gd name="T4" fmla="*/ 0 w 109"/>
                  <a:gd name="T5" fmla="*/ 90 h 145"/>
                  <a:gd name="T6" fmla="*/ 54 w 109"/>
                  <a:gd name="T7" fmla="*/ 145 h 145"/>
                  <a:gd name="T8" fmla="*/ 109 w 109"/>
                  <a:gd name="T9" fmla="*/ 90 h 145"/>
                  <a:gd name="T10" fmla="*/ 109 w 109"/>
                  <a:gd name="T11" fmla="*/ 54 h 145"/>
                  <a:gd name="T12" fmla="*/ 54 w 109"/>
                  <a:gd name="T13" fmla="*/ 0 h 145"/>
                  <a:gd name="T14" fmla="*/ 54 w 109"/>
                  <a:gd name="T15" fmla="*/ 0 h 145"/>
                  <a:gd name="T16" fmla="*/ 54 w 109"/>
                  <a:gd name="T17"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145">
                    <a:moveTo>
                      <a:pt x="54" y="0"/>
                    </a:moveTo>
                    <a:cubicBezTo>
                      <a:pt x="24" y="0"/>
                      <a:pt x="0" y="24"/>
                      <a:pt x="0" y="54"/>
                    </a:cubicBezTo>
                    <a:cubicBezTo>
                      <a:pt x="0" y="90"/>
                      <a:pt x="0" y="90"/>
                      <a:pt x="0" y="90"/>
                    </a:cubicBezTo>
                    <a:cubicBezTo>
                      <a:pt x="0" y="120"/>
                      <a:pt x="24" y="145"/>
                      <a:pt x="54" y="145"/>
                    </a:cubicBezTo>
                    <a:cubicBezTo>
                      <a:pt x="84" y="145"/>
                      <a:pt x="109" y="120"/>
                      <a:pt x="109" y="90"/>
                    </a:cubicBezTo>
                    <a:cubicBezTo>
                      <a:pt x="109" y="54"/>
                      <a:pt x="109" y="54"/>
                      <a:pt x="109" y="54"/>
                    </a:cubicBezTo>
                    <a:cubicBezTo>
                      <a:pt x="109" y="24"/>
                      <a:pt x="84" y="0"/>
                      <a:pt x="54" y="0"/>
                    </a:cubicBezTo>
                    <a:close/>
                    <a:moveTo>
                      <a:pt x="54" y="0"/>
                    </a:moveTo>
                    <a:cubicBezTo>
                      <a:pt x="54" y="0"/>
                      <a:pt x="54" y="0"/>
                      <a:pt x="5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sp>
        <p:nvSpPr>
          <p:cNvPr id="397" name="Isosceles Triangle 396">
            <a:extLst>
              <a:ext uri="{FF2B5EF4-FFF2-40B4-BE49-F238E27FC236}">
                <a16:creationId xmlns="" xmlns:a16="http://schemas.microsoft.com/office/drawing/2014/main" id="{FEFFA6B8-4C37-46A8-A56D-85B05A1375ED}"/>
              </a:ext>
            </a:extLst>
          </p:cNvPr>
          <p:cNvSpPr/>
          <p:nvPr/>
        </p:nvSpPr>
        <p:spPr>
          <a:xfrm>
            <a:off x="1905000" y="1238250"/>
            <a:ext cx="8077200" cy="5010150"/>
          </a:xfrm>
          <a:prstGeom prst="triangle">
            <a:avLst/>
          </a:prstGeom>
          <a:solidFill>
            <a:srgbClr val="404041">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2" name="Group 121">
            <a:extLst>
              <a:ext uri="{FF2B5EF4-FFF2-40B4-BE49-F238E27FC236}">
                <a16:creationId xmlns="" xmlns:a16="http://schemas.microsoft.com/office/drawing/2014/main" id="{D08A08A6-89F7-4F51-801F-12E9661A167B}"/>
              </a:ext>
            </a:extLst>
          </p:cNvPr>
          <p:cNvGrpSpPr/>
          <p:nvPr/>
        </p:nvGrpSpPr>
        <p:grpSpPr>
          <a:xfrm>
            <a:off x="4594328" y="2801141"/>
            <a:ext cx="563264" cy="563264"/>
            <a:chOff x="4672421" y="2820218"/>
            <a:chExt cx="563264" cy="563264"/>
          </a:xfrm>
        </p:grpSpPr>
        <p:sp>
          <p:nvSpPr>
            <p:cNvPr id="116" name="Oval 115">
              <a:extLst>
                <a:ext uri="{FF2B5EF4-FFF2-40B4-BE49-F238E27FC236}">
                  <a16:creationId xmlns="" xmlns:a16="http://schemas.microsoft.com/office/drawing/2014/main" id="{C66ABFBC-7399-483F-8B33-9B917E06B2C4}"/>
                </a:ext>
              </a:extLst>
            </p:cNvPr>
            <p:cNvSpPr/>
            <p:nvPr/>
          </p:nvSpPr>
          <p:spPr>
            <a:xfrm>
              <a:off x="4672421" y="282021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21" name="Graphic 120">
              <a:extLst>
                <a:ext uri="{FF2B5EF4-FFF2-40B4-BE49-F238E27FC236}">
                  <a16:creationId xmlns="" xmlns:a16="http://schemas.microsoft.com/office/drawing/2014/main" id="{47674219-9F49-49D7-96C9-B2CC7177D99F}"/>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4734342" y="3008567"/>
              <a:ext cx="439015" cy="168650"/>
            </a:xfrm>
            <a:prstGeom prst="rect">
              <a:avLst/>
            </a:prstGeom>
          </p:spPr>
        </p:pic>
      </p:grpSp>
      <p:grpSp>
        <p:nvGrpSpPr>
          <p:cNvPr id="169" name="Group 168">
            <a:extLst>
              <a:ext uri="{FF2B5EF4-FFF2-40B4-BE49-F238E27FC236}">
                <a16:creationId xmlns="" xmlns:a16="http://schemas.microsoft.com/office/drawing/2014/main" id="{BA58562D-C667-41B3-9500-41D0E0F40C6F}"/>
              </a:ext>
            </a:extLst>
          </p:cNvPr>
          <p:cNvGrpSpPr/>
          <p:nvPr/>
        </p:nvGrpSpPr>
        <p:grpSpPr>
          <a:xfrm>
            <a:off x="3846013" y="3742036"/>
            <a:ext cx="563264" cy="563264"/>
            <a:chOff x="4672421" y="2820218"/>
            <a:chExt cx="563264" cy="563264"/>
          </a:xfrm>
        </p:grpSpPr>
        <p:sp>
          <p:nvSpPr>
            <p:cNvPr id="170" name="Oval 169">
              <a:extLst>
                <a:ext uri="{FF2B5EF4-FFF2-40B4-BE49-F238E27FC236}">
                  <a16:creationId xmlns="" xmlns:a16="http://schemas.microsoft.com/office/drawing/2014/main" id="{9309071B-236B-478C-9394-97970F23C7A9}"/>
                </a:ext>
              </a:extLst>
            </p:cNvPr>
            <p:cNvSpPr/>
            <p:nvPr/>
          </p:nvSpPr>
          <p:spPr>
            <a:xfrm>
              <a:off x="4672421" y="282021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1" name="Graphic 170">
              <a:extLst>
                <a:ext uri="{FF2B5EF4-FFF2-40B4-BE49-F238E27FC236}">
                  <a16:creationId xmlns="" xmlns:a16="http://schemas.microsoft.com/office/drawing/2014/main" id="{4781A904-1BA6-4E8E-BB82-E1BA8A83D6AF}"/>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4734342" y="3008567"/>
              <a:ext cx="439015" cy="168650"/>
            </a:xfrm>
            <a:prstGeom prst="rect">
              <a:avLst/>
            </a:prstGeom>
          </p:spPr>
        </p:pic>
      </p:grpSp>
      <p:grpSp>
        <p:nvGrpSpPr>
          <p:cNvPr id="228" name="Group 227">
            <a:extLst>
              <a:ext uri="{FF2B5EF4-FFF2-40B4-BE49-F238E27FC236}">
                <a16:creationId xmlns="" xmlns:a16="http://schemas.microsoft.com/office/drawing/2014/main" id="{E762AD7F-0478-4C03-9B28-BA1708863524}"/>
              </a:ext>
            </a:extLst>
          </p:cNvPr>
          <p:cNvGrpSpPr/>
          <p:nvPr/>
        </p:nvGrpSpPr>
        <p:grpSpPr>
          <a:xfrm>
            <a:off x="3134421" y="4656998"/>
            <a:ext cx="563264" cy="563264"/>
            <a:chOff x="4672421" y="2820218"/>
            <a:chExt cx="563264" cy="563264"/>
          </a:xfrm>
        </p:grpSpPr>
        <p:sp>
          <p:nvSpPr>
            <p:cNvPr id="229" name="Oval 228">
              <a:extLst>
                <a:ext uri="{FF2B5EF4-FFF2-40B4-BE49-F238E27FC236}">
                  <a16:creationId xmlns="" xmlns:a16="http://schemas.microsoft.com/office/drawing/2014/main" id="{C8B52A11-2DE0-4406-A5CB-7888FFB2A8B3}"/>
                </a:ext>
              </a:extLst>
            </p:cNvPr>
            <p:cNvSpPr/>
            <p:nvPr/>
          </p:nvSpPr>
          <p:spPr>
            <a:xfrm>
              <a:off x="4672421" y="282021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30" name="Graphic 229">
              <a:extLst>
                <a:ext uri="{FF2B5EF4-FFF2-40B4-BE49-F238E27FC236}">
                  <a16:creationId xmlns="" xmlns:a16="http://schemas.microsoft.com/office/drawing/2014/main" id="{6DC882E6-9978-4BF3-9DEA-37D3FEDBDB44}"/>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4734342" y="3008567"/>
              <a:ext cx="439015" cy="168650"/>
            </a:xfrm>
            <a:prstGeom prst="rect">
              <a:avLst/>
            </a:prstGeom>
          </p:spPr>
        </p:pic>
      </p:grpSp>
      <p:grpSp>
        <p:nvGrpSpPr>
          <p:cNvPr id="265" name="Group 264">
            <a:extLst>
              <a:ext uri="{FF2B5EF4-FFF2-40B4-BE49-F238E27FC236}">
                <a16:creationId xmlns="" xmlns:a16="http://schemas.microsoft.com/office/drawing/2014/main" id="{3B496A37-2290-405D-95B5-298C412F7513}"/>
              </a:ext>
            </a:extLst>
          </p:cNvPr>
          <p:cNvGrpSpPr/>
          <p:nvPr/>
        </p:nvGrpSpPr>
        <p:grpSpPr>
          <a:xfrm>
            <a:off x="2482534" y="5559012"/>
            <a:ext cx="563264" cy="563264"/>
            <a:chOff x="4672421" y="2820218"/>
            <a:chExt cx="563264" cy="563264"/>
          </a:xfrm>
        </p:grpSpPr>
        <p:sp>
          <p:nvSpPr>
            <p:cNvPr id="266" name="Oval 265">
              <a:extLst>
                <a:ext uri="{FF2B5EF4-FFF2-40B4-BE49-F238E27FC236}">
                  <a16:creationId xmlns="" xmlns:a16="http://schemas.microsoft.com/office/drawing/2014/main" id="{FFBC672E-1BA6-4DFE-8F67-1EB820B95B74}"/>
                </a:ext>
              </a:extLst>
            </p:cNvPr>
            <p:cNvSpPr/>
            <p:nvPr/>
          </p:nvSpPr>
          <p:spPr>
            <a:xfrm>
              <a:off x="4672421" y="282021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67" name="Graphic 266">
              <a:extLst>
                <a:ext uri="{FF2B5EF4-FFF2-40B4-BE49-F238E27FC236}">
                  <a16:creationId xmlns="" xmlns:a16="http://schemas.microsoft.com/office/drawing/2014/main" id="{4E9F04E6-3D4D-4675-84A0-E03AD2171F87}"/>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4734342" y="3008567"/>
              <a:ext cx="439015" cy="168650"/>
            </a:xfrm>
            <a:prstGeom prst="rect">
              <a:avLst/>
            </a:prstGeom>
          </p:spPr>
        </p:pic>
      </p:grpSp>
      <p:pic>
        <p:nvPicPr>
          <p:cNvPr id="234" name="Picture 233"/>
          <p:cNvPicPr>
            <a:picLocks noChangeAspect="1"/>
          </p:cNvPicPr>
          <p:nvPr/>
        </p:nvPicPr>
        <p:blipFill>
          <a:blip r:embed="rId22"/>
          <a:stretch>
            <a:fillRect/>
          </a:stretch>
        </p:blipFill>
        <p:spPr>
          <a:xfrm>
            <a:off x="31626" y="6662484"/>
            <a:ext cx="4619050" cy="195171"/>
          </a:xfrm>
          <a:prstGeom prst="rect">
            <a:avLst/>
          </a:prstGeom>
        </p:spPr>
      </p:pic>
      <p:sp>
        <p:nvSpPr>
          <p:cNvPr id="3" name="TextBox 2"/>
          <p:cNvSpPr txBox="1"/>
          <p:nvPr/>
        </p:nvSpPr>
        <p:spPr>
          <a:xfrm>
            <a:off x="8237759" y="6581918"/>
            <a:ext cx="3049806" cy="246221"/>
          </a:xfrm>
          <a:prstGeom prst="rect">
            <a:avLst/>
          </a:prstGeom>
          <a:noFill/>
        </p:spPr>
        <p:txBody>
          <a:bodyPr wrap="square" rtlCol="0">
            <a:spAutoFit/>
          </a:bodyPr>
          <a:lstStyle/>
          <a:p>
            <a:r>
              <a:rPr lang="en-US" sz="1000" i="1" dirty="0" smtClean="0"/>
              <a:t>*Recalls in reference to quality issues related to solution </a:t>
            </a:r>
            <a:endParaRPr lang="en-US" sz="1000" i="1" dirty="0"/>
          </a:p>
        </p:txBody>
      </p:sp>
    </p:spTree>
    <p:extLst>
      <p:ext uri="{BB962C8B-B14F-4D97-AF65-F5344CB8AC3E}">
        <p14:creationId xmlns:p14="http://schemas.microsoft.com/office/powerpoint/2010/main" val="274341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par>
                                <p:cTn id="8" presetID="16" presetClass="entr" presetSubtype="37"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barn(outVertical)">
                                      <p:cBhvr>
                                        <p:cTn id="10" dur="500"/>
                                        <p:tgtEl>
                                          <p:spTgt spid="9"/>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361"/>
                                        </p:tgtEl>
                                        <p:attrNameLst>
                                          <p:attrName>style.visibility</p:attrName>
                                        </p:attrNameLst>
                                      </p:cBhvr>
                                      <p:to>
                                        <p:strVal val="visible"/>
                                      </p:to>
                                    </p:set>
                                    <p:animEffect transition="in" filter="wipe(left)">
                                      <p:cBhvr>
                                        <p:cTn id="14" dur="500"/>
                                        <p:tgtEl>
                                          <p:spTgt spid="361"/>
                                        </p:tgtEl>
                                      </p:cBhvr>
                                    </p:animEffect>
                                  </p:childTnLst>
                                </p:cTn>
                              </p:par>
                              <p:par>
                                <p:cTn id="15" presetID="22" presetClass="entr" presetSubtype="4" fill="hold" nodeType="withEffect">
                                  <p:stCondLst>
                                    <p:cond delay="0"/>
                                  </p:stCondLst>
                                  <p:childTnLst>
                                    <p:set>
                                      <p:cBhvr>
                                        <p:cTn id="16" dur="1" fill="hold">
                                          <p:stCondLst>
                                            <p:cond delay="0"/>
                                          </p:stCondLst>
                                        </p:cTn>
                                        <p:tgtEl>
                                          <p:spTgt spid="60"/>
                                        </p:tgtEl>
                                        <p:attrNameLst>
                                          <p:attrName>style.visibility</p:attrName>
                                        </p:attrNameLst>
                                      </p:cBhvr>
                                      <p:to>
                                        <p:strVal val="visible"/>
                                      </p:to>
                                    </p:set>
                                    <p:animEffect transition="in" filter="wipe(down)">
                                      <p:cBhvr>
                                        <p:cTn id="17" dur="500"/>
                                        <p:tgtEl>
                                          <p:spTgt spid="60"/>
                                        </p:tgtEl>
                                      </p:cBhvr>
                                    </p:animEffect>
                                  </p:childTnLst>
                                </p:cTn>
                              </p:par>
                              <p:par>
                                <p:cTn id="18" presetID="22" presetClass="entr" presetSubtype="4" fill="hold" nodeType="withEffect">
                                  <p:stCondLst>
                                    <p:cond delay="0"/>
                                  </p:stCondLst>
                                  <p:childTnLst>
                                    <p:set>
                                      <p:cBhvr>
                                        <p:cTn id="19" dur="1" fill="hold">
                                          <p:stCondLst>
                                            <p:cond delay="0"/>
                                          </p:stCondLst>
                                        </p:cTn>
                                        <p:tgtEl>
                                          <p:spTgt spid="59"/>
                                        </p:tgtEl>
                                        <p:attrNameLst>
                                          <p:attrName>style.visibility</p:attrName>
                                        </p:attrNameLst>
                                      </p:cBhvr>
                                      <p:to>
                                        <p:strVal val="visible"/>
                                      </p:to>
                                    </p:set>
                                    <p:animEffect transition="in" filter="wipe(down)">
                                      <p:cBhvr>
                                        <p:cTn id="20" dur="500"/>
                                        <p:tgtEl>
                                          <p:spTgt spid="59"/>
                                        </p:tgtEl>
                                      </p:cBhvr>
                                    </p:animEffect>
                                  </p:childTnLst>
                                </p:cTn>
                              </p:par>
                              <p:par>
                                <p:cTn id="21" presetID="2" presetClass="entr" presetSubtype="2" decel="100000" fill="hold" nodeType="withEffect">
                                  <p:stCondLst>
                                    <p:cond delay="0"/>
                                  </p:stCondLst>
                                  <p:childTnLst>
                                    <p:set>
                                      <p:cBhvr>
                                        <p:cTn id="22" dur="1" fill="hold">
                                          <p:stCondLst>
                                            <p:cond delay="0"/>
                                          </p:stCondLst>
                                        </p:cTn>
                                        <p:tgtEl>
                                          <p:spTgt spid="363"/>
                                        </p:tgtEl>
                                        <p:attrNameLst>
                                          <p:attrName>style.visibility</p:attrName>
                                        </p:attrNameLst>
                                      </p:cBhvr>
                                      <p:to>
                                        <p:strVal val="visible"/>
                                      </p:to>
                                    </p:set>
                                    <p:anim calcmode="lin" valueType="num">
                                      <p:cBhvr additive="base">
                                        <p:cTn id="23" dur="500" fill="hold"/>
                                        <p:tgtEl>
                                          <p:spTgt spid="363"/>
                                        </p:tgtEl>
                                        <p:attrNameLst>
                                          <p:attrName>ppt_x</p:attrName>
                                        </p:attrNameLst>
                                      </p:cBhvr>
                                      <p:tavLst>
                                        <p:tav tm="0">
                                          <p:val>
                                            <p:strVal val="1+#ppt_w/2"/>
                                          </p:val>
                                        </p:tav>
                                        <p:tav tm="100000">
                                          <p:val>
                                            <p:strVal val="#ppt_x"/>
                                          </p:val>
                                        </p:tav>
                                      </p:tavLst>
                                    </p:anim>
                                    <p:anim calcmode="lin" valueType="num">
                                      <p:cBhvr additive="base">
                                        <p:cTn id="24" dur="500" fill="hold"/>
                                        <p:tgtEl>
                                          <p:spTgt spid="363"/>
                                        </p:tgtEl>
                                        <p:attrNameLst>
                                          <p:attrName>ppt_y</p:attrName>
                                        </p:attrNameLst>
                                      </p:cBhvr>
                                      <p:tavLst>
                                        <p:tav tm="0">
                                          <p:val>
                                            <p:strVal val="#ppt_y"/>
                                          </p:val>
                                        </p:tav>
                                        <p:tav tm="100000">
                                          <p:val>
                                            <p:strVal val="#ppt_y"/>
                                          </p:val>
                                        </p:tav>
                                      </p:tavLst>
                                    </p:anim>
                                  </p:childTnLst>
                                </p:cTn>
                              </p:par>
                              <p:par>
                                <p:cTn id="25" presetID="2" presetClass="entr" presetSubtype="8" decel="100000" fill="hold" nodeType="withEffect">
                                  <p:stCondLst>
                                    <p:cond delay="0"/>
                                  </p:stCondLst>
                                  <p:childTnLst>
                                    <p:set>
                                      <p:cBhvr>
                                        <p:cTn id="26" dur="1" fill="hold">
                                          <p:stCondLst>
                                            <p:cond delay="0"/>
                                          </p:stCondLst>
                                        </p:cTn>
                                        <p:tgtEl>
                                          <p:spTgt spid="362"/>
                                        </p:tgtEl>
                                        <p:attrNameLst>
                                          <p:attrName>style.visibility</p:attrName>
                                        </p:attrNameLst>
                                      </p:cBhvr>
                                      <p:to>
                                        <p:strVal val="visible"/>
                                      </p:to>
                                    </p:set>
                                    <p:anim calcmode="lin" valueType="num">
                                      <p:cBhvr additive="base">
                                        <p:cTn id="27" dur="500" fill="hold"/>
                                        <p:tgtEl>
                                          <p:spTgt spid="362"/>
                                        </p:tgtEl>
                                        <p:attrNameLst>
                                          <p:attrName>ppt_x</p:attrName>
                                        </p:attrNameLst>
                                      </p:cBhvr>
                                      <p:tavLst>
                                        <p:tav tm="0">
                                          <p:val>
                                            <p:strVal val="0-#ppt_w/2"/>
                                          </p:val>
                                        </p:tav>
                                        <p:tav tm="100000">
                                          <p:val>
                                            <p:strVal val="#ppt_x"/>
                                          </p:val>
                                        </p:tav>
                                      </p:tavLst>
                                    </p:anim>
                                    <p:anim calcmode="lin" valueType="num">
                                      <p:cBhvr additive="base">
                                        <p:cTn id="28" dur="500" fill="hold"/>
                                        <p:tgtEl>
                                          <p:spTgt spid="362"/>
                                        </p:tgtEl>
                                        <p:attrNameLst>
                                          <p:attrName>ppt_y</p:attrName>
                                        </p:attrNameLst>
                                      </p:cBhvr>
                                      <p:tavLst>
                                        <p:tav tm="0">
                                          <p:val>
                                            <p:strVal val="#ppt_y"/>
                                          </p:val>
                                        </p:tav>
                                        <p:tav tm="100000">
                                          <p:val>
                                            <p:strVal val="#ppt_y"/>
                                          </p:val>
                                        </p:tav>
                                      </p:tavLst>
                                    </p:anim>
                                  </p:childTnLst>
                                </p:cTn>
                              </p:par>
                              <p:par>
                                <p:cTn id="29" presetID="10" presetClass="entr" presetSubtype="0" fill="hold" grpId="0" nodeType="withEffect">
                                  <p:stCondLst>
                                    <p:cond delay="25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childTnLst>
                          </p:cTn>
                        </p:par>
                        <p:par>
                          <p:cTn id="32" fill="hold">
                            <p:stCondLst>
                              <p:cond delay="1250"/>
                            </p:stCondLst>
                            <p:childTnLst>
                              <p:par>
                                <p:cTn id="33" presetID="53" presetClass="entr" presetSubtype="16" fill="hold" nodeType="afterEffect">
                                  <p:stCondLst>
                                    <p:cond delay="0"/>
                                  </p:stCondLst>
                                  <p:childTnLst>
                                    <p:set>
                                      <p:cBhvr>
                                        <p:cTn id="34" dur="1" fill="hold">
                                          <p:stCondLst>
                                            <p:cond delay="0"/>
                                          </p:stCondLst>
                                        </p:cTn>
                                        <p:tgtEl>
                                          <p:spTgt spid="97"/>
                                        </p:tgtEl>
                                        <p:attrNameLst>
                                          <p:attrName>style.visibility</p:attrName>
                                        </p:attrNameLst>
                                      </p:cBhvr>
                                      <p:to>
                                        <p:strVal val="visible"/>
                                      </p:to>
                                    </p:set>
                                    <p:anim calcmode="lin" valueType="num">
                                      <p:cBhvr>
                                        <p:cTn id="35" dur="500" fill="hold"/>
                                        <p:tgtEl>
                                          <p:spTgt spid="97"/>
                                        </p:tgtEl>
                                        <p:attrNameLst>
                                          <p:attrName>ppt_w</p:attrName>
                                        </p:attrNameLst>
                                      </p:cBhvr>
                                      <p:tavLst>
                                        <p:tav tm="0">
                                          <p:val>
                                            <p:fltVal val="0"/>
                                          </p:val>
                                        </p:tav>
                                        <p:tav tm="100000">
                                          <p:val>
                                            <p:strVal val="#ppt_w"/>
                                          </p:val>
                                        </p:tav>
                                      </p:tavLst>
                                    </p:anim>
                                    <p:anim calcmode="lin" valueType="num">
                                      <p:cBhvr>
                                        <p:cTn id="36" dur="500" fill="hold"/>
                                        <p:tgtEl>
                                          <p:spTgt spid="97"/>
                                        </p:tgtEl>
                                        <p:attrNameLst>
                                          <p:attrName>ppt_h</p:attrName>
                                        </p:attrNameLst>
                                      </p:cBhvr>
                                      <p:tavLst>
                                        <p:tav tm="0">
                                          <p:val>
                                            <p:fltVal val="0"/>
                                          </p:val>
                                        </p:tav>
                                        <p:tav tm="100000">
                                          <p:val>
                                            <p:strVal val="#ppt_h"/>
                                          </p:val>
                                        </p:tav>
                                      </p:tavLst>
                                    </p:anim>
                                    <p:animEffect transition="in" filter="fade">
                                      <p:cBhvr>
                                        <p:cTn id="37" dur="500"/>
                                        <p:tgtEl>
                                          <p:spTgt spid="97"/>
                                        </p:tgtEl>
                                      </p:cBhvr>
                                    </p:animEffect>
                                  </p:childTnLst>
                                </p:cTn>
                              </p:par>
                              <p:par>
                                <p:cTn id="38" presetID="53" presetClass="entr" presetSubtype="16" fill="hold" nodeType="withEffect">
                                  <p:stCondLst>
                                    <p:cond delay="0"/>
                                  </p:stCondLst>
                                  <p:childTnLst>
                                    <p:set>
                                      <p:cBhvr>
                                        <p:cTn id="39" dur="1" fill="hold">
                                          <p:stCondLst>
                                            <p:cond delay="0"/>
                                          </p:stCondLst>
                                        </p:cTn>
                                        <p:tgtEl>
                                          <p:spTgt spid="107"/>
                                        </p:tgtEl>
                                        <p:attrNameLst>
                                          <p:attrName>style.visibility</p:attrName>
                                        </p:attrNameLst>
                                      </p:cBhvr>
                                      <p:to>
                                        <p:strVal val="visible"/>
                                      </p:to>
                                    </p:set>
                                    <p:anim calcmode="lin" valueType="num">
                                      <p:cBhvr>
                                        <p:cTn id="40" dur="500" fill="hold"/>
                                        <p:tgtEl>
                                          <p:spTgt spid="107"/>
                                        </p:tgtEl>
                                        <p:attrNameLst>
                                          <p:attrName>ppt_w</p:attrName>
                                        </p:attrNameLst>
                                      </p:cBhvr>
                                      <p:tavLst>
                                        <p:tav tm="0">
                                          <p:val>
                                            <p:fltVal val="0"/>
                                          </p:val>
                                        </p:tav>
                                        <p:tav tm="100000">
                                          <p:val>
                                            <p:strVal val="#ppt_w"/>
                                          </p:val>
                                        </p:tav>
                                      </p:tavLst>
                                    </p:anim>
                                    <p:anim calcmode="lin" valueType="num">
                                      <p:cBhvr>
                                        <p:cTn id="41" dur="500" fill="hold"/>
                                        <p:tgtEl>
                                          <p:spTgt spid="107"/>
                                        </p:tgtEl>
                                        <p:attrNameLst>
                                          <p:attrName>ppt_h</p:attrName>
                                        </p:attrNameLst>
                                      </p:cBhvr>
                                      <p:tavLst>
                                        <p:tav tm="0">
                                          <p:val>
                                            <p:fltVal val="0"/>
                                          </p:val>
                                        </p:tav>
                                        <p:tav tm="100000">
                                          <p:val>
                                            <p:strVal val="#ppt_h"/>
                                          </p:val>
                                        </p:tav>
                                      </p:tavLst>
                                    </p:anim>
                                    <p:animEffect transition="in" filter="fade">
                                      <p:cBhvr>
                                        <p:cTn id="42" dur="500"/>
                                        <p:tgtEl>
                                          <p:spTgt spid="107"/>
                                        </p:tgtEl>
                                      </p:cBhvr>
                                    </p:animEffect>
                                  </p:childTnLst>
                                </p:cTn>
                              </p:par>
                              <p:par>
                                <p:cTn id="43" presetID="53" presetClass="entr" presetSubtype="16" fill="hold" nodeType="withEffect">
                                  <p:stCondLst>
                                    <p:cond delay="0"/>
                                  </p:stCondLst>
                                  <p:childTnLst>
                                    <p:set>
                                      <p:cBhvr>
                                        <p:cTn id="44" dur="1" fill="hold">
                                          <p:stCondLst>
                                            <p:cond delay="0"/>
                                          </p:stCondLst>
                                        </p:cTn>
                                        <p:tgtEl>
                                          <p:spTgt spid="106"/>
                                        </p:tgtEl>
                                        <p:attrNameLst>
                                          <p:attrName>style.visibility</p:attrName>
                                        </p:attrNameLst>
                                      </p:cBhvr>
                                      <p:to>
                                        <p:strVal val="visible"/>
                                      </p:to>
                                    </p:set>
                                    <p:anim calcmode="lin" valueType="num">
                                      <p:cBhvr>
                                        <p:cTn id="45" dur="500" fill="hold"/>
                                        <p:tgtEl>
                                          <p:spTgt spid="106"/>
                                        </p:tgtEl>
                                        <p:attrNameLst>
                                          <p:attrName>ppt_w</p:attrName>
                                        </p:attrNameLst>
                                      </p:cBhvr>
                                      <p:tavLst>
                                        <p:tav tm="0">
                                          <p:val>
                                            <p:fltVal val="0"/>
                                          </p:val>
                                        </p:tav>
                                        <p:tav tm="100000">
                                          <p:val>
                                            <p:strVal val="#ppt_w"/>
                                          </p:val>
                                        </p:tav>
                                      </p:tavLst>
                                    </p:anim>
                                    <p:anim calcmode="lin" valueType="num">
                                      <p:cBhvr>
                                        <p:cTn id="46" dur="500" fill="hold"/>
                                        <p:tgtEl>
                                          <p:spTgt spid="106"/>
                                        </p:tgtEl>
                                        <p:attrNameLst>
                                          <p:attrName>ppt_h</p:attrName>
                                        </p:attrNameLst>
                                      </p:cBhvr>
                                      <p:tavLst>
                                        <p:tav tm="0">
                                          <p:val>
                                            <p:fltVal val="0"/>
                                          </p:val>
                                        </p:tav>
                                        <p:tav tm="100000">
                                          <p:val>
                                            <p:strVal val="#ppt_h"/>
                                          </p:val>
                                        </p:tav>
                                      </p:tavLst>
                                    </p:anim>
                                    <p:animEffect transition="in" filter="fade">
                                      <p:cBhvr>
                                        <p:cTn id="47" dur="500"/>
                                        <p:tgtEl>
                                          <p:spTgt spid="106"/>
                                        </p:tgtEl>
                                      </p:cBhvr>
                                    </p:animEffect>
                                  </p:childTnLst>
                                </p:cTn>
                              </p:par>
                              <p:par>
                                <p:cTn id="48" presetID="53" presetClass="entr" presetSubtype="16" fill="hold" nodeType="withEffect">
                                  <p:stCondLst>
                                    <p:cond delay="0"/>
                                  </p:stCondLst>
                                  <p:childTnLst>
                                    <p:set>
                                      <p:cBhvr>
                                        <p:cTn id="49" dur="1" fill="hold">
                                          <p:stCondLst>
                                            <p:cond delay="0"/>
                                          </p:stCondLst>
                                        </p:cTn>
                                        <p:tgtEl>
                                          <p:spTgt spid="133"/>
                                        </p:tgtEl>
                                        <p:attrNameLst>
                                          <p:attrName>style.visibility</p:attrName>
                                        </p:attrNameLst>
                                      </p:cBhvr>
                                      <p:to>
                                        <p:strVal val="visible"/>
                                      </p:to>
                                    </p:set>
                                    <p:anim calcmode="lin" valueType="num">
                                      <p:cBhvr>
                                        <p:cTn id="50" dur="500" fill="hold"/>
                                        <p:tgtEl>
                                          <p:spTgt spid="133"/>
                                        </p:tgtEl>
                                        <p:attrNameLst>
                                          <p:attrName>ppt_w</p:attrName>
                                        </p:attrNameLst>
                                      </p:cBhvr>
                                      <p:tavLst>
                                        <p:tav tm="0">
                                          <p:val>
                                            <p:fltVal val="0"/>
                                          </p:val>
                                        </p:tav>
                                        <p:tav tm="100000">
                                          <p:val>
                                            <p:strVal val="#ppt_w"/>
                                          </p:val>
                                        </p:tav>
                                      </p:tavLst>
                                    </p:anim>
                                    <p:anim calcmode="lin" valueType="num">
                                      <p:cBhvr>
                                        <p:cTn id="51" dur="500" fill="hold"/>
                                        <p:tgtEl>
                                          <p:spTgt spid="133"/>
                                        </p:tgtEl>
                                        <p:attrNameLst>
                                          <p:attrName>ppt_h</p:attrName>
                                        </p:attrNameLst>
                                      </p:cBhvr>
                                      <p:tavLst>
                                        <p:tav tm="0">
                                          <p:val>
                                            <p:fltVal val="0"/>
                                          </p:val>
                                        </p:tav>
                                        <p:tav tm="100000">
                                          <p:val>
                                            <p:strVal val="#ppt_h"/>
                                          </p:val>
                                        </p:tav>
                                      </p:tavLst>
                                    </p:anim>
                                    <p:animEffect transition="in" filter="fade">
                                      <p:cBhvr>
                                        <p:cTn id="52" dur="500"/>
                                        <p:tgtEl>
                                          <p:spTgt spid="133"/>
                                        </p:tgtEl>
                                      </p:cBhvr>
                                    </p:animEffect>
                                  </p:childTnLst>
                                </p:cTn>
                              </p:par>
                              <p:par>
                                <p:cTn id="53" presetID="53" presetClass="entr" presetSubtype="16" fill="hold" nodeType="withEffect">
                                  <p:stCondLst>
                                    <p:cond delay="0"/>
                                  </p:stCondLst>
                                  <p:childTnLst>
                                    <p:set>
                                      <p:cBhvr>
                                        <p:cTn id="54" dur="1" fill="hold">
                                          <p:stCondLst>
                                            <p:cond delay="0"/>
                                          </p:stCondLst>
                                        </p:cTn>
                                        <p:tgtEl>
                                          <p:spTgt spid="142"/>
                                        </p:tgtEl>
                                        <p:attrNameLst>
                                          <p:attrName>style.visibility</p:attrName>
                                        </p:attrNameLst>
                                      </p:cBhvr>
                                      <p:to>
                                        <p:strVal val="visible"/>
                                      </p:to>
                                    </p:set>
                                    <p:anim calcmode="lin" valueType="num">
                                      <p:cBhvr>
                                        <p:cTn id="55" dur="500" fill="hold"/>
                                        <p:tgtEl>
                                          <p:spTgt spid="142"/>
                                        </p:tgtEl>
                                        <p:attrNameLst>
                                          <p:attrName>ppt_w</p:attrName>
                                        </p:attrNameLst>
                                      </p:cBhvr>
                                      <p:tavLst>
                                        <p:tav tm="0">
                                          <p:val>
                                            <p:fltVal val="0"/>
                                          </p:val>
                                        </p:tav>
                                        <p:tav tm="100000">
                                          <p:val>
                                            <p:strVal val="#ppt_w"/>
                                          </p:val>
                                        </p:tav>
                                      </p:tavLst>
                                    </p:anim>
                                    <p:anim calcmode="lin" valueType="num">
                                      <p:cBhvr>
                                        <p:cTn id="56" dur="500" fill="hold"/>
                                        <p:tgtEl>
                                          <p:spTgt spid="142"/>
                                        </p:tgtEl>
                                        <p:attrNameLst>
                                          <p:attrName>ppt_h</p:attrName>
                                        </p:attrNameLst>
                                      </p:cBhvr>
                                      <p:tavLst>
                                        <p:tav tm="0">
                                          <p:val>
                                            <p:fltVal val="0"/>
                                          </p:val>
                                        </p:tav>
                                        <p:tav tm="100000">
                                          <p:val>
                                            <p:strVal val="#ppt_h"/>
                                          </p:val>
                                        </p:tav>
                                      </p:tavLst>
                                    </p:anim>
                                    <p:animEffect transition="in" filter="fade">
                                      <p:cBhvr>
                                        <p:cTn id="57" dur="500"/>
                                        <p:tgtEl>
                                          <p:spTgt spid="142"/>
                                        </p:tgtEl>
                                      </p:cBhvr>
                                    </p:animEffect>
                                  </p:childTnLst>
                                </p:cTn>
                              </p:par>
                              <p:par>
                                <p:cTn id="58" presetID="53" presetClass="entr" presetSubtype="16" fill="hold" nodeType="withEffect">
                                  <p:stCondLst>
                                    <p:cond delay="0"/>
                                  </p:stCondLst>
                                  <p:childTnLst>
                                    <p:set>
                                      <p:cBhvr>
                                        <p:cTn id="59" dur="1" fill="hold">
                                          <p:stCondLst>
                                            <p:cond delay="0"/>
                                          </p:stCondLst>
                                        </p:cTn>
                                        <p:tgtEl>
                                          <p:spTgt spid="132"/>
                                        </p:tgtEl>
                                        <p:attrNameLst>
                                          <p:attrName>style.visibility</p:attrName>
                                        </p:attrNameLst>
                                      </p:cBhvr>
                                      <p:to>
                                        <p:strVal val="visible"/>
                                      </p:to>
                                    </p:set>
                                    <p:anim calcmode="lin" valueType="num">
                                      <p:cBhvr>
                                        <p:cTn id="60" dur="500" fill="hold"/>
                                        <p:tgtEl>
                                          <p:spTgt spid="132"/>
                                        </p:tgtEl>
                                        <p:attrNameLst>
                                          <p:attrName>ppt_w</p:attrName>
                                        </p:attrNameLst>
                                      </p:cBhvr>
                                      <p:tavLst>
                                        <p:tav tm="0">
                                          <p:val>
                                            <p:fltVal val="0"/>
                                          </p:val>
                                        </p:tav>
                                        <p:tav tm="100000">
                                          <p:val>
                                            <p:strVal val="#ppt_w"/>
                                          </p:val>
                                        </p:tav>
                                      </p:tavLst>
                                    </p:anim>
                                    <p:anim calcmode="lin" valueType="num">
                                      <p:cBhvr>
                                        <p:cTn id="61" dur="500" fill="hold"/>
                                        <p:tgtEl>
                                          <p:spTgt spid="132"/>
                                        </p:tgtEl>
                                        <p:attrNameLst>
                                          <p:attrName>ppt_h</p:attrName>
                                        </p:attrNameLst>
                                      </p:cBhvr>
                                      <p:tavLst>
                                        <p:tav tm="0">
                                          <p:val>
                                            <p:fltVal val="0"/>
                                          </p:val>
                                        </p:tav>
                                        <p:tav tm="100000">
                                          <p:val>
                                            <p:strVal val="#ppt_h"/>
                                          </p:val>
                                        </p:tav>
                                      </p:tavLst>
                                    </p:anim>
                                    <p:animEffect transition="in" filter="fade">
                                      <p:cBhvr>
                                        <p:cTn id="62" dur="500"/>
                                        <p:tgtEl>
                                          <p:spTgt spid="132"/>
                                        </p:tgtEl>
                                      </p:cBhvr>
                                    </p:animEffect>
                                  </p:childTnLst>
                                </p:cTn>
                              </p:par>
                              <p:par>
                                <p:cTn id="63" presetID="53" presetClass="entr" presetSubtype="16" fill="hold" nodeType="withEffect">
                                  <p:stCondLst>
                                    <p:cond delay="0"/>
                                  </p:stCondLst>
                                  <p:childTnLst>
                                    <p:set>
                                      <p:cBhvr>
                                        <p:cTn id="64" dur="1" fill="hold">
                                          <p:stCondLst>
                                            <p:cond delay="0"/>
                                          </p:stCondLst>
                                        </p:cTn>
                                        <p:tgtEl>
                                          <p:spTgt spid="118"/>
                                        </p:tgtEl>
                                        <p:attrNameLst>
                                          <p:attrName>style.visibility</p:attrName>
                                        </p:attrNameLst>
                                      </p:cBhvr>
                                      <p:to>
                                        <p:strVal val="visible"/>
                                      </p:to>
                                    </p:set>
                                    <p:anim calcmode="lin" valueType="num">
                                      <p:cBhvr>
                                        <p:cTn id="65" dur="500" fill="hold"/>
                                        <p:tgtEl>
                                          <p:spTgt spid="118"/>
                                        </p:tgtEl>
                                        <p:attrNameLst>
                                          <p:attrName>ppt_w</p:attrName>
                                        </p:attrNameLst>
                                      </p:cBhvr>
                                      <p:tavLst>
                                        <p:tav tm="0">
                                          <p:val>
                                            <p:fltVal val="0"/>
                                          </p:val>
                                        </p:tav>
                                        <p:tav tm="100000">
                                          <p:val>
                                            <p:strVal val="#ppt_w"/>
                                          </p:val>
                                        </p:tav>
                                      </p:tavLst>
                                    </p:anim>
                                    <p:anim calcmode="lin" valueType="num">
                                      <p:cBhvr>
                                        <p:cTn id="66" dur="500" fill="hold"/>
                                        <p:tgtEl>
                                          <p:spTgt spid="118"/>
                                        </p:tgtEl>
                                        <p:attrNameLst>
                                          <p:attrName>ppt_h</p:attrName>
                                        </p:attrNameLst>
                                      </p:cBhvr>
                                      <p:tavLst>
                                        <p:tav tm="0">
                                          <p:val>
                                            <p:fltVal val="0"/>
                                          </p:val>
                                        </p:tav>
                                        <p:tav tm="100000">
                                          <p:val>
                                            <p:strVal val="#ppt_h"/>
                                          </p:val>
                                        </p:tav>
                                      </p:tavLst>
                                    </p:anim>
                                    <p:animEffect transition="in" filter="fade">
                                      <p:cBhvr>
                                        <p:cTn id="67" dur="500"/>
                                        <p:tgtEl>
                                          <p:spTgt spid="118"/>
                                        </p:tgtEl>
                                      </p:cBhvr>
                                    </p:animEffect>
                                  </p:childTnLst>
                                </p:cTn>
                              </p:par>
                              <p:par>
                                <p:cTn id="68" presetID="53" presetClass="entr" presetSubtype="16" fill="hold" nodeType="withEffect">
                                  <p:stCondLst>
                                    <p:cond delay="0"/>
                                  </p:stCondLst>
                                  <p:childTnLst>
                                    <p:set>
                                      <p:cBhvr>
                                        <p:cTn id="69" dur="1" fill="hold">
                                          <p:stCondLst>
                                            <p:cond delay="0"/>
                                          </p:stCondLst>
                                        </p:cTn>
                                        <p:tgtEl>
                                          <p:spTgt spid="122"/>
                                        </p:tgtEl>
                                        <p:attrNameLst>
                                          <p:attrName>style.visibility</p:attrName>
                                        </p:attrNameLst>
                                      </p:cBhvr>
                                      <p:to>
                                        <p:strVal val="visible"/>
                                      </p:to>
                                    </p:set>
                                    <p:anim calcmode="lin" valueType="num">
                                      <p:cBhvr>
                                        <p:cTn id="70" dur="500" fill="hold"/>
                                        <p:tgtEl>
                                          <p:spTgt spid="122"/>
                                        </p:tgtEl>
                                        <p:attrNameLst>
                                          <p:attrName>ppt_w</p:attrName>
                                        </p:attrNameLst>
                                      </p:cBhvr>
                                      <p:tavLst>
                                        <p:tav tm="0">
                                          <p:val>
                                            <p:fltVal val="0"/>
                                          </p:val>
                                        </p:tav>
                                        <p:tav tm="100000">
                                          <p:val>
                                            <p:strVal val="#ppt_w"/>
                                          </p:val>
                                        </p:tav>
                                      </p:tavLst>
                                    </p:anim>
                                    <p:anim calcmode="lin" valueType="num">
                                      <p:cBhvr>
                                        <p:cTn id="71" dur="500" fill="hold"/>
                                        <p:tgtEl>
                                          <p:spTgt spid="122"/>
                                        </p:tgtEl>
                                        <p:attrNameLst>
                                          <p:attrName>ppt_h</p:attrName>
                                        </p:attrNameLst>
                                      </p:cBhvr>
                                      <p:tavLst>
                                        <p:tav tm="0">
                                          <p:val>
                                            <p:fltVal val="0"/>
                                          </p:val>
                                        </p:tav>
                                        <p:tav tm="100000">
                                          <p:val>
                                            <p:strVal val="#ppt_h"/>
                                          </p:val>
                                        </p:tav>
                                      </p:tavLst>
                                    </p:anim>
                                    <p:animEffect transition="in" filter="fade">
                                      <p:cBhvr>
                                        <p:cTn id="72" dur="500"/>
                                        <p:tgtEl>
                                          <p:spTgt spid="122"/>
                                        </p:tgtEl>
                                      </p:cBhvr>
                                    </p:animEffect>
                                  </p:childTnLst>
                                </p:cTn>
                              </p:par>
                              <p:par>
                                <p:cTn id="73" presetID="53" presetClass="entr" presetSubtype="16" fill="hold" nodeType="withEffect">
                                  <p:stCondLst>
                                    <p:cond delay="0"/>
                                  </p:stCondLst>
                                  <p:childTnLst>
                                    <p:set>
                                      <p:cBhvr>
                                        <p:cTn id="74" dur="1" fill="hold">
                                          <p:stCondLst>
                                            <p:cond delay="0"/>
                                          </p:stCondLst>
                                        </p:cTn>
                                        <p:tgtEl>
                                          <p:spTgt spid="185"/>
                                        </p:tgtEl>
                                        <p:attrNameLst>
                                          <p:attrName>style.visibility</p:attrName>
                                        </p:attrNameLst>
                                      </p:cBhvr>
                                      <p:to>
                                        <p:strVal val="visible"/>
                                      </p:to>
                                    </p:set>
                                    <p:anim calcmode="lin" valueType="num">
                                      <p:cBhvr>
                                        <p:cTn id="75" dur="500" fill="hold"/>
                                        <p:tgtEl>
                                          <p:spTgt spid="185"/>
                                        </p:tgtEl>
                                        <p:attrNameLst>
                                          <p:attrName>ppt_w</p:attrName>
                                        </p:attrNameLst>
                                      </p:cBhvr>
                                      <p:tavLst>
                                        <p:tav tm="0">
                                          <p:val>
                                            <p:fltVal val="0"/>
                                          </p:val>
                                        </p:tav>
                                        <p:tav tm="100000">
                                          <p:val>
                                            <p:strVal val="#ppt_w"/>
                                          </p:val>
                                        </p:tav>
                                      </p:tavLst>
                                    </p:anim>
                                    <p:anim calcmode="lin" valueType="num">
                                      <p:cBhvr>
                                        <p:cTn id="76" dur="500" fill="hold"/>
                                        <p:tgtEl>
                                          <p:spTgt spid="185"/>
                                        </p:tgtEl>
                                        <p:attrNameLst>
                                          <p:attrName>ppt_h</p:attrName>
                                        </p:attrNameLst>
                                      </p:cBhvr>
                                      <p:tavLst>
                                        <p:tav tm="0">
                                          <p:val>
                                            <p:fltVal val="0"/>
                                          </p:val>
                                        </p:tav>
                                        <p:tav tm="100000">
                                          <p:val>
                                            <p:strVal val="#ppt_h"/>
                                          </p:val>
                                        </p:tav>
                                      </p:tavLst>
                                    </p:anim>
                                    <p:animEffect transition="in" filter="fade">
                                      <p:cBhvr>
                                        <p:cTn id="77" dur="500"/>
                                        <p:tgtEl>
                                          <p:spTgt spid="185"/>
                                        </p:tgtEl>
                                      </p:cBhvr>
                                    </p:animEffect>
                                  </p:childTnLst>
                                </p:cTn>
                              </p:par>
                              <p:par>
                                <p:cTn id="78" presetID="53" presetClass="entr" presetSubtype="16" fill="hold" nodeType="withEffect">
                                  <p:stCondLst>
                                    <p:cond delay="0"/>
                                  </p:stCondLst>
                                  <p:childTnLst>
                                    <p:set>
                                      <p:cBhvr>
                                        <p:cTn id="79" dur="1" fill="hold">
                                          <p:stCondLst>
                                            <p:cond delay="0"/>
                                          </p:stCondLst>
                                        </p:cTn>
                                        <p:tgtEl>
                                          <p:spTgt spid="188"/>
                                        </p:tgtEl>
                                        <p:attrNameLst>
                                          <p:attrName>style.visibility</p:attrName>
                                        </p:attrNameLst>
                                      </p:cBhvr>
                                      <p:to>
                                        <p:strVal val="visible"/>
                                      </p:to>
                                    </p:set>
                                    <p:anim calcmode="lin" valueType="num">
                                      <p:cBhvr>
                                        <p:cTn id="80" dur="500" fill="hold"/>
                                        <p:tgtEl>
                                          <p:spTgt spid="188"/>
                                        </p:tgtEl>
                                        <p:attrNameLst>
                                          <p:attrName>ppt_w</p:attrName>
                                        </p:attrNameLst>
                                      </p:cBhvr>
                                      <p:tavLst>
                                        <p:tav tm="0">
                                          <p:val>
                                            <p:fltVal val="0"/>
                                          </p:val>
                                        </p:tav>
                                        <p:tav tm="100000">
                                          <p:val>
                                            <p:strVal val="#ppt_w"/>
                                          </p:val>
                                        </p:tav>
                                      </p:tavLst>
                                    </p:anim>
                                    <p:anim calcmode="lin" valueType="num">
                                      <p:cBhvr>
                                        <p:cTn id="81" dur="500" fill="hold"/>
                                        <p:tgtEl>
                                          <p:spTgt spid="188"/>
                                        </p:tgtEl>
                                        <p:attrNameLst>
                                          <p:attrName>ppt_h</p:attrName>
                                        </p:attrNameLst>
                                      </p:cBhvr>
                                      <p:tavLst>
                                        <p:tav tm="0">
                                          <p:val>
                                            <p:fltVal val="0"/>
                                          </p:val>
                                        </p:tav>
                                        <p:tav tm="100000">
                                          <p:val>
                                            <p:strVal val="#ppt_h"/>
                                          </p:val>
                                        </p:tav>
                                      </p:tavLst>
                                    </p:anim>
                                    <p:animEffect transition="in" filter="fade">
                                      <p:cBhvr>
                                        <p:cTn id="82" dur="500"/>
                                        <p:tgtEl>
                                          <p:spTgt spid="188"/>
                                        </p:tgtEl>
                                      </p:cBhvr>
                                    </p:animEffect>
                                  </p:childTnLst>
                                </p:cTn>
                              </p:par>
                              <p:par>
                                <p:cTn id="83" presetID="53" presetClass="entr" presetSubtype="16" fill="hold" nodeType="withEffect">
                                  <p:stCondLst>
                                    <p:cond delay="0"/>
                                  </p:stCondLst>
                                  <p:childTnLst>
                                    <p:set>
                                      <p:cBhvr>
                                        <p:cTn id="84" dur="1" fill="hold">
                                          <p:stCondLst>
                                            <p:cond delay="0"/>
                                          </p:stCondLst>
                                        </p:cTn>
                                        <p:tgtEl>
                                          <p:spTgt spid="187"/>
                                        </p:tgtEl>
                                        <p:attrNameLst>
                                          <p:attrName>style.visibility</p:attrName>
                                        </p:attrNameLst>
                                      </p:cBhvr>
                                      <p:to>
                                        <p:strVal val="visible"/>
                                      </p:to>
                                    </p:set>
                                    <p:anim calcmode="lin" valueType="num">
                                      <p:cBhvr>
                                        <p:cTn id="85" dur="500" fill="hold"/>
                                        <p:tgtEl>
                                          <p:spTgt spid="187"/>
                                        </p:tgtEl>
                                        <p:attrNameLst>
                                          <p:attrName>ppt_w</p:attrName>
                                        </p:attrNameLst>
                                      </p:cBhvr>
                                      <p:tavLst>
                                        <p:tav tm="0">
                                          <p:val>
                                            <p:fltVal val="0"/>
                                          </p:val>
                                        </p:tav>
                                        <p:tav tm="100000">
                                          <p:val>
                                            <p:strVal val="#ppt_w"/>
                                          </p:val>
                                        </p:tav>
                                      </p:tavLst>
                                    </p:anim>
                                    <p:anim calcmode="lin" valueType="num">
                                      <p:cBhvr>
                                        <p:cTn id="86" dur="500" fill="hold"/>
                                        <p:tgtEl>
                                          <p:spTgt spid="187"/>
                                        </p:tgtEl>
                                        <p:attrNameLst>
                                          <p:attrName>ppt_h</p:attrName>
                                        </p:attrNameLst>
                                      </p:cBhvr>
                                      <p:tavLst>
                                        <p:tav tm="0">
                                          <p:val>
                                            <p:fltVal val="0"/>
                                          </p:val>
                                        </p:tav>
                                        <p:tav tm="100000">
                                          <p:val>
                                            <p:strVal val="#ppt_h"/>
                                          </p:val>
                                        </p:tav>
                                      </p:tavLst>
                                    </p:anim>
                                    <p:animEffect transition="in" filter="fade">
                                      <p:cBhvr>
                                        <p:cTn id="87" dur="500"/>
                                        <p:tgtEl>
                                          <p:spTgt spid="187"/>
                                        </p:tgtEl>
                                      </p:cBhvr>
                                    </p:animEffect>
                                  </p:childTnLst>
                                </p:cTn>
                              </p:par>
                              <p:par>
                                <p:cTn id="88" presetID="53" presetClass="entr" presetSubtype="16" fill="hold" nodeType="withEffect">
                                  <p:stCondLst>
                                    <p:cond delay="0"/>
                                  </p:stCondLst>
                                  <p:childTnLst>
                                    <p:set>
                                      <p:cBhvr>
                                        <p:cTn id="89" dur="1" fill="hold">
                                          <p:stCondLst>
                                            <p:cond delay="0"/>
                                          </p:stCondLst>
                                        </p:cTn>
                                        <p:tgtEl>
                                          <p:spTgt spid="186"/>
                                        </p:tgtEl>
                                        <p:attrNameLst>
                                          <p:attrName>style.visibility</p:attrName>
                                        </p:attrNameLst>
                                      </p:cBhvr>
                                      <p:to>
                                        <p:strVal val="visible"/>
                                      </p:to>
                                    </p:set>
                                    <p:anim calcmode="lin" valueType="num">
                                      <p:cBhvr>
                                        <p:cTn id="90" dur="500" fill="hold"/>
                                        <p:tgtEl>
                                          <p:spTgt spid="186"/>
                                        </p:tgtEl>
                                        <p:attrNameLst>
                                          <p:attrName>ppt_w</p:attrName>
                                        </p:attrNameLst>
                                      </p:cBhvr>
                                      <p:tavLst>
                                        <p:tav tm="0">
                                          <p:val>
                                            <p:fltVal val="0"/>
                                          </p:val>
                                        </p:tav>
                                        <p:tav tm="100000">
                                          <p:val>
                                            <p:strVal val="#ppt_w"/>
                                          </p:val>
                                        </p:tav>
                                      </p:tavLst>
                                    </p:anim>
                                    <p:anim calcmode="lin" valueType="num">
                                      <p:cBhvr>
                                        <p:cTn id="91" dur="500" fill="hold"/>
                                        <p:tgtEl>
                                          <p:spTgt spid="186"/>
                                        </p:tgtEl>
                                        <p:attrNameLst>
                                          <p:attrName>ppt_h</p:attrName>
                                        </p:attrNameLst>
                                      </p:cBhvr>
                                      <p:tavLst>
                                        <p:tav tm="0">
                                          <p:val>
                                            <p:fltVal val="0"/>
                                          </p:val>
                                        </p:tav>
                                        <p:tav tm="100000">
                                          <p:val>
                                            <p:strVal val="#ppt_h"/>
                                          </p:val>
                                        </p:tav>
                                      </p:tavLst>
                                    </p:anim>
                                    <p:animEffect transition="in" filter="fade">
                                      <p:cBhvr>
                                        <p:cTn id="92" dur="500"/>
                                        <p:tgtEl>
                                          <p:spTgt spid="186"/>
                                        </p:tgtEl>
                                      </p:cBhvr>
                                    </p:animEffect>
                                  </p:childTnLst>
                                </p:cTn>
                              </p:par>
                              <p:par>
                                <p:cTn id="93" presetID="53" presetClass="entr" presetSubtype="16" fill="hold" nodeType="withEffect">
                                  <p:stCondLst>
                                    <p:cond delay="0"/>
                                  </p:stCondLst>
                                  <p:childTnLst>
                                    <p:set>
                                      <p:cBhvr>
                                        <p:cTn id="94" dur="1" fill="hold">
                                          <p:stCondLst>
                                            <p:cond delay="0"/>
                                          </p:stCondLst>
                                        </p:cTn>
                                        <p:tgtEl>
                                          <p:spTgt spid="160"/>
                                        </p:tgtEl>
                                        <p:attrNameLst>
                                          <p:attrName>style.visibility</p:attrName>
                                        </p:attrNameLst>
                                      </p:cBhvr>
                                      <p:to>
                                        <p:strVal val="visible"/>
                                      </p:to>
                                    </p:set>
                                    <p:anim calcmode="lin" valueType="num">
                                      <p:cBhvr>
                                        <p:cTn id="95" dur="500" fill="hold"/>
                                        <p:tgtEl>
                                          <p:spTgt spid="160"/>
                                        </p:tgtEl>
                                        <p:attrNameLst>
                                          <p:attrName>ppt_w</p:attrName>
                                        </p:attrNameLst>
                                      </p:cBhvr>
                                      <p:tavLst>
                                        <p:tav tm="0">
                                          <p:val>
                                            <p:fltVal val="0"/>
                                          </p:val>
                                        </p:tav>
                                        <p:tav tm="100000">
                                          <p:val>
                                            <p:strVal val="#ppt_w"/>
                                          </p:val>
                                        </p:tav>
                                      </p:tavLst>
                                    </p:anim>
                                    <p:anim calcmode="lin" valueType="num">
                                      <p:cBhvr>
                                        <p:cTn id="96" dur="500" fill="hold"/>
                                        <p:tgtEl>
                                          <p:spTgt spid="160"/>
                                        </p:tgtEl>
                                        <p:attrNameLst>
                                          <p:attrName>ppt_h</p:attrName>
                                        </p:attrNameLst>
                                      </p:cBhvr>
                                      <p:tavLst>
                                        <p:tav tm="0">
                                          <p:val>
                                            <p:fltVal val="0"/>
                                          </p:val>
                                        </p:tav>
                                        <p:tav tm="100000">
                                          <p:val>
                                            <p:strVal val="#ppt_h"/>
                                          </p:val>
                                        </p:tav>
                                      </p:tavLst>
                                    </p:anim>
                                    <p:animEffect transition="in" filter="fade">
                                      <p:cBhvr>
                                        <p:cTn id="97" dur="500"/>
                                        <p:tgtEl>
                                          <p:spTgt spid="160"/>
                                        </p:tgtEl>
                                      </p:cBhvr>
                                    </p:animEffect>
                                  </p:childTnLst>
                                </p:cTn>
                              </p:par>
                              <p:par>
                                <p:cTn id="98" presetID="53" presetClass="entr" presetSubtype="16" fill="hold" nodeType="withEffect">
                                  <p:stCondLst>
                                    <p:cond delay="0"/>
                                  </p:stCondLst>
                                  <p:childTnLst>
                                    <p:set>
                                      <p:cBhvr>
                                        <p:cTn id="99" dur="1" fill="hold">
                                          <p:stCondLst>
                                            <p:cond delay="0"/>
                                          </p:stCondLst>
                                        </p:cTn>
                                        <p:tgtEl>
                                          <p:spTgt spid="163"/>
                                        </p:tgtEl>
                                        <p:attrNameLst>
                                          <p:attrName>style.visibility</p:attrName>
                                        </p:attrNameLst>
                                      </p:cBhvr>
                                      <p:to>
                                        <p:strVal val="visible"/>
                                      </p:to>
                                    </p:set>
                                    <p:anim calcmode="lin" valueType="num">
                                      <p:cBhvr>
                                        <p:cTn id="100" dur="500" fill="hold"/>
                                        <p:tgtEl>
                                          <p:spTgt spid="163"/>
                                        </p:tgtEl>
                                        <p:attrNameLst>
                                          <p:attrName>ppt_w</p:attrName>
                                        </p:attrNameLst>
                                      </p:cBhvr>
                                      <p:tavLst>
                                        <p:tav tm="0">
                                          <p:val>
                                            <p:fltVal val="0"/>
                                          </p:val>
                                        </p:tav>
                                        <p:tav tm="100000">
                                          <p:val>
                                            <p:strVal val="#ppt_w"/>
                                          </p:val>
                                        </p:tav>
                                      </p:tavLst>
                                    </p:anim>
                                    <p:anim calcmode="lin" valueType="num">
                                      <p:cBhvr>
                                        <p:cTn id="101" dur="500" fill="hold"/>
                                        <p:tgtEl>
                                          <p:spTgt spid="163"/>
                                        </p:tgtEl>
                                        <p:attrNameLst>
                                          <p:attrName>ppt_h</p:attrName>
                                        </p:attrNameLst>
                                      </p:cBhvr>
                                      <p:tavLst>
                                        <p:tav tm="0">
                                          <p:val>
                                            <p:fltVal val="0"/>
                                          </p:val>
                                        </p:tav>
                                        <p:tav tm="100000">
                                          <p:val>
                                            <p:strVal val="#ppt_h"/>
                                          </p:val>
                                        </p:tav>
                                      </p:tavLst>
                                    </p:anim>
                                    <p:animEffect transition="in" filter="fade">
                                      <p:cBhvr>
                                        <p:cTn id="102" dur="500"/>
                                        <p:tgtEl>
                                          <p:spTgt spid="163"/>
                                        </p:tgtEl>
                                      </p:cBhvr>
                                    </p:animEffect>
                                  </p:childTnLst>
                                </p:cTn>
                              </p:par>
                              <p:par>
                                <p:cTn id="103" presetID="53" presetClass="entr" presetSubtype="16" fill="hold" nodeType="withEffect">
                                  <p:stCondLst>
                                    <p:cond delay="0"/>
                                  </p:stCondLst>
                                  <p:childTnLst>
                                    <p:set>
                                      <p:cBhvr>
                                        <p:cTn id="104" dur="1" fill="hold">
                                          <p:stCondLst>
                                            <p:cond delay="0"/>
                                          </p:stCondLst>
                                        </p:cTn>
                                        <p:tgtEl>
                                          <p:spTgt spid="166"/>
                                        </p:tgtEl>
                                        <p:attrNameLst>
                                          <p:attrName>style.visibility</p:attrName>
                                        </p:attrNameLst>
                                      </p:cBhvr>
                                      <p:to>
                                        <p:strVal val="visible"/>
                                      </p:to>
                                    </p:set>
                                    <p:anim calcmode="lin" valueType="num">
                                      <p:cBhvr>
                                        <p:cTn id="105" dur="500" fill="hold"/>
                                        <p:tgtEl>
                                          <p:spTgt spid="166"/>
                                        </p:tgtEl>
                                        <p:attrNameLst>
                                          <p:attrName>ppt_w</p:attrName>
                                        </p:attrNameLst>
                                      </p:cBhvr>
                                      <p:tavLst>
                                        <p:tav tm="0">
                                          <p:val>
                                            <p:fltVal val="0"/>
                                          </p:val>
                                        </p:tav>
                                        <p:tav tm="100000">
                                          <p:val>
                                            <p:strVal val="#ppt_w"/>
                                          </p:val>
                                        </p:tav>
                                      </p:tavLst>
                                    </p:anim>
                                    <p:anim calcmode="lin" valueType="num">
                                      <p:cBhvr>
                                        <p:cTn id="106" dur="500" fill="hold"/>
                                        <p:tgtEl>
                                          <p:spTgt spid="166"/>
                                        </p:tgtEl>
                                        <p:attrNameLst>
                                          <p:attrName>ppt_h</p:attrName>
                                        </p:attrNameLst>
                                      </p:cBhvr>
                                      <p:tavLst>
                                        <p:tav tm="0">
                                          <p:val>
                                            <p:fltVal val="0"/>
                                          </p:val>
                                        </p:tav>
                                        <p:tav tm="100000">
                                          <p:val>
                                            <p:strVal val="#ppt_h"/>
                                          </p:val>
                                        </p:tav>
                                      </p:tavLst>
                                    </p:anim>
                                    <p:animEffect transition="in" filter="fade">
                                      <p:cBhvr>
                                        <p:cTn id="107" dur="500"/>
                                        <p:tgtEl>
                                          <p:spTgt spid="166"/>
                                        </p:tgtEl>
                                      </p:cBhvr>
                                    </p:animEffect>
                                  </p:childTnLst>
                                </p:cTn>
                              </p:par>
                              <p:par>
                                <p:cTn id="108" presetID="53" presetClass="entr" presetSubtype="16" fill="hold" nodeType="withEffect">
                                  <p:stCondLst>
                                    <p:cond delay="0"/>
                                  </p:stCondLst>
                                  <p:childTnLst>
                                    <p:set>
                                      <p:cBhvr>
                                        <p:cTn id="109" dur="1" fill="hold">
                                          <p:stCondLst>
                                            <p:cond delay="0"/>
                                          </p:stCondLst>
                                        </p:cTn>
                                        <p:tgtEl>
                                          <p:spTgt spid="169"/>
                                        </p:tgtEl>
                                        <p:attrNameLst>
                                          <p:attrName>style.visibility</p:attrName>
                                        </p:attrNameLst>
                                      </p:cBhvr>
                                      <p:to>
                                        <p:strVal val="visible"/>
                                      </p:to>
                                    </p:set>
                                    <p:anim calcmode="lin" valueType="num">
                                      <p:cBhvr>
                                        <p:cTn id="110" dur="500" fill="hold"/>
                                        <p:tgtEl>
                                          <p:spTgt spid="169"/>
                                        </p:tgtEl>
                                        <p:attrNameLst>
                                          <p:attrName>ppt_w</p:attrName>
                                        </p:attrNameLst>
                                      </p:cBhvr>
                                      <p:tavLst>
                                        <p:tav tm="0">
                                          <p:val>
                                            <p:fltVal val="0"/>
                                          </p:val>
                                        </p:tav>
                                        <p:tav tm="100000">
                                          <p:val>
                                            <p:strVal val="#ppt_w"/>
                                          </p:val>
                                        </p:tav>
                                      </p:tavLst>
                                    </p:anim>
                                    <p:anim calcmode="lin" valueType="num">
                                      <p:cBhvr>
                                        <p:cTn id="111" dur="500" fill="hold"/>
                                        <p:tgtEl>
                                          <p:spTgt spid="169"/>
                                        </p:tgtEl>
                                        <p:attrNameLst>
                                          <p:attrName>ppt_h</p:attrName>
                                        </p:attrNameLst>
                                      </p:cBhvr>
                                      <p:tavLst>
                                        <p:tav tm="0">
                                          <p:val>
                                            <p:fltVal val="0"/>
                                          </p:val>
                                        </p:tav>
                                        <p:tav tm="100000">
                                          <p:val>
                                            <p:strVal val="#ppt_h"/>
                                          </p:val>
                                        </p:tav>
                                      </p:tavLst>
                                    </p:anim>
                                    <p:animEffect transition="in" filter="fade">
                                      <p:cBhvr>
                                        <p:cTn id="112" dur="500"/>
                                        <p:tgtEl>
                                          <p:spTgt spid="169"/>
                                        </p:tgtEl>
                                      </p:cBhvr>
                                    </p:animEffect>
                                  </p:childTnLst>
                                </p:cTn>
                              </p:par>
                              <p:par>
                                <p:cTn id="113" presetID="53" presetClass="entr" presetSubtype="16" fill="hold" nodeType="withEffect">
                                  <p:stCondLst>
                                    <p:cond delay="0"/>
                                  </p:stCondLst>
                                  <p:childTnLst>
                                    <p:set>
                                      <p:cBhvr>
                                        <p:cTn id="114" dur="1" fill="hold">
                                          <p:stCondLst>
                                            <p:cond delay="0"/>
                                          </p:stCondLst>
                                        </p:cTn>
                                        <p:tgtEl>
                                          <p:spTgt spid="213"/>
                                        </p:tgtEl>
                                        <p:attrNameLst>
                                          <p:attrName>style.visibility</p:attrName>
                                        </p:attrNameLst>
                                      </p:cBhvr>
                                      <p:to>
                                        <p:strVal val="visible"/>
                                      </p:to>
                                    </p:set>
                                    <p:anim calcmode="lin" valueType="num">
                                      <p:cBhvr>
                                        <p:cTn id="115" dur="500" fill="hold"/>
                                        <p:tgtEl>
                                          <p:spTgt spid="213"/>
                                        </p:tgtEl>
                                        <p:attrNameLst>
                                          <p:attrName>ppt_w</p:attrName>
                                        </p:attrNameLst>
                                      </p:cBhvr>
                                      <p:tavLst>
                                        <p:tav tm="0">
                                          <p:val>
                                            <p:fltVal val="0"/>
                                          </p:val>
                                        </p:tav>
                                        <p:tav tm="100000">
                                          <p:val>
                                            <p:strVal val="#ppt_w"/>
                                          </p:val>
                                        </p:tav>
                                      </p:tavLst>
                                    </p:anim>
                                    <p:anim calcmode="lin" valueType="num">
                                      <p:cBhvr>
                                        <p:cTn id="116" dur="500" fill="hold"/>
                                        <p:tgtEl>
                                          <p:spTgt spid="213"/>
                                        </p:tgtEl>
                                        <p:attrNameLst>
                                          <p:attrName>ppt_h</p:attrName>
                                        </p:attrNameLst>
                                      </p:cBhvr>
                                      <p:tavLst>
                                        <p:tav tm="0">
                                          <p:val>
                                            <p:fltVal val="0"/>
                                          </p:val>
                                        </p:tav>
                                        <p:tav tm="100000">
                                          <p:val>
                                            <p:strVal val="#ppt_h"/>
                                          </p:val>
                                        </p:tav>
                                      </p:tavLst>
                                    </p:anim>
                                    <p:animEffect transition="in" filter="fade">
                                      <p:cBhvr>
                                        <p:cTn id="117" dur="500"/>
                                        <p:tgtEl>
                                          <p:spTgt spid="213"/>
                                        </p:tgtEl>
                                      </p:cBhvr>
                                    </p:animEffect>
                                  </p:childTnLst>
                                </p:cTn>
                              </p:par>
                              <p:par>
                                <p:cTn id="118" presetID="53" presetClass="entr" presetSubtype="16" fill="hold" nodeType="withEffect">
                                  <p:stCondLst>
                                    <p:cond delay="0"/>
                                  </p:stCondLst>
                                  <p:childTnLst>
                                    <p:set>
                                      <p:cBhvr>
                                        <p:cTn id="119" dur="1" fill="hold">
                                          <p:stCondLst>
                                            <p:cond delay="0"/>
                                          </p:stCondLst>
                                        </p:cTn>
                                        <p:tgtEl>
                                          <p:spTgt spid="216"/>
                                        </p:tgtEl>
                                        <p:attrNameLst>
                                          <p:attrName>style.visibility</p:attrName>
                                        </p:attrNameLst>
                                      </p:cBhvr>
                                      <p:to>
                                        <p:strVal val="visible"/>
                                      </p:to>
                                    </p:set>
                                    <p:anim calcmode="lin" valueType="num">
                                      <p:cBhvr>
                                        <p:cTn id="120" dur="500" fill="hold"/>
                                        <p:tgtEl>
                                          <p:spTgt spid="216"/>
                                        </p:tgtEl>
                                        <p:attrNameLst>
                                          <p:attrName>ppt_w</p:attrName>
                                        </p:attrNameLst>
                                      </p:cBhvr>
                                      <p:tavLst>
                                        <p:tav tm="0">
                                          <p:val>
                                            <p:fltVal val="0"/>
                                          </p:val>
                                        </p:tav>
                                        <p:tav tm="100000">
                                          <p:val>
                                            <p:strVal val="#ppt_w"/>
                                          </p:val>
                                        </p:tav>
                                      </p:tavLst>
                                    </p:anim>
                                    <p:anim calcmode="lin" valueType="num">
                                      <p:cBhvr>
                                        <p:cTn id="121" dur="500" fill="hold"/>
                                        <p:tgtEl>
                                          <p:spTgt spid="216"/>
                                        </p:tgtEl>
                                        <p:attrNameLst>
                                          <p:attrName>ppt_h</p:attrName>
                                        </p:attrNameLst>
                                      </p:cBhvr>
                                      <p:tavLst>
                                        <p:tav tm="0">
                                          <p:val>
                                            <p:fltVal val="0"/>
                                          </p:val>
                                        </p:tav>
                                        <p:tav tm="100000">
                                          <p:val>
                                            <p:strVal val="#ppt_h"/>
                                          </p:val>
                                        </p:tav>
                                      </p:tavLst>
                                    </p:anim>
                                    <p:animEffect transition="in" filter="fade">
                                      <p:cBhvr>
                                        <p:cTn id="122" dur="500"/>
                                        <p:tgtEl>
                                          <p:spTgt spid="216"/>
                                        </p:tgtEl>
                                      </p:cBhvr>
                                    </p:animEffect>
                                  </p:childTnLst>
                                </p:cTn>
                              </p:par>
                              <p:par>
                                <p:cTn id="123" presetID="53" presetClass="entr" presetSubtype="16" fill="hold" nodeType="withEffect">
                                  <p:stCondLst>
                                    <p:cond delay="0"/>
                                  </p:stCondLst>
                                  <p:childTnLst>
                                    <p:set>
                                      <p:cBhvr>
                                        <p:cTn id="124" dur="1" fill="hold">
                                          <p:stCondLst>
                                            <p:cond delay="0"/>
                                          </p:stCondLst>
                                        </p:cTn>
                                        <p:tgtEl>
                                          <p:spTgt spid="219"/>
                                        </p:tgtEl>
                                        <p:attrNameLst>
                                          <p:attrName>style.visibility</p:attrName>
                                        </p:attrNameLst>
                                      </p:cBhvr>
                                      <p:to>
                                        <p:strVal val="visible"/>
                                      </p:to>
                                    </p:set>
                                    <p:anim calcmode="lin" valueType="num">
                                      <p:cBhvr>
                                        <p:cTn id="125" dur="500" fill="hold"/>
                                        <p:tgtEl>
                                          <p:spTgt spid="219"/>
                                        </p:tgtEl>
                                        <p:attrNameLst>
                                          <p:attrName>ppt_w</p:attrName>
                                        </p:attrNameLst>
                                      </p:cBhvr>
                                      <p:tavLst>
                                        <p:tav tm="0">
                                          <p:val>
                                            <p:fltVal val="0"/>
                                          </p:val>
                                        </p:tav>
                                        <p:tav tm="100000">
                                          <p:val>
                                            <p:strVal val="#ppt_w"/>
                                          </p:val>
                                        </p:tav>
                                      </p:tavLst>
                                    </p:anim>
                                    <p:anim calcmode="lin" valueType="num">
                                      <p:cBhvr>
                                        <p:cTn id="126" dur="500" fill="hold"/>
                                        <p:tgtEl>
                                          <p:spTgt spid="219"/>
                                        </p:tgtEl>
                                        <p:attrNameLst>
                                          <p:attrName>ppt_h</p:attrName>
                                        </p:attrNameLst>
                                      </p:cBhvr>
                                      <p:tavLst>
                                        <p:tav tm="0">
                                          <p:val>
                                            <p:fltVal val="0"/>
                                          </p:val>
                                        </p:tav>
                                        <p:tav tm="100000">
                                          <p:val>
                                            <p:strVal val="#ppt_h"/>
                                          </p:val>
                                        </p:tav>
                                      </p:tavLst>
                                    </p:anim>
                                    <p:animEffect transition="in" filter="fade">
                                      <p:cBhvr>
                                        <p:cTn id="127" dur="500"/>
                                        <p:tgtEl>
                                          <p:spTgt spid="219"/>
                                        </p:tgtEl>
                                      </p:cBhvr>
                                    </p:animEffect>
                                  </p:childTnLst>
                                </p:cTn>
                              </p:par>
                              <p:par>
                                <p:cTn id="128" presetID="53" presetClass="entr" presetSubtype="16" fill="hold" nodeType="withEffect">
                                  <p:stCondLst>
                                    <p:cond delay="0"/>
                                  </p:stCondLst>
                                  <p:childTnLst>
                                    <p:set>
                                      <p:cBhvr>
                                        <p:cTn id="129" dur="1" fill="hold">
                                          <p:stCondLst>
                                            <p:cond delay="0"/>
                                          </p:stCondLst>
                                        </p:cTn>
                                        <p:tgtEl>
                                          <p:spTgt spid="222"/>
                                        </p:tgtEl>
                                        <p:attrNameLst>
                                          <p:attrName>style.visibility</p:attrName>
                                        </p:attrNameLst>
                                      </p:cBhvr>
                                      <p:to>
                                        <p:strVal val="visible"/>
                                      </p:to>
                                    </p:set>
                                    <p:anim calcmode="lin" valueType="num">
                                      <p:cBhvr>
                                        <p:cTn id="130" dur="500" fill="hold"/>
                                        <p:tgtEl>
                                          <p:spTgt spid="222"/>
                                        </p:tgtEl>
                                        <p:attrNameLst>
                                          <p:attrName>ppt_w</p:attrName>
                                        </p:attrNameLst>
                                      </p:cBhvr>
                                      <p:tavLst>
                                        <p:tav tm="0">
                                          <p:val>
                                            <p:fltVal val="0"/>
                                          </p:val>
                                        </p:tav>
                                        <p:tav tm="100000">
                                          <p:val>
                                            <p:strVal val="#ppt_w"/>
                                          </p:val>
                                        </p:tav>
                                      </p:tavLst>
                                    </p:anim>
                                    <p:anim calcmode="lin" valueType="num">
                                      <p:cBhvr>
                                        <p:cTn id="131" dur="500" fill="hold"/>
                                        <p:tgtEl>
                                          <p:spTgt spid="222"/>
                                        </p:tgtEl>
                                        <p:attrNameLst>
                                          <p:attrName>ppt_h</p:attrName>
                                        </p:attrNameLst>
                                      </p:cBhvr>
                                      <p:tavLst>
                                        <p:tav tm="0">
                                          <p:val>
                                            <p:fltVal val="0"/>
                                          </p:val>
                                        </p:tav>
                                        <p:tav tm="100000">
                                          <p:val>
                                            <p:strVal val="#ppt_h"/>
                                          </p:val>
                                        </p:tav>
                                      </p:tavLst>
                                    </p:anim>
                                    <p:animEffect transition="in" filter="fade">
                                      <p:cBhvr>
                                        <p:cTn id="132" dur="500"/>
                                        <p:tgtEl>
                                          <p:spTgt spid="222"/>
                                        </p:tgtEl>
                                      </p:cBhvr>
                                    </p:animEffect>
                                  </p:childTnLst>
                                </p:cTn>
                              </p:par>
                              <p:par>
                                <p:cTn id="133" presetID="53" presetClass="entr" presetSubtype="16" fill="hold" nodeType="withEffect">
                                  <p:stCondLst>
                                    <p:cond delay="0"/>
                                  </p:stCondLst>
                                  <p:childTnLst>
                                    <p:set>
                                      <p:cBhvr>
                                        <p:cTn id="134" dur="1" fill="hold">
                                          <p:stCondLst>
                                            <p:cond delay="0"/>
                                          </p:stCondLst>
                                        </p:cTn>
                                        <p:tgtEl>
                                          <p:spTgt spid="225"/>
                                        </p:tgtEl>
                                        <p:attrNameLst>
                                          <p:attrName>style.visibility</p:attrName>
                                        </p:attrNameLst>
                                      </p:cBhvr>
                                      <p:to>
                                        <p:strVal val="visible"/>
                                      </p:to>
                                    </p:set>
                                    <p:anim calcmode="lin" valueType="num">
                                      <p:cBhvr>
                                        <p:cTn id="135" dur="500" fill="hold"/>
                                        <p:tgtEl>
                                          <p:spTgt spid="225"/>
                                        </p:tgtEl>
                                        <p:attrNameLst>
                                          <p:attrName>ppt_w</p:attrName>
                                        </p:attrNameLst>
                                      </p:cBhvr>
                                      <p:tavLst>
                                        <p:tav tm="0">
                                          <p:val>
                                            <p:fltVal val="0"/>
                                          </p:val>
                                        </p:tav>
                                        <p:tav tm="100000">
                                          <p:val>
                                            <p:strVal val="#ppt_w"/>
                                          </p:val>
                                        </p:tav>
                                      </p:tavLst>
                                    </p:anim>
                                    <p:anim calcmode="lin" valueType="num">
                                      <p:cBhvr>
                                        <p:cTn id="136" dur="500" fill="hold"/>
                                        <p:tgtEl>
                                          <p:spTgt spid="225"/>
                                        </p:tgtEl>
                                        <p:attrNameLst>
                                          <p:attrName>ppt_h</p:attrName>
                                        </p:attrNameLst>
                                      </p:cBhvr>
                                      <p:tavLst>
                                        <p:tav tm="0">
                                          <p:val>
                                            <p:fltVal val="0"/>
                                          </p:val>
                                        </p:tav>
                                        <p:tav tm="100000">
                                          <p:val>
                                            <p:strVal val="#ppt_h"/>
                                          </p:val>
                                        </p:tav>
                                      </p:tavLst>
                                    </p:anim>
                                    <p:animEffect transition="in" filter="fade">
                                      <p:cBhvr>
                                        <p:cTn id="137" dur="500"/>
                                        <p:tgtEl>
                                          <p:spTgt spid="225"/>
                                        </p:tgtEl>
                                      </p:cBhvr>
                                    </p:animEffect>
                                  </p:childTnLst>
                                </p:cTn>
                              </p:par>
                              <p:par>
                                <p:cTn id="138" presetID="53" presetClass="entr" presetSubtype="16" fill="hold" nodeType="withEffect">
                                  <p:stCondLst>
                                    <p:cond delay="0"/>
                                  </p:stCondLst>
                                  <p:childTnLst>
                                    <p:set>
                                      <p:cBhvr>
                                        <p:cTn id="139" dur="1" fill="hold">
                                          <p:stCondLst>
                                            <p:cond delay="0"/>
                                          </p:stCondLst>
                                        </p:cTn>
                                        <p:tgtEl>
                                          <p:spTgt spid="228"/>
                                        </p:tgtEl>
                                        <p:attrNameLst>
                                          <p:attrName>style.visibility</p:attrName>
                                        </p:attrNameLst>
                                      </p:cBhvr>
                                      <p:to>
                                        <p:strVal val="visible"/>
                                      </p:to>
                                    </p:set>
                                    <p:anim calcmode="lin" valueType="num">
                                      <p:cBhvr>
                                        <p:cTn id="140" dur="500" fill="hold"/>
                                        <p:tgtEl>
                                          <p:spTgt spid="228"/>
                                        </p:tgtEl>
                                        <p:attrNameLst>
                                          <p:attrName>ppt_w</p:attrName>
                                        </p:attrNameLst>
                                      </p:cBhvr>
                                      <p:tavLst>
                                        <p:tav tm="0">
                                          <p:val>
                                            <p:fltVal val="0"/>
                                          </p:val>
                                        </p:tav>
                                        <p:tav tm="100000">
                                          <p:val>
                                            <p:strVal val="#ppt_w"/>
                                          </p:val>
                                        </p:tav>
                                      </p:tavLst>
                                    </p:anim>
                                    <p:anim calcmode="lin" valueType="num">
                                      <p:cBhvr>
                                        <p:cTn id="141" dur="500" fill="hold"/>
                                        <p:tgtEl>
                                          <p:spTgt spid="228"/>
                                        </p:tgtEl>
                                        <p:attrNameLst>
                                          <p:attrName>ppt_h</p:attrName>
                                        </p:attrNameLst>
                                      </p:cBhvr>
                                      <p:tavLst>
                                        <p:tav tm="0">
                                          <p:val>
                                            <p:fltVal val="0"/>
                                          </p:val>
                                        </p:tav>
                                        <p:tav tm="100000">
                                          <p:val>
                                            <p:strVal val="#ppt_h"/>
                                          </p:val>
                                        </p:tav>
                                      </p:tavLst>
                                    </p:anim>
                                    <p:animEffect transition="in" filter="fade">
                                      <p:cBhvr>
                                        <p:cTn id="142" dur="500"/>
                                        <p:tgtEl>
                                          <p:spTgt spid="228"/>
                                        </p:tgtEl>
                                      </p:cBhvr>
                                    </p:animEffect>
                                  </p:childTnLst>
                                </p:cTn>
                              </p:par>
                              <p:par>
                                <p:cTn id="143" presetID="53" presetClass="entr" presetSubtype="16" fill="hold" nodeType="withEffect">
                                  <p:stCondLst>
                                    <p:cond delay="0"/>
                                  </p:stCondLst>
                                  <p:childTnLst>
                                    <p:set>
                                      <p:cBhvr>
                                        <p:cTn id="144" dur="1" fill="hold">
                                          <p:stCondLst>
                                            <p:cond delay="0"/>
                                          </p:stCondLst>
                                        </p:cTn>
                                        <p:tgtEl>
                                          <p:spTgt spid="232"/>
                                        </p:tgtEl>
                                        <p:attrNameLst>
                                          <p:attrName>style.visibility</p:attrName>
                                        </p:attrNameLst>
                                      </p:cBhvr>
                                      <p:to>
                                        <p:strVal val="visible"/>
                                      </p:to>
                                    </p:set>
                                    <p:anim calcmode="lin" valueType="num">
                                      <p:cBhvr>
                                        <p:cTn id="145" dur="500" fill="hold"/>
                                        <p:tgtEl>
                                          <p:spTgt spid="232"/>
                                        </p:tgtEl>
                                        <p:attrNameLst>
                                          <p:attrName>ppt_w</p:attrName>
                                        </p:attrNameLst>
                                      </p:cBhvr>
                                      <p:tavLst>
                                        <p:tav tm="0">
                                          <p:val>
                                            <p:fltVal val="0"/>
                                          </p:val>
                                        </p:tav>
                                        <p:tav tm="100000">
                                          <p:val>
                                            <p:strVal val="#ppt_w"/>
                                          </p:val>
                                        </p:tav>
                                      </p:tavLst>
                                    </p:anim>
                                    <p:anim calcmode="lin" valueType="num">
                                      <p:cBhvr>
                                        <p:cTn id="146" dur="500" fill="hold"/>
                                        <p:tgtEl>
                                          <p:spTgt spid="232"/>
                                        </p:tgtEl>
                                        <p:attrNameLst>
                                          <p:attrName>ppt_h</p:attrName>
                                        </p:attrNameLst>
                                      </p:cBhvr>
                                      <p:tavLst>
                                        <p:tav tm="0">
                                          <p:val>
                                            <p:fltVal val="0"/>
                                          </p:val>
                                        </p:tav>
                                        <p:tav tm="100000">
                                          <p:val>
                                            <p:strVal val="#ppt_h"/>
                                          </p:val>
                                        </p:tav>
                                      </p:tavLst>
                                    </p:anim>
                                    <p:animEffect transition="in" filter="fade">
                                      <p:cBhvr>
                                        <p:cTn id="147" dur="500"/>
                                        <p:tgtEl>
                                          <p:spTgt spid="232"/>
                                        </p:tgtEl>
                                      </p:cBhvr>
                                    </p:animEffect>
                                  </p:childTnLst>
                                </p:cTn>
                              </p:par>
                              <p:par>
                                <p:cTn id="148" presetID="53" presetClass="entr" presetSubtype="16" fill="hold" nodeType="withEffect">
                                  <p:stCondLst>
                                    <p:cond delay="0"/>
                                  </p:stCondLst>
                                  <p:childTnLst>
                                    <p:set>
                                      <p:cBhvr>
                                        <p:cTn id="149" dur="1" fill="hold">
                                          <p:stCondLst>
                                            <p:cond delay="0"/>
                                          </p:stCondLst>
                                        </p:cTn>
                                        <p:tgtEl>
                                          <p:spTgt spid="233"/>
                                        </p:tgtEl>
                                        <p:attrNameLst>
                                          <p:attrName>style.visibility</p:attrName>
                                        </p:attrNameLst>
                                      </p:cBhvr>
                                      <p:to>
                                        <p:strVal val="visible"/>
                                      </p:to>
                                    </p:set>
                                    <p:anim calcmode="lin" valueType="num">
                                      <p:cBhvr>
                                        <p:cTn id="150" dur="500" fill="hold"/>
                                        <p:tgtEl>
                                          <p:spTgt spid="233"/>
                                        </p:tgtEl>
                                        <p:attrNameLst>
                                          <p:attrName>ppt_w</p:attrName>
                                        </p:attrNameLst>
                                      </p:cBhvr>
                                      <p:tavLst>
                                        <p:tav tm="0">
                                          <p:val>
                                            <p:fltVal val="0"/>
                                          </p:val>
                                        </p:tav>
                                        <p:tav tm="100000">
                                          <p:val>
                                            <p:strVal val="#ppt_w"/>
                                          </p:val>
                                        </p:tav>
                                      </p:tavLst>
                                    </p:anim>
                                    <p:anim calcmode="lin" valueType="num">
                                      <p:cBhvr>
                                        <p:cTn id="151" dur="500" fill="hold"/>
                                        <p:tgtEl>
                                          <p:spTgt spid="233"/>
                                        </p:tgtEl>
                                        <p:attrNameLst>
                                          <p:attrName>ppt_h</p:attrName>
                                        </p:attrNameLst>
                                      </p:cBhvr>
                                      <p:tavLst>
                                        <p:tav tm="0">
                                          <p:val>
                                            <p:fltVal val="0"/>
                                          </p:val>
                                        </p:tav>
                                        <p:tav tm="100000">
                                          <p:val>
                                            <p:strVal val="#ppt_h"/>
                                          </p:val>
                                        </p:tav>
                                      </p:tavLst>
                                    </p:anim>
                                    <p:animEffect transition="in" filter="fade">
                                      <p:cBhvr>
                                        <p:cTn id="152" dur="500"/>
                                        <p:tgtEl>
                                          <p:spTgt spid="233"/>
                                        </p:tgtEl>
                                      </p:cBhvr>
                                    </p:animEffect>
                                  </p:childTnLst>
                                </p:cTn>
                              </p:par>
                              <p:par>
                                <p:cTn id="153" presetID="53" presetClass="entr" presetSubtype="16" fill="hold" nodeType="withEffect">
                                  <p:stCondLst>
                                    <p:cond delay="0"/>
                                  </p:stCondLst>
                                  <p:childTnLst>
                                    <p:set>
                                      <p:cBhvr>
                                        <p:cTn id="154" dur="1" fill="hold">
                                          <p:stCondLst>
                                            <p:cond delay="0"/>
                                          </p:stCondLst>
                                        </p:cTn>
                                        <p:tgtEl>
                                          <p:spTgt spid="256"/>
                                        </p:tgtEl>
                                        <p:attrNameLst>
                                          <p:attrName>style.visibility</p:attrName>
                                        </p:attrNameLst>
                                      </p:cBhvr>
                                      <p:to>
                                        <p:strVal val="visible"/>
                                      </p:to>
                                    </p:set>
                                    <p:anim calcmode="lin" valueType="num">
                                      <p:cBhvr>
                                        <p:cTn id="155" dur="500" fill="hold"/>
                                        <p:tgtEl>
                                          <p:spTgt spid="256"/>
                                        </p:tgtEl>
                                        <p:attrNameLst>
                                          <p:attrName>ppt_w</p:attrName>
                                        </p:attrNameLst>
                                      </p:cBhvr>
                                      <p:tavLst>
                                        <p:tav tm="0">
                                          <p:val>
                                            <p:fltVal val="0"/>
                                          </p:val>
                                        </p:tav>
                                        <p:tav tm="100000">
                                          <p:val>
                                            <p:strVal val="#ppt_w"/>
                                          </p:val>
                                        </p:tav>
                                      </p:tavLst>
                                    </p:anim>
                                    <p:anim calcmode="lin" valueType="num">
                                      <p:cBhvr>
                                        <p:cTn id="156" dur="500" fill="hold"/>
                                        <p:tgtEl>
                                          <p:spTgt spid="256"/>
                                        </p:tgtEl>
                                        <p:attrNameLst>
                                          <p:attrName>ppt_h</p:attrName>
                                        </p:attrNameLst>
                                      </p:cBhvr>
                                      <p:tavLst>
                                        <p:tav tm="0">
                                          <p:val>
                                            <p:fltVal val="0"/>
                                          </p:val>
                                        </p:tav>
                                        <p:tav tm="100000">
                                          <p:val>
                                            <p:strVal val="#ppt_h"/>
                                          </p:val>
                                        </p:tav>
                                      </p:tavLst>
                                    </p:anim>
                                    <p:animEffect transition="in" filter="fade">
                                      <p:cBhvr>
                                        <p:cTn id="157" dur="500"/>
                                        <p:tgtEl>
                                          <p:spTgt spid="256"/>
                                        </p:tgtEl>
                                      </p:cBhvr>
                                    </p:animEffect>
                                  </p:childTnLst>
                                </p:cTn>
                              </p:par>
                              <p:par>
                                <p:cTn id="158" presetID="53" presetClass="entr" presetSubtype="16" fill="hold" nodeType="withEffect">
                                  <p:stCondLst>
                                    <p:cond delay="0"/>
                                  </p:stCondLst>
                                  <p:childTnLst>
                                    <p:set>
                                      <p:cBhvr>
                                        <p:cTn id="159" dur="1" fill="hold">
                                          <p:stCondLst>
                                            <p:cond delay="0"/>
                                          </p:stCondLst>
                                        </p:cTn>
                                        <p:tgtEl>
                                          <p:spTgt spid="259"/>
                                        </p:tgtEl>
                                        <p:attrNameLst>
                                          <p:attrName>style.visibility</p:attrName>
                                        </p:attrNameLst>
                                      </p:cBhvr>
                                      <p:to>
                                        <p:strVal val="visible"/>
                                      </p:to>
                                    </p:set>
                                    <p:anim calcmode="lin" valueType="num">
                                      <p:cBhvr>
                                        <p:cTn id="160" dur="500" fill="hold"/>
                                        <p:tgtEl>
                                          <p:spTgt spid="259"/>
                                        </p:tgtEl>
                                        <p:attrNameLst>
                                          <p:attrName>ppt_w</p:attrName>
                                        </p:attrNameLst>
                                      </p:cBhvr>
                                      <p:tavLst>
                                        <p:tav tm="0">
                                          <p:val>
                                            <p:fltVal val="0"/>
                                          </p:val>
                                        </p:tav>
                                        <p:tav tm="100000">
                                          <p:val>
                                            <p:strVal val="#ppt_w"/>
                                          </p:val>
                                        </p:tav>
                                      </p:tavLst>
                                    </p:anim>
                                    <p:anim calcmode="lin" valueType="num">
                                      <p:cBhvr>
                                        <p:cTn id="161" dur="500" fill="hold"/>
                                        <p:tgtEl>
                                          <p:spTgt spid="259"/>
                                        </p:tgtEl>
                                        <p:attrNameLst>
                                          <p:attrName>ppt_h</p:attrName>
                                        </p:attrNameLst>
                                      </p:cBhvr>
                                      <p:tavLst>
                                        <p:tav tm="0">
                                          <p:val>
                                            <p:fltVal val="0"/>
                                          </p:val>
                                        </p:tav>
                                        <p:tav tm="100000">
                                          <p:val>
                                            <p:strVal val="#ppt_h"/>
                                          </p:val>
                                        </p:tav>
                                      </p:tavLst>
                                    </p:anim>
                                    <p:animEffect transition="in" filter="fade">
                                      <p:cBhvr>
                                        <p:cTn id="162" dur="500"/>
                                        <p:tgtEl>
                                          <p:spTgt spid="259"/>
                                        </p:tgtEl>
                                      </p:cBhvr>
                                    </p:animEffect>
                                  </p:childTnLst>
                                </p:cTn>
                              </p:par>
                              <p:par>
                                <p:cTn id="163" presetID="53" presetClass="entr" presetSubtype="16" fill="hold" nodeType="withEffect">
                                  <p:stCondLst>
                                    <p:cond delay="0"/>
                                  </p:stCondLst>
                                  <p:childTnLst>
                                    <p:set>
                                      <p:cBhvr>
                                        <p:cTn id="164" dur="1" fill="hold">
                                          <p:stCondLst>
                                            <p:cond delay="0"/>
                                          </p:stCondLst>
                                        </p:cTn>
                                        <p:tgtEl>
                                          <p:spTgt spid="265"/>
                                        </p:tgtEl>
                                        <p:attrNameLst>
                                          <p:attrName>style.visibility</p:attrName>
                                        </p:attrNameLst>
                                      </p:cBhvr>
                                      <p:to>
                                        <p:strVal val="visible"/>
                                      </p:to>
                                    </p:set>
                                    <p:anim calcmode="lin" valueType="num">
                                      <p:cBhvr>
                                        <p:cTn id="165" dur="500" fill="hold"/>
                                        <p:tgtEl>
                                          <p:spTgt spid="265"/>
                                        </p:tgtEl>
                                        <p:attrNameLst>
                                          <p:attrName>ppt_w</p:attrName>
                                        </p:attrNameLst>
                                      </p:cBhvr>
                                      <p:tavLst>
                                        <p:tav tm="0">
                                          <p:val>
                                            <p:fltVal val="0"/>
                                          </p:val>
                                        </p:tav>
                                        <p:tav tm="100000">
                                          <p:val>
                                            <p:strVal val="#ppt_w"/>
                                          </p:val>
                                        </p:tav>
                                      </p:tavLst>
                                    </p:anim>
                                    <p:anim calcmode="lin" valueType="num">
                                      <p:cBhvr>
                                        <p:cTn id="166" dur="500" fill="hold"/>
                                        <p:tgtEl>
                                          <p:spTgt spid="265"/>
                                        </p:tgtEl>
                                        <p:attrNameLst>
                                          <p:attrName>ppt_h</p:attrName>
                                        </p:attrNameLst>
                                      </p:cBhvr>
                                      <p:tavLst>
                                        <p:tav tm="0">
                                          <p:val>
                                            <p:fltVal val="0"/>
                                          </p:val>
                                        </p:tav>
                                        <p:tav tm="100000">
                                          <p:val>
                                            <p:strVal val="#ppt_h"/>
                                          </p:val>
                                        </p:tav>
                                      </p:tavLst>
                                    </p:anim>
                                    <p:animEffect transition="in" filter="fade">
                                      <p:cBhvr>
                                        <p:cTn id="167" dur="500"/>
                                        <p:tgtEl>
                                          <p:spTgt spid="265"/>
                                        </p:tgtEl>
                                      </p:cBhvr>
                                    </p:animEffect>
                                  </p:childTnLst>
                                </p:cTn>
                              </p:par>
                              <p:par>
                                <p:cTn id="168" presetID="53" presetClass="entr" presetSubtype="16" fill="hold" nodeType="withEffect">
                                  <p:stCondLst>
                                    <p:cond delay="0"/>
                                  </p:stCondLst>
                                  <p:childTnLst>
                                    <p:set>
                                      <p:cBhvr>
                                        <p:cTn id="169" dur="1" fill="hold">
                                          <p:stCondLst>
                                            <p:cond delay="0"/>
                                          </p:stCondLst>
                                        </p:cTn>
                                        <p:tgtEl>
                                          <p:spTgt spid="278"/>
                                        </p:tgtEl>
                                        <p:attrNameLst>
                                          <p:attrName>style.visibility</p:attrName>
                                        </p:attrNameLst>
                                      </p:cBhvr>
                                      <p:to>
                                        <p:strVal val="visible"/>
                                      </p:to>
                                    </p:set>
                                    <p:anim calcmode="lin" valueType="num">
                                      <p:cBhvr>
                                        <p:cTn id="170" dur="500" fill="hold"/>
                                        <p:tgtEl>
                                          <p:spTgt spid="278"/>
                                        </p:tgtEl>
                                        <p:attrNameLst>
                                          <p:attrName>ppt_w</p:attrName>
                                        </p:attrNameLst>
                                      </p:cBhvr>
                                      <p:tavLst>
                                        <p:tav tm="0">
                                          <p:val>
                                            <p:fltVal val="0"/>
                                          </p:val>
                                        </p:tav>
                                        <p:tav tm="100000">
                                          <p:val>
                                            <p:strVal val="#ppt_w"/>
                                          </p:val>
                                        </p:tav>
                                      </p:tavLst>
                                    </p:anim>
                                    <p:anim calcmode="lin" valueType="num">
                                      <p:cBhvr>
                                        <p:cTn id="171" dur="500" fill="hold"/>
                                        <p:tgtEl>
                                          <p:spTgt spid="278"/>
                                        </p:tgtEl>
                                        <p:attrNameLst>
                                          <p:attrName>ppt_h</p:attrName>
                                        </p:attrNameLst>
                                      </p:cBhvr>
                                      <p:tavLst>
                                        <p:tav tm="0">
                                          <p:val>
                                            <p:fltVal val="0"/>
                                          </p:val>
                                        </p:tav>
                                        <p:tav tm="100000">
                                          <p:val>
                                            <p:strVal val="#ppt_h"/>
                                          </p:val>
                                        </p:tav>
                                      </p:tavLst>
                                    </p:anim>
                                    <p:animEffect transition="in" filter="fade">
                                      <p:cBhvr>
                                        <p:cTn id="172" dur="500"/>
                                        <p:tgtEl>
                                          <p:spTgt spid="278"/>
                                        </p:tgtEl>
                                      </p:cBhvr>
                                    </p:animEffect>
                                  </p:childTnLst>
                                </p:cTn>
                              </p:par>
                              <p:par>
                                <p:cTn id="173" presetID="53" presetClass="entr" presetSubtype="16" fill="hold" nodeType="withEffect">
                                  <p:stCondLst>
                                    <p:cond delay="0"/>
                                  </p:stCondLst>
                                  <p:childTnLst>
                                    <p:set>
                                      <p:cBhvr>
                                        <p:cTn id="174" dur="1" fill="hold">
                                          <p:stCondLst>
                                            <p:cond delay="0"/>
                                          </p:stCondLst>
                                        </p:cTn>
                                        <p:tgtEl>
                                          <p:spTgt spid="5"/>
                                        </p:tgtEl>
                                        <p:attrNameLst>
                                          <p:attrName>style.visibility</p:attrName>
                                        </p:attrNameLst>
                                      </p:cBhvr>
                                      <p:to>
                                        <p:strVal val="visible"/>
                                      </p:to>
                                    </p:set>
                                    <p:anim calcmode="lin" valueType="num">
                                      <p:cBhvr>
                                        <p:cTn id="175" dur="500" fill="hold"/>
                                        <p:tgtEl>
                                          <p:spTgt spid="5"/>
                                        </p:tgtEl>
                                        <p:attrNameLst>
                                          <p:attrName>ppt_w</p:attrName>
                                        </p:attrNameLst>
                                      </p:cBhvr>
                                      <p:tavLst>
                                        <p:tav tm="0">
                                          <p:val>
                                            <p:fltVal val="0"/>
                                          </p:val>
                                        </p:tav>
                                        <p:tav tm="100000">
                                          <p:val>
                                            <p:strVal val="#ppt_w"/>
                                          </p:val>
                                        </p:tav>
                                      </p:tavLst>
                                    </p:anim>
                                    <p:anim calcmode="lin" valueType="num">
                                      <p:cBhvr>
                                        <p:cTn id="176" dur="500" fill="hold"/>
                                        <p:tgtEl>
                                          <p:spTgt spid="5"/>
                                        </p:tgtEl>
                                        <p:attrNameLst>
                                          <p:attrName>ppt_h</p:attrName>
                                        </p:attrNameLst>
                                      </p:cBhvr>
                                      <p:tavLst>
                                        <p:tav tm="0">
                                          <p:val>
                                            <p:fltVal val="0"/>
                                          </p:val>
                                        </p:tav>
                                        <p:tav tm="100000">
                                          <p:val>
                                            <p:strVal val="#ppt_h"/>
                                          </p:val>
                                        </p:tav>
                                      </p:tavLst>
                                    </p:anim>
                                    <p:animEffect transition="in" filter="fade">
                                      <p:cBhvr>
                                        <p:cTn id="177" dur="500"/>
                                        <p:tgtEl>
                                          <p:spTgt spid="5"/>
                                        </p:tgtEl>
                                      </p:cBhvr>
                                    </p:animEffect>
                                  </p:childTnLst>
                                </p:cTn>
                              </p:par>
                              <p:par>
                                <p:cTn id="178" presetID="53" presetClass="entr" presetSubtype="16" fill="hold" nodeType="withEffect">
                                  <p:stCondLst>
                                    <p:cond delay="0"/>
                                  </p:stCondLst>
                                  <p:childTnLst>
                                    <p:set>
                                      <p:cBhvr>
                                        <p:cTn id="179" dur="1" fill="hold">
                                          <p:stCondLst>
                                            <p:cond delay="0"/>
                                          </p:stCondLst>
                                        </p:cTn>
                                        <p:tgtEl>
                                          <p:spTgt spid="281"/>
                                        </p:tgtEl>
                                        <p:attrNameLst>
                                          <p:attrName>style.visibility</p:attrName>
                                        </p:attrNameLst>
                                      </p:cBhvr>
                                      <p:to>
                                        <p:strVal val="visible"/>
                                      </p:to>
                                    </p:set>
                                    <p:anim calcmode="lin" valueType="num">
                                      <p:cBhvr>
                                        <p:cTn id="180" dur="500" fill="hold"/>
                                        <p:tgtEl>
                                          <p:spTgt spid="281"/>
                                        </p:tgtEl>
                                        <p:attrNameLst>
                                          <p:attrName>ppt_w</p:attrName>
                                        </p:attrNameLst>
                                      </p:cBhvr>
                                      <p:tavLst>
                                        <p:tav tm="0">
                                          <p:val>
                                            <p:fltVal val="0"/>
                                          </p:val>
                                        </p:tav>
                                        <p:tav tm="100000">
                                          <p:val>
                                            <p:strVal val="#ppt_w"/>
                                          </p:val>
                                        </p:tav>
                                      </p:tavLst>
                                    </p:anim>
                                    <p:anim calcmode="lin" valueType="num">
                                      <p:cBhvr>
                                        <p:cTn id="181" dur="500" fill="hold"/>
                                        <p:tgtEl>
                                          <p:spTgt spid="281"/>
                                        </p:tgtEl>
                                        <p:attrNameLst>
                                          <p:attrName>ppt_h</p:attrName>
                                        </p:attrNameLst>
                                      </p:cBhvr>
                                      <p:tavLst>
                                        <p:tav tm="0">
                                          <p:val>
                                            <p:fltVal val="0"/>
                                          </p:val>
                                        </p:tav>
                                        <p:tav tm="100000">
                                          <p:val>
                                            <p:strVal val="#ppt_h"/>
                                          </p:val>
                                        </p:tav>
                                      </p:tavLst>
                                    </p:anim>
                                    <p:animEffect transition="in" filter="fade">
                                      <p:cBhvr>
                                        <p:cTn id="182" dur="500"/>
                                        <p:tgtEl>
                                          <p:spTgt spid="281"/>
                                        </p:tgtEl>
                                      </p:cBhvr>
                                    </p:animEffect>
                                  </p:childTnLst>
                                </p:cTn>
                              </p:par>
                              <p:par>
                                <p:cTn id="183" presetID="53" presetClass="entr" presetSubtype="16" fill="hold" nodeType="withEffect">
                                  <p:stCondLst>
                                    <p:cond delay="0"/>
                                  </p:stCondLst>
                                  <p:childTnLst>
                                    <p:set>
                                      <p:cBhvr>
                                        <p:cTn id="184" dur="1" fill="hold">
                                          <p:stCondLst>
                                            <p:cond delay="0"/>
                                          </p:stCondLst>
                                        </p:cTn>
                                        <p:tgtEl>
                                          <p:spTgt spid="283"/>
                                        </p:tgtEl>
                                        <p:attrNameLst>
                                          <p:attrName>style.visibility</p:attrName>
                                        </p:attrNameLst>
                                      </p:cBhvr>
                                      <p:to>
                                        <p:strVal val="visible"/>
                                      </p:to>
                                    </p:set>
                                    <p:anim calcmode="lin" valueType="num">
                                      <p:cBhvr>
                                        <p:cTn id="185" dur="500" fill="hold"/>
                                        <p:tgtEl>
                                          <p:spTgt spid="283"/>
                                        </p:tgtEl>
                                        <p:attrNameLst>
                                          <p:attrName>ppt_w</p:attrName>
                                        </p:attrNameLst>
                                      </p:cBhvr>
                                      <p:tavLst>
                                        <p:tav tm="0">
                                          <p:val>
                                            <p:fltVal val="0"/>
                                          </p:val>
                                        </p:tav>
                                        <p:tav tm="100000">
                                          <p:val>
                                            <p:strVal val="#ppt_w"/>
                                          </p:val>
                                        </p:tav>
                                      </p:tavLst>
                                    </p:anim>
                                    <p:anim calcmode="lin" valueType="num">
                                      <p:cBhvr>
                                        <p:cTn id="186" dur="500" fill="hold"/>
                                        <p:tgtEl>
                                          <p:spTgt spid="283"/>
                                        </p:tgtEl>
                                        <p:attrNameLst>
                                          <p:attrName>ppt_h</p:attrName>
                                        </p:attrNameLst>
                                      </p:cBhvr>
                                      <p:tavLst>
                                        <p:tav tm="0">
                                          <p:val>
                                            <p:fltVal val="0"/>
                                          </p:val>
                                        </p:tav>
                                        <p:tav tm="100000">
                                          <p:val>
                                            <p:strVal val="#ppt_h"/>
                                          </p:val>
                                        </p:tav>
                                      </p:tavLst>
                                    </p:anim>
                                    <p:animEffect transition="in" filter="fade">
                                      <p:cBhvr>
                                        <p:cTn id="187" dur="500"/>
                                        <p:tgtEl>
                                          <p:spTgt spid="283"/>
                                        </p:tgtEl>
                                      </p:cBhvr>
                                    </p:animEffect>
                                  </p:childTnLst>
                                </p:cTn>
                              </p:par>
                              <p:par>
                                <p:cTn id="188" presetID="53" presetClass="entr" presetSubtype="16" fill="hold" nodeType="withEffect">
                                  <p:stCondLst>
                                    <p:cond delay="0"/>
                                  </p:stCondLst>
                                  <p:childTnLst>
                                    <p:set>
                                      <p:cBhvr>
                                        <p:cTn id="189" dur="1" fill="hold">
                                          <p:stCondLst>
                                            <p:cond delay="0"/>
                                          </p:stCondLst>
                                        </p:cTn>
                                        <p:tgtEl>
                                          <p:spTgt spid="285"/>
                                        </p:tgtEl>
                                        <p:attrNameLst>
                                          <p:attrName>style.visibility</p:attrName>
                                        </p:attrNameLst>
                                      </p:cBhvr>
                                      <p:to>
                                        <p:strVal val="visible"/>
                                      </p:to>
                                    </p:set>
                                    <p:anim calcmode="lin" valueType="num">
                                      <p:cBhvr>
                                        <p:cTn id="190" dur="500" fill="hold"/>
                                        <p:tgtEl>
                                          <p:spTgt spid="285"/>
                                        </p:tgtEl>
                                        <p:attrNameLst>
                                          <p:attrName>ppt_w</p:attrName>
                                        </p:attrNameLst>
                                      </p:cBhvr>
                                      <p:tavLst>
                                        <p:tav tm="0">
                                          <p:val>
                                            <p:fltVal val="0"/>
                                          </p:val>
                                        </p:tav>
                                        <p:tav tm="100000">
                                          <p:val>
                                            <p:strVal val="#ppt_w"/>
                                          </p:val>
                                        </p:tav>
                                      </p:tavLst>
                                    </p:anim>
                                    <p:anim calcmode="lin" valueType="num">
                                      <p:cBhvr>
                                        <p:cTn id="191" dur="500" fill="hold"/>
                                        <p:tgtEl>
                                          <p:spTgt spid="285"/>
                                        </p:tgtEl>
                                        <p:attrNameLst>
                                          <p:attrName>ppt_h</p:attrName>
                                        </p:attrNameLst>
                                      </p:cBhvr>
                                      <p:tavLst>
                                        <p:tav tm="0">
                                          <p:val>
                                            <p:fltVal val="0"/>
                                          </p:val>
                                        </p:tav>
                                        <p:tav tm="100000">
                                          <p:val>
                                            <p:strVal val="#ppt_h"/>
                                          </p:val>
                                        </p:tav>
                                      </p:tavLst>
                                    </p:anim>
                                    <p:animEffect transition="in" filter="fade">
                                      <p:cBhvr>
                                        <p:cTn id="192" dur="500"/>
                                        <p:tgtEl>
                                          <p:spTgt spid="285"/>
                                        </p:tgtEl>
                                      </p:cBhvr>
                                    </p:animEffect>
                                  </p:childTnLst>
                                </p:cTn>
                              </p:par>
                              <p:par>
                                <p:cTn id="193" presetID="53" presetClass="entr" presetSubtype="16" fill="hold" nodeType="withEffect">
                                  <p:stCondLst>
                                    <p:cond delay="0"/>
                                  </p:stCondLst>
                                  <p:childTnLst>
                                    <p:set>
                                      <p:cBhvr>
                                        <p:cTn id="194" dur="1" fill="hold">
                                          <p:stCondLst>
                                            <p:cond delay="0"/>
                                          </p:stCondLst>
                                        </p:cTn>
                                        <p:tgtEl>
                                          <p:spTgt spid="290"/>
                                        </p:tgtEl>
                                        <p:attrNameLst>
                                          <p:attrName>style.visibility</p:attrName>
                                        </p:attrNameLst>
                                      </p:cBhvr>
                                      <p:to>
                                        <p:strVal val="visible"/>
                                      </p:to>
                                    </p:set>
                                    <p:anim calcmode="lin" valueType="num">
                                      <p:cBhvr>
                                        <p:cTn id="195" dur="500" fill="hold"/>
                                        <p:tgtEl>
                                          <p:spTgt spid="290"/>
                                        </p:tgtEl>
                                        <p:attrNameLst>
                                          <p:attrName>ppt_w</p:attrName>
                                        </p:attrNameLst>
                                      </p:cBhvr>
                                      <p:tavLst>
                                        <p:tav tm="0">
                                          <p:val>
                                            <p:fltVal val="0"/>
                                          </p:val>
                                        </p:tav>
                                        <p:tav tm="100000">
                                          <p:val>
                                            <p:strVal val="#ppt_w"/>
                                          </p:val>
                                        </p:tav>
                                      </p:tavLst>
                                    </p:anim>
                                    <p:anim calcmode="lin" valueType="num">
                                      <p:cBhvr>
                                        <p:cTn id="196" dur="500" fill="hold"/>
                                        <p:tgtEl>
                                          <p:spTgt spid="290"/>
                                        </p:tgtEl>
                                        <p:attrNameLst>
                                          <p:attrName>ppt_h</p:attrName>
                                        </p:attrNameLst>
                                      </p:cBhvr>
                                      <p:tavLst>
                                        <p:tav tm="0">
                                          <p:val>
                                            <p:fltVal val="0"/>
                                          </p:val>
                                        </p:tav>
                                        <p:tav tm="100000">
                                          <p:val>
                                            <p:strVal val="#ppt_h"/>
                                          </p:val>
                                        </p:tav>
                                      </p:tavLst>
                                    </p:anim>
                                    <p:animEffect transition="in" filter="fade">
                                      <p:cBhvr>
                                        <p:cTn id="197" dur="500"/>
                                        <p:tgtEl>
                                          <p:spTgt spid="290"/>
                                        </p:tgtEl>
                                      </p:cBhvr>
                                    </p:animEffect>
                                  </p:childTnLst>
                                </p:cTn>
                              </p:par>
                            </p:childTnLst>
                          </p:cTn>
                        </p:par>
                      </p:childTnLst>
                    </p:cTn>
                  </p:par>
                  <p:par>
                    <p:cTn id="198" fill="hold">
                      <p:stCondLst>
                        <p:cond delay="indefinite"/>
                      </p:stCondLst>
                      <p:childTnLst>
                        <p:par>
                          <p:cTn id="199" fill="hold">
                            <p:stCondLst>
                              <p:cond delay="0"/>
                            </p:stCondLst>
                            <p:childTnLst>
                              <p:par>
                                <p:cTn id="200" presetID="53" presetClass="entr" presetSubtype="16" fill="hold" nodeType="clickEffect">
                                  <p:stCondLst>
                                    <p:cond delay="0"/>
                                  </p:stCondLst>
                                  <p:childTnLst>
                                    <p:set>
                                      <p:cBhvr>
                                        <p:cTn id="201" dur="1" fill="hold">
                                          <p:stCondLst>
                                            <p:cond delay="0"/>
                                          </p:stCondLst>
                                        </p:cTn>
                                        <p:tgtEl>
                                          <p:spTgt spid="384"/>
                                        </p:tgtEl>
                                        <p:attrNameLst>
                                          <p:attrName>style.visibility</p:attrName>
                                        </p:attrNameLst>
                                      </p:cBhvr>
                                      <p:to>
                                        <p:strVal val="visible"/>
                                      </p:to>
                                    </p:set>
                                    <p:anim calcmode="lin" valueType="num">
                                      <p:cBhvr>
                                        <p:cTn id="202" dur="500" fill="hold"/>
                                        <p:tgtEl>
                                          <p:spTgt spid="384"/>
                                        </p:tgtEl>
                                        <p:attrNameLst>
                                          <p:attrName>ppt_w</p:attrName>
                                        </p:attrNameLst>
                                      </p:cBhvr>
                                      <p:tavLst>
                                        <p:tav tm="0">
                                          <p:val>
                                            <p:fltVal val="0"/>
                                          </p:val>
                                        </p:tav>
                                        <p:tav tm="100000">
                                          <p:val>
                                            <p:strVal val="#ppt_w"/>
                                          </p:val>
                                        </p:tav>
                                      </p:tavLst>
                                    </p:anim>
                                    <p:anim calcmode="lin" valueType="num">
                                      <p:cBhvr>
                                        <p:cTn id="203" dur="500" fill="hold"/>
                                        <p:tgtEl>
                                          <p:spTgt spid="384"/>
                                        </p:tgtEl>
                                        <p:attrNameLst>
                                          <p:attrName>ppt_h</p:attrName>
                                        </p:attrNameLst>
                                      </p:cBhvr>
                                      <p:tavLst>
                                        <p:tav tm="0">
                                          <p:val>
                                            <p:fltVal val="0"/>
                                          </p:val>
                                        </p:tav>
                                        <p:tav tm="100000">
                                          <p:val>
                                            <p:strVal val="#ppt_h"/>
                                          </p:val>
                                        </p:tav>
                                      </p:tavLst>
                                    </p:anim>
                                    <p:animEffect transition="in" filter="fade">
                                      <p:cBhvr>
                                        <p:cTn id="204" dur="500"/>
                                        <p:tgtEl>
                                          <p:spTgt spid="384"/>
                                        </p:tgtEl>
                                      </p:cBhvr>
                                    </p:animEffect>
                                  </p:childTnLst>
                                </p:cTn>
                              </p:par>
                              <p:par>
                                <p:cTn id="205" presetID="10" presetClass="entr" presetSubtype="0" fill="hold" nodeType="withEffect">
                                  <p:stCondLst>
                                    <p:cond delay="0"/>
                                  </p:stCondLst>
                                  <p:childTnLst>
                                    <p:set>
                                      <p:cBhvr>
                                        <p:cTn id="206" dur="1" fill="hold">
                                          <p:stCondLst>
                                            <p:cond delay="0"/>
                                          </p:stCondLst>
                                        </p:cTn>
                                        <p:tgtEl>
                                          <p:spTgt spid="291"/>
                                        </p:tgtEl>
                                        <p:attrNameLst>
                                          <p:attrName>style.visibility</p:attrName>
                                        </p:attrNameLst>
                                      </p:cBhvr>
                                      <p:to>
                                        <p:strVal val="visible"/>
                                      </p:to>
                                    </p:set>
                                    <p:animEffect transition="in" filter="fade">
                                      <p:cBhvr>
                                        <p:cTn id="207" dur="500"/>
                                        <p:tgtEl>
                                          <p:spTgt spid="291"/>
                                        </p:tgtEl>
                                      </p:cBhvr>
                                    </p:animEffect>
                                  </p:childTnLst>
                                </p:cTn>
                              </p:par>
                              <p:par>
                                <p:cTn id="208" presetID="53" presetClass="entr" presetSubtype="16" fill="hold" nodeType="withEffect">
                                  <p:stCondLst>
                                    <p:cond delay="0"/>
                                  </p:stCondLst>
                                  <p:childTnLst>
                                    <p:set>
                                      <p:cBhvr>
                                        <p:cTn id="209" dur="1" fill="hold">
                                          <p:stCondLst>
                                            <p:cond delay="0"/>
                                          </p:stCondLst>
                                        </p:cTn>
                                        <p:tgtEl>
                                          <p:spTgt spid="390"/>
                                        </p:tgtEl>
                                        <p:attrNameLst>
                                          <p:attrName>style.visibility</p:attrName>
                                        </p:attrNameLst>
                                      </p:cBhvr>
                                      <p:to>
                                        <p:strVal val="visible"/>
                                      </p:to>
                                    </p:set>
                                    <p:anim calcmode="lin" valueType="num">
                                      <p:cBhvr>
                                        <p:cTn id="210" dur="500" fill="hold"/>
                                        <p:tgtEl>
                                          <p:spTgt spid="390"/>
                                        </p:tgtEl>
                                        <p:attrNameLst>
                                          <p:attrName>ppt_w</p:attrName>
                                        </p:attrNameLst>
                                      </p:cBhvr>
                                      <p:tavLst>
                                        <p:tav tm="0">
                                          <p:val>
                                            <p:fltVal val="0"/>
                                          </p:val>
                                        </p:tav>
                                        <p:tav tm="100000">
                                          <p:val>
                                            <p:strVal val="#ppt_w"/>
                                          </p:val>
                                        </p:tav>
                                      </p:tavLst>
                                    </p:anim>
                                    <p:anim calcmode="lin" valueType="num">
                                      <p:cBhvr>
                                        <p:cTn id="211" dur="500" fill="hold"/>
                                        <p:tgtEl>
                                          <p:spTgt spid="390"/>
                                        </p:tgtEl>
                                        <p:attrNameLst>
                                          <p:attrName>ppt_h</p:attrName>
                                        </p:attrNameLst>
                                      </p:cBhvr>
                                      <p:tavLst>
                                        <p:tav tm="0">
                                          <p:val>
                                            <p:fltVal val="0"/>
                                          </p:val>
                                        </p:tav>
                                        <p:tav tm="100000">
                                          <p:val>
                                            <p:strVal val="#ppt_h"/>
                                          </p:val>
                                        </p:tav>
                                      </p:tavLst>
                                    </p:anim>
                                    <p:animEffect transition="in" filter="fade">
                                      <p:cBhvr>
                                        <p:cTn id="212" dur="500"/>
                                        <p:tgtEl>
                                          <p:spTgt spid="390"/>
                                        </p:tgtEl>
                                      </p:cBhvr>
                                    </p:animEffect>
                                  </p:childTnLst>
                                </p:cTn>
                              </p:par>
                              <p:par>
                                <p:cTn id="213" presetID="53" presetClass="entr" presetSubtype="16" fill="hold" nodeType="withEffect">
                                  <p:stCondLst>
                                    <p:cond delay="0"/>
                                  </p:stCondLst>
                                  <p:childTnLst>
                                    <p:set>
                                      <p:cBhvr>
                                        <p:cTn id="214" dur="1" fill="hold">
                                          <p:stCondLst>
                                            <p:cond delay="0"/>
                                          </p:stCondLst>
                                        </p:cTn>
                                        <p:tgtEl>
                                          <p:spTgt spid="378"/>
                                        </p:tgtEl>
                                        <p:attrNameLst>
                                          <p:attrName>style.visibility</p:attrName>
                                        </p:attrNameLst>
                                      </p:cBhvr>
                                      <p:to>
                                        <p:strVal val="visible"/>
                                      </p:to>
                                    </p:set>
                                    <p:anim calcmode="lin" valueType="num">
                                      <p:cBhvr>
                                        <p:cTn id="215" dur="500" fill="hold"/>
                                        <p:tgtEl>
                                          <p:spTgt spid="378"/>
                                        </p:tgtEl>
                                        <p:attrNameLst>
                                          <p:attrName>ppt_w</p:attrName>
                                        </p:attrNameLst>
                                      </p:cBhvr>
                                      <p:tavLst>
                                        <p:tav tm="0">
                                          <p:val>
                                            <p:fltVal val="0"/>
                                          </p:val>
                                        </p:tav>
                                        <p:tav tm="100000">
                                          <p:val>
                                            <p:strVal val="#ppt_w"/>
                                          </p:val>
                                        </p:tav>
                                      </p:tavLst>
                                    </p:anim>
                                    <p:anim calcmode="lin" valueType="num">
                                      <p:cBhvr>
                                        <p:cTn id="216" dur="500" fill="hold"/>
                                        <p:tgtEl>
                                          <p:spTgt spid="378"/>
                                        </p:tgtEl>
                                        <p:attrNameLst>
                                          <p:attrName>ppt_h</p:attrName>
                                        </p:attrNameLst>
                                      </p:cBhvr>
                                      <p:tavLst>
                                        <p:tav tm="0">
                                          <p:val>
                                            <p:fltVal val="0"/>
                                          </p:val>
                                        </p:tav>
                                        <p:tav tm="100000">
                                          <p:val>
                                            <p:strVal val="#ppt_h"/>
                                          </p:val>
                                        </p:tav>
                                      </p:tavLst>
                                    </p:anim>
                                    <p:animEffect transition="in" filter="fade">
                                      <p:cBhvr>
                                        <p:cTn id="217" dur="500"/>
                                        <p:tgtEl>
                                          <p:spTgt spid="378"/>
                                        </p:tgtEl>
                                      </p:cBhvr>
                                    </p:animEffect>
                                  </p:childTnLst>
                                </p:cTn>
                              </p:par>
                              <p:par>
                                <p:cTn id="218" presetID="53" presetClass="entr" presetSubtype="16" fill="hold" nodeType="withEffect">
                                  <p:stCondLst>
                                    <p:cond delay="0"/>
                                  </p:stCondLst>
                                  <p:childTnLst>
                                    <p:set>
                                      <p:cBhvr>
                                        <p:cTn id="219" dur="1" fill="hold">
                                          <p:stCondLst>
                                            <p:cond delay="0"/>
                                          </p:stCondLst>
                                        </p:cTn>
                                        <p:tgtEl>
                                          <p:spTgt spid="372"/>
                                        </p:tgtEl>
                                        <p:attrNameLst>
                                          <p:attrName>style.visibility</p:attrName>
                                        </p:attrNameLst>
                                      </p:cBhvr>
                                      <p:to>
                                        <p:strVal val="visible"/>
                                      </p:to>
                                    </p:set>
                                    <p:anim calcmode="lin" valueType="num">
                                      <p:cBhvr>
                                        <p:cTn id="220" dur="500" fill="hold"/>
                                        <p:tgtEl>
                                          <p:spTgt spid="372"/>
                                        </p:tgtEl>
                                        <p:attrNameLst>
                                          <p:attrName>ppt_w</p:attrName>
                                        </p:attrNameLst>
                                      </p:cBhvr>
                                      <p:tavLst>
                                        <p:tav tm="0">
                                          <p:val>
                                            <p:fltVal val="0"/>
                                          </p:val>
                                        </p:tav>
                                        <p:tav tm="100000">
                                          <p:val>
                                            <p:strVal val="#ppt_w"/>
                                          </p:val>
                                        </p:tav>
                                      </p:tavLst>
                                    </p:anim>
                                    <p:anim calcmode="lin" valueType="num">
                                      <p:cBhvr>
                                        <p:cTn id="221" dur="500" fill="hold"/>
                                        <p:tgtEl>
                                          <p:spTgt spid="372"/>
                                        </p:tgtEl>
                                        <p:attrNameLst>
                                          <p:attrName>ppt_h</p:attrName>
                                        </p:attrNameLst>
                                      </p:cBhvr>
                                      <p:tavLst>
                                        <p:tav tm="0">
                                          <p:val>
                                            <p:fltVal val="0"/>
                                          </p:val>
                                        </p:tav>
                                        <p:tav tm="100000">
                                          <p:val>
                                            <p:strVal val="#ppt_h"/>
                                          </p:val>
                                        </p:tav>
                                      </p:tavLst>
                                    </p:anim>
                                    <p:animEffect transition="in" filter="fade">
                                      <p:cBhvr>
                                        <p:cTn id="222" dur="500"/>
                                        <p:tgtEl>
                                          <p:spTgt spid="372"/>
                                        </p:tgtEl>
                                      </p:cBhvr>
                                    </p:animEffect>
                                  </p:childTnLst>
                                </p:cTn>
                              </p:par>
                              <p:par>
                                <p:cTn id="223" presetID="53" presetClass="entr" presetSubtype="16" fill="hold" nodeType="withEffect">
                                  <p:stCondLst>
                                    <p:cond delay="0"/>
                                  </p:stCondLst>
                                  <p:childTnLst>
                                    <p:set>
                                      <p:cBhvr>
                                        <p:cTn id="224" dur="1" fill="hold">
                                          <p:stCondLst>
                                            <p:cond delay="0"/>
                                          </p:stCondLst>
                                        </p:cTn>
                                        <p:tgtEl>
                                          <p:spTgt spid="366"/>
                                        </p:tgtEl>
                                        <p:attrNameLst>
                                          <p:attrName>style.visibility</p:attrName>
                                        </p:attrNameLst>
                                      </p:cBhvr>
                                      <p:to>
                                        <p:strVal val="visible"/>
                                      </p:to>
                                    </p:set>
                                    <p:anim calcmode="lin" valueType="num">
                                      <p:cBhvr>
                                        <p:cTn id="225" dur="500" fill="hold"/>
                                        <p:tgtEl>
                                          <p:spTgt spid="366"/>
                                        </p:tgtEl>
                                        <p:attrNameLst>
                                          <p:attrName>ppt_w</p:attrName>
                                        </p:attrNameLst>
                                      </p:cBhvr>
                                      <p:tavLst>
                                        <p:tav tm="0">
                                          <p:val>
                                            <p:fltVal val="0"/>
                                          </p:val>
                                        </p:tav>
                                        <p:tav tm="100000">
                                          <p:val>
                                            <p:strVal val="#ppt_w"/>
                                          </p:val>
                                        </p:tav>
                                      </p:tavLst>
                                    </p:anim>
                                    <p:anim calcmode="lin" valueType="num">
                                      <p:cBhvr>
                                        <p:cTn id="226" dur="500" fill="hold"/>
                                        <p:tgtEl>
                                          <p:spTgt spid="366"/>
                                        </p:tgtEl>
                                        <p:attrNameLst>
                                          <p:attrName>ppt_h</p:attrName>
                                        </p:attrNameLst>
                                      </p:cBhvr>
                                      <p:tavLst>
                                        <p:tav tm="0">
                                          <p:val>
                                            <p:fltVal val="0"/>
                                          </p:val>
                                        </p:tav>
                                        <p:tav tm="100000">
                                          <p:val>
                                            <p:strVal val="#ppt_h"/>
                                          </p:val>
                                        </p:tav>
                                      </p:tavLst>
                                    </p:anim>
                                    <p:animEffect transition="in" filter="fade">
                                      <p:cBhvr>
                                        <p:cTn id="227" dur="500"/>
                                        <p:tgtEl>
                                          <p:spTgt spid="366"/>
                                        </p:tgtEl>
                                      </p:cBhvr>
                                    </p:animEffect>
                                  </p:childTnLst>
                                </p:cTn>
                              </p:par>
                              <p:par>
                                <p:cTn id="228" presetID="53" presetClass="entr" presetSubtype="16" fill="hold" nodeType="withEffect">
                                  <p:stCondLst>
                                    <p:cond delay="0"/>
                                  </p:stCondLst>
                                  <p:childTnLst>
                                    <p:set>
                                      <p:cBhvr>
                                        <p:cTn id="229" dur="1" fill="hold">
                                          <p:stCondLst>
                                            <p:cond delay="0"/>
                                          </p:stCondLst>
                                        </p:cTn>
                                        <p:tgtEl>
                                          <p:spTgt spid="276"/>
                                        </p:tgtEl>
                                        <p:attrNameLst>
                                          <p:attrName>style.visibility</p:attrName>
                                        </p:attrNameLst>
                                      </p:cBhvr>
                                      <p:to>
                                        <p:strVal val="visible"/>
                                      </p:to>
                                    </p:set>
                                    <p:anim calcmode="lin" valueType="num">
                                      <p:cBhvr>
                                        <p:cTn id="230" dur="500" fill="hold"/>
                                        <p:tgtEl>
                                          <p:spTgt spid="276"/>
                                        </p:tgtEl>
                                        <p:attrNameLst>
                                          <p:attrName>ppt_w</p:attrName>
                                        </p:attrNameLst>
                                      </p:cBhvr>
                                      <p:tavLst>
                                        <p:tav tm="0">
                                          <p:val>
                                            <p:fltVal val="0"/>
                                          </p:val>
                                        </p:tav>
                                        <p:tav tm="100000">
                                          <p:val>
                                            <p:strVal val="#ppt_w"/>
                                          </p:val>
                                        </p:tav>
                                      </p:tavLst>
                                    </p:anim>
                                    <p:anim calcmode="lin" valueType="num">
                                      <p:cBhvr>
                                        <p:cTn id="231" dur="500" fill="hold"/>
                                        <p:tgtEl>
                                          <p:spTgt spid="276"/>
                                        </p:tgtEl>
                                        <p:attrNameLst>
                                          <p:attrName>ppt_h</p:attrName>
                                        </p:attrNameLst>
                                      </p:cBhvr>
                                      <p:tavLst>
                                        <p:tav tm="0">
                                          <p:val>
                                            <p:fltVal val="0"/>
                                          </p:val>
                                        </p:tav>
                                        <p:tav tm="100000">
                                          <p:val>
                                            <p:strVal val="#ppt_h"/>
                                          </p:val>
                                        </p:tav>
                                      </p:tavLst>
                                    </p:anim>
                                    <p:animEffect transition="in" filter="fade">
                                      <p:cBhvr>
                                        <p:cTn id="232" dur="500"/>
                                        <p:tgtEl>
                                          <p:spTgt spid="276"/>
                                        </p:tgtEl>
                                      </p:cBhvr>
                                    </p:animEffect>
                                  </p:childTnLst>
                                </p:cTn>
                              </p:par>
                              <p:par>
                                <p:cTn id="233" presetID="53" presetClass="entr" presetSubtype="16" fill="hold" nodeType="withEffect">
                                  <p:stCondLst>
                                    <p:cond delay="0"/>
                                  </p:stCondLst>
                                  <p:childTnLst>
                                    <p:set>
                                      <p:cBhvr>
                                        <p:cTn id="234" dur="1" fill="hold">
                                          <p:stCondLst>
                                            <p:cond delay="0"/>
                                          </p:stCondLst>
                                        </p:cTn>
                                        <p:tgtEl>
                                          <p:spTgt spid="264"/>
                                        </p:tgtEl>
                                        <p:attrNameLst>
                                          <p:attrName>style.visibility</p:attrName>
                                        </p:attrNameLst>
                                      </p:cBhvr>
                                      <p:to>
                                        <p:strVal val="visible"/>
                                      </p:to>
                                    </p:set>
                                    <p:anim calcmode="lin" valueType="num">
                                      <p:cBhvr>
                                        <p:cTn id="235" dur="500" fill="hold"/>
                                        <p:tgtEl>
                                          <p:spTgt spid="264"/>
                                        </p:tgtEl>
                                        <p:attrNameLst>
                                          <p:attrName>ppt_w</p:attrName>
                                        </p:attrNameLst>
                                      </p:cBhvr>
                                      <p:tavLst>
                                        <p:tav tm="0">
                                          <p:val>
                                            <p:fltVal val="0"/>
                                          </p:val>
                                        </p:tav>
                                        <p:tav tm="100000">
                                          <p:val>
                                            <p:strVal val="#ppt_w"/>
                                          </p:val>
                                        </p:tav>
                                      </p:tavLst>
                                    </p:anim>
                                    <p:anim calcmode="lin" valueType="num">
                                      <p:cBhvr>
                                        <p:cTn id="236" dur="500" fill="hold"/>
                                        <p:tgtEl>
                                          <p:spTgt spid="264"/>
                                        </p:tgtEl>
                                        <p:attrNameLst>
                                          <p:attrName>ppt_h</p:attrName>
                                        </p:attrNameLst>
                                      </p:cBhvr>
                                      <p:tavLst>
                                        <p:tav tm="0">
                                          <p:val>
                                            <p:fltVal val="0"/>
                                          </p:val>
                                        </p:tav>
                                        <p:tav tm="100000">
                                          <p:val>
                                            <p:strVal val="#ppt_h"/>
                                          </p:val>
                                        </p:tav>
                                      </p:tavLst>
                                    </p:anim>
                                    <p:animEffect transition="in" filter="fade">
                                      <p:cBhvr>
                                        <p:cTn id="237" dur="500"/>
                                        <p:tgtEl>
                                          <p:spTgt spid="264"/>
                                        </p:tgtEl>
                                      </p:cBhvr>
                                    </p:animEffect>
                                  </p:childTnLst>
                                </p:cTn>
                              </p:par>
                              <p:par>
                                <p:cTn id="238" presetID="53" presetClass="entr" presetSubtype="16" fill="hold" nodeType="withEffect">
                                  <p:stCondLst>
                                    <p:cond delay="0"/>
                                  </p:stCondLst>
                                  <p:childTnLst>
                                    <p:set>
                                      <p:cBhvr>
                                        <p:cTn id="239" dur="1" fill="hold">
                                          <p:stCondLst>
                                            <p:cond delay="0"/>
                                          </p:stCondLst>
                                        </p:cTn>
                                        <p:tgtEl>
                                          <p:spTgt spid="292"/>
                                        </p:tgtEl>
                                        <p:attrNameLst>
                                          <p:attrName>style.visibility</p:attrName>
                                        </p:attrNameLst>
                                      </p:cBhvr>
                                      <p:to>
                                        <p:strVal val="visible"/>
                                      </p:to>
                                    </p:set>
                                    <p:anim calcmode="lin" valueType="num">
                                      <p:cBhvr>
                                        <p:cTn id="240" dur="500" fill="hold"/>
                                        <p:tgtEl>
                                          <p:spTgt spid="292"/>
                                        </p:tgtEl>
                                        <p:attrNameLst>
                                          <p:attrName>ppt_w</p:attrName>
                                        </p:attrNameLst>
                                      </p:cBhvr>
                                      <p:tavLst>
                                        <p:tav tm="0">
                                          <p:val>
                                            <p:fltVal val="0"/>
                                          </p:val>
                                        </p:tav>
                                        <p:tav tm="100000">
                                          <p:val>
                                            <p:strVal val="#ppt_w"/>
                                          </p:val>
                                        </p:tav>
                                      </p:tavLst>
                                    </p:anim>
                                    <p:anim calcmode="lin" valueType="num">
                                      <p:cBhvr>
                                        <p:cTn id="241" dur="500" fill="hold"/>
                                        <p:tgtEl>
                                          <p:spTgt spid="292"/>
                                        </p:tgtEl>
                                        <p:attrNameLst>
                                          <p:attrName>ppt_h</p:attrName>
                                        </p:attrNameLst>
                                      </p:cBhvr>
                                      <p:tavLst>
                                        <p:tav tm="0">
                                          <p:val>
                                            <p:fltVal val="0"/>
                                          </p:val>
                                        </p:tav>
                                        <p:tav tm="100000">
                                          <p:val>
                                            <p:strVal val="#ppt_h"/>
                                          </p:val>
                                        </p:tav>
                                      </p:tavLst>
                                    </p:anim>
                                    <p:animEffect transition="in" filter="fade">
                                      <p:cBhvr>
                                        <p:cTn id="242" dur="500"/>
                                        <p:tgtEl>
                                          <p:spTgt spid="292"/>
                                        </p:tgtEl>
                                      </p:cBhvr>
                                    </p:animEffect>
                                  </p:childTnLst>
                                </p:cTn>
                              </p:par>
                            </p:childTnLst>
                          </p:cTn>
                        </p:par>
                        <p:par>
                          <p:cTn id="243" fill="hold">
                            <p:stCondLst>
                              <p:cond delay="500"/>
                            </p:stCondLst>
                            <p:childTnLst>
                              <p:par>
                                <p:cTn id="244" presetID="35" presetClass="emph" presetSubtype="0" repeatCount="3000" fill="hold" nodeType="afterEffect">
                                  <p:stCondLst>
                                    <p:cond delay="0"/>
                                  </p:stCondLst>
                                  <p:childTnLst>
                                    <p:anim calcmode="discrete" valueType="str">
                                      <p:cBhvr>
                                        <p:cTn id="245" dur="150" fill="hold"/>
                                        <p:tgtEl>
                                          <p:spTgt spid="384"/>
                                        </p:tgtEl>
                                        <p:attrNameLst>
                                          <p:attrName>style.visibility</p:attrName>
                                        </p:attrNameLst>
                                      </p:cBhvr>
                                      <p:tavLst>
                                        <p:tav tm="0">
                                          <p:val>
                                            <p:strVal val="hidden"/>
                                          </p:val>
                                        </p:tav>
                                        <p:tav tm="50000">
                                          <p:val>
                                            <p:strVal val="visible"/>
                                          </p:val>
                                        </p:tav>
                                      </p:tavLst>
                                    </p:anim>
                                  </p:childTnLst>
                                </p:cTn>
                              </p:par>
                              <p:par>
                                <p:cTn id="246" presetID="35" presetClass="emph" presetSubtype="0" repeatCount="3000" fill="hold" nodeType="withEffect">
                                  <p:stCondLst>
                                    <p:cond delay="0"/>
                                  </p:stCondLst>
                                  <p:childTnLst>
                                    <p:anim calcmode="discrete" valueType="str">
                                      <p:cBhvr>
                                        <p:cTn id="247" dur="150" fill="hold"/>
                                        <p:tgtEl>
                                          <p:spTgt spid="390"/>
                                        </p:tgtEl>
                                        <p:attrNameLst>
                                          <p:attrName>style.visibility</p:attrName>
                                        </p:attrNameLst>
                                      </p:cBhvr>
                                      <p:tavLst>
                                        <p:tav tm="0">
                                          <p:val>
                                            <p:strVal val="hidden"/>
                                          </p:val>
                                        </p:tav>
                                        <p:tav tm="50000">
                                          <p:val>
                                            <p:strVal val="visible"/>
                                          </p:val>
                                        </p:tav>
                                      </p:tavLst>
                                    </p:anim>
                                  </p:childTnLst>
                                </p:cTn>
                              </p:par>
                              <p:par>
                                <p:cTn id="248" presetID="35" presetClass="emph" presetSubtype="0" repeatCount="3000" fill="hold" nodeType="withEffect">
                                  <p:stCondLst>
                                    <p:cond delay="0"/>
                                  </p:stCondLst>
                                  <p:childTnLst>
                                    <p:anim calcmode="discrete" valueType="str">
                                      <p:cBhvr>
                                        <p:cTn id="249" dur="150" fill="hold"/>
                                        <p:tgtEl>
                                          <p:spTgt spid="378"/>
                                        </p:tgtEl>
                                        <p:attrNameLst>
                                          <p:attrName>style.visibility</p:attrName>
                                        </p:attrNameLst>
                                      </p:cBhvr>
                                      <p:tavLst>
                                        <p:tav tm="0">
                                          <p:val>
                                            <p:strVal val="hidden"/>
                                          </p:val>
                                        </p:tav>
                                        <p:tav tm="50000">
                                          <p:val>
                                            <p:strVal val="visible"/>
                                          </p:val>
                                        </p:tav>
                                      </p:tavLst>
                                    </p:anim>
                                  </p:childTnLst>
                                </p:cTn>
                              </p:par>
                              <p:par>
                                <p:cTn id="250" presetID="35" presetClass="emph" presetSubtype="0" repeatCount="3000" fill="hold" nodeType="withEffect">
                                  <p:stCondLst>
                                    <p:cond delay="0"/>
                                  </p:stCondLst>
                                  <p:childTnLst>
                                    <p:anim calcmode="discrete" valueType="str">
                                      <p:cBhvr>
                                        <p:cTn id="251" dur="150" fill="hold"/>
                                        <p:tgtEl>
                                          <p:spTgt spid="372"/>
                                        </p:tgtEl>
                                        <p:attrNameLst>
                                          <p:attrName>style.visibility</p:attrName>
                                        </p:attrNameLst>
                                      </p:cBhvr>
                                      <p:tavLst>
                                        <p:tav tm="0">
                                          <p:val>
                                            <p:strVal val="hidden"/>
                                          </p:val>
                                        </p:tav>
                                        <p:tav tm="50000">
                                          <p:val>
                                            <p:strVal val="visible"/>
                                          </p:val>
                                        </p:tav>
                                      </p:tavLst>
                                    </p:anim>
                                  </p:childTnLst>
                                </p:cTn>
                              </p:par>
                              <p:par>
                                <p:cTn id="252" presetID="35" presetClass="emph" presetSubtype="0" repeatCount="3000" fill="hold" nodeType="withEffect">
                                  <p:stCondLst>
                                    <p:cond delay="0"/>
                                  </p:stCondLst>
                                  <p:childTnLst>
                                    <p:anim calcmode="discrete" valueType="str">
                                      <p:cBhvr>
                                        <p:cTn id="253" dur="150" fill="hold"/>
                                        <p:tgtEl>
                                          <p:spTgt spid="366"/>
                                        </p:tgtEl>
                                        <p:attrNameLst>
                                          <p:attrName>style.visibility</p:attrName>
                                        </p:attrNameLst>
                                      </p:cBhvr>
                                      <p:tavLst>
                                        <p:tav tm="0">
                                          <p:val>
                                            <p:strVal val="hidden"/>
                                          </p:val>
                                        </p:tav>
                                        <p:tav tm="50000">
                                          <p:val>
                                            <p:strVal val="visible"/>
                                          </p:val>
                                        </p:tav>
                                      </p:tavLst>
                                    </p:anim>
                                  </p:childTnLst>
                                </p:cTn>
                              </p:par>
                              <p:par>
                                <p:cTn id="254" presetID="35" presetClass="emph" presetSubtype="0" repeatCount="3000" fill="hold" nodeType="withEffect">
                                  <p:stCondLst>
                                    <p:cond delay="0"/>
                                  </p:stCondLst>
                                  <p:childTnLst>
                                    <p:anim calcmode="discrete" valueType="str">
                                      <p:cBhvr>
                                        <p:cTn id="255" dur="150" fill="hold"/>
                                        <p:tgtEl>
                                          <p:spTgt spid="276"/>
                                        </p:tgtEl>
                                        <p:attrNameLst>
                                          <p:attrName>style.visibility</p:attrName>
                                        </p:attrNameLst>
                                      </p:cBhvr>
                                      <p:tavLst>
                                        <p:tav tm="0">
                                          <p:val>
                                            <p:strVal val="hidden"/>
                                          </p:val>
                                        </p:tav>
                                        <p:tav tm="50000">
                                          <p:val>
                                            <p:strVal val="visible"/>
                                          </p:val>
                                        </p:tav>
                                      </p:tavLst>
                                    </p:anim>
                                  </p:childTnLst>
                                </p:cTn>
                              </p:par>
                              <p:par>
                                <p:cTn id="256" presetID="35" presetClass="emph" presetSubtype="0" repeatCount="3000" fill="hold" nodeType="withEffect">
                                  <p:stCondLst>
                                    <p:cond delay="0"/>
                                  </p:stCondLst>
                                  <p:childTnLst>
                                    <p:anim calcmode="discrete" valueType="str">
                                      <p:cBhvr>
                                        <p:cTn id="257" dur="150" fill="hold"/>
                                        <p:tgtEl>
                                          <p:spTgt spid="264"/>
                                        </p:tgtEl>
                                        <p:attrNameLst>
                                          <p:attrName>style.visibility</p:attrName>
                                        </p:attrNameLst>
                                      </p:cBhvr>
                                      <p:tavLst>
                                        <p:tav tm="0">
                                          <p:val>
                                            <p:strVal val="hidden"/>
                                          </p:val>
                                        </p:tav>
                                        <p:tav tm="50000">
                                          <p:val>
                                            <p:strVal val="visible"/>
                                          </p:val>
                                        </p:tav>
                                      </p:tavLst>
                                    </p:anim>
                                  </p:childTnLst>
                                </p:cTn>
                              </p:par>
                              <p:par>
                                <p:cTn id="258" presetID="35" presetClass="emph" presetSubtype="0" repeatCount="3000" fill="hold" nodeType="withEffect">
                                  <p:stCondLst>
                                    <p:cond delay="0"/>
                                  </p:stCondLst>
                                  <p:childTnLst>
                                    <p:anim calcmode="discrete" valueType="str">
                                      <p:cBhvr>
                                        <p:cTn id="259" dur="150" fill="hold"/>
                                        <p:tgtEl>
                                          <p:spTgt spid="292"/>
                                        </p:tgtEl>
                                        <p:attrNameLst>
                                          <p:attrName>style.visibility</p:attrName>
                                        </p:attrNameLst>
                                      </p:cBhvr>
                                      <p:tavLst>
                                        <p:tav tm="0">
                                          <p:val>
                                            <p:strVal val="hidden"/>
                                          </p:val>
                                        </p:tav>
                                        <p:tav tm="50000">
                                          <p:val>
                                            <p:strVal val="visible"/>
                                          </p:val>
                                        </p:tav>
                                      </p:tavLst>
                                    </p:anim>
                                  </p:childTnLst>
                                </p:cTn>
                              </p:par>
                            </p:childTnLst>
                          </p:cTn>
                        </p:par>
                      </p:childTnLst>
                    </p:cTn>
                  </p:par>
                  <p:par>
                    <p:cTn id="260" fill="hold">
                      <p:stCondLst>
                        <p:cond delay="indefinite"/>
                      </p:stCondLst>
                      <p:childTnLst>
                        <p:par>
                          <p:cTn id="261" fill="hold">
                            <p:stCondLst>
                              <p:cond delay="0"/>
                            </p:stCondLst>
                            <p:childTnLst>
                              <p:par>
                                <p:cTn id="262" presetID="53" presetClass="entr" presetSubtype="16" fill="hold" nodeType="clickEffect">
                                  <p:stCondLst>
                                    <p:cond delay="0"/>
                                  </p:stCondLst>
                                  <p:childTnLst>
                                    <p:set>
                                      <p:cBhvr>
                                        <p:cTn id="263" dur="1" fill="hold">
                                          <p:stCondLst>
                                            <p:cond delay="0"/>
                                          </p:stCondLst>
                                        </p:cTn>
                                        <p:tgtEl>
                                          <p:spTgt spid="298"/>
                                        </p:tgtEl>
                                        <p:attrNameLst>
                                          <p:attrName>style.visibility</p:attrName>
                                        </p:attrNameLst>
                                      </p:cBhvr>
                                      <p:to>
                                        <p:strVal val="visible"/>
                                      </p:to>
                                    </p:set>
                                    <p:anim calcmode="lin" valueType="num">
                                      <p:cBhvr>
                                        <p:cTn id="264" dur="500" fill="hold"/>
                                        <p:tgtEl>
                                          <p:spTgt spid="298"/>
                                        </p:tgtEl>
                                        <p:attrNameLst>
                                          <p:attrName>ppt_w</p:attrName>
                                        </p:attrNameLst>
                                      </p:cBhvr>
                                      <p:tavLst>
                                        <p:tav tm="0">
                                          <p:val>
                                            <p:fltVal val="0"/>
                                          </p:val>
                                        </p:tav>
                                        <p:tav tm="100000">
                                          <p:val>
                                            <p:strVal val="#ppt_w"/>
                                          </p:val>
                                        </p:tav>
                                      </p:tavLst>
                                    </p:anim>
                                    <p:anim calcmode="lin" valueType="num">
                                      <p:cBhvr>
                                        <p:cTn id="265" dur="500" fill="hold"/>
                                        <p:tgtEl>
                                          <p:spTgt spid="298"/>
                                        </p:tgtEl>
                                        <p:attrNameLst>
                                          <p:attrName>ppt_h</p:attrName>
                                        </p:attrNameLst>
                                      </p:cBhvr>
                                      <p:tavLst>
                                        <p:tav tm="0">
                                          <p:val>
                                            <p:fltVal val="0"/>
                                          </p:val>
                                        </p:tav>
                                        <p:tav tm="100000">
                                          <p:val>
                                            <p:strVal val="#ppt_h"/>
                                          </p:val>
                                        </p:tav>
                                      </p:tavLst>
                                    </p:anim>
                                    <p:animEffect transition="in" filter="fade">
                                      <p:cBhvr>
                                        <p:cTn id="266" dur="500"/>
                                        <p:tgtEl>
                                          <p:spTgt spid="298"/>
                                        </p:tgtEl>
                                      </p:cBhvr>
                                    </p:animEffect>
                                  </p:childTnLst>
                                </p:cTn>
                              </p:par>
                              <p:par>
                                <p:cTn id="267" presetID="53" presetClass="entr" presetSubtype="16" fill="hold" nodeType="withEffect">
                                  <p:stCondLst>
                                    <p:cond delay="0"/>
                                  </p:stCondLst>
                                  <p:childTnLst>
                                    <p:set>
                                      <p:cBhvr>
                                        <p:cTn id="268" dur="1" fill="hold">
                                          <p:stCondLst>
                                            <p:cond delay="0"/>
                                          </p:stCondLst>
                                        </p:cTn>
                                        <p:tgtEl>
                                          <p:spTgt spid="237"/>
                                        </p:tgtEl>
                                        <p:attrNameLst>
                                          <p:attrName>style.visibility</p:attrName>
                                        </p:attrNameLst>
                                      </p:cBhvr>
                                      <p:to>
                                        <p:strVal val="visible"/>
                                      </p:to>
                                    </p:set>
                                    <p:anim calcmode="lin" valueType="num">
                                      <p:cBhvr>
                                        <p:cTn id="269" dur="500" fill="hold"/>
                                        <p:tgtEl>
                                          <p:spTgt spid="237"/>
                                        </p:tgtEl>
                                        <p:attrNameLst>
                                          <p:attrName>ppt_w</p:attrName>
                                        </p:attrNameLst>
                                      </p:cBhvr>
                                      <p:tavLst>
                                        <p:tav tm="0">
                                          <p:val>
                                            <p:fltVal val="0"/>
                                          </p:val>
                                        </p:tav>
                                        <p:tav tm="100000">
                                          <p:val>
                                            <p:strVal val="#ppt_w"/>
                                          </p:val>
                                        </p:tav>
                                      </p:tavLst>
                                    </p:anim>
                                    <p:anim calcmode="lin" valueType="num">
                                      <p:cBhvr>
                                        <p:cTn id="270" dur="500" fill="hold"/>
                                        <p:tgtEl>
                                          <p:spTgt spid="237"/>
                                        </p:tgtEl>
                                        <p:attrNameLst>
                                          <p:attrName>ppt_h</p:attrName>
                                        </p:attrNameLst>
                                      </p:cBhvr>
                                      <p:tavLst>
                                        <p:tav tm="0">
                                          <p:val>
                                            <p:fltVal val="0"/>
                                          </p:val>
                                        </p:tav>
                                        <p:tav tm="100000">
                                          <p:val>
                                            <p:strVal val="#ppt_h"/>
                                          </p:val>
                                        </p:tav>
                                      </p:tavLst>
                                    </p:anim>
                                    <p:animEffect transition="in" filter="fade">
                                      <p:cBhvr>
                                        <p:cTn id="271" dur="500"/>
                                        <p:tgtEl>
                                          <p:spTgt spid="237"/>
                                        </p:tgtEl>
                                      </p:cBhvr>
                                    </p:animEffect>
                                  </p:childTnLst>
                                </p:cTn>
                              </p:par>
                              <p:par>
                                <p:cTn id="272" presetID="53" presetClass="entr" presetSubtype="16" fill="hold" nodeType="withEffect">
                                  <p:stCondLst>
                                    <p:cond delay="0"/>
                                  </p:stCondLst>
                                  <p:childTnLst>
                                    <p:set>
                                      <p:cBhvr>
                                        <p:cTn id="273" dur="1" fill="hold">
                                          <p:stCondLst>
                                            <p:cond delay="0"/>
                                          </p:stCondLst>
                                        </p:cTn>
                                        <p:tgtEl>
                                          <p:spTgt spid="240"/>
                                        </p:tgtEl>
                                        <p:attrNameLst>
                                          <p:attrName>style.visibility</p:attrName>
                                        </p:attrNameLst>
                                      </p:cBhvr>
                                      <p:to>
                                        <p:strVal val="visible"/>
                                      </p:to>
                                    </p:set>
                                    <p:anim calcmode="lin" valueType="num">
                                      <p:cBhvr>
                                        <p:cTn id="274" dur="500" fill="hold"/>
                                        <p:tgtEl>
                                          <p:spTgt spid="240"/>
                                        </p:tgtEl>
                                        <p:attrNameLst>
                                          <p:attrName>ppt_w</p:attrName>
                                        </p:attrNameLst>
                                      </p:cBhvr>
                                      <p:tavLst>
                                        <p:tav tm="0">
                                          <p:val>
                                            <p:fltVal val="0"/>
                                          </p:val>
                                        </p:tav>
                                        <p:tav tm="100000">
                                          <p:val>
                                            <p:strVal val="#ppt_w"/>
                                          </p:val>
                                        </p:tav>
                                      </p:tavLst>
                                    </p:anim>
                                    <p:anim calcmode="lin" valueType="num">
                                      <p:cBhvr>
                                        <p:cTn id="275" dur="500" fill="hold"/>
                                        <p:tgtEl>
                                          <p:spTgt spid="240"/>
                                        </p:tgtEl>
                                        <p:attrNameLst>
                                          <p:attrName>ppt_h</p:attrName>
                                        </p:attrNameLst>
                                      </p:cBhvr>
                                      <p:tavLst>
                                        <p:tav tm="0">
                                          <p:val>
                                            <p:fltVal val="0"/>
                                          </p:val>
                                        </p:tav>
                                        <p:tav tm="100000">
                                          <p:val>
                                            <p:strVal val="#ppt_h"/>
                                          </p:val>
                                        </p:tav>
                                      </p:tavLst>
                                    </p:anim>
                                    <p:animEffect transition="in" filter="fade">
                                      <p:cBhvr>
                                        <p:cTn id="276" dur="500"/>
                                        <p:tgtEl>
                                          <p:spTgt spid="240"/>
                                        </p:tgtEl>
                                      </p:cBhvr>
                                    </p:animEffect>
                                  </p:childTnLst>
                                </p:cTn>
                              </p:par>
                              <p:par>
                                <p:cTn id="277" presetID="53" presetClass="entr" presetSubtype="16" fill="hold" nodeType="withEffect">
                                  <p:stCondLst>
                                    <p:cond delay="0"/>
                                  </p:stCondLst>
                                  <p:childTnLst>
                                    <p:set>
                                      <p:cBhvr>
                                        <p:cTn id="278" dur="1" fill="hold">
                                          <p:stCondLst>
                                            <p:cond delay="0"/>
                                          </p:stCondLst>
                                        </p:cTn>
                                        <p:tgtEl>
                                          <p:spTgt spid="243"/>
                                        </p:tgtEl>
                                        <p:attrNameLst>
                                          <p:attrName>style.visibility</p:attrName>
                                        </p:attrNameLst>
                                      </p:cBhvr>
                                      <p:to>
                                        <p:strVal val="visible"/>
                                      </p:to>
                                    </p:set>
                                    <p:anim calcmode="lin" valueType="num">
                                      <p:cBhvr>
                                        <p:cTn id="279" dur="500" fill="hold"/>
                                        <p:tgtEl>
                                          <p:spTgt spid="243"/>
                                        </p:tgtEl>
                                        <p:attrNameLst>
                                          <p:attrName>ppt_w</p:attrName>
                                        </p:attrNameLst>
                                      </p:cBhvr>
                                      <p:tavLst>
                                        <p:tav tm="0">
                                          <p:val>
                                            <p:fltVal val="0"/>
                                          </p:val>
                                        </p:tav>
                                        <p:tav tm="100000">
                                          <p:val>
                                            <p:strVal val="#ppt_w"/>
                                          </p:val>
                                        </p:tav>
                                      </p:tavLst>
                                    </p:anim>
                                    <p:anim calcmode="lin" valueType="num">
                                      <p:cBhvr>
                                        <p:cTn id="280" dur="500" fill="hold"/>
                                        <p:tgtEl>
                                          <p:spTgt spid="243"/>
                                        </p:tgtEl>
                                        <p:attrNameLst>
                                          <p:attrName>ppt_h</p:attrName>
                                        </p:attrNameLst>
                                      </p:cBhvr>
                                      <p:tavLst>
                                        <p:tav tm="0">
                                          <p:val>
                                            <p:fltVal val="0"/>
                                          </p:val>
                                        </p:tav>
                                        <p:tav tm="100000">
                                          <p:val>
                                            <p:strVal val="#ppt_h"/>
                                          </p:val>
                                        </p:tav>
                                      </p:tavLst>
                                    </p:anim>
                                    <p:animEffect transition="in" filter="fade">
                                      <p:cBhvr>
                                        <p:cTn id="281" dur="500"/>
                                        <p:tgtEl>
                                          <p:spTgt spid="243"/>
                                        </p:tgtEl>
                                      </p:cBhvr>
                                    </p:animEffect>
                                  </p:childTnLst>
                                </p:cTn>
                              </p:par>
                              <p:par>
                                <p:cTn id="282" presetID="53" presetClass="entr" presetSubtype="16" fill="hold" nodeType="withEffect">
                                  <p:stCondLst>
                                    <p:cond delay="0"/>
                                  </p:stCondLst>
                                  <p:childTnLst>
                                    <p:set>
                                      <p:cBhvr>
                                        <p:cTn id="283" dur="1" fill="hold">
                                          <p:stCondLst>
                                            <p:cond delay="0"/>
                                          </p:stCondLst>
                                        </p:cTn>
                                        <p:tgtEl>
                                          <p:spTgt spid="246"/>
                                        </p:tgtEl>
                                        <p:attrNameLst>
                                          <p:attrName>style.visibility</p:attrName>
                                        </p:attrNameLst>
                                      </p:cBhvr>
                                      <p:to>
                                        <p:strVal val="visible"/>
                                      </p:to>
                                    </p:set>
                                    <p:anim calcmode="lin" valueType="num">
                                      <p:cBhvr>
                                        <p:cTn id="284" dur="500" fill="hold"/>
                                        <p:tgtEl>
                                          <p:spTgt spid="246"/>
                                        </p:tgtEl>
                                        <p:attrNameLst>
                                          <p:attrName>ppt_w</p:attrName>
                                        </p:attrNameLst>
                                      </p:cBhvr>
                                      <p:tavLst>
                                        <p:tav tm="0">
                                          <p:val>
                                            <p:fltVal val="0"/>
                                          </p:val>
                                        </p:tav>
                                        <p:tav tm="100000">
                                          <p:val>
                                            <p:strVal val="#ppt_w"/>
                                          </p:val>
                                        </p:tav>
                                      </p:tavLst>
                                    </p:anim>
                                    <p:anim calcmode="lin" valueType="num">
                                      <p:cBhvr>
                                        <p:cTn id="285" dur="500" fill="hold"/>
                                        <p:tgtEl>
                                          <p:spTgt spid="246"/>
                                        </p:tgtEl>
                                        <p:attrNameLst>
                                          <p:attrName>ppt_h</p:attrName>
                                        </p:attrNameLst>
                                      </p:cBhvr>
                                      <p:tavLst>
                                        <p:tav tm="0">
                                          <p:val>
                                            <p:fltVal val="0"/>
                                          </p:val>
                                        </p:tav>
                                        <p:tav tm="100000">
                                          <p:val>
                                            <p:strVal val="#ppt_h"/>
                                          </p:val>
                                        </p:tav>
                                      </p:tavLst>
                                    </p:anim>
                                    <p:animEffect transition="in" filter="fade">
                                      <p:cBhvr>
                                        <p:cTn id="286" dur="500"/>
                                        <p:tgtEl>
                                          <p:spTgt spid="246"/>
                                        </p:tgtEl>
                                      </p:cBhvr>
                                    </p:animEffect>
                                  </p:childTnLst>
                                </p:cTn>
                              </p:par>
                              <p:par>
                                <p:cTn id="287" presetID="53" presetClass="entr" presetSubtype="16" fill="hold" nodeType="withEffect">
                                  <p:stCondLst>
                                    <p:cond delay="0"/>
                                  </p:stCondLst>
                                  <p:childTnLst>
                                    <p:set>
                                      <p:cBhvr>
                                        <p:cTn id="288" dur="1" fill="hold">
                                          <p:stCondLst>
                                            <p:cond delay="0"/>
                                          </p:stCondLst>
                                        </p:cTn>
                                        <p:tgtEl>
                                          <p:spTgt spid="249"/>
                                        </p:tgtEl>
                                        <p:attrNameLst>
                                          <p:attrName>style.visibility</p:attrName>
                                        </p:attrNameLst>
                                      </p:cBhvr>
                                      <p:to>
                                        <p:strVal val="visible"/>
                                      </p:to>
                                    </p:set>
                                    <p:anim calcmode="lin" valueType="num">
                                      <p:cBhvr>
                                        <p:cTn id="289" dur="500" fill="hold"/>
                                        <p:tgtEl>
                                          <p:spTgt spid="249"/>
                                        </p:tgtEl>
                                        <p:attrNameLst>
                                          <p:attrName>ppt_w</p:attrName>
                                        </p:attrNameLst>
                                      </p:cBhvr>
                                      <p:tavLst>
                                        <p:tav tm="0">
                                          <p:val>
                                            <p:fltVal val="0"/>
                                          </p:val>
                                        </p:tav>
                                        <p:tav tm="100000">
                                          <p:val>
                                            <p:strVal val="#ppt_w"/>
                                          </p:val>
                                        </p:tav>
                                      </p:tavLst>
                                    </p:anim>
                                    <p:anim calcmode="lin" valueType="num">
                                      <p:cBhvr>
                                        <p:cTn id="290" dur="500" fill="hold"/>
                                        <p:tgtEl>
                                          <p:spTgt spid="249"/>
                                        </p:tgtEl>
                                        <p:attrNameLst>
                                          <p:attrName>ppt_h</p:attrName>
                                        </p:attrNameLst>
                                      </p:cBhvr>
                                      <p:tavLst>
                                        <p:tav tm="0">
                                          <p:val>
                                            <p:fltVal val="0"/>
                                          </p:val>
                                        </p:tav>
                                        <p:tav tm="100000">
                                          <p:val>
                                            <p:strVal val="#ppt_h"/>
                                          </p:val>
                                        </p:tav>
                                      </p:tavLst>
                                    </p:anim>
                                    <p:animEffect transition="in" filter="fade">
                                      <p:cBhvr>
                                        <p:cTn id="291" dur="500"/>
                                        <p:tgtEl>
                                          <p:spTgt spid="249"/>
                                        </p:tgtEl>
                                      </p:cBhvr>
                                    </p:animEffect>
                                  </p:childTnLst>
                                </p:cTn>
                              </p:par>
                              <p:par>
                                <p:cTn id="292" presetID="53" presetClass="entr" presetSubtype="16" fill="hold" nodeType="withEffect">
                                  <p:stCondLst>
                                    <p:cond delay="0"/>
                                  </p:stCondLst>
                                  <p:childTnLst>
                                    <p:set>
                                      <p:cBhvr>
                                        <p:cTn id="293" dur="1" fill="hold">
                                          <p:stCondLst>
                                            <p:cond delay="0"/>
                                          </p:stCondLst>
                                        </p:cTn>
                                        <p:tgtEl>
                                          <p:spTgt spid="253"/>
                                        </p:tgtEl>
                                        <p:attrNameLst>
                                          <p:attrName>style.visibility</p:attrName>
                                        </p:attrNameLst>
                                      </p:cBhvr>
                                      <p:to>
                                        <p:strVal val="visible"/>
                                      </p:to>
                                    </p:set>
                                    <p:anim calcmode="lin" valueType="num">
                                      <p:cBhvr>
                                        <p:cTn id="294" dur="500" fill="hold"/>
                                        <p:tgtEl>
                                          <p:spTgt spid="253"/>
                                        </p:tgtEl>
                                        <p:attrNameLst>
                                          <p:attrName>ppt_w</p:attrName>
                                        </p:attrNameLst>
                                      </p:cBhvr>
                                      <p:tavLst>
                                        <p:tav tm="0">
                                          <p:val>
                                            <p:fltVal val="0"/>
                                          </p:val>
                                        </p:tav>
                                        <p:tav tm="100000">
                                          <p:val>
                                            <p:strVal val="#ppt_w"/>
                                          </p:val>
                                        </p:tav>
                                      </p:tavLst>
                                    </p:anim>
                                    <p:anim calcmode="lin" valueType="num">
                                      <p:cBhvr>
                                        <p:cTn id="295" dur="500" fill="hold"/>
                                        <p:tgtEl>
                                          <p:spTgt spid="253"/>
                                        </p:tgtEl>
                                        <p:attrNameLst>
                                          <p:attrName>ppt_h</p:attrName>
                                        </p:attrNameLst>
                                      </p:cBhvr>
                                      <p:tavLst>
                                        <p:tav tm="0">
                                          <p:val>
                                            <p:fltVal val="0"/>
                                          </p:val>
                                        </p:tav>
                                        <p:tav tm="100000">
                                          <p:val>
                                            <p:strVal val="#ppt_h"/>
                                          </p:val>
                                        </p:tav>
                                      </p:tavLst>
                                    </p:anim>
                                    <p:animEffect transition="in" filter="fade">
                                      <p:cBhvr>
                                        <p:cTn id="296" dur="500"/>
                                        <p:tgtEl>
                                          <p:spTgt spid="253"/>
                                        </p:tgtEl>
                                      </p:cBhvr>
                                    </p:animEffect>
                                  </p:childTnLst>
                                </p:cTn>
                              </p:par>
                            </p:childTnLst>
                          </p:cTn>
                        </p:par>
                        <p:par>
                          <p:cTn id="297" fill="hold">
                            <p:stCondLst>
                              <p:cond delay="500"/>
                            </p:stCondLst>
                            <p:childTnLst>
                              <p:par>
                                <p:cTn id="298" presetID="35" presetClass="emph" presetSubtype="0" repeatCount="3000" fill="hold" nodeType="afterEffect">
                                  <p:stCondLst>
                                    <p:cond delay="0"/>
                                  </p:stCondLst>
                                  <p:childTnLst>
                                    <p:anim calcmode="discrete" valueType="str">
                                      <p:cBhvr>
                                        <p:cTn id="299" dur="150" fill="hold"/>
                                        <p:tgtEl>
                                          <p:spTgt spid="298"/>
                                        </p:tgtEl>
                                        <p:attrNameLst>
                                          <p:attrName>style.visibility</p:attrName>
                                        </p:attrNameLst>
                                      </p:cBhvr>
                                      <p:tavLst>
                                        <p:tav tm="0">
                                          <p:val>
                                            <p:strVal val="hidden"/>
                                          </p:val>
                                        </p:tav>
                                        <p:tav tm="50000">
                                          <p:val>
                                            <p:strVal val="visible"/>
                                          </p:val>
                                        </p:tav>
                                      </p:tavLst>
                                    </p:anim>
                                  </p:childTnLst>
                                </p:cTn>
                              </p:par>
                              <p:par>
                                <p:cTn id="300" presetID="35" presetClass="emph" presetSubtype="0" repeatCount="3000" fill="hold" nodeType="withEffect">
                                  <p:stCondLst>
                                    <p:cond delay="0"/>
                                  </p:stCondLst>
                                  <p:childTnLst>
                                    <p:anim calcmode="discrete" valueType="str">
                                      <p:cBhvr>
                                        <p:cTn id="301" dur="150" fill="hold"/>
                                        <p:tgtEl>
                                          <p:spTgt spid="237"/>
                                        </p:tgtEl>
                                        <p:attrNameLst>
                                          <p:attrName>style.visibility</p:attrName>
                                        </p:attrNameLst>
                                      </p:cBhvr>
                                      <p:tavLst>
                                        <p:tav tm="0">
                                          <p:val>
                                            <p:strVal val="hidden"/>
                                          </p:val>
                                        </p:tav>
                                        <p:tav tm="50000">
                                          <p:val>
                                            <p:strVal val="visible"/>
                                          </p:val>
                                        </p:tav>
                                      </p:tavLst>
                                    </p:anim>
                                  </p:childTnLst>
                                </p:cTn>
                              </p:par>
                              <p:par>
                                <p:cTn id="302" presetID="35" presetClass="emph" presetSubtype="0" repeatCount="3000" fill="hold" nodeType="withEffect">
                                  <p:stCondLst>
                                    <p:cond delay="0"/>
                                  </p:stCondLst>
                                  <p:childTnLst>
                                    <p:anim calcmode="discrete" valueType="str">
                                      <p:cBhvr>
                                        <p:cTn id="303" dur="150" fill="hold"/>
                                        <p:tgtEl>
                                          <p:spTgt spid="240"/>
                                        </p:tgtEl>
                                        <p:attrNameLst>
                                          <p:attrName>style.visibility</p:attrName>
                                        </p:attrNameLst>
                                      </p:cBhvr>
                                      <p:tavLst>
                                        <p:tav tm="0">
                                          <p:val>
                                            <p:strVal val="hidden"/>
                                          </p:val>
                                        </p:tav>
                                        <p:tav tm="50000">
                                          <p:val>
                                            <p:strVal val="visible"/>
                                          </p:val>
                                        </p:tav>
                                      </p:tavLst>
                                    </p:anim>
                                  </p:childTnLst>
                                </p:cTn>
                              </p:par>
                              <p:par>
                                <p:cTn id="304" presetID="35" presetClass="emph" presetSubtype="0" repeatCount="3000" fill="hold" nodeType="withEffect">
                                  <p:stCondLst>
                                    <p:cond delay="0"/>
                                  </p:stCondLst>
                                  <p:childTnLst>
                                    <p:anim calcmode="discrete" valueType="str">
                                      <p:cBhvr>
                                        <p:cTn id="305" dur="150" fill="hold"/>
                                        <p:tgtEl>
                                          <p:spTgt spid="243"/>
                                        </p:tgtEl>
                                        <p:attrNameLst>
                                          <p:attrName>style.visibility</p:attrName>
                                        </p:attrNameLst>
                                      </p:cBhvr>
                                      <p:tavLst>
                                        <p:tav tm="0">
                                          <p:val>
                                            <p:strVal val="hidden"/>
                                          </p:val>
                                        </p:tav>
                                        <p:tav tm="50000">
                                          <p:val>
                                            <p:strVal val="visible"/>
                                          </p:val>
                                        </p:tav>
                                      </p:tavLst>
                                    </p:anim>
                                  </p:childTnLst>
                                </p:cTn>
                              </p:par>
                              <p:par>
                                <p:cTn id="306" presetID="35" presetClass="emph" presetSubtype="0" repeatCount="3000" fill="hold" nodeType="withEffect">
                                  <p:stCondLst>
                                    <p:cond delay="0"/>
                                  </p:stCondLst>
                                  <p:childTnLst>
                                    <p:anim calcmode="discrete" valueType="str">
                                      <p:cBhvr>
                                        <p:cTn id="307" dur="150" fill="hold"/>
                                        <p:tgtEl>
                                          <p:spTgt spid="246"/>
                                        </p:tgtEl>
                                        <p:attrNameLst>
                                          <p:attrName>style.visibility</p:attrName>
                                        </p:attrNameLst>
                                      </p:cBhvr>
                                      <p:tavLst>
                                        <p:tav tm="0">
                                          <p:val>
                                            <p:strVal val="hidden"/>
                                          </p:val>
                                        </p:tav>
                                        <p:tav tm="50000">
                                          <p:val>
                                            <p:strVal val="visible"/>
                                          </p:val>
                                        </p:tav>
                                      </p:tavLst>
                                    </p:anim>
                                  </p:childTnLst>
                                </p:cTn>
                              </p:par>
                              <p:par>
                                <p:cTn id="308" presetID="35" presetClass="emph" presetSubtype="0" repeatCount="3000" fill="hold" nodeType="withEffect">
                                  <p:stCondLst>
                                    <p:cond delay="0"/>
                                  </p:stCondLst>
                                  <p:childTnLst>
                                    <p:anim calcmode="discrete" valueType="str">
                                      <p:cBhvr>
                                        <p:cTn id="309" dur="150" fill="hold"/>
                                        <p:tgtEl>
                                          <p:spTgt spid="249"/>
                                        </p:tgtEl>
                                        <p:attrNameLst>
                                          <p:attrName>style.visibility</p:attrName>
                                        </p:attrNameLst>
                                      </p:cBhvr>
                                      <p:tavLst>
                                        <p:tav tm="0">
                                          <p:val>
                                            <p:strVal val="hidden"/>
                                          </p:val>
                                        </p:tav>
                                        <p:tav tm="50000">
                                          <p:val>
                                            <p:strVal val="visible"/>
                                          </p:val>
                                        </p:tav>
                                      </p:tavLst>
                                    </p:anim>
                                  </p:childTnLst>
                                </p:cTn>
                              </p:par>
                              <p:par>
                                <p:cTn id="310" presetID="35" presetClass="emph" presetSubtype="0" repeatCount="3000" fill="hold" nodeType="withEffect">
                                  <p:stCondLst>
                                    <p:cond delay="0"/>
                                  </p:stCondLst>
                                  <p:childTnLst>
                                    <p:anim calcmode="discrete" valueType="str">
                                      <p:cBhvr>
                                        <p:cTn id="311" dur="150" fill="hold"/>
                                        <p:tgtEl>
                                          <p:spTgt spid="253"/>
                                        </p:tgtEl>
                                        <p:attrNameLst>
                                          <p:attrName>style.visibility</p:attrName>
                                        </p:attrNameLst>
                                      </p:cBhvr>
                                      <p:tavLst>
                                        <p:tav tm="0">
                                          <p:val>
                                            <p:strVal val="hidden"/>
                                          </p:val>
                                        </p:tav>
                                        <p:tav tm="50000">
                                          <p:val>
                                            <p:strVal val="visible"/>
                                          </p:val>
                                        </p:tav>
                                      </p:tavLst>
                                    </p:anim>
                                  </p:childTnLst>
                                </p:cTn>
                              </p:par>
                            </p:childTnLst>
                          </p:cTn>
                        </p:par>
                      </p:childTnLst>
                    </p:cTn>
                  </p:par>
                  <p:par>
                    <p:cTn id="312" fill="hold">
                      <p:stCondLst>
                        <p:cond delay="indefinite"/>
                      </p:stCondLst>
                      <p:childTnLst>
                        <p:par>
                          <p:cTn id="313" fill="hold">
                            <p:stCondLst>
                              <p:cond delay="0"/>
                            </p:stCondLst>
                            <p:childTnLst>
                              <p:par>
                                <p:cTn id="314" presetID="10" presetClass="entr" presetSubtype="0" fill="hold" grpId="0" nodeType="clickEffect">
                                  <p:stCondLst>
                                    <p:cond delay="0"/>
                                  </p:stCondLst>
                                  <p:childTnLst>
                                    <p:set>
                                      <p:cBhvr>
                                        <p:cTn id="315" dur="1" fill="hold">
                                          <p:stCondLst>
                                            <p:cond delay="0"/>
                                          </p:stCondLst>
                                        </p:cTn>
                                        <p:tgtEl>
                                          <p:spTgt spid="397"/>
                                        </p:tgtEl>
                                        <p:attrNameLst>
                                          <p:attrName>style.visibility</p:attrName>
                                        </p:attrNameLst>
                                      </p:cBhvr>
                                      <p:to>
                                        <p:strVal val="visible"/>
                                      </p:to>
                                    </p:set>
                                    <p:animEffect transition="in" filter="fade">
                                      <p:cBhvr>
                                        <p:cTn id="316" dur="500"/>
                                        <p:tgtEl>
                                          <p:spTgt spid="3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8" grpId="0"/>
      <p:bldP spid="39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 xmlns:a16="http://schemas.microsoft.com/office/drawing/2014/main" id="{A3C06F07-76C8-4471-B11A-D5F6242EBC1F}"/>
              </a:ext>
            </a:extLst>
          </p:cNvPr>
          <p:cNvPicPr>
            <a:picLocks noChangeAspect="1"/>
          </p:cNvPicPr>
          <p:nvPr/>
        </p:nvPicPr>
        <p:blipFill rotWithShape="1">
          <a:blip r:embed="rId3">
            <a:extLst>
              <a:ext uri="{28A0092B-C50C-407E-A947-70E740481C1C}">
                <a14:useLocalDpi xmlns:a14="http://schemas.microsoft.com/office/drawing/2010/main" val="0"/>
              </a:ext>
            </a:extLst>
          </a:blip>
          <a:srcRect l="2737" r="43280" b="18941"/>
          <a:stretch/>
        </p:blipFill>
        <p:spPr>
          <a:xfrm>
            <a:off x="0" y="0"/>
            <a:ext cx="6579993" cy="5559012"/>
          </a:xfrm>
          <a:prstGeom prst="rect">
            <a:avLst/>
          </a:prstGeom>
        </p:spPr>
      </p:pic>
      <p:sp>
        <p:nvSpPr>
          <p:cNvPr id="6" name="Isosceles Triangle 5">
            <a:extLst>
              <a:ext uri="{FF2B5EF4-FFF2-40B4-BE49-F238E27FC236}">
                <a16:creationId xmlns="" xmlns:a16="http://schemas.microsoft.com/office/drawing/2014/main" id="{E0B246DF-B418-4DD1-B6D4-916DEAFD74FE}"/>
              </a:ext>
            </a:extLst>
          </p:cNvPr>
          <p:cNvSpPr/>
          <p:nvPr/>
        </p:nvSpPr>
        <p:spPr>
          <a:xfrm>
            <a:off x="1905000" y="1238250"/>
            <a:ext cx="8077200" cy="5010150"/>
          </a:xfrm>
          <a:prstGeom prst="triangle">
            <a:avLst/>
          </a:prstGeom>
          <a:solidFill>
            <a:srgbClr val="E4E5E6">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solidFill>
                <a:prstClr val="white"/>
              </a:solidFill>
              <a:latin typeface="Calibri" panose="020F0502020204030204"/>
            </a:endParaRPr>
          </a:p>
        </p:txBody>
      </p:sp>
      <p:sp>
        <p:nvSpPr>
          <p:cNvPr id="39" name="Isosceles Triangle 38">
            <a:extLst>
              <a:ext uri="{FF2B5EF4-FFF2-40B4-BE49-F238E27FC236}">
                <a16:creationId xmlns="" xmlns:a16="http://schemas.microsoft.com/office/drawing/2014/main" id="{85858797-DFFE-4C8F-890B-B8C771ACA77D}"/>
              </a:ext>
            </a:extLst>
          </p:cNvPr>
          <p:cNvSpPr/>
          <p:nvPr/>
        </p:nvSpPr>
        <p:spPr>
          <a:xfrm>
            <a:off x="1905000" y="1238250"/>
            <a:ext cx="8077200" cy="5010150"/>
          </a:xfrm>
          <a:prstGeom prst="triangle">
            <a:avLst/>
          </a:prstGeom>
          <a:solidFill>
            <a:srgbClr val="404041">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prstClr val="white"/>
              </a:solidFill>
              <a:latin typeface="Calibri" panose="020F0502020204030204"/>
            </a:endParaRPr>
          </a:p>
        </p:txBody>
      </p:sp>
      <p:pic>
        <p:nvPicPr>
          <p:cNvPr id="2" name="Graphic 1">
            <a:extLst>
              <a:ext uri="{FF2B5EF4-FFF2-40B4-BE49-F238E27FC236}">
                <a16:creationId xmlns="" xmlns:a16="http://schemas.microsoft.com/office/drawing/2014/main" id="{C3DE0493-C96D-491F-97E2-9AC13BD73BF1}"/>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11345612" y="6490506"/>
            <a:ext cx="720740" cy="276876"/>
          </a:xfrm>
          <a:prstGeom prst="rect">
            <a:avLst/>
          </a:prstGeom>
        </p:spPr>
      </p:pic>
      <p:grpSp>
        <p:nvGrpSpPr>
          <p:cNvPr id="169" name="Group 168">
            <a:extLst>
              <a:ext uri="{FF2B5EF4-FFF2-40B4-BE49-F238E27FC236}">
                <a16:creationId xmlns="" xmlns:a16="http://schemas.microsoft.com/office/drawing/2014/main" id="{BA58562D-C667-41B3-9500-41D0E0F40C6F}"/>
              </a:ext>
            </a:extLst>
          </p:cNvPr>
          <p:cNvGrpSpPr/>
          <p:nvPr/>
        </p:nvGrpSpPr>
        <p:grpSpPr>
          <a:xfrm>
            <a:off x="3846013" y="3742036"/>
            <a:ext cx="563264" cy="563264"/>
            <a:chOff x="4672421" y="2820218"/>
            <a:chExt cx="563264" cy="563264"/>
          </a:xfrm>
        </p:grpSpPr>
        <p:sp>
          <p:nvSpPr>
            <p:cNvPr id="170" name="Oval 169">
              <a:extLst>
                <a:ext uri="{FF2B5EF4-FFF2-40B4-BE49-F238E27FC236}">
                  <a16:creationId xmlns="" xmlns:a16="http://schemas.microsoft.com/office/drawing/2014/main" id="{9309071B-236B-478C-9394-97970F23C7A9}"/>
                </a:ext>
              </a:extLst>
            </p:cNvPr>
            <p:cNvSpPr/>
            <p:nvPr/>
          </p:nvSpPr>
          <p:spPr>
            <a:xfrm>
              <a:off x="4672421" y="282021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1" name="Graphic 170">
              <a:extLst>
                <a:ext uri="{FF2B5EF4-FFF2-40B4-BE49-F238E27FC236}">
                  <a16:creationId xmlns="" xmlns:a16="http://schemas.microsoft.com/office/drawing/2014/main" id="{4781A904-1BA6-4E8E-BB82-E1BA8A83D6AF}"/>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4734342" y="3008567"/>
              <a:ext cx="439015" cy="168650"/>
            </a:xfrm>
            <a:prstGeom prst="rect">
              <a:avLst/>
            </a:prstGeom>
          </p:spPr>
        </p:pic>
      </p:grpSp>
      <p:grpSp>
        <p:nvGrpSpPr>
          <p:cNvPr id="228" name="Group 227">
            <a:extLst>
              <a:ext uri="{FF2B5EF4-FFF2-40B4-BE49-F238E27FC236}">
                <a16:creationId xmlns="" xmlns:a16="http://schemas.microsoft.com/office/drawing/2014/main" id="{E762AD7F-0478-4C03-9B28-BA1708863524}"/>
              </a:ext>
            </a:extLst>
          </p:cNvPr>
          <p:cNvGrpSpPr/>
          <p:nvPr/>
        </p:nvGrpSpPr>
        <p:grpSpPr>
          <a:xfrm>
            <a:off x="3134421" y="4656998"/>
            <a:ext cx="563264" cy="563264"/>
            <a:chOff x="4672421" y="2820218"/>
            <a:chExt cx="563264" cy="563264"/>
          </a:xfrm>
        </p:grpSpPr>
        <p:sp>
          <p:nvSpPr>
            <p:cNvPr id="229" name="Oval 228">
              <a:extLst>
                <a:ext uri="{FF2B5EF4-FFF2-40B4-BE49-F238E27FC236}">
                  <a16:creationId xmlns="" xmlns:a16="http://schemas.microsoft.com/office/drawing/2014/main" id="{C8B52A11-2DE0-4406-A5CB-7888FFB2A8B3}"/>
                </a:ext>
              </a:extLst>
            </p:cNvPr>
            <p:cNvSpPr/>
            <p:nvPr/>
          </p:nvSpPr>
          <p:spPr>
            <a:xfrm>
              <a:off x="4672421" y="282021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30" name="Graphic 229">
              <a:extLst>
                <a:ext uri="{FF2B5EF4-FFF2-40B4-BE49-F238E27FC236}">
                  <a16:creationId xmlns="" xmlns:a16="http://schemas.microsoft.com/office/drawing/2014/main" id="{6DC882E6-9978-4BF3-9DEA-37D3FEDBDB44}"/>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4734342" y="3008567"/>
              <a:ext cx="439015" cy="168650"/>
            </a:xfrm>
            <a:prstGeom prst="rect">
              <a:avLst/>
            </a:prstGeom>
          </p:spPr>
        </p:pic>
      </p:grpSp>
      <p:grpSp>
        <p:nvGrpSpPr>
          <p:cNvPr id="234" name="Group 233">
            <a:extLst>
              <a:ext uri="{FF2B5EF4-FFF2-40B4-BE49-F238E27FC236}">
                <a16:creationId xmlns="" xmlns:a16="http://schemas.microsoft.com/office/drawing/2014/main" id="{55C637FB-DE3D-48C6-A920-22A4B010D6E9}"/>
              </a:ext>
            </a:extLst>
          </p:cNvPr>
          <p:cNvGrpSpPr/>
          <p:nvPr/>
        </p:nvGrpSpPr>
        <p:grpSpPr>
          <a:xfrm>
            <a:off x="2482534" y="5559012"/>
            <a:ext cx="563264" cy="563264"/>
            <a:chOff x="4672421" y="2820218"/>
            <a:chExt cx="563264" cy="563264"/>
          </a:xfrm>
        </p:grpSpPr>
        <p:sp>
          <p:nvSpPr>
            <p:cNvPr id="235" name="Oval 234">
              <a:extLst>
                <a:ext uri="{FF2B5EF4-FFF2-40B4-BE49-F238E27FC236}">
                  <a16:creationId xmlns="" xmlns:a16="http://schemas.microsoft.com/office/drawing/2014/main" id="{E82DD2A5-5ADC-45E1-B984-F58DF06F97B6}"/>
                </a:ext>
              </a:extLst>
            </p:cNvPr>
            <p:cNvSpPr/>
            <p:nvPr/>
          </p:nvSpPr>
          <p:spPr>
            <a:xfrm>
              <a:off x="4672421" y="282021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36" name="Graphic 235">
              <a:extLst>
                <a:ext uri="{FF2B5EF4-FFF2-40B4-BE49-F238E27FC236}">
                  <a16:creationId xmlns="" xmlns:a16="http://schemas.microsoft.com/office/drawing/2014/main" id="{02D7E747-01BD-4EAF-8F3A-605147CF1F68}"/>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4734342" y="3008567"/>
              <a:ext cx="439015" cy="168650"/>
            </a:xfrm>
            <a:prstGeom prst="rect">
              <a:avLst/>
            </a:prstGeom>
          </p:spPr>
        </p:pic>
      </p:grpSp>
      <p:grpSp>
        <p:nvGrpSpPr>
          <p:cNvPr id="122" name="Group 121">
            <a:extLst>
              <a:ext uri="{FF2B5EF4-FFF2-40B4-BE49-F238E27FC236}">
                <a16:creationId xmlns="" xmlns:a16="http://schemas.microsoft.com/office/drawing/2014/main" id="{D08A08A6-89F7-4F51-801F-12E9661A167B}"/>
              </a:ext>
            </a:extLst>
          </p:cNvPr>
          <p:cNvGrpSpPr/>
          <p:nvPr/>
        </p:nvGrpSpPr>
        <p:grpSpPr>
          <a:xfrm>
            <a:off x="4594328" y="2801141"/>
            <a:ext cx="563264" cy="563264"/>
            <a:chOff x="4672421" y="2820218"/>
            <a:chExt cx="563264" cy="563264"/>
          </a:xfrm>
        </p:grpSpPr>
        <p:sp>
          <p:nvSpPr>
            <p:cNvPr id="116" name="Oval 115">
              <a:extLst>
                <a:ext uri="{FF2B5EF4-FFF2-40B4-BE49-F238E27FC236}">
                  <a16:creationId xmlns="" xmlns:a16="http://schemas.microsoft.com/office/drawing/2014/main" id="{C66ABFBC-7399-483F-8B33-9B917E06B2C4}"/>
                </a:ext>
              </a:extLst>
            </p:cNvPr>
            <p:cNvSpPr/>
            <p:nvPr/>
          </p:nvSpPr>
          <p:spPr>
            <a:xfrm>
              <a:off x="4672421" y="282021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21" name="Graphic 120">
              <a:extLst>
                <a:ext uri="{FF2B5EF4-FFF2-40B4-BE49-F238E27FC236}">
                  <a16:creationId xmlns="" xmlns:a16="http://schemas.microsoft.com/office/drawing/2014/main" id="{47674219-9F49-49D7-96C9-B2CC7177D99F}"/>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4734342" y="3008567"/>
              <a:ext cx="439015" cy="168650"/>
            </a:xfrm>
            <a:prstGeom prst="rect">
              <a:avLst/>
            </a:prstGeom>
          </p:spPr>
        </p:pic>
      </p:grpSp>
      <p:grpSp>
        <p:nvGrpSpPr>
          <p:cNvPr id="303" name="Group 302">
            <a:extLst>
              <a:ext uri="{FF2B5EF4-FFF2-40B4-BE49-F238E27FC236}">
                <a16:creationId xmlns="" xmlns:a16="http://schemas.microsoft.com/office/drawing/2014/main" id="{6F86CE0F-E660-4F25-A272-478379AD5311}"/>
              </a:ext>
            </a:extLst>
          </p:cNvPr>
          <p:cNvGrpSpPr/>
          <p:nvPr/>
        </p:nvGrpSpPr>
        <p:grpSpPr>
          <a:xfrm>
            <a:off x="4196968" y="2961458"/>
            <a:ext cx="3165314" cy="3165314"/>
            <a:chOff x="4672421" y="2820218"/>
            <a:chExt cx="563264" cy="563264"/>
          </a:xfrm>
        </p:grpSpPr>
        <p:sp>
          <p:nvSpPr>
            <p:cNvPr id="304" name="Oval 303">
              <a:extLst>
                <a:ext uri="{FF2B5EF4-FFF2-40B4-BE49-F238E27FC236}">
                  <a16:creationId xmlns="" xmlns:a16="http://schemas.microsoft.com/office/drawing/2014/main" id="{EB4A7AE7-0EF5-437C-8FDF-23B5B3EE5F2C}"/>
                </a:ext>
              </a:extLst>
            </p:cNvPr>
            <p:cNvSpPr/>
            <p:nvPr/>
          </p:nvSpPr>
          <p:spPr>
            <a:xfrm>
              <a:off x="4672421" y="2820218"/>
              <a:ext cx="563264" cy="563264"/>
            </a:xfrm>
            <a:prstGeom prst="ellipse">
              <a:avLst/>
            </a:prstGeom>
            <a:solidFill>
              <a:srgbClr val="EFEFF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05" name="Graphic 304">
              <a:extLst>
                <a:ext uri="{FF2B5EF4-FFF2-40B4-BE49-F238E27FC236}">
                  <a16:creationId xmlns="" xmlns:a16="http://schemas.microsoft.com/office/drawing/2014/main" id="{02181EEC-8A0B-4150-AB36-5722551CB1C2}"/>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4684614" y="2951197"/>
              <a:ext cx="551071" cy="211697"/>
            </a:xfrm>
            <a:prstGeom prst="rect">
              <a:avLst/>
            </a:prstGeom>
          </p:spPr>
        </p:pic>
      </p:grpSp>
      <p:sp>
        <p:nvSpPr>
          <p:cNvPr id="25" name="TextBox 8">
            <a:extLst>
              <a:ext uri="{FF2B5EF4-FFF2-40B4-BE49-F238E27FC236}">
                <a16:creationId xmlns="" xmlns:a16="http://schemas.microsoft.com/office/drawing/2014/main" id="{8F836CFA-551A-4178-A643-59A59096E791}"/>
              </a:ext>
            </a:extLst>
          </p:cNvPr>
          <p:cNvSpPr txBox="1"/>
          <p:nvPr/>
        </p:nvSpPr>
        <p:spPr>
          <a:xfrm>
            <a:off x="7690232" y="1833797"/>
            <a:ext cx="3938373" cy="1477328"/>
          </a:xfrm>
          <a:prstGeom prst="rect">
            <a:avLst/>
          </a:prstGeom>
          <a:noFill/>
        </p:spPr>
        <p:txBody>
          <a:bodyPr wrap="square" rtlCol="0">
            <a:spAutoFit/>
          </a:bodyPr>
          <a:lstStyle/>
          <a:p>
            <a:pPr lvl="0">
              <a:defRPr/>
            </a:pPr>
            <a:r>
              <a:rPr lang="en-US" spc="600" dirty="0">
                <a:solidFill>
                  <a:srgbClr val="404041"/>
                </a:solidFill>
                <a:latin typeface="Verdana" panose="020B0604030504040204" pitchFamily="34" charset="0"/>
                <a:ea typeface="Verdana" panose="020B0604030504040204" pitchFamily="34" charset="0"/>
                <a:cs typeface="Verdana" panose="020B0604030504040204" pitchFamily="34" charset="0"/>
              </a:rPr>
              <a:t>MANUFACTURING EXCELLENCE &amp; A HIGH QUALITY PRODUCT THAT CLINICIANS TRUST</a:t>
            </a:r>
            <a:endParaRPr kumimoji="0" lang="pt-PT" b="0" i="0" u="none" strike="noStrike" kern="1200" cap="none" spc="60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6" name="TextBox 25">
            <a:extLst>
              <a:ext uri="{FF2B5EF4-FFF2-40B4-BE49-F238E27FC236}">
                <a16:creationId xmlns="" xmlns:a16="http://schemas.microsoft.com/office/drawing/2014/main" id="{C78A1332-DCD7-4767-9B9D-00E64CE8A3B1}"/>
              </a:ext>
            </a:extLst>
          </p:cNvPr>
          <p:cNvSpPr txBox="1"/>
          <p:nvPr/>
        </p:nvSpPr>
        <p:spPr>
          <a:xfrm>
            <a:off x="7651161" y="642702"/>
            <a:ext cx="3688565" cy="1191095"/>
          </a:xfrm>
          <a:prstGeom prst="rect">
            <a:avLst/>
          </a:prstGeom>
          <a:noFill/>
        </p:spPr>
        <p:txBody>
          <a:bodyPr wrap="square" rtlCol="0">
            <a:spAutoFit/>
            <a:scene3d>
              <a:camera prst="orthographicFront"/>
              <a:lightRig rig="threePt" dir="t"/>
            </a:scene3d>
            <a:sp3d>
              <a:bevelT w="0" h="0" prst="artDeco"/>
            </a:sp3d>
          </a:bodyPr>
          <a:lstStyle/>
          <a:p>
            <a:pPr lvl="0">
              <a:lnSpc>
                <a:spcPct val="85000"/>
              </a:lnSpc>
              <a:defRPr/>
            </a:pPr>
            <a:r>
              <a:rPr lang="en-US" sz="2800" b="1" dirty="0">
                <a:solidFill>
                  <a:srgbClr val="05589C"/>
                </a:solidFill>
                <a:latin typeface="Verdana" panose="020B0604030504040204" pitchFamily="34" charset="0"/>
                <a:ea typeface="Verdana" panose="020B0604030504040204" pitchFamily="34" charset="0"/>
                <a:cs typeface="Verdana" panose="020B0604030504040204" pitchFamily="34" charset="0"/>
              </a:rPr>
              <a:t>WHEN IT COMES </a:t>
            </a:r>
            <a:br>
              <a:rPr lang="en-US" sz="2800" b="1" dirty="0">
                <a:solidFill>
                  <a:srgbClr val="05589C"/>
                </a:solidFill>
                <a:latin typeface="Verdana" panose="020B0604030504040204" pitchFamily="34" charset="0"/>
                <a:ea typeface="Verdana" panose="020B0604030504040204" pitchFamily="34" charset="0"/>
                <a:cs typeface="Verdana" panose="020B0604030504040204" pitchFamily="34" charset="0"/>
              </a:rPr>
            </a:br>
            <a:r>
              <a:rPr lang="en-US" sz="2800" b="1" dirty="0">
                <a:solidFill>
                  <a:srgbClr val="05589C"/>
                </a:solidFill>
                <a:latin typeface="Verdana" panose="020B0604030504040204" pitchFamily="34" charset="0"/>
                <a:ea typeface="Verdana" panose="020B0604030504040204" pitchFamily="34" charset="0"/>
                <a:cs typeface="Verdana" panose="020B0604030504040204" pitchFamily="34" charset="0"/>
              </a:rPr>
              <a:t>TO PATIENT SAFETY, </a:t>
            </a:r>
            <a:endParaRPr kumimoji="0" lang="pt-PT" sz="20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1" name="Title 2">
            <a:extLst>
              <a:ext uri="{FF2B5EF4-FFF2-40B4-BE49-F238E27FC236}">
                <a16:creationId xmlns="" xmlns:a16="http://schemas.microsoft.com/office/drawing/2014/main" id="{BBFEC145-D0C5-4AF5-AC73-EFCBA06B6CCD}"/>
              </a:ext>
            </a:extLst>
          </p:cNvPr>
          <p:cNvSpPr txBox="1">
            <a:spLocks/>
          </p:cNvSpPr>
          <p:nvPr/>
        </p:nvSpPr>
        <p:spPr>
          <a:xfrm>
            <a:off x="4265488" y="4741191"/>
            <a:ext cx="3686139" cy="720258"/>
          </a:xfrm>
          <a:prstGeom prst="rect">
            <a:avLst/>
          </a:prstGeom>
        </p:spPr>
        <p:txBody>
          <a:bodyPr vert="horz" anchor="b" anchorCtr="0">
            <a:noAutofit/>
          </a:bodyPr>
          <a:lstStyle>
            <a:lvl1pPr algn="l" defTabSz="457200" rtl="0" eaLnBrk="1" latinLnBrk="0" hangingPunct="1">
              <a:spcBef>
                <a:spcPct val="0"/>
              </a:spcBef>
              <a:buNone/>
              <a:defRPr sz="3200" kern="1200">
                <a:solidFill>
                  <a:schemeClr val="accent1"/>
                </a:solidFill>
                <a:latin typeface="Verdana"/>
                <a:ea typeface="+mj-ea"/>
                <a:cs typeface="+mj-cs"/>
              </a:defRPr>
            </a:lvl1pPr>
          </a:lstStyle>
          <a:p>
            <a:r>
              <a:rPr lang="en-US" sz="2800" dirty="0">
                <a:solidFill>
                  <a:srgbClr val="05589C"/>
                </a:solidFill>
              </a:rPr>
              <a:t>BD Stands Alone… </a:t>
            </a:r>
          </a:p>
        </p:txBody>
      </p:sp>
      <p:grpSp>
        <p:nvGrpSpPr>
          <p:cNvPr id="11" name="Group 10">
            <a:extLst>
              <a:ext uri="{FF2B5EF4-FFF2-40B4-BE49-F238E27FC236}">
                <a16:creationId xmlns="" xmlns:a16="http://schemas.microsoft.com/office/drawing/2014/main" id="{5F7C2D00-A3EC-4E92-AFA1-9035F3929E2B}"/>
              </a:ext>
            </a:extLst>
          </p:cNvPr>
          <p:cNvGrpSpPr/>
          <p:nvPr/>
        </p:nvGrpSpPr>
        <p:grpSpPr>
          <a:xfrm>
            <a:off x="6060818" y="1678425"/>
            <a:ext cx="1301464" cy="929931"/>
            <a:chOff x="6060818" y="1678425"/>
            <a:chExt cx="1301464" cy="929931"/>
          </a:xfrm>
        </p:grpSpPr>
        <p:sp>
          <p:nvSpPr>
            <p:cNvPr id="29" name="Isosceles Triangle 28">
              <a:extLst>
                <a:ext uri="{FF2B5EF4-FFF2-40B4-BE49-F238E27FC236}">
                  <a16:creationId xmlns="" xmlns:a16="http://schemas.microsoft.com/office/drawing/2014/main" id="{47DEAB54-8752-4EA7-8741-EFFA03A99514}"/>
                </a:ext>
              </a:extLst>
            </p:cNvPr>
            <p:cNvSpPr/>
            <p:nvPr/>
          </p:nvSpPr>
          <p:spPr>
            <a:xfrm rot="10800000">
              <a:off x="6060818" y="1678425"/>
              <a:ext cx="1301464" cy="929931"/>
            </a:xfrm>
            <a:prstGeom prst="triangle">
              <a:avLst/>
            </a:prstGeom>
            <a:solidFill>
              <a:srgbClr val="8CC6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7" name="Group 4">
              <a:extLst>
                <a:ext uri="{FF2B5EF4-FFF2-40B4-BE49-F238E27FC236}">
                  <a16:creationId xmlns="" xmlns:a16="http://schemas.microsoft.com/office/drawing/2014/main" id="{D5EB8C4F-FE5F-45E4-935C-294CB3C14CD4}"/>
                </a:ext>
              </a:extLst>
            </p:cNvPr>
            <p:cNvGrpSpPr>
              <a:grpSpLocks noChangeAspect="1"/>
            </p:cNvGrpSpPr>
            <p:nvPr/>
          </p:nvGrpSpPr>
          <p:grpSpPr bwMode="auto">
            <a:xfrm>
              <a:off x="6517103" y="1843557"/>
              <a:ext cx="417922" cy="398126"/>
              <a:chOff x="4428" y="-909"/>
              <a:chExt cx="5489" cy="5229"/>
            </a:xfrm>
            <a:solidFill>
              <a:schemeClr val="bg1"/>
            </a:solidFill>
          </p:grpSpPr>
          <p:sp>
            <p:nvSpPr>
              <p:cNvPr id="9" name="Freeform 5">
                <a:extLst>
                  <a:ext uri="{FF2B5EF4-FFF2-40B4-BE49-F238E27FC236}">
                    <a16:creationId xmlns="" xmlns:a16="http://schemas.microsoft.com/office/drawing/2014/main" id="{63574903-C20F-4000-B0A3-96B1C86CA22E}"/>
                  </a:ext>
                </a:extLst>
              </p:cNvPr>
              <p:cNvSpPr>
                <a:spLocks/>
              </p:cNvSpPr>
              <p:nvPr/>
            </p:nvSpPr>
            <p:spPr bwMode="auto">
              <a:xfrm>
                <a:off x="4428" y="-909"/>
                <a:ext cx="5227" cy="5229"/>
              </a:xfrm>
              <a:custGeom>
                <a:avLst/>
                <a:gdLst>
                  <a:gd name="T0" fmla="*/ 979 w 1958"/>
                  <a:gd name="T1" fmla="*/ 1958 h 1958"/>
                  <a:gd name="T2" fmla="*/ 979 w 1958"/>
                  <a:gd name="T3" fmla="*/ 1958 h 1958"/>
                  <a:gd name="T4" fmla="*/ 286 w 1958"/>
                  <a:gd name="T5" fmla="*/ 1671 h 1958"/>
                  <a:gd name="T6" fmla="*/ 0 w 1958"/>
                  <a:gd name="T7" fmla="*/ 978 h 1958"/>
                  <a:gd name="T8" fmla="*/ 287 w 1958"/>
                  <a:gd name="T9" fmla="*/ 286 h 1958"/>
                  <a:gd name="T10" fmla="*/ 979 w 1958"/>
                  <a:gd name="T11" fmla="*/ 0 h 1958"/>
                  <a:gd name="T12" fmla="*/ 980 w 1958"/>
                  <a:gd name="T13" fmla="*/ 0 h 1958"/>
                  <a:gd name="T14" fmla="*/ 1378 w 1958"/>
                  <a:gd name="T15" fmla="*/ 85 h 1958"/>
                  <a:gd name="T16" fmla="*/ 1420 w 1958"/>
                  <a:gd name="T17" fmla="*/ 194 h 1958"/>
                  <a:gd name="T18" fmla="*/ 1310 w 1958"/>
                  <a:gd name="T19" fmla="*/ 236 h 1958"/>
                  <a:gd name="T20" fmla="*/ 980 w 1958"/>
                  <a:gd name="T21" fmla="*/ 165 h 1958"/>
                  <a:gd name="T22" fmla="*/ 979 w 1958"/>
                  <a:gd name="T23" fmla="*/ 165 h 1958"/>
                  <a:gd name="T24" fmla="*/ 404 w 1958"/>
                  <a:gd name="T25" fmla="*/ 403 h 1958"/>
                  <a:gd name="T26" fmla="*/ 165 w 1958"/>
                  <a:gd name="T27" fmla="*/ 979 h 1958"/>
                  <a:gd name="T28" fmla="*/ 979 w 1958"/>
                  <a:gd name="T29" fmla="*/ 1793 h 1958"/>
                  <a:gd name="T30" fmla="*/ 979 w 1958"/>
                  <a:gd name="T31" fmla="*/ 1793 h 1958"/>
                  <a:gd name="T32" fmla="*/ 1554 w 1958"/>
                  <a:gd name="T33" fmla="*/ 1555 h 1958"/>
                  <a:gd name="T34" fmla="*/ 1793 w 1958"/>
                  <a:gd name="T35" fmla="*/ 979 h 1958"/>
                  <a:gd name="T36" fmla="*/ 1793 w 1958"/>
                  <a:gd name="T37" fmla="*/ 896 h 1958"/>
                  <a:gd name="T38" fmla="*/ 1876 w 1958"/>
                  <a:gd name="T39" fmla="*/ 813 h 1958"/>
                  <a:gd name="T40" fmla="*/ 1958 w 1958"/>
                  <a:gd name="T41" fmla="*/ 896 h 1958"/>
                  <a:gd name="T42" fmla="*/ 1958 w 1958"/>
                  <a:gd name="T43" fmla="*/ 980 h 1958"/>
                  <a:gd name="T44" fmla="*/ 1671 w 1958"/>
                  <a:gd name="T45" fmla="*/ 1672 h 1958"/>
                  <a:gd name="T46" fmla="*/ 979 w 1958"/>
                  <a:gd name="T47" fmla="*/ 1958 h 1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58" h="1958">
                    <a:moveTo>
                      <a:pt x="979" y="1958"/>
                    </a:moveTo>
                    <a:cubicBezTo>
                      <a:pt x="979" y="1958"/>
                      <a:pt x="979" y="1958"/>
                      <a:pt x="979" y="1958"/>
                    </a:cubicBezTo>
                    <a:cubicBezTo>
                      <a:pt x="717" y="1958"/>
                      <a:pt x="471" y="1856"/>
                      <a:pt x="286" y="1671"/>
                    </a:cubicBezTo>
                    <a:cubicBezTo>
                      <a:pt x="102" y="1486"/>
                      <a:pt x="0" y="1240"/>
                      <a:pt x="0" y="978"/>
                    </a:cubicBezTo>
                    <a:cubicBezTo>
                      <a:pt x="0" y="717"/>
                      <a:pt x="102" y="471"/>
                      <a:pt x="287" y="286"/>
                    </a:cubicBezTo>
                    <a:cubicBezTo>
                      <a:pt x="472" y="102"/>
                      <a:pt x="718" y="0"/>
                      <a:pt x="979" y="0"/>
                    </a:cubicBezTo>
                    <a:cubicBezTo>
                      <a:pt x="979" y="0"/>
                      <a:pt x="980" y="0"/>
                      <a:pt x="980" y="0"/>
                    </a:cubicBezTo>
                    <a:cubicBezTo>
                      <a:pt x="1118" y="0"/>
                      <a:pt x="1252" y="28"/>
                      <a:pt x="1378" y="85"/>
                    </a:cubicBezTo>
                    <a:cubicBezTo>
                      <a:pt x="1419" y="103"/>
                      <a:pt x="1438" y="152"/>
                      <a:pt x="1420" y="194"/>
                    </a:cubicBezTo>
                    <a:cubicBezTo>
                      <a:pt x="1401" y="236"/>
                      <a:pt x="1352" y="254"/>
                      <a:pt x="1310" y="236"/>
                    </a:cubicBezTo>
                    <a:cubicBezTo>
                      <a:pt x="1206" y="189"/>
                      <a:pt x="1094" y="165"/>
                      <a:pt x="980" y="165"/>
                    </a:cubicBezTo>
                    <a:cubicBezTo>
                      <a:pt x="979" y="165"/>
                      <a:pt x="979" y="165"/>
                      <a:pt x="979" y="165"/>
                    </a:cubicBezTo>
                    <a:cubicBezTo>
                      <a:pt x="762" y="165"/>
                      <a:pt x="558" y="250"/>
                      <a:pt x="404" y="403"/>
                    </a:cubicBezTo>
                    <a:cubicBezTo>
                      <a:pt x="250" y="557"/>
                      <a:pt x="166" y="761"/>
                      <a:pt x="165" y="979"/>
                    </a:cubicBezTo>
                    <a:cubicBezTo>
                      <a:pt x="165" y="1427"/>
                      <a:pt x="530" y="1792"/>
                      <a:pt x="979" y="1793"/>
                    </a:cubicBezTo>
                    <a:cubicBezTo>
                      <a:pt x="979" y="1793"/>
                      <a:pt x="979" y="1793"/>
                      <a:pt x="979" y="1793"/>
                    </a:cubicBezTo>
                    <a:cubicBezTo>
                      <a:pt x="1196" y="1793"/>
                      <a:pt x="1401" y="1708"/>
                      <a:pt x="1554" y="1555"/>
                    </a:cubicBezTo>
                    <a:cubicBezTo>
                      <a:pt x="1708" y="1401"/>
                      <a:pt x="1793" y="1197"/>
                      <a:pt x="1793" y="979"/>
                    </a:cubicBezTo>
                    <a:cubicBezTo>
                      <a:pt x="1793" y="896"/>
                      <a:pt x="1793" y="896"/>
                      <a:pt x="1793" y="896"/>
                    </a:cubicBezTo>
                    <a:cubicBezTo>
                      <a:pt x="1793" y="850"/>
                      <a:pt x="1830" y="813"/>
                      <a:pt x="1876" y="813"/>
                    </a:cubicBezTo>
                    <a:cubicBezTo>
                      <a:pt x="1921" y="813"/>
                      <a:pt x="1958" y="850"/>
                      <a:pt x="1958" y="896"/>
                    </a:cubicBezTo>
                    <a:cubicBezTo>
                      <a:pt x="1958" y="980"/>
                      <a:pt x="1958" y="980"/>
                      <a:pt x="1958" y="980"/>
                    </a:cubicBezTo>
                    <a:cubicBezTo>
                      <a:pt x="1958" y="1241"/>
                      <a:pt x="1856" y="1487"/>
                      <a:pt x="1671" y="1672"/>
                    </a:cubicBezTo>
                    <a:cubicBezTo>
                      <a:pt x="1486" y="1856"/>
                      <a:pt x="1241" y="1958"/>
                      <a:pt x="979" y="19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10" name="Freeform 6">
                <a:extLst>
                  <a:ext uri="{FF2B5EF4-FFF2-40B4-BE49-F238E27FC236}">
                    <a16:creationId xmlns="" xmlns:a16="http://schemas.microsoft.com/office/drawing/2014/main" id="{A57F2BBB-5486-411F-801B-3F5A1A8CB9B5}"/>
                  </a:ext>
                </a:extLst>
              </p:cNvPr>
              <p:cNvSpPr>
                <a:spLocks/>
              </p:cNvSpPr>
              <p:nvPr/>
            </p:nvSpPr>
            <p:spPr bwMode="auto">
              <a:xfrm>
                <a:off x="6080" y="-690"/>
                <a:ext cx="3837" cy="3098"/>
              </a:xfrm>
              <a:custGeom>
                <a:avLst/>
                <a:gdLst>
                  <a:gd name="T0" fmla="*/ 360 w 1437"/>
                  <a:gd name="T1" fmla="*/ 1160 h 1160"/>
                  <a:gd name="T2" fmla="*/ 302 w 1437"/>
                  <a:gd name="T3" fmla="*/ 1135 h 1160"/>
                  <a:gd name="T4" fmla="*/ 33 w 1437"/>
                  <a:gd name="T5" fmla="*/ 866 h 1160"/>
                  <a:gd name="T6" fmla="*/ 33 w 1437"/>
                  <a:gd name="T7" fmla="*/ 749 h 1160"/>
                  <a:gd name="T8" fmla="*/ 150 w 1437"/>
                  <a:gd name="T9" fmla="*/ 749 h 1160"/>
                  <a:gd name="T10" fmla="*/ 360 w 1437"/>
                  <a:gd name="T11" fmla="*/ 960 h 1160"/>
                  <a:gd name="T12" fmla="*/ 1288 w 1437"/>
                  <a:gd name="T13" fmla="*/ 32 h 1160"/>
                  <a:gd name="T14" fmla="*/ 1405 w 1437"/>
                  <a:gd name="T15" fmla="*/ 32 h 1160"/>
                  <a:gd name="T16" fmla="*/ 1405 w 1437"/>
                  <a:gd name="T17" fmla="*/ 149 h 1160"/>
                  <a:gd name="T18" fmla="*/ 419 w 1437"/>
                  <a:gd name="T19" fmla="*/ 1135 h 1160"/>
                  <a:gd name="T20" fmla="*/ 360 w 1437"/>
                  <a:gd name="T21" fmla="*/ 1160 h 1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7" h="1160">
                    <a:moveTo>
                      <a:pt x="360" y="1160"/>
                    </a:moveTo>
                    <a:cubicBezTo>
                      <a:pt x="339" y="1160"/>
                      <a:pt x="318" y="1151"/>
                      <a:pt x="302" y="1135"/>
                    </a:cubicBezTo>
                    <a:cubicBezTo>
                      <a:pt x="33" y="866"/>
                      <a:pt x="33" y="866"/>
                      <a:pt x="33" y="866"/>
                    </a:cubicBezTo>
                    <a:cubicBezTo>
                      <a:pt x="0" y="834"/>
                      <a:pt x="0" y="782"/>
                      <a:pt x="33" y="749"/>
                    </a:cubicBezTo>
                    <a:cubicBezTo>
                      <a:pt x="65" y="717"/>
                      <a:pt x="117" y="717"/>
                      <a:pt x="150" y="749"/>
                    </a:cubicBezTo>
                    <a:cubicBezTo>
                      <a:pt x="360" y="960"/>
                      <a:pt x="360" y="960"/>
                      <a:pt x="360" y="960"/>
                    </a:cubicBezTo>
                    <a:cubicBezTo>
                      <a:pt x="1288" y="32"/>
                      <a:pt x="1288" y="32"/>
                      <a:pt x="1288" y="32"/>
                    </a:cubicBezTo>
                    <a:cubicBezTo>
                      <a:pt x="1320" y="0"/>
                      <a:pt x="1372" y="0"/>
                      <a:pt x="1405" y="32"/>
                    </a:cubicBezTo>
                    <a:cubicBezTo>
                      <a:pt x="1437" y="65"/>
                      <a:pt x="1437" y="117"/>
                      <a:pt x="1405" y="149"/>
                    </a:cubicBezTo>
                    <a:cubicBezTo>
                      <a:pt x="419" y="1135"/>
                      <a:pt x="419" y="1135"/>
                      <a:pt x="419" y="1135"/>
                    </a:cubicBezTo>
                    <a:cubicBezTo>
                      <a:pt x="403" y="1151"/>
                      <a:pt x="381" y="1160"/>
                      <a:pt x="360" y="1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pic>
        <p:nvPicPr>
          <p:cNvPr id="30" name="Picture 29"/>
          <p:cNvPicPr>
            <a:picLocks noChangeAspect="1"/>
          </p:cNvPicPr>
          <p:nvPr/>
        </p:nvPicPr>
        <p:blipFill>
          <a:blip r:embed="rId6"/>
          <a:stretch>
            <a:fillRect/>
          </a:stretch>
        </p:blipFill>
        <p:spPr>
          <a:xfrm>
            <a:off x="76200" y="6629400"/>
            <a:ext cx="4619050" cy="195171"/>
          </a:xfrm>
          <a:prstGeom prst="rect">
            <a:avLst/>
          </a:prstGeom>
        </p:spPr>
      </p:pic>
    </p:spTree>
    <p:extLst>
      <p:ext uri="{BB962C8B-B14F-4D97-AF65-F5344CB8AC3E}">
        <p14:creationId xmlns:p14="http://schemas.microsoft.com/office/powerpoint/2010/main" val="1645663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250"/>
                                  </p:stCondLst>
                                  <p:childTnLst>
                                    <p:animMotion origin="layout" path="M 2.08333E-7 4.44444E-6 L 0.08763 0.18402 " pathEditMode="relative" rAng="0" ptsTypes="AA">
                                      <p:cBhvr>
                                        <p:cTn id="6" dur="1000" fill="hold"/>
                                        <p:tgtEl>
                                          <p:spTgt spid="122"/>
                                        </p:tgtEl>
                                        <p:attrNameLst>
                                          <p:attrName>ppt_x</p:attrName>
                                          <p:attrName>ppt_y</p:attrName>
                                        </p:attrNameLst>
                                      </p:cBhvr>
                                      <p:rCtr x="4375" y="9190"/>
                                    </p:animMotion>
                                  </p:childTnLst>
                                </p:cTn>
                              </p:par>
                              <p:par>
                                <p:cTn id="7" presetID="42" presetClass="path" presetSubtype="0" accel="50000" decel="50000" fill="hold" nodeType="withEffect">
                                  <p:stCondLst>
                                    <p:cond delay="250"/>
                                  </p:stCondLst>
                                  <p:childTnLst>
                                    <p:animMotion origin="layout" path="M -1.66667E-6 -4.07407E-6 L 0.1487 0.0463 " pathEditMode="relative" rAng="0" ptsTypes="AA">
                                      <p:cBhvr>
                                        <p:cTn id="8" dur="1000" fill="hold"/>
                                        <p:tgtEl>
                                          <p:spTgt spid="169"/>
                                        </p:tgtEl>
                                        <p:attrNameLst>
                                          <p:attrName>ppt_x</p:attrName>
                                          <p:attrName>ppt_y</p:attrName>
                                        </p:attrNameLst>
                                      </p:cBhvr>
                                      <p:rCtr x="7435" y="2315"/>
                                    </p:animMotion>
                                  </p:childTnLst>
                                </p:cTn>
                              </p:par>
                              <p:par>
                                <p:cTn id="9" presetID="42" presetClass="path" presetSubtype="0" accel="50000" decel="50000" fill="hold" nodeType="withEffect">
                                  <p:stCondLst>
                                    <p:cond delay="250"/>
                                  </p:stCondLst>
                                  <p:childTnLst>
                                    <p:animMotion origin="layout" path="M 1.875E-6 1.11111E-6 L 0.2069 -0.08634 " pathEditMode="relative" rAng="0" ptsTypes="AA">
                                      <p:cBhvr>
                                        <p:cTn id="10" dur="1000" fill="hold"/>
                                        <p:tgtEl>
                                          <p:spTgt spid="228"/>
                                        </p:tgtEl>
                                        <p:attrNameLst>
                                          <p:attrName>ppt_x</p:attrName>
                                          <p:attrName>ppt_y</p:attrName>
                                        </p:attrNameLst>
                                      </p:cBhvr>
                                      <p:rCtr x="10339" y="-4329"/>
                                    </p:animMotion>
                                  </p:childTnLst>
                                </p:cTn>
                              </p:par>
                              <p:par>
                                <p:cTn id="11" presetID="42" presetClass="path" presetSubtype="0" accel="50000" decel="50000" fill="hold" nodeType="withEffect">
                                  <p:stCondLst>
                                    <p:cond delay="250"/>
                                  </p:stCondLst>
                                  <p:childTnLst>
                                    <p:animMotion origin="layout" path="M -2.70833E-6 -3.7037E-7 L 0.26029 -0.21782 " pathEditMode="relative" rAng="0" ptsTypes="AA">
                                      <p:cBhvr>
                                        <p:cTn id="12" dur="1000" fill="hold"/>
                                        <p:tgtEl>
                                          <p:spTgt spid="234"/>
                                        </p:tgtEl>
                                        <p:attrNameLst>
                                          <p:attrName>ppt_x</p:attrName>
                                          <p:attrName>ppt_y</p:attrName>
                                        </p:attrNameLst>
                                      </p:cBhvr>
                                      <p:rCtr x="13008" y="-10903"/>
                                    </p:animMotion>
                                  </p:childTnLst>
                                </p:cTn>
                              </p:par>
                            </p:childTnLst>
                          </p:cTn>
                        </p:par>
                        <p:par>
                          <p:cTn id="13" fill="hold">
                            <p:stCondLst>
                              <p:cond delay="1250"/>
                            </p:stCondLst>
                            <p:childTnLst>
                              <p:par>
                                <p:cTn id="14" presetID="53" presetClass="entr" presetSubtype="16" fill="hold" nodeType="afterEffect">
                                  <p:stCondLst>
                                    <p:cond delay="0"/>
                                  </p:stCondLst>
                                  <p:childTnLst>
                                    <p:set>
                                      <p:cBhvr>
                                        <p:cTn id="15" dur="1" fill="hold">
                                          <p:stCondLst>
                                            <p:cond delay="0"/>
                                          </p:stCondLst>
                                        </p:cTn>
                                        <p:tgtEl>
                                          <p:spTgt spid="303"/>
                                        </p:tgtEl>
                                        <p:attrNameLst>
                                          <p:attrName>style.visibility</p:attrName>
                                        </p:attrNameLst>
                                      </p:cBhvr>
                                      <p:to>
                                        <p:strVal val="visible"/>
                                      </p:to>
                                    </p:set>
                                    <p:anim calcmode="lin" valueType="num">
                                      <p:cBhvr>
                                        <p:cTn id="16" dur="500" fill="hold"/>
                                        <p:tgtEl>
                                          <p:spTgt spid="303"/>
                                        </p:tgtEl>
                                        <p:attrNameLst>
                                          <p:attrName>ppt_w</p:attrName>
                                        </p:attrNameLst>
                                      </p:cBhvr>
                                      <p:tavLst>
                                        <p:tav tm="0">
                                          <p:val>
                                            <p:fltVal val="0"/>
                                          </p:val>
                                        </p:tav>
                                        <p:tav tm="100000">
                                          <p:val>
                                            <p:strVal val="#ppt_w"/>
                                          </p:val>
                                        </p:tav>
                                      </p:tavLst>
                                    </p:anim>
                                    <p:anim calcmode="lin" valueType="num">
                                      <p:cBhvr>
                                        <p:cTn id="17" dur="500" fill="hold"/>
                                        <p:tgtEl>
                                          <p:spTgt spid="303"/>
                                        </p:tgtEl>
                                        <p:attrNameLst>
                                          <p:attrName>ppt_h</p:attrName>
                                        </p:attrNameLst>
                                      </p:cBhvr>
                                      <p:tavLst>
                                        <p:tav tm="0">
                                          <p:val>
                                            <p:fltVal val="0"/>
                                          </p:val>
                                        </p:tav>
                                        <p:tav tm="100000">
                                          <p:val>
                                            <p:strVal val="#ppt_h"/>
                                          </p:val>
                                        </p:tav>
                                      </p:tavLst>
                                    </p:anim>
                                    <p:animEffect transition="in" filter="fade">
                                      <p:cBhvr>
                                        <p:cTn id="18" dur="500"/>
                                        <p:tgtEl>
                                          <p:spTgt spid="303"/>
                                        </p:tgtEl>
                                      </p:cBhvr>
                                    </p:animEffect>
                                  </p:childTnLst>
                                </p:cTn>
                              </p:par>
                              <p:par>
                                <p:cTn id="19" presetID="10" presetClass="exit" presetSubtype="0" fill="hold" grpId="0" nodeType="withEffect">
                                  <p:stCondLst>
                                    <p:cond delay="0"/>
                                  </p:stCondLst>
                                  <p:childTnLst>
                                    <p:animEffect transition="out" filter="fade">
                                      <p:cBhvr>
                                        <p:cTn id="20" dur="500"/>
                                        <p:tgtEl>
                                          <p:spTgt spid="39"/>
                                        </p:tgtEl>
                                      </p:cBhvr>
                                    </p:animEffect>
                                    <p:set>
                                      <p:cBhvr>
                                        <p:cTn id="21" dur="1" fill="hold">
                                          <p:stCondLst>
                                            <p:cond delay="499"/>
                                          </p:stCondLst>
                                        </p:cTn>
                                        <p:tgtEl>
                                          <p:spTgt spid="39"/>
                                        </p:tgtEl>
                                        <p:attrNameLst>
                                          <p:attrName>style.visibility</p:attrName>
                                        </p:attrNameLst>
                                      </p:cBhvr>
                                      <p:to>
                                        <p:strVal val="hidden"/>
                                      </p:to>
                                    </p:set>
                                  </p:childTnLst>
                                </p:cTn>
                              </p:par>
                              <p:par>
                                <p:cTn id="22" presetID="22" presetClass="entr" presetSubtype="8" fill="hold" grpId="0" nodeType="withEffect">
                                  <p:stCondLst>
                                    <p:cond delay="250"/>
                                  </p:stCondLst>
                                  <p:childTnLst>
                                    <p:set>
                                      <p:cBhvr>
                                        <p:cTn id="23" dur="1" fill="hold">
                                          <p:stCondLst>
                                            <p:cond delay="0"/>
                                          </p:stCondLst>
                                        </p:cTn>
                                        <p:tgtEl>
                                          <p:spTgt spid="31"/>
                                        </p:tgtEl>
                                        <p:attrNameLst>
                                          <p:attrName>style.visibility</p:attrName>
                                        </p:attrNameLst>
                                      </p:cBhvr>
                                      <p:to>
                                        <p:strVal val="visible"/>
                                      </p:to>
                                    </p:set>
                                    <p:animEffect transition="in" filter="wipe(left)">
                                      <p:cBhvr>
                                        <p:cTn id="24" dur="500"/>
                                        <p:tgtEl>
                                          <p:spTgt spid="31"/>
                                        </p:tgtEl>
                                      </p:cBhvr>
                                    </p:animEffect>
                                  </p:childTnLst>
                                </p:cTn>
                              </p:par>
                            </p:childTnLst>
                          </p:cTn>
                        </p:par>
                        <p:par>
                          <p:cTn id="25" fill="hold">
                            <p:stCondLst>
                              <p:cond delay="2000"/>
                            </p:stCondLst>
                            <p:childTnLst>
                              <p:par>
                                <p:cTn id="26" presetID="10" presetClass="entr" presetSubtype="0" fill="hold" nodeType="after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par>
                                <p:cTn id="29" presetID="42" presetClass="path" presetSubtype="0" accel="50000" decel="50000" fill="hold" nodeType="withEffect">
                                  <p:stCondLst>
                                    <p:cond delay="0"/>
                                  </p:stCondLst>
                                  <p:childTnLst>
                                    <p:animMotion origin="layout" path="M -8.33333E-7 5.55112E-17 L -0.06523 0.12338 " pathEditMode="relative" rAng="0" ptsTypes="AA">
                                      <p:cBhvr>
                                        <p:cTn id="30" dur="750" spd="-100000" fill="hold"/>
                                        <p:tgtEl>
                                          <p:spTgt spid="11"/>
                                        </p:tgtEl>
                                        <p:attrNameLst>
                                          <p:attrName>ppt_x</p:attrName>
                                          <p:attrName>ppt_y</p:attrName>
                                        </p:attrNameLst>
                                      </p:cBhvr>
                                      <p:rCtr x="-3268" y="6157"/>
                                    </p:animMotion>
                                  </p:childTnLst>
                                </p:cTn>
                              </p:par>
                              <p:par>
                                <p:cTn id="31" presetID="10" presetClass="entr" presetSubtype="0" fill="hold" grpId="0" nodeType="with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par>
                                <p:cTn id="34" presetID="2" presetClass="entr" presetSubtype="1" decel="100000" fill="hold" grpId="0" nodeType="withEffect">
                                  <p:stCondLst>
                                    <p:cond delay="0"/>
                                  </p:stCondLst>
                                  <p:childTnLst>
                                    <p:set>
                                      <p:cBhvr>
                                        <p:cTn id="35" dur="1" fill="hold">
                                          <p:stCondLst>
                                            <p:cond delay="0"/>
                                          </p:stCondLst>
                                        </p:cTn>
                                        <p:tgtEl>
                                          <p:spTgt spid="26"/>
                                        </p:tgtEl>
                                        <p:attrNameLst>
                                          <p:attrName>style.visibility</p:attrName>
                                        </p:attrNameLst>
                                      </p:cBhvr>
                                      <p:to>
                                        <p:strVal val="visible"/>
                                      </p:to>
                                    </p:set>
                                    <p:anim calcmode="lin" valueType="num">
                                      <p:cBhvr additive="base">
                                        <p:cTn id="36" dur="500" fill="hold"/>
                                        <p:tgtEl>
                                          <p:spTgt spid="26"/>
                                        </p:tgtEl>
                                        <p:attrNameLst>
                                          <p:attrName>ppt_x</p:attrName>
                                        </p:attrNameLst>
                                      </p:cBhvr>
                                      <p:tavLst>
                                        <p:tav tm="0">
                                          <p:val>
                                            <p:strVal val="#ppt_x"/>
                                          </p:val>
                                        </p:tav>
                                        <p:tav tm="100000">
                                          <p:val>
                                            <p:strVal val="#ppt_x"/>
                                          </p:val>
                                        </p:tav>
                                      </p:tavLst>
                                    </p:anim>
                                    <p:anim calcmode="lin" valueType="num">
                                      <p:cBhvr additive="base">
                                        <p:cTn id="37" dur="500" fill="hold"/>
                                        <p:tgtEl>
                                          <p:spTgt spid="26"/>
                                        </p:tgtEl>
                                        <p:attrNameLst>
                                          <p:attrName>ppt_y</p:attrName>
                                        </p:attrNameLst>
                                      </p:cBhvr>
                                      <p:tavLst>
                                        <p:tav tm="0">
                                          <p:val>
                                            <p:strVal val="0-#ppt_h/2"/>
                                          </p:val>
                                        </p:tav>
                                        <p:tav tm="100000">
                                          <p:val>
                                            <p:strVal val="#ppt_y"/>
                                          </p:val>
                                        </p:tav>
                                      </p:tavLst>
                                    </p:anim>
                                  </p:childTnLst>
                                </p:cTn>
                              </p:par>
                              <p:par>
                                <p:cTn id="38" presetID="2" presetClass="entr" presetSubtype="8" decel="100000" fill="hold" nodeType="withEffect">
                                  <p:stCondLst>
                                    <p:cond delay="500"/>
                                  </p:stCondLst>
                                  <p:childTnLst>
                                    <p:set>
                                      <p:cBhvr>
                                        <p:cTn id="39" dur="1" fill="hold">
                                          <p:stCondLst>
                                            <p:cond delay="0"/>
                                          </p:stCondLst>
                                        </p:cTn>
                                        <p:tgtEl>
                                          <p:spTgt spid="17"/>
                                        </p:tgtEl>
                                        <p:attrNameLst>
                                          <p:attrName>style.visibility</p:attrName>
                                        </p:attrNameLst>
                                      </p:cBhvr>
                                      <p:to>
                                        <p:strVal val="visible"/>
                                      </p:to>
                                    </p:set>
                                    <p:anim calcmode="lin" valueType="num">
                                      <p:cBhvr additive="base">
                                        <p:cTn id="40" dur="750" fill="hold"/>
                                        <p:tgtEl>
                                          <p:spTgt spid="17"/>
                                        </p:tgtEl>
                                        <p:attrNameLst>
                                          <p:attrName>ppt_x</p:attrName>
                                        </p:attrNameLst>
                                      </p:cBhvr>
                                      <p:tavLst>
                                        <p:tav tm="0">
                                          <p:val>
                                            <p:strVal val="0-#ppt_w/2"/>
                                          </p:val>
                                        </p:tav>
                                        <p:tav tm="100000">
                                          <p:val>
                                            <p:strVal val="#ppt_x"/>
                                          </p:val>
                                        </p:tav>
                                      </p:tavLst>
                                    </p:anim>
                                    <p:anim calcmode="lin" valueType="num">
                                      <p:cBhvr additive="base">
                                        <p:cTn id="41" dur="75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25" grpId="0"/>
      <p:bldP spid="26" grpId="0"/>
      <p:bldP spid="3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 xmlns:a16="http://schemas.microsoft.com/office/drawing/2014/main" id="{06A5AB7B-E217-4D75-A86A-98E8BDAFCC61}"/>
              </a:ext>
            </a:extLst>
          </p:cNvPr>
          <p:cNvPicPr>
            <a:picLocks noChangeAspect="1"/>
          </p:cNvPicPr>
          <p:nvPr/>
        </p:nvPicPr>
        <p:blipFill rotWithShape="1">
          <a:blip r:embed="rId2">
            <a:extLst>
              <a:ext uri="{28A0092B-C50C-407E-A947-70E740481C1C}">
                <a14:useLocalDpi xmlns:a14="http://schemas.microsoft.com/office/drawing/2010/main" val="0"/>
              </a:ext>
            </a:extLst>
          </a:blip>
          <a:srcRect b="25564"/>
          <a:stretch/>
        </p:blipFill>
        <p:spPr>
          <a:xfrm>
            <a:off x="0" y="812985"/>
            <a:ext cx="12192000" cy="6045015"/>
          </a:xfrm>
          <a:prstGeom prst="rect">
            <a:avLst/>
          </a:prstGeom>
        </p:spPr>
      </p:pic>
      <p:sp>
        <p:nvSpPr>
          <p:cNvPr id="6" name="Title 3"/>
          <p:cNvSpPr txBox="1">
            <a:spLocks/>
          </p:cNvSpPr>
          <p:nvPr/>
        </p:nvSpPr>
        <p:spPr>
          <a:xfrm>
            <a:off x="7524750" y="2298011"/>
            <a:ext cx="4305300" cy="2441897"/>
          </a:xfrm>
          <a:prstGeom prst="rect">
            <a:avLst/>
          </a:prstGeom>
        </p:spPr>
        <p:txBody>
          <a:bodyPr anchor="ctr"/>
          <a:lstStyle>
            <a:lvl1pPr algn="l" defTabSz="457200" rtl="0" eaLnBrk="1" latinLnBrk="0" hangingPunct="1">
              <a:spcBef>
                <a:spcPct val="0"/>
              </a:spcBef>
              <a:buNone/>
              <a:defRPr sz="3200" kern="1200" baseline="0">
                <a:solidFill>
                  <a:schemeClr val="accent2"/>
                </a:solidFill>
                <a:latin typeface="Verdana"/>
                <a:ea typeface="+mj-ea"/>
                <a:cs typeface="Verdana"/>
              </a:defRPr>
            </a:lvl1pPr>
          </a:lstStyle>
          <a:p>
            <a:pPr marL="0" marR="0" lvl="0" indent="0" algn="r" defTabSz="457200" rtl="0" eaLnBrk="1" fontAlgn="auto" latinLnBrk="0" hangingPunct="1">
              <a:lnSpc>
                <a:spcPct val="85000"/>
              </a:lnSpc>
              <a:spcBef>
                <a:spcPct val="0"/>
              </a:spcBef>
              <a:spcAft>
                <a:spcPts val="0"/>
              </a:spcAft>
              <a:buClrTx/>
              <a:buSzTx/>
              <a:buFontTx/>
              <a:buNone/>
              <a:tabLst/>
              <a:defRPr/>
            </a:pPr>
            <a:r>
              <a:rPr kumimoji="0" lang="en-US" sz="3600" b="0" i="0" u="none" strike="noStrike" kern="1200" cap="none" spc="600" normalizeH="0" baseline="0" noProof="0" dirty="0">
                <a:ln>
                  <a:noFill/>
                </a:ln>
                <a:solidFill>
                  <a:prstClr val="white"/>
                </a:solidFill>
                <a:effectLst/>
                <a:uLnTx/>
                <a:uFillTx/>
                <a:latin typeface="Verdana"/>
                <a:ea typeface="+mj-ea"/>
                <a:cs typeface="Verdana"/>
              </a:rPr>
              <a:t>BECAUSE </a:t>
            </a:r>
            <a:r>
              <a:rPr kumimoji="0" lang="en-US" sz="3600" b="1" i="0" u="none" strike="noStrike" kern="1200" cap="none" spc="600" normalizeH="0" baseline="0" noProof="0" dirty="0">
                <a:ln>
                  <a:noFill/>
                </a:ln>
                <a:solidFill>
                  <a:prstClr val="white"/>
                </a:solidFill>
                <a:effectLst/>
                <a:uLnTx/>
                <a:uFillTx/>
                <a:latin typeface="Verdana"/>
                <a:ea typeface="+mj-ea"/>
                <a:cs typeface="Verdana"/>
              </a:rPr>
              <a:t>SO MUCH </a:t>
            </a:r>
            <a:r>
              <a:rPr kumimoji="0" lang="en-US" sz="3600" b="0" i="0" u="none" strike="noStrike" kern="1200" cap="none" spc="600" normalizeH="0" baseline="0" noProof="0" dirty="0">
                <a:ln>
                  <a:noFill/>
                </a:ln>
                <a:solidFill>
                  <a:prstClr val="white"/>
                </a:solidFill>
                <a:effectLst/>
                <a:uLnTx/>
                <a:uFillTx/>
                <a:latin typeface="Verdana"/>
                <a:ea typeface="+mj-ea"/>
                <a:cs typeface="Verdana"/>
              </a:rPr>
              <a:t>IS ON </a:t>
            </a:r>
            <a:br>
              <a:rPr kumimoji="0" lang="en-US" sz="3600" b="0" i="0" u="none" strike="noStrike" kern="1200" cap="none" spc="600" normalizeH="0" baseline="0" noProof="0" dirty="0">
                <a:ln>
                  <a:noFill/>
                </a:ln>
                <a:solidFill>
                  <a:prstClr val="white"/>
                </a:solidFill>
                <a:effectLst/>
                <a:uLnTx/>
                <a:uFillTx/>
                <a:latin typeface="Verdana"/>
                <a:ea typeface="+mj-ea"/>
                <a:cs typeface="Verdana"/>
              </a:rPr>
            </a:br>
            <a:r>
              <a:rPr kumimoji="0" lang="en-US" sz="3600" b="0" i="0" u="none" strike="noStrike" kern="1200" cap="none" spc="600" normalizeH="0" baseline="0" noProof="0" dirty="0">
                <a:ln>
                  <a:noFill/>
                </a:ln>
                <a:solidFill>
                  <a:prstClr val="white"/>
                </a:solidFill>
                <a:effectLst/>
                <a:uLnTx/>
                <a:uFillTx/>
                <a:latin typeface="Verdana"/>
                <a:ea typeface="+mj-ea"/>
                <a:cs typeface="Verdana"/>
              </a:rPr>
              <a:t>THE LINE</a:t>
            </a:r>
          </a:p>
        </p:txBody>
      </p:sp>
      <p:sp>
        <p:nvSpPr>
          <p:cNvPr id="10" name="Rectangle 9">
            <a:extLst>
              <a:ext uri="{FF2B5EF4-FFF2-40B4-BE49-F238E27FC236}">
                <a16:creationId xmlns="" xmlns:a16="http://schemas.microsoft.com/office/drawing/2014/main" id="{C1C579D2-8722-460C-9558-A6D45DF27E12}"/>
              </a:ext>
            </a:extLst>
          </p:cNvPr>
          <p:cNvSpPr/>
          <p:nvPr/>
        </p:nvSpPr>
        <p:spPr>
          <a:xfrm flipH="1">
            <a:off x="-2" y="0"/>
            <a:ext cx="12201525" cy="1257300"/>
          </a:xfrm>
          <a:prstGeom prst="rect">
            <a:avLst/>
          </a:prstGeom>
          <a:solidFill>
            <a:srgbClr val="05589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Isosceles Triangle 10">
            <a:extLst>
              <a:ext uri="{FF2B5EF4-FFF2-40B4-BE49-F238E27FC236}">
                <a16:creationId xmlns="" xmlns:a16="http://schemas.microsoft.com/office/drawing/2014/main" id="{F4967B3F-E558-445C-A71E-25D38238ABE3}"/>
              </a:ext>
            </a:extLst>
          </p:cNvPr>
          <p:cNvSpPr/>
          <p:nvPr/>
        </p:nvSpPr>
        <p:spPr>
          <a:xfrm rot="5400000" flipH="1">
            <a:off x="1675883" y="-862897"/>
            <a:ext cx="936118" cy="4287882"/>
          </a:xfrm>
          <a:prstGeom prst="triangle">
            <a:avLst/>
          </a:prstGeom>
          <a:solidFill>
            <a:srgbClr val="02397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Isosceles Triangle 11">
            <a:extLst>
              <a:ext uri="{FF2B5EF4-FFF2-40B4-BE49-F238E27FC236}">
                <a16:creationId xmlns="" xmlns:a16="http://schemas.microsoft.com/office/drawing/2014/main" id="{444424C3-225F-44BD-A43D-22DEED165E07}"/>
              </a:ext>
            </a:extLst>
          </p:cNvPr>
          <p:cNvSpPr/>
          <p:nvPr/>
        </p:nvSpPr>
        <p:spPr>
          <a:xfrm rot="16200000" flipH="1">
            <a:off x="6181066" y="-3854578"/>
            <a:ext cx="2156355" cy="9865512"/>
          </a:xfrm>
          <a:prstGeom prst="triangle">
            <a:avLst/>
          </a:prstGeom>
          <a:solidFill>
            <a:srgbClr val="066BB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itle 3"/>
          <p:cNvSpPr>
            <a:spLocks noGrp="1"/>
          </p:cNvSpPr>
          <p:nvPr>
            <p:ph type="title" idx="4294967295"/>
          </p:nvPr>
        </p:nvSpPr>
        <p:spPr>
          <a:xfrm>
            <a:off x="7124700" y="602560"/>
            <a:ext cx="4624389" cy="268449"/>
          </a:xfrm>
          <a:prstGeom prst="rect">
            <a:avLst/>
          </a:prstGeom>
        </p:spPr>
        <p:txBody>
          <a:bodyPr/>
          <a:lstStyle/>
          <a:p>
            <a:pPr algn="r">
              <a:lnSpc>
                <a:spcPct val="85000"/>
              </a:lnSpc>
            </a:pPr>
            <a:r>
              <a:rPr lang="en-US" sz="2400" b="1" dirty="0">
                <a:solidFill>
                  <a:schemeClr val="bg1"/>
                </a:solidFill>
                <a:latin typeface="Verdana" panose="020B0604030504040204" pitchFamily="34" charset="0"/>
                <a:ea typeface="Verdana" panose="020B0604030504040204" pitchFamily="34" charset="0"/>
                <a:cs typeface="Verdana" panose="020B0604030504040204" pitchFamily="34" charset="0"/>
              </a:rPr>
              <a:t>BD PosiFlush™ </a:t>
            </a:r>
            <a:br>
              <a:rPr lang="en-US" sz="2400" b="1"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2400" b="1" dirty="0">
                <a:solidFill>
                  <a:schemeClr val="bg1"/>
                </a:solidFill>
                <a:latin typeface="Verdana" panose="020B0604030504040204" pitchFamily="34" charset="0"/>
                <a:ea typeface="Verdana" panose="020B0604030504040204" pitchFamily="34" charset="0"/>
                <a:cs typeface="Verdana" panose="020B0604030504040204" pitchFamily="34" charset="0"/>
              </a:rPr>
              <a:t>Pre-Filled Syringes</a:t>
            </a:r>
          </a:p>
        </p:txBody>
      </p:sp>
      <p:sp>
        <p:nvSpPr>
          <p:cNvPr id="5" name="Text Placeholder 4"/>
          <p:cNvSpPr>
            <a:spLocks noGrp="1"/>
          </p:cNvSpPr>
          <p:nvPr>
            <p:ph type="body" sz="quarter" idx="4294967295"/>
          </p:nvPr>
        </p:nvSpPr>
        <p:spPr>
          <a:xfrm>
            <a:off x="9753600" y="1364560"/>
            <a:ext cx="2069312" cy="304800"/>
          </a:xfrm>
          <a:prstGeom prst="rect">
            <a:avLst/>
          </a:prstGeom>
        </p:spPr>
        <p:txBody>
          <a:bodyPr/>
          <a:lstStyle/>
          <a:p>
            <a:pPr marL="0" indent="0">
              <a:lnSpc>
                <a:spcPct val="85000"/>
              </a:lnSpc>
              <a:buNone/>
            </a:pPr>
            <a:r>
              <a:rPr lang="en-US" sz="18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November 2017</a:t>
            </a:r>
            <a:endParaRPr lang="en-US" sz="18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7234517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 xmlns:a16="http://schemas.microsoft.com/office/drawing/2014/main" id="{AAF6D7C4-24D2-4F10-B738-60084B9FB5BC}"/>
              </a:ext>
            </a:extLst>
          </p:cNvPr>
          <p:cNvPicPr>
            <a:picLocks noChangeAspect="1"/>
          </p:cNvPicPr>
          <p:nvPr/>
        </p:nvPicPr>
        <p:blipFill>
          <a:blip r:embed="rId2"/>
          <a:stretch>
            <a:fillRect/>
          </a:stretch>
        </p:blipFill>
        <p:spPr>
          <a:xfrm>
            <a:off x="0" y="0"/>
            <a:ext cx="12188976" cy="6858014"/>
          </a:xfrm>
          <a:prstGeom prst="rect">
            <a:avLst/>
          </a:prstGeom>
        </p:spPr>
      </p:pic>
      <p:sp>
        <p:nvSpPr>
          <p:cNvPr id="12" name="Rectangle 11">
            <a:extLst>
              <a:ext uri="{FF2B5EF4-FFF2-40B4-BE49-F238E27FC236}">
                <a16:creationId xmlns="" xmlns:a16="http://schemas.microsoft.com/office/drawing/2014/main" id="{FF0C6604-42DF-43A5-86DB-2268DC1A67A2}"/>
              </a:ext>
            </a:extLst>
          </p:cNvPr>
          <p:cNvSpPr/>
          <p:nvPr/>
        </p:nvSpPr>
        <p:spPr>
          <a:xfrm rot="5400000" flipH="1" flipV="1">
            <a:off x="-2057801" y="2057803"/>
            <a:ext cx="6858802" cy="2743200"/>
          </a:xfrm>
          <a:prstGeom prst="rect">
            <a:avLst/>
          </a:prstGeom>
          <a:solidFill>
            <a:srgbClr val="F26926">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Isosceles Triangle 12">
            <a:extLst>
              <a:ext uri="{FF2B5EF4-FFF2-40B4-BE49-F238E27FC236}">
                <a16:creationId xmlns="" xmlns:a16="http://schemas.microsoft.com/office/drawing/2014/main" id="{E4F81EDD-82D5-420C-8247-48CE65D7C2BA}"/>
              </a:ext>
            </a:extLst>
          </p:cNvPr>
          <p:cNvSpPr/>
          <p:nvPr/>
        </p:nvSpPr>
        <p:spPr>
          <a:xfrm flipH="1" flipV="1">
            <a:off x="1714500" y="1"/>
            <a:ext cx="2404615" cy="2410333"/>
          </a:xfrm>
          <a:prstGeom prst="triangle">
            <a:avLst/>
          </a:prstGeom>
          <a:solidFill>
            <a:srgbClr val="D5500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Isosceles Triangle 13">
            <a:extLst>
              <a:ext uri="{FF2B5EF4-FFF2-40B4-BE49-F238E27FC236}">
                <a16:creationId xmlns="" xmlns:a16="http://schemas.microsoft.com/office/drawing/2014/main" id="{541B2283-9580-4804-9CA3-C93C6EEADAD9}"/>
              </a:ext>
            </a:extLst>
          </p:cNvPr>
          <p:cNvSpPr/>
          <p:nvPr/>
        </p:nvSpPr>
        <p:spPr>
          <a:xfrm rot="10800000" flipH="1" flipV="1">
            <a:off x="-838200" y="1300251"/>
            <a:ext cx="6400797" cy="5553201"/>
          </a:xfrm>
          <a:prstGeom prst="triangle">
            <a:avLst/>
          </a:prstGeom>
          <a:solidFill>
            <a:srgbClr val="F269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 xmlns:a16="http://schemas.microsoft.com/office/drawing/2014/main" id="{A0E41C13-4B64-4D3F-8B13-7620B469C143}"/>
              </a:ext>
            </a:extLst>
          </p:cNvPr>
          <p:cNvSpPr txBox="1"/>
          <p:nvPr/>
        </p:nvSpPr>
        <p:spPr>
          <a:xfrm>
            <a:off x="746790" y="4572000"/>
            <a:ext cx="3467575" cy="1661993"/>
          </a:xfrm>
          <a:prstGeom prst="rect">
            <a:avLst/>
          </a:prstGeom>
          <a:noFill/>
        </p:spPr>
        <p:txBody>
          <a:bodyPr wrap="square" rtlCol="0">
            <a:spAutoFit/>
            <a:scene3d>
              <a:camera prst="orthographicFront"/>
              <a:lightRig rig="threePt" dir="t"/>
            </a:scene3d>
            <a:sp3d>
              <a:bevelT w="0" h="0" prst="artDeco"/>
            </a:sp3d>
          </a:bodyPr>
          <a:lstStyle/>
          <a:p>
            <a:pPr lvl="0" algn="ctr">
              <a:lnSpc>
                <a:spcPct val="85000"/>
              </a:lnSpc>
              <a:defRPr/>
            </a:pPr>
            <a:r>
              <a:rPr lang="pt-PT" sz="6000" b="1" dirty="0">
                <a:solidFill>
                  <a:schemeClr val="bg1"/>
                </a:solidFill>
                <a:latin typeface="Verdana" panose="020B0604030504040204" pitchFamily="34" charset="0"/>
                <a:ea typeface="Verdana" panose="020B0604030504040204" pitchFamily="34" charset="0"/>
                <a:cs typeface="Verdana" panose="020B0604030504040204" pitchFamily="34" charset="0"/>
              </a:rPr>
              <a:t>THANK </a:t>
            </a:r>
            <a:br>
              <a:rPr lang="pt-PT" sz="6000" b="1"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pt-PT" sz="6000" b="1" dirty="0">
                <a:solidFill>
                  <a:schemeClr val="bg1"/>
                </a:solidFill>
                <a:latin typeface="Verdana" panose="020B0604030504040204" pitchFamily="34" charset="0"/>
                <a:ea typeface="Verdana" panose="020B0604030504040204" pitchFamily="34" charset="0"/>
                <a:cs typeface="Verdana" panose="020B0604030504040204" pitchFamily="34" charset="0"/>
              </a:rPr>
              <a:t>YOU!</a:t>
            </a:r>
            <a:endParaRPr kumimoji="0" lang="pt-PT" sz="4800" b="1"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957415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750" fill="hold"/>
                                        <p:tgtEl>
                                          <p:spTgt spid="13"/>
                                        </p:tgtEl>
                                        <p:attrNameLst>
                                          <p:attrName>ppt_x</p:attrName>
                                        </p:attrNameLst>
                                      </p:cBhvr>
                                      <p:tavLst>
                                        <p:tav tm="0">
                                          <p:val>
                                            <p:strVal val="#ppt_x"/>
                                          </p:val>
                                        </p:tav>
                                        <p:tav tm="100000">
                                          <p:val>
                                            <p:strVal val="#ppt_x"/>
                                          </p:val>
                                        </p:tav>
                                      </p:tavLst>
                                    </p:anim>
                                    <p:anim calcmode="lin" valueType="num">
                                      <p:cBhvr additive="base">
                                        <p:cTn id="8" dur="750" fill="hold"/>
                                        <p:tgtEl>
                                          <p:spTgt spid="13"/>
                                        </p:tgtEl>
                                        <p:attrNameLst>
                                          <p:attrName>ppt_y</p:attrName>
                                        </p:attrNameLst>
                                      </p:cBhvr>
                                      <p:tavLst>
                                        <p:tav tm="0">
                                          <p:val>
                                            <p:strVal val="0-#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750" fill="hold"/>
                                        <p:tgtEl>
                                          <p:spTgt spid="14"/>
                                        </p:tgtEl>
                                        <p:attrNameLst>
                                          <p:attrName>ppt_x</p:attrName>
                                        </p:attrNameLst>
                                      </p:cBhvr>
                                      <p:tavLst>
                                        <p:tav tm="0">
                                          <p:val>
                                            <p:strVal val="#ppt_x"/>
                                          </p:val>
                                        </p:tav>
                                        <p:tav tm="100000">
                                          <p:val>
                                            <p:strVal val="#ppt_x"/>
                                          </p:val>
                                        </p:tav>
                                      </p:tavLst>
                                    </p:anim>
                                    <p:anim calcmode="lin" valueType="num">
                                      <p:cBhvr additive="base">
                                        <p:cTn id="12" dur="750" fill="hold"/>
                                        <p:tgtEl>
                                          <p:spTgt spid="14"/>
                                        </p:tgtEl>
                                        <p:attrNameLst>
                                          <p:attrName>ppt_y</p:attrName>
                                        </p:attrNameLst>
                                      </p:cBhvr>
                                      <p:tavLst>
                                        <p:tav tm="0">
                                          <p:val>
                                            <p:strVal val="1+#ppt_h/2"/>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750" fill="hold"/>
                                        <p:tgtEl>
                                          <p:spTgt spid="12"/>
                                        </p:tgtEl>
                                        <p:attrNameLst>
                                          <p:attrName>ppt_x</p:attrName>
                                        </p:attrNameLst>
                                      </p:cBhvr>
                                      <p:tavLst>
                                        <p:tav tm="0">
                                          <p:val>
                                            <p:strVal val="0-#ppt_w/2"/>
                                          </p:val>
                                        </p:tav>
                                        <p:tav tm="100000">
                                          <p:val>
                                            <p:strVal val="#ppt_x"/>
                                          </p:val>
                                        </p:tav>
                                      </p:tavLst>
                                    </p:anim>
                                    <p:anim calcmode="lin" valueType="num">
                                      <p:cBhvr additive="base">
                                        <p:cTn id="16" dur="750" fill="hold"/>
                                        <p:tgtEl>
                                          <p:spTgt spid="12"/>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7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7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035475" y="364422"/>
            <a:ext cx="4679525" cy="720197"/>
          </a:xfrm>
          <a:prstGeom prst="rect">
            <a:avLst/>
          </a:prstGeom>
          <a:noFill/>
        </p:spPr>
        <p:txBody>
          <a:bodyPr wrap="square" rtlCol="0">
            <a:spAutoFit/>
            <a:scene3d>
              <a:camera prst="orthographicFront"/>
              <a:lightRig rig="threePt" dir="t"/>
            </a:scene3d>
            <a:sp3d>
              <a:bevelT w="0" h="0" prst="artDeco"/>
            </a:sp3d>
          </a:bodyPr>
          <a:lstStyle/>
          <a:p>
            <a:pPr algn="l" defTabSz="914400">
              <a:lnSpc>
                <a:spcPct val="85000"/>
              </a:lnSpc>
              <a:spcBef>
                <a:spcPts val="0"/>
              </a:spcBef>
            </a:pPr>
            <a:r>
              <a:rPr lang="en-US" sz="4800" b="1" dirty="0">
                <a:solidFill>
                  <a:srgbClr val="404041"/>
                </a:solidFill>
                <a:latin typeface="Verdana" panose="020B0604030504040204" pitchFamily="34" charset="0"/>
                <a:ea typeface="Verdana" panose="020B0604030504040204" pitchFamily="34" charset="0"/>
                <a:cs typeface="Verdana" panose="020B0604030504040204" pitchFamily="34" charset="0"/>
              </a:rPr>
              <a:t>REFERENCES</a:t>
            </a:r>
          </a:p>
        </p:txBody>
      </p:sp>
      <p:pic>
        <p:nvPicPr>
          <p:cNvPr id="24" name="Graphic 23">
            <a:extLst>
              <a:ext uri="{FF2B5EF4-FFF2-40B4-BE49-F238E27FC236}">
                <a16:creationId xmlns="" xmlns:a16="http://schemas.microsoft.com/office/drawing/2014/main" id="{579D6A33-DD99-4CC1-9B42-3F10C2AD652C}"/>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1345612" y="6490506"/>
            <a:ext cx="720740" cy="276876"/>
          </a:xfrm>
          <a:prstGeom prst="rect">
            <a:avLst/>
          </a:prstGeom>
        </p:spPr>
      </p:pic>
      <p:cxnSp>
        <p:nvCxnSpPr>
          <p:cNvPr id="27" name="Straight Connector 26">
            <a:extLst>
              <a:ext uri="{FF2B5EF4-FFF2-40B4-BE49-F238E27FC236}">
                <a16:creationId xmlns="" xmlns:a16="http://schemas.microsoft.com/office/drawing/2014/main" id="{73A1F993-D7B9-4AE0-BAB0-193EA75B2CDC}"/>
              </a:ext>
            </a:extLst>
          </p:cNvPr>
          <p:cNvCxnSpPr>
            <a:cxnSpLocks/>
          </p:cNvCxnSpPr>
          <p:nvPr/>
        </p:nvCxnSpPr>
        <p:spPr>
          <a:xfrm>
            <a:off x="-5880100" y="5075927"/>
            <a:ext cx="1857829" cy="0"/>
          </a:xfrm>
          <a:prstGeom prst="line">
            <a:avLst/>
          </a:prstGeom>
          <a:ln w="57150">
            <a:solidFill>
              <a:srgbClr val="05589C"/>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 xmlns:a16="http://schemas.microsoft.com/office/drawing/2014/main" id="{F7605A4B-1D52-4F42-BABD-663796A4816E}"/>
              </a:ext>
            </a:extLst>
          </p:cNvPr>
          <p:cNvSpPr/>
          <p:nvPr/>
        </p:nvSpPr>
        <p:spPr>
          <a:xfrm>
            <a:off x="1101791" y="1700318"/>
            <a:ext cx="4846552" cy="602473"/>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Helm R, Klausner J, Klemperer J, Flint L, Huang E. Accepted but unacceptable: peripheral IV catheter failure. J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Infus</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Nurs</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2015 May-Jun;38(3):189-203</a:t>
            </a:r>
          </a:p>
        </p:txBody>
      </p:sp>
      <p:cxnSp>
        <p:nvCxnSpPr>
          <p:cNvPr id="37" name="Straight Connector 36">
            <a:extLst>
              <a:ext uri="{FF2B5EF4-FFF2-40B4-BE49-F238E27FC236}">
                <a16:creationId xmlns="" xmlns:a16="http://schemas.microsoft.com/office/drawing/2014/main" id="{2805566E-4CD3-4911-949E-B3F1EE8653E4}"/>
              </a:ext>
            </a:extLst>
          </p:cNvPr>
          <p:cNvCxnSpPr>
            <a:cxnSpLocks/>
          </p:cNvCxnSpPr>
          <p:nvPr/>
        </p:nvCxnSpPr>
        <p:spPr>
          <a:xfrm>
            <a:off x="941231" y="1498064"/>
            <a:ext cx="487944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 xmlns:a16="http://schemas.microsoft.com/office/drawing/2014/main" id="{B683CA1D-0C21-4623-A83F-D5A2953B5EBA}"/>
              </a:ext>
            </a:extLst>
          </p:cNvPr>
          <p:cNvCxnSpPr>
            <a:cxnSpLocks/>
          </p:cNvCxnSpPr>
          <p:nvPr/>
        </p:nvCxnSpPr>
        <p:spPr>
          <a:xfrm>
            <a:off x="1178091" y="1506008"/>
            <a:ext cx="1204686"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2" name="Group 111">
            <a:extLst>
              <a:ext uri="{FF2B5EF4-FFF2-40B4-BE49-F238E27FC236}">
                <a16:creationId xmlns="" xmlns:a16="http://schemas.microsoft.com/office/drawing/2014/main" id="{A1E732A9-CC59-4D86-A857-FD698B117AE6}"/>
              </a:ext>
            </a:extLst>
          </p:cNvPr>
          <p:cNvGrpSpPr/>
          <p:nvPr/>
        </p:nvGrpSpPr>
        <p:grpSpPr>
          <a:xfrm>
            <a:off x="424415" y="1382698"/>
            <a:ext cx="670435" cy="577961"/>
            <a:chOff x="424415" y="1382698"/>
            <a:chExt cx="670435" cy="577961"/>
          </a:xfrm>
        </p:grpSpPr>
        <p:sp>
          <p:nvSpPr>
            <p:cNvPr id="25" name="Isosceles Triangle 24">
              <a:extLst>
                <a:ext uri="{FF2B5EF4-FFF2-40B4-BE49-F238E27FC236}">
                  <a16:creationId xmlns="" xmlns:a16="http://schemas.microsoft.com/office/drawing/2014/main" id="{90BCEF73-5B94-483D-8982-311A2142F404}"/>
                </a:ext>
              </a:extLst>
            </p:cNvPr>
            <p:cNvSpPr/>
            <p:nvPr/>
          </p:nvSpPr>
          <p:spPr>
            <a:xfrm rot="10800000">
              <a:off x="424415" y="1382698"/>
              <a:ext cx="670435" cy="577961"/>
            </a:xfrm>
            <a:prstGeom prst="triangl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 xmlns:a16="http://schemas.microsoft.com/office/drawing/2014/main" id="{3F73D663-5445-49C4-8386-68F7FB9A270F}"/>
                </a:ext>
              </a:extLst>
            </p:cNvPr>
            <p:cNvSpPr txBox="1"/>
            <p:nvPr/>
          </p:nvSpPr>
          <p:spPr>
            <a:xfrm>
              <a:off x="549574" y="1383094"/>
              <a:ext cx="42011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1</a:t>
              </a:r>
            </a:p>
          </p:txBody>
        </p:sp>
      </p:grpSp>
      <p:sp>
        <p:nvSpPr>
          <p:cNvPr id="41" name="Rectangle 40">
            <a:extLst>
              <a:ext uri="{FF2B5EF4-FFF2-40B4-BE49-F238E27FC236}">
                <a16:creationId xmlns="" xmlns:a16="http://schemas.microsoft.com/office/drawing/2014/main" id="{DD7AAE6E-3E55-495C-A4A1-C89F15A6349D}"/>
              </a:ext>
            </a:extLst>
          </p:cNvPr>
          <p:cNvSpPr/>
          <p:nvPr/>
        </p:nvSpPr>
        <p:spPr>
          <a:xfrm>
            <a:off x="1101790" y="2658301"/>
            <a:ext cx="1280987" cy="262380"/>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Data on File</a:t>
            </a:r>
          </a:p>
        </p:txBody>
      </p:sp>
      <p:cxnSp>
        <p:nvCxnSpPr>
          <p:cNvPr id="42" name="Straight Connector 41">
            <a:extLst>
              <a:ext uri="{FF2B5EF4-FFF2-40B4-BE49-F238E27FC236}">
                <a16:creationId xmlns="" xmlns:a16="http://schemas.microsoft.com/office/drawing/2014/main" id="{2865EF75-8FD7-4B6B-8C6D-D9F77F5250F6}"/>
              </a:ext>
            </a:extLst>
          </p:cNvPr>
          <p:cNvCxnSpPr>
            <a:cxnSpLocks/>
          </p:cNvCxnSpPr>
          <p:nvPr/>
        </p:nvCxnSpPr>
        <p:spPr>
          <a:xfrm>
            <a:off x="941231" y="2533829"/>
            <a:ext cx="487944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 xmlns:a16="http://schemas.microsoft.com/office/drawing/2014/main" id="{BC42C877-08F7-463F-90FE-A125E911FC3C}"/>
              </a:ext>
            </a:extLst>
          </p:cNvPr>
          <p:cNvCxnSpPr>
            <a:cxnSpLocks/>
          </p:cNvCxnSpPr>
          <p:nvPr/>
        </p:nvCxnSpPr>
        <p:spPr>
          <a:xfrm>
            <a:off x="1178091" y="2541773"/>
            <a:ext cx="1204686"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 xmlns:a16="http://schemas.microsoft.com/office/drawing/2014/main" id="{28AAA571-82A6-4093-8FE6-8A06058838D1}"/>
              </a:ext>
            </a:extLst>
          </p:cNvPr>
          <p:cNvGrpSpPr/>
          <p:nvPr/>
        </p:nvGrpSpPr>
        <p:grpSpPr>
          <a:xfrm>
            <a:off x="424415" y="2418463"/>
            <a:ext cx="670435" cy="577961"/>
            <a:chOff x="424415" y="2418463"/>
            <a:chExt cx="670435" cy="577961"/>
          </a:xfrm>
        </p:grpSpPr>
        <p:sp>
          <p:nvSpPr>
            <p:cNvPr id="44" name="Isosceles Triangle 43">
              <a:extLst>
                <a:ext uri="{FF2B5EF4-FFF2-40B4-BE49-F238E27FC236}">
                  <a16:creationId xmlns="" xmlns:a16="http://schemas.microsoft.com/office/drawing/2014/main" id="{6888C2A8-29CE-4955-9F3C-4F27436CB42B}"/>
                </a:ext>
              </a:extLst>
            </p:cNvPr>
            <p:cNvSpPr/>
            <p:nvPr/>
          </p:nvSpPr>
          <p:spPr>
            <a:xfrm rot="10800000">
              <a:off x="424415" y="2418463"/>
              <a:ext cx="670435" cy="577961"/>
            </a:xfrm>
            <a:prstGeom prst="triangl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5" name="TextBox 44">
              <a:extLst>
                <a:ext uri="{FF2B5EF4-FFF2-40B4-BE49-F238E27FC236}">
                  <a16:creationId xmlns="" xmlns:a16="http://schemas.microsoft.com/office/drawing/2014/main" id="{97FC15F1-605D-4F68-9FC7-CCD89E96463D}"/>
                </a:ext>
              </a:extLst>
            </p:cNvPr>
            <p:cNvSpPr txBox="1"/>
            <p:nvPr/>
          </p:nvSpPr>
          <p:spPr>
            <a:xfrm>
              <a:off x="549574" y="2432352"/>
              <a:ext cx="42011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2</a:t>
              </a:r>
            </a:p>
          </p:txBody>
        </p:sp>
      </p:grpSp>
      <p:sp>
        <p:nvSpPr>
          <p:cNvPr id="55" name="Rectangle 54">
            <a:extLst>
              <a:ext uri="{FF2B5EF4-FFF2-40B4-BE49-F238E27FC236}">
                <a16:creationId xmlns="" xmlns:a16="http://schemas.microsoft.com/office/drawing/2014/main" id="{0835E18D-5486-461A-81E2-AF65460505C0}"/>
              </a:ext>
            </a:extLst>
          </p:cNvPr>
          <p:cNvSpPr/>
          <p:nvPr/>
        </p:nvSpPr>
        <p:spPr>
          <a:xfrm>
            <a:off x="1101791" y="3390475"/>
            <a:ext cx="4079810" cy="772519"/>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Healthcare-associated Infections." Centers for Disease Control and Prevention. Centers for Disease Control and Prevention, 19 Apr. 2017. Web. 22 June 2017.</a:t>
            </a:r>
          </a:p>
        </p:txBody>
      </p:sp>
      <p:cxnSp>
        <p:nvCxnSpPr>
          <p:cNvPr id="56" name="Straight Connector 55">
            <a:extLst>
              <a:ext uri="{FF2B5EF4-FFF2-40B4-BE49-F238E27FC236}">
                <a16:creationId xmlns="" xmlns:a16="http://schemas.microsoft.com/office/drawing/2014/main" id="{FA733877-4B13-4F3C-B670-E5C12CCA847E}"/>
              </a:ext>
            </a:extLst>
          </p:cNvPr>
          <p:cNvCxnSpPr>
            <a:cxnSpLocks/>
          </p:cNvCxnSpPr>
          <p:nvPr/>
        </p:nvCxnSpPr>
        <p:spPr>
          <a:xfrm>
            <a:off x="941231" y="3266003"/>
            <a:ext cx="487944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 xmlns:a16="http://schemas.microsoft.com/office/drawing/2014/main" id="{97F224B0-1478-4883-90A2-8090C2E14439}"/>
              </a:ext>
            </a:extLst>
          </p:cNvPr>
          <p:cNvCxnSpPr>
            <a:cxnSpLocks/>
          </p:cNvCxnSpPr>
          <p:nvPr/>
        </p:nvCxnSpPr>
        <p:spPr>
          <a:xfrm>
            <a:off x="1178091" y="3273947"/>
            <a:ext cx="1204686"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4" name="Group 113">
            <a:extLst>
              <a:ext uri="{FF2B5EF4-FFF2-40B4-BE49-F238E27FC236}">
                <a16:creationId xmlns="" xmlns:a16="http://schemas.microsoft.com/office/drawing/2014/main" id="{412D9D26-1559-446E-BA7E-C63252780528}"/>
              </a:ext>
            </a:extLst>
          </p:cNvPr>
          <p:cNvGrpSpPr/>
          <p:nvPr/>
        </p:nvGrpSpPr>
        <p:grpSpPr>
          <a:xfrm>
            <a:off x="424415" y="3150637"/>
            <a:ext cx="670435" cy="577961"/>
            <a:chOff x="424415" y="3150637"/>
            <a:chExt cx="670435" cy="577961"/>
          </a:xfrm>
        </p:grpSpPr>
        <p:sp>
          <p:nvSpPr>
            <p:cNvPr id="58" name="Isosceles Triangle 57">
              <a:extLst>
                <a:ext uri="{FF2B5EF4-FFF2-40B4-BE49-F238E27FC236}">
                  <a16:creationId xmlns="" xmlns:a16="http://schemas.microsoft.com/office/drawing/2014/main" id="{1E85C91F-3742-4A28-B569-AFA06D4354C5}"/>
                </a:ext>
              </a:extLst>
            </p:cNvPr>
            <p:cNvSpPr/>
            <p:nvPr/>
          </p:nvSpPr>
          <p:spPr>
            <a:xfrm rot="10800000">
              <a:off x="424415" y="3150637"/>
              <a:ext cx="670435" cy="577961"/>
            </a:xfrm>
            <a:prstGeom prst="triangl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TextBox 58">
              <a:extLst>
                <a:ext uri="{FF2B5EF4-FFF2-40B4-BE49-F238E27FC236}">
                  <a16:creationId xmlns="" xmlns:a16="http://schemas.microsoft.com/office/drawing/2014/main" id="{1AAF00BB-426D-449E-9C3B-0A2D0D6CB943}"/>
                </a:ext>
              </a:extLst>
            </p:cNvPr>
            <p:cNvSpPr txBox="1"/>
            <p:nvPr/>
          </p:nvSpPr>
          <p:spPr>
            <a:xfrm>
              <a:off x="549574" y="3176102"/>
              <a:ext cx="42011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3</a:t>
              </a:r>
            </a:p>
          </p:txBody>
        </p:sp>
      </p:grpSp>
      <p:sp>
        <p:nvSpPr>
          <p:cNvPr id="61" name="Rectangle 60">
            <a:extLst>
              <a:ext uri="{FF2B5EF4-FFF2-40B4-BE49-F238E27FC236}">
                <a16:creationId xmlns="" xmlns:a16="http://schemas.microsoft.com/office/drawing/2014/main" id="{1568476D-B67E-449F-8E50-0D8CD4A95AB7}"/>
              </a:ext>
            </a:extLst>
          </p:cNvPr>
          <p:cNvSpPr/>
          <p:nvPr/>
        </p:nvSpPr>
        <p:spPr>
          <a:xfrm>
            <a:off x="1101790" y="4609367"/>
            <a:ext cx="4846552" cy="432426"/>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Hitt</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Emma, PhD. "FDA and Excelsior Medical Recall Prefilled Saline Flush Syringes." Medscape.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N.p</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1</a:t>
            </a:r>
          </a:p>
        </p:txBody>
      </p:sp>
      <p:cxnSp>
        <p:nvCxnSpPr>
          <p:cNvPr id="62" name="Straight Connector 61">
            <a:extLst>
              <a:ext uri="{FF2B5EF4-FFF2-40B4-BE49-F238E27FC236}">
                <a16:creationId xmlns="" xmlns:a16="http://schemas.microsoft.com/office/drawing/2014/main" id="{E3F238AE-27A1-4C49-90A7-174A799F6BCE}"/>
              </a:ext>
            </a:extLst>
          </p:cNvPr>
          <p:cNvCxnSpPr>
            <a:cxnSpLocks/>
          </p:cNvCxnSpPr>
          <p:nvPr/>
        </p:nvCxnSpPr>
        <p:spPr>
          <a:xfrm>
            <a:off x="941231" y="4484895"/>
            <a:ext cx="487944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 xmlns:a16="http://schemas.microsoft.com/office/drawing/2014/main" id="{65B2E449-3337-4AB2-9C13-986295EF8700}"/>
              </a:ext>
            </a:extLst>
          </p:cNvPr>
          <p:cNvCxnSpPr>
            <a:cxnSpLocks/>
          </p:cNvCxnSpPr>
          <p:nvPr/>
        </p:nvCxnSpPr>
        <p:spPr>
          <a:xfrm>
            <a:off x="1178091" y="4492839"/>
            <a:ext cx="1204686"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 xmlns:a16="http://schemas.microsoft.com/office/drawing/2014/main" id="{24870938-3A0F-4430-9A76-E60C9E246F76}"/>
              </a:ext>
            </a:extLst>
          </p:cNvPr>
          <p:cNvGrpSpPr/>
          <p:nvPr/>
        </p:nvGrpSpPr>
        <p:grpSpPr>
          <a:xfrm>
            <a:off x="424415" y="4369529"/>
            <a:ext cx="670435" cy="577961"/>
            <a:chOff x="424415" y="4369529"/>
            <a:chExt cx="670435" cy="577961"/>
          </a:xfrm>
        </p:grpSpPr>
        <p:sp>
          <p:nvSpPr>
            <p:cNvPr id="64" name="Isosceles Triangle 63">
              <a:extLst>
                <a:ext uri="{FF2B5EF4-FFF2-40B4-BE49-F238E27FC236}">
                  <a16:creationId xmlns="" xmlns:a16="http://schemas.microsoft.com/office/drawing/2014/main" id="{CD29CB59-9E2C-44BE-B31D-BA2D8DA42EAE}"/>
                </a:ext>
              </a:extLst>
            </p:cNvPr>
            <p:cNvSpPr/>
            <p:nvPr/>
          </p:nvSpPr>
          <p:spPr>
            <a:xfrm rot="10800000">
              <a:off x="424415" y="4369529"/>
              <a:ext cx="670435" cy="577961"/>
            </a:xfrm>
            <a:prstGeom prst="triangl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a:extLst>
                <a:ext uri="{FF2B5EF4-FFF2-40B4-BE49-F238E27FC236}">
                  <a16:creationId xmlns="" xmlns:a16="http://schemas.microsoft.com/office/drawing/2014/main" id="{CA0FDCEA-FBE8-427F-AEF2-A30CD8941271}"/>
                </a:ext>
              </a:extLst>
            </p:cNvPr>
            <p:cNvSpPr txBox="1"/>
            <p:nvPr/>
          </p:nvSpPr>
          <p:spPr>
            <a:xfrm>
              <a:off x="549574" y="4394841"/>
              <a:ext cx="42011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4</a:t>
              </a:r>
            </a:p>
          </p:txBody>
        </p:sp>
      </p:grpSp>
      <p:sp>
        <p:nvSpPr>
          <p:cNvPr id="67" name="Rectangle 66">
            <a:extLst>
              <a:ext uri="{FF2B5EF4-FFF2-40B4-BE49-F238E27FC236}">
                <a16:creationId xmlns="" xmlns:a16="http://schemas.microsoft.com/office/drawing/2014/main" id="{2C2538E6-532B-495E-97D8-35301989F594}"/>
              </a:ext>
            </a:extLst>
          </p:cNvPr>
          <p:cNvSpPr/>
          <p:nvPr/>
        </p:nvSpPr>
        <p:spPr>
          <a:xfrm>
            <a:off x="1101790" y="5462003"/>
            <a:ext cx="4079811" cy="772519"/>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Jewett, Christina. "Dirty syringes: FDA failed to shut down troubled plant, and family paid price." Chicago Tribune.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ProPublica</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7 June 2009. Web. 22 June 2017.</a:t>
            </a:r>
          </a:p>
        </p:txBody>
      </p:sp>
      <p:cxnSp>
        <p:nvCxnSpPr>
          <p:cNvPr id="68" name="Straight Connector 67">
            <a:extLst>
              <a:ext uri="{FF2B5EF4-FFF2-40B4-BE49-F238E27FC236}">
                <a16:creationId xmlns="" xmlns:a16="http://schemas.microsoft.com/office/drawing/2014/main" id="{B30F95A4-70BA-4923-829C-1A8FC3CAFD6A}"/>
              </a:ext>
            </a:extLst>
          </p:cNvPr>
          <p:cNvCxnSpPr>
            <a:cxnSpLocks/>
          </p:cNvCxnSpPr>
          <p:nvPr/>
        </p:nvCxnSpPr>
        <p:spPr>
          <a:xfrm>
            <a:off x="941231" y="5337531"/>
            <a:ext cx="487944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 xmlns:a16="http://schemas.microsoft.com/office/drawing/2014/main" id="{A9693DDE-6327-468A-9C7E-EBD2BFD5D206}"/>
              </a:ext>
            </a:extLst>
          </p:cNvPr>
          <p:cNvCxnSpPr>
            <a:cxnSpLocks/>
          </p:cNvCxnSpPr>
          <p:nvPr/>
        </p:nvCxnSpPr>
        <p:spPr>
          <a:xfrm>
            <a:off x="1178091" y="5345475"/>
            <a:ext cx="1204686"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6" name="Group 115">
            <a:extLst>
              <a:ext uri="{FF2B5EF4-FFF2-40B4-BE49-F238E27FC236}">
                <a16:creationId xmlns="" xmlns:a16="http://schemas.microsoft.com/office/drawing/2014/main" id="{C92B0E0B-CDD4-4F8F-8A87-92D484589D28}"/>
              </a:ext>
            </a:extLst>
          </p:cNvPr>
          <p:cNvGrpSpPr/>
          <p:nvPr/>
        </p:nvGrpSpPr>
        <p:grpSpPr>
          <a:xfrm>
            <a:off x="424415" y="5222165"/>
            <a:ext cx="670435" cy="577961"/>
            <a:chOff x="424415" y="5222165"/>
            <a:chExt cx="670435" cy="577961"/>
          </a:xfrm>
        </p:grpSpPr>
        <p:sp>
          <p:nvSpPr>
            <p:cNvPr id="70" name="Isosceles Triangle 69">
              <a:extLst>
                <a:ext uri="{FF2B5EF4-FFF2-40B4-BE49-F238E27FC236}">
                  <a16:creationId xmlns="" xmlns:a16="http://schemas.microsoft.com/office/drawing/2014/main" id="{BEE56391-E476-4BAC-812F-57E1B06DD1F2}"/>
                </a:ext>
              </a:extLst>
            </p:cNvPr>
            <p:cNvSpPr/>
            <p:nvPr/>
          </p:nvSpPr>
          <p:spPr>
            <a:xfrm rot="10800000">
              <a:off x="424415" y="5222165"/>
              <a:ext cx="670435" cy="577961"/>
            </a:xfrm>
            <a:prstGeom prst="triangl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TextBox 70">
              <a:extLst>
                <a:ext uri="{FF2B5EF4-FFF2-40B4-BE49-F238E27FC236}">
                  <a16:creationId xmlns="" xmlns:a16="http://schemas.microsoft.com/office/drawing/2014/main" id="{E133BACB-D03E-403E-85BD-2AE7F9C47BA7}"/>
                </a:ext>
              </a:extLst>
            </p:cNvPr>
            <p:cNvSpPr txBox="1"/>
            <p:nvPr/>
          </p:nvSpPr>
          <p:spPr>
            <a:xfrm>
              <a:off x="549574" y="5247477"/>
              <a:ext cx="42011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5</a:t>
              </a:r>
            </a:p>
          </p:txBody>
        </p:sp>
      </p:grpSp>
      <p:sp>
        <p:nvSpPr>
          <p:cNvPr id="74" name="Rectangle 73">
            <a:extLst>
              <a:ext uri="{FF2B5EF4-FFF2-40B4-BE49-F238E27FC236}">
                <a16:creationId xmlns="" xmlns:a16="http://schemas.microsoft.com/office/drawing/2014/main" id="{0ED3E177-C7B2-43DC-96D8-322ED421B726}"/>
              </a:ext>
            </a:extLst>
          </p:cNvPr>
          <p:cNvSpPr/>
          <p:nvPr/>
        </p:nvSpPr>
        <p:spPr>
          <a:xfrm>
            <a:off x="6931012" y="1622536"/>
            <a:ext cx="4846552" cy="1112612"/>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FDA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MedWatch</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 Covidien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Monoject</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Prefill Flush Syringes: Recall – Not Subjected To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AutoClave</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Sterilization Process Or Mismatched Syringe Tip </a:t>
            </a:r>
            <a:b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Cap, Syringe Label, Filled Volume And Wrapper.” Vanderbilt University. Vanderbilt University, 20 Aug. 2013. Web. 22 June 2017.</a:t>
            </a:r>
          </a:p>
        </p:txBody>
      </p:sp>
      <p:cxnSp>
        <p:nvCxnSpPr>
          <p:cNvPr id="75" name="Straight Connector 74">
            <a:extLst>
              <a:ext uri="{FF2B5EF4-FFF2-40B4-BE49-F238E27FC236}">
                <a16:creationId xmlns="" xmlns:a16="http://schemas.microsoft.com/office/drawing/2014/main" id="{433D7048-3D6C-4DF5-986B-6DF2C7A20814}"/>
              </a:ext>
            </a:extLst>
          </p:cNvPr>
          <p:cNvCxnSpPr>
            <a:cxnSpLocks/>
          </p:cNvCxnSpPr>
          <p:nvPr/>
        </p:nvCxnSpPr>
        <p:spPr>
          <a:xfrm>
            <a:off x="6770452" y="1498064"/>
            <a:ext cx="487944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 xmlns:a16="http://schemas.microsoft.com/office/drawing/2014/main" id="{1E886B3D-EB8C-424A-A424-3C699FD6864F}"/>
              </a:ext>
            </a:extLst>
          </p:cNvPr>
          <p:cNvCxnSpPr>
            <a:cxnSpLocks/>
          </p:cNvCxnSpPr>
          <p:nvPr/>
        </p:nvCxnSpPr>
        <p:spPr>
          <a:xfrm>
            <a:off x="7007312" y="1506008"/>
            <a:ext cx="1204686"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 xmlns:a16="http://schemas.microsoft.com/office/drawing/2014/main" id="{DF2FAC5B-36F7-4BC3-8A4A-24DF47A0F23D}"/>
              </a:ext>
            </a:extLst>
          </p:cNvPr>
          <p:cNvGrpSpPr/>
          <p:nvPr/>
        </p:nvGrpSpPr>
        <p:grpSpPr>
          <a:xfrm>
            <a:off x="6253636" y="1382698"/>
            <a:ext cx="670435" cy="577961"/>
            <a:chOff x="6253636" y="1382698"/>
            <a:chExt cx="670435" cy="577961"/>
          </a:xfrm>
        </p:grpSpPr>
        <p:sp>
          <p:nvSpPr>
            <p:cNvPr id="77" name="Isosceles Triangle 76">
              <a:extLst>
                <a:ext uri="{FF2B5EF4-FFF2-40B4-BE49-F238E27FC236}">
                  <a16:creationId xmlns="" xmlns:a16="http://schemas.microsoft.com/office/drawing/2014/main" id="{16186E18-9C37-497B-956D-97E09AF2AA3E}"/>
                </a:ext>
              </a:extLst>
            </p:cNvPr>
            <p:cNvSpPr/>
            <p:nvPr/>
          </p:nvSpPr>
          <p:spPr>
            <a:xfrm rot="10800000">
              <a:off x="6253636" y="1382698"/>
              <a:ext cx="670435" cy="577961"/>
            </a:xfrm>
            <a:prstGeom prst="triangl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8" name="TextBox 77">
              <a:extLst>
                <a:ext uri="{FF2B5EF4-FFF2-40B4-BE49-F238E27FC236}">
                  <a16:creationId xmlns="" xmlns:a16="http://schemas.microsoft.com/office/drawing/2014/main" id="{742EFCD8-20B7-4823-AE4B-68A6A81DA74E}"/>
                </a:ext>
              </a:extLst>
            </p:cNvPr>
            <p:cNvSpPr txBox="1"/>
            <p:nvPr/>
          </p:nvSpPr>
          <p:spPr>
            <a:xfrm>
              <a:off x="6378795" y="1396330"/>
              <a:ext cx="42011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6</a:t>
              </a:r>
            </a:p>
          </p:txBody>
        </p:sp>
      </p:grpSp>
      <p:sp>
        <p:nvSpPr>
          <p:cNvPr id="80" name="Rectangle 79">
            <a:extLst>
              <a:ext uri="{FF2B5EF4-FFF2-40B4-BE49-F238E27FC236}">
                <a16:creationId xmlns="" xmlns:a16="http://schemas.microsoft.com/office/drawing/2014/main" id="{ABD82172-8E5C-4820-8BEA-95A7FA7E0D97}"/>
              </a:ext>
            </a:extLst>
          </p:cNvPr>
          <p:cNvSpPr/>
          <p:nvPr/>
        </p:nvSpPr>
        <p:spPr>
          <a:xfrm>
            <a:off x="6931011" y="3125670"/>
            <a:ext cx="3660789" cy="602473"/>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Medical Device Recalls." U.S. Food and Drug Administration. U.S. Food and Drug Administration,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n.d.</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Web. 22 June 2017.</a:t>
            </a:r>
          </a:p>
        </p:txBody>
      </p:sp>
      <p:cxnSp>
        <p:nvCxnSpPr>
          <p:cNvPr id="81" name="Straight Connector 80">
            <a:extLst>
              <a:ext uri="{FF2B5EF4-FFF2-40B4-BE49-F238E27FC236}">
                <a16:creationId xmlns="" xmlns:a16="http://schemas.microsoft.com/office/drawing/2014/main" id="{C2742BA1-00FF-4A8C-88E3-0C548265B922}"/>
              </a:ext>
            </a:extLst>
          </p:cNvPr>
          <p:cNvCxnSpPr>
            <a:cxnSpLocks/>
          </p:cNvCxnSpPr>
          <p:nvPr/>
        </p:nvCxnSpPr>
        <p:spPr>
          <a:xfrm>
            <a:off x="6770452" y="3001198"/>
            <a:ext cx="487944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 xmlns:a16="http://schemas.microsoft.com/office/drawing/2014/main" id="{22716736-452F-4243-97FF-61F37929DB58}"/>
              </a:ext>
            </a:extLst>
          </p:cNvPr>
          <p:cNvCxnSpPr>
            <a:cxnSpLocks/>
          </p:cNvCxnSpPr>
          <p:nvPr/>
        </p:nvCxnSpPr>
        <p:spPr>
          <a:xfrm>
            <a:off x="7007312" y="3009142"/>
            <a:ext cx="1204686"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8" name="Group 117">
            <a:extLst>
              <a:ext uri="{FF2B5EF4-FFF2-40B4-BE49-F238E27FC236}">
                <a16:creationId xmlns="" xmlns:a16="http://schemas.microsoft.com/office/drawing/2014/main" id="{362C9685-673B-4EA4-88FB-25272B50C94B}"/>
              </a:ext>
            </a:extLst>
          </p:cNvPr>
          <p:cNvGrpSpPr/>
          <p:nvPr/>
        </p:nvGrpSpPr>
        <p:grpSpPr>
          <a:xfrm>
            <a:off x="6253636" y="2885832"/>
            <a:ext cx="670435" cy="577961"/>
            <a:chOff x="6253636" y="2885832"/>
            <a:chExt cx="670435" cy="577961"/>
          </a:xfrm>
        </p:grpSpPr>
        <p:sp>
          <p:nvSpPr>
            <p:cNvPr id="83" name="Isosceles Triangle 82">
              <a:extLst>
                <a:ext uri="{FF2B5EF4-FFF2-40B4-BE49-F238E27FC236}">
                  <a16:creationId xmlns="" xmlns:a16="http://schemas.microsoft.com/office/drawing/2014/main" id="{BF4A9D80-EBCA-4BA1-B260-08E932888948}"/>
                </a:ext>
              </a:extLst>
            </p:cNvPr>
            <p:cNvSpPr/>
            <p:nvPr/>
          </p:nvSpPr>
          <p:spPr>
            <a:xfrm rot="10800000">
              <a:off x="6253636" y="2885832"/>
              <a:ext cx="670435" cy="577961"/>
            </a:xfrm>
            <a:prstGeom prst="triangl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TextBox 83">
              <a:extLst>
                <a:ext uri="{FF2B5EF4-FFF2-40B4-BE49-F238E27FC236}">
                  <a16:creationId xmlns="" xmlns:a16="http://schemas.microsoft.com/office/drawing/2014/main" id="{46D002A2-9FD3-4B4B-9BA0-2AB708B83446}"/>
                </a:ext>
              </a:extLst>
            </p:cNvPr>
            <p:cNvSpPr txBox="1"/>
            <p:nvPr/>
          </p:nvSpPr>
          <p:spPr>
            <a:xfrm>
              <a:off x="6378795" y="2899721"/>
              <a:ext cx="42011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7</a:t>
              </a:r>
            </a:p>
          </p:txBody>
        </p:sp>
      </p:grpSp>
      <p:sp>
        <p:nvSpPr>
          <p:cNvPr id="86" name="Rectangle 85">
            <a:extLst>
              <a:ext uri="{FF2B5EF4-FFF2-40B4-BE49-F238E27FC236}">
                <a16:creationId xmlns="" xmlns:a16="http://schemas.microsoft.com/office/drawing/2014/main" id="{1FA0729F-385C-4776-9A08-4D6FAB293F77}"/>
              </a:ext>
            </a:extLst>
          </p:cNvPr>
          <p:cNvSpPr/>
          <p:nvPr/>
        </p:nvSpPr>
        <p:spPr>
          <a:xfrm>
            <a:off x="6931011" y="4143946"/>
            <a:ext cx="3660789" cy="432426"/>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Inspections and Audits RSS."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FDANews</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N.p</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n.d.</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Web. 22 June 2017.</a:t>
            </a:r>
          </a:p>
        </p:txBody>
      </p:sp>
      <p:cxnSp>
        <p:nvCxnSpPr>
          <p:cNvPr id="87" name="Straight Connector 86">
            <a:extLst>
              <a:ext uri="{FF2B5EF4-FFF2-40B4-BE49-F238E27FC236}">
                <a16:creationId xmlns="" xmlns:a16="http://schemas.microsoft.com/office/drawing/2014/main" id="{3EB31D62-9F70-41CA-BE57-697E11A0D430}"/>
              </a:ext>
            </a:extLst>
          </p:cNvPr>
          <p:cNvCxnSpPr>
            <a:cxnSpLocks/>
          </p:cNvCxnSpPr>
          <p:nvPr/>
        </p:nvCxnSpPr>
        <p:spPr>
          <a:xfrm>
            <a:off x="6770452" y="4019474"/>
            <a:ext cx="487944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 xmlns:a16="http://schemas.microsoft.com/office/drawing/2014/main" id="{A28F3BD8-7B93-436C-9819-31D6776AA782}"/>
              </a:ext>
            </a:extLst>
          </p:cNvPr>
          <p:cNvCxnSpPr>
            <a:cxnSpLocks/>
          </p:cNvCxnSpPr>
          <p:nvPr/>
        </p:nvCxnSpPr>
        <p:spPr>
          <a:xfrm>
            <a:off x="7007312" y="4027418"/>
            <a:ext cx="1204686"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 xmlns:a16="http://schemas.microsoft.com/office/drawing/2014/main" id="{B4DEF7F7-4DAC-4BE7-A935-BC90AE7081B7}"/>
              </a:ext>
            </a:extLst>
          </p:cNvPr>
          <p:cNvGrpSpPr/>
          <p:nvPr/>
        </p:nvGrpSpPr>
        <p:grpSpPr>
          <a:xfrm>
            <a:off x="6253636" y="3904108"/>
            <a:ext cx="670435" cy="577961"/>
            <a:chOff x="6253636" y="3904108"/>
            <a:chExt cx="670435" cy="577961"/>
          </a:xfrm>
        </p:grpSpPr>
        <p:sp>
          <p:nvSpPr>
            <p:cNvPr id="89" name="Isosceles Triangle 88">
              <a:extLst>
                <a:ext uri="{FF2B5EF4-FFF2-40B4-BE49-F238E27FC236}">
                  <a16:creationId xmlns="" xmlns:a16="http://schemas.microsoft.com/office/drawing/2014/main" id="{E7A051C4-7DD1-4D2F-B6FB-E850913E6E2F}"/>
                </a:ext>
              </a:extLst>
            </p:cNvPr>
            <p:cNvSpPr/>
            <p:nvPr/>
          </p:nvSpPr>
          <p:spPr>
            <a:xfrm rot="10800000">
              <a:off x="6253636" y="3904108"/>
              <a:ext cx="670435" cy="577961"/>
            </a:xfrm>
            <a:prstGeom prst="triangl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0" name="TextBox 89">
              <a:extLst>
                <a:ext uri="{FF2B5EF4-FFF2-40B4-BE49-F238E27FC236}">
                  <a16:creationId xmlns="" xmlns:a16="http://schemas.microsoft.com/office/drawing/2014/main" id="{23AAADBD-3CE3-4667-9950-B5E2C371B2C1}"/>
                </a:ext>
              </a:extLst>
            </p:cNvPr>
            <p:cNvSpPr txBox="1"/>
            <p:nvPr/>
          </p:nvSpPr>
          <p:spPr>
            <a:xfrm>
              <a:off x="6378795" y="3929573"/>
              <a:ext cx="42011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8</a:t>
              </a:r>
            </a:p>
          </p:txBody>
        </p:sp>
      </p:grpSp>
      <p:sp>
        <p:nvSpPr>
          <p:cNvPr id="92" name="Rectangle 91">
            <a:extLst>
              <a:ext uri="{FF2B5EF4-FFF2-40B4-BE49-F238E27FC236}">
                <a16:creationId xmlns="" xmlns:a16="http://schemas.microsoft.com/office/drawing/2014/main" id="{39E7143B-17B5-467E-A46A-8A52218129AB}"/>
              </a:ext>
            </a:extLst>
          </p:cNvPr>
          <p:cNvSpPr/>
          <p:nvPr/>
        </p:nvSpPr>
        <p:spPr>
          <a:xfrm>
            <a:off x="6931011" y="4992160"/>
            <a:ext cx="3889389" cy="942566"/>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Baxter Signs a Definitive Asset Purchase Agreement To Acquire Several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Buisnesses</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From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Sabratek</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Corporation." Login | Evaluate. Press Release, 20 Dec. 1999. Web. 22 June 2017.</a:t>
            </a:r>
          </a:p>
        </p:txBody>
      </p:sp>
      <p:cxnSp>
        <p:nvCxnSpPr>
          <p:cNvPr id="93" name="Straight Connector 92">
            <a:extLst>
              <a:ext uri="{FF2B5EF4-FFF2-40B4-BE49-F238E27FC236}">
                <a16:creationId xmlns="" xmlns:a16="http://schemas.microsoft.com/office/drawing/2014/main" id="{B01DA6AF-C0AE-403B-94B6-A89F327A43BF}"/>
              </a:ext>
            </a:extLst>
          </p:cNvPr>
          <p:cNvCxnSpPr>
            <a:cxnSpLocks/>
          </p:cNvCxnSpPr>
          <p:nvPr/>
        </p:nvCxnSpPr>
        <p:spPr>
          <a:xfrm>
            <a:off x="6770452" y="4867688"/>
            <a:ext cx="487944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 xmlns:a16="http://schemas.microsoft.com/office/drawing/2014/main" id="{F91FDC18-EE24-41A6-848E-FDA5D453646A}"/>
              </a:ext>
            </a:extLst>
          </p:cNvPr>
          <p:cNvCxnSpPr>
            <a:cxnSpLocks/>
          </p:cNvCxnSpPr>
          <p:nvPr/>
        </p:nvCxnSpPr>
        <p:spPr>
          <a:xfrm>
            <a:off x="7007312" y="4875632"/>
            <a:ext cx="1204686"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0" name="Group 119">
            <a:extLst>
              <a:ext uri="{FF2B5EF4-FFF2-40B4-BE49-F238E27FC236}">
                <a16:creationId xmlns="" xmlns:a16="http://schemas.microsoft.com/office/drawing/2014/main" id="{5CE0D244-9F57-459A-9053-AA305BF9C9D1}"/>
              </a:ext>
            </a:extLst>
          </p:cNvPr>
          <p:cNvGrpSpPr/>
          <p:nvPr/>
        </p:nvGrpSpPr>
        <p:grpSpPr>
          <a:xfrm>
            <a:off x="6253636" y="4752322"/>
            <a:ext cx="670435" cy="577961"/>
            <a:chOff x="6253636" y="4752322"/>
            <a:chExt cx="670435" cy="577961"/>
          </a:xfrm>
        </p:grpSpPr>
        <p:sp>
          <p:nvSpPr>
            <p:cNvPr id="95" name="Isosceles Triangle 94">
              <a:extLst>
                <a:ext uri="{FF2B5EF4-FFF2-40B4-BE49-F238E27FC236}">
                  <a16:creationId xmlns="" xmlns:a16="http://schemas.microsoft.com/office/drawing/2014/main" id="{8C526A38-0D39-4BE7-BE9B-6C496F419AB1}"/>
                </a:ext>
              </a:extLst>
            </p:cNvPr>
            <p:cNvSpPr/>
            <p:nvPr/>
          </p:nvSpPr>
          <p:spPr>
            <a:xfrm rot="10800000">
              <a:off x="6253636" y="4752322"/>
              <a:ext cx="670435" cy="577961"/>
            </a:xfrm>
            <a:prstGeom prst="triangl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TextBox 95">
              <a:extLst>
                <a:ext uri="{FF2B5EF4-FFF2-40B4-BE49-F238E27FC236}">
                  <a16:creationId xmlns="" xmlns:a16="http://schemas.microsoft.com/office/drawing/2014/main" id="{EC8ED3AE-AC8B-4855-BA38-95B981F1865B}"/>
                </a:ext>
              </a:extLst>
            </p:cNvPr>
            <p:cNvSpPr txBox="1"/>
            <p:nvPr/>
          </p:nvSpPr>
          <p:spPr>
            <a:xfrm>
              <a:off x="6378795" y="4777634"/>
              <a:ext cx="42011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9</a:t>
              </a:r>
            </a:p>
          </p:txBody>
        </p:sp>
      </p:grpSp>
      <p:pic>
        <p:nvPicPr>
          <p:cNvPr id="60" name="Picture 59"/>
          <p:cNvPicPr>
            <a:picLocks noChangeAspect="1"/>
          </p:cNvPicPr>
          <p:nvPr/>
        </p:nvPicPr>
        <p:blipFill>
          <a:blip r:embed="rId4"/>
          <a:stretch>
            <a:fillRect/>
          </a:stretch>
        </p:blipFill>
        <p:spPr>
          <a:xfrm>
            <a:off x="76200" y="6629400"/>
            <a:ext cx="4619050" cy="195171"/>
          </a:xfrm>
          <a:prstGeom prst="rect">
            <a:avLst/>
          </a:prstGeom>
        </p:spPr>
      </p:pic>
    </p:spTree>
    <p:extLst>
      <p:ext uri="{BB962C8B-B14F-4D97-AF65-F5344CB8AC3E}">
        <p14:creationId xmlns:p14="http://schemas.microsoft.com/office/powerpoint/2010/main" val="1969910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750" fill="hold"/>
                                        <p:tgtEl>
                                          <p:spTgt spid="3"/>
                                        </p:tgtEl>
                                        <p:attrNameLst>
                                          <p:attrName>ppt_x</p:attrName>
                                        </p:attrNameLst>
                                      </p:cBhvr>
                                      <p:tavLst>
                                        <p:tav tm="0">
                                          <p:val>
                                            <p:strVal val="0-#ppt_w/2"/>
                                          </p:val>
                                        </p:tav>
                                        <p:tav tm="100000">
                                          <p:val>
                                            <p:strVal val="#ppt_x"/>
                                          </p:val>
                                        </p:tav>
                                      </p:tavLst>
                                    </p:anim>
                                    <p:anim calcmode="lin" valueType="num">
                                      <p:cBhvr additive="base">
                                        <p:cTn id="8" dur="750" fill="hold"/>
                                        <p:tgtEl>
                                          <p:spTgt spid="3"/>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250"/>
                                  </p:stCondLst>
                                  <p:childTnLst>
                                    <p:set>
                                      <p:cBhvr>
                                        <p:cTn id="10" dur="1" fill="hold">
                                          <p:stCondLst>
                                            <p:cond delay="0"/>
                                          </p:stCondLst>
                                        </p:cTn>
                                        <p:tgtEl>
                                          <p:spTgt spid="112"/>
                                        </p:tgtEl>
                                        <p:attrNameLst>
                                          <p:attrName>style.visibility</p:attrName>
                                        </p:attrNameLst>
                                      </p:cBhvr>
                                      <p:to>
                                        <p:strVal val="visible"/>
                                      </p:to>
                                    </p:set>
                                    <p:animEffect transition="in" filter="fade">
                                      <p:cBhvr>
                                        <p:cTn id="11" dur="500"/>
                                        <p:tgtEl>
                                          <p:spTgt spid="112"/>
                                        </p:tgtEl>
                                      </p:cBhvr>
                                    </p:animEffect>
                                  </p:childTnLst>
                                </p:cTn>
                              </p:par>
                              <p:par>
                                <p:cTn id="12" presetID="42" presetClass="path" presetSubtype="0" decel="100000" fill="hold" nodeType="withEffect">
                                  <p:stCondLst>
                                    <p:cond delay="250"/>
                                  </p:stCondLst>
                                  <p:childTnLst>
                                    <p:animMotion origin="layout" path="M 4.16667E-7 -0.08356 L 4.16667E-7 1.11111E-6 " pathEditMode="relative" rAng="0" ptsTypes="AA">
                                      <p:cBhvr>
                                        <p:cTn id="13" dur="500" fill="hold"/>
                                        <p:tgtEl>
                                          <p:spTgt spid="112"/>
                                        </p:tgtEl>
                                        <p:attrNameLst>
                                          <p:attrName>ppt_x</p:attrName>
                                          <p:attrName>ppt_y</p:attrName>
                                        </p:attrNameLst>
                                      </p:cBhvr>
                                      <p:rCtr x="0" y="4236"/>
                                    </p:animMotion>
                                  </p:childTnLst>
                                </p:cTn>
                              </p:par>
                              <p:par>
                                <p:cTn id="14" presetID="22" presetClass="entr" presetSubtype="8" fill="hold" nodeType="withEffect">
                                  <p:stCondLst>
                                    <p:cond delay="600"/>
                                  </p:stCondLst>
                                  <p:childTnLst>
                                    <p:set>
                                      <p:cBhvr>
                                        <p:cTn id="15" dur="1" fill="hold">
                                          <p:stCondLst>
                                            <p:cond delay="0"/>
                                          </p:stCondLst>
                                        </p:cTn>
                                        <p:tgtEl>
                                          <p:spTgt spid="37"/>
                                        </p:tgtEl>
                                        <p:attrNameLst>
                                          <p:attrName>style.visibility</p:attrName>
                                        </p:attrNameLst>
                                      </p:cBhvr>
                                      <p:to>
                                        <p:strVal val="visible"/>
                                      </p:to>
                                    </p:set>
                                    <p:animEffect transition="in" filter="wipe(left)">
                                      <p:cBhvr>
                                        <p:cTn id="16" dur="500"/>
                                        <p:tgtEl>
                                          <p:spTgt spid="37"/>
                                        </p:tgtEl>
                                      </p:cBhvr>
                                    </p:animEffect>
                                  </p:childTnLst>
                                </p:cTn>
                              </p:par>
                              <p:par>
                                <p:cTn id="17" presetID="10" presetClass="entr" presetSubtype="0" fill="hold" nodeType="withEffect">
                                  <p:stCondLst>
                                    <p:cond delay="750"/>
                                  </p:stCondLst>
                                  <p:childTnLst>
                                    <p:set>
                                      <p:cBhvr>
                                        <p:cTn id="18" dur="1" fill="hold">
                                          <p:stCondLst>
                                            <p:cond delay="0"/>
                                          </p:stCondLst>
                                        </p:cTn>
                                        <p:tgtEl>
                                          <p:spTgt spid="38"/>
                                        </p:tgtEl>
                                        <p:attrNameLst>
                                          <p:attrName>style.visibility</p:attrName>
                                        </p:attrNameLst>
                                      </p:cBhvr>
                                      <p:to>
                                        <p:strVal val="visible"/>
                                      </p:to>
                                    </p:set>
                                    <p:animEffect transition="in" filter="fade">
                                      <p:cBhvr>
                                        <p:cTn id="19" dur="500"/>
                                        <p:tgtEl>
                                          <p:spTgt spid="38"/>
                                        </p:tgtEl>
                                      </p:cBhvr>
                                    </p:animEffect>
                                  </p:childTnLst>
                                </p:cTn>
                              </p:par>
                              <p:par>
                                <p:cTn id="20" presetID="35" presetClass="path" presetSubtype="0" decel="100000" fill="hold" nodeType="withEffect">
                                  <p:stCondLst>
                                    <p:cond delay="750"/>
                                  </p:stCondLst>
                                  <p:childTnLst>
                                    <p:animMotion origin="layout" path="M 0.31654 4.07407E-6 L 2.08167E-17 4.07407E-6 " pathEditMode="relative" rAng="0" ptsTypes="AA">
                                      <p:cBhvr>
                                        <p:cTn id="21" dur="500" fill="hold"/>
                                        <p:tgtEl>
                                          <p:spTgt spid="38"/>
                                        </p:tgtEl>
                                        <p:attrNameLst>
                                          <p:attrName>ppt_x</p:attrName>
                                          <p:attrName>ppt_y</p:attrName>
                                        </p:attrNameLst>
                                      </p:cBhvr>
                                      <p:rCtr x="-15625" y="0"/>
                                    </p:animMotion>
                                  </p:childTnLst>
                                </p:cTn>
                              </p:par>
                              <p:par>
                                <p:cTn id="22" presetID="10" presetClass="entr" presetSubtype="0" fill="hold" grpId="0" nodeType="withEffect">
                                  <p:stCondLst>
                                    <p:cond delay="10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10" presetClass="entr" presetSubtype="0" fill="hold" nodeType="withEffect">
                                  <p:stCondLst>
                                    <p:cond delay="1000"/>
                                  </p:stCondLst>
                                  <p:childTnLst>
                                    <p:set>
                                      <p:cBhvr>
                                        <p:cTn id="26" dur="1" fill="hold">
                                          <p:stCondLst>
                                            <p:cond delay="0"/>
                                          </p:stCondLst>
                                        </p:cTn>
                                        <p:tgtEl>
                                          <p:spTgt spid="113"/>
                                        </p:tgtEl>
                                        <p:attrNameLst>
                                          <p:attrName>style.visibility</p:attrName>
                                        </p:attrNameLst>
                                      </p:cBhvr>
                                      <p:to>
                                        <p:strVal val="visible"/>
                                      </p:to>
                                    </p:set>
                                    <p:animEffect transition="in" filter="fade">
                                      <p:cBhvr>
                                        <p:cTn id="27" dur="500"/>
                                        <p:tgtEl>
                                          <p:spTgt spid="113"/>
                                        </p:tgtEl>
                                      </p:cBhvr>
                                    </p:animEffect>
                                  </p:childTnLst>
                                </p:cTn>
                              </p:par>
                              <p:par>
                                <p:cTn id="28" presetID="42" presetClass="path" presetSubtype="0" decel="100000" fill="hold" nodeType="withEffect">
                                  <p:stCondLst>
                                    <p:cond delay="1000"/>
                                  </p:stCondLst>
                                  <p:childTnLst>
                                    <p:animMotion origin="layout" path="M 4.16667E-7 -0.08356 L 4.16667E-7 1.11111E-6 " pathEditMode="relative" rAng="0" ptsTypes="AA">
                                      <p:cBhvr>
                                        <p:cTn id="29" dur="500" fill="hold"/>
                                        <p:tgtEl>
                                          <p:spTgt spid="113"/>
                                        </p:tgtEl>
                                        <p:attrNameLst>
                                          <p:attrName>ppt_x</p:attrName>
                                          <p:attrName>ppt_y</p:attrName>
                                        </p:attrNameLst>
                                      </p:cBhvr>
                                      <p:rCtr x="0" y="4236"/>
                                    </p:animMotion>
                                  </p:childTnLst>
                                </p:cTn>
                              </p:par>
                              <p:par>
                                <p:cTn id="30" presetID="22" presetClass="entr" presetSubtype="8" fill="hold" nodeType="withEffect">
                                  <p:stCondLst>
                                    <p:cond delay="1350"/>
                                  </p:stCondLst>
                                  <p:childTnLst>
                                    <p:set>
                                      <p:cBhvr>
                                        <p:cTn id="31" dur="1" fill="hold">
                                          <p:stCondLst>
                                            <p:cond delay="0"/>
                                          </p:stCondLst>
                                        </p:cTn>
                                        <p:tgtEl>
                                          <p:spTgt spid="42"/>
                                        </p:tgtEl>
                                        <p:attrNameLst>
                                          <p:attrName>style.visibility</p:attrName>
                                        </p:attrNameLst>
                                      </p:cBhvr>
                                      <p:to>
                                        <p:strVal val="visible"/>
                                      </p:to>
                                    </p:set>
                                    <p:animEffect transition="in" filter="wipe(left)">
                                      <p:cBhvr>
                                        <p:cTn id="32" dur="500"/>
                                        <p:tgtEl>
                                          <p:spTgt spid="42"/>
                                        </p:tgtEl>
                                      </p:cBhvr>
                                    </p:animEffect>
                                  </p:childTnLst>
                                </p:cTn>
                              </p:par>
                              <p:par>
                                <p:cTn id="33" presetID="10" presetClass="entr" presetSubtype="0" fill="hold" nodeType="withEffect">
                                  <p:stCondLst>
                                    <p:cond delay="1500"/>
                                  </p:stCondLst>
                                  <p:childTnLst>
                                    <p:set>
                                      <p:cBhvr>
                                        <p:cTn id="34" dur="1" fill="hold">
                                          <p:stCondLst>
                                            <p:cond delay="0"/>
                                          </p:stCondLst>
                                        </p:cTn>
                                        <p:tgtEl>
                                          <p:spTgt spid="43"/>
                                        </p:tgtEl>
                                        <p:attrNameLst>
                                          <p:attrName>style.visibility</p:attrName>
                                        </p:attrNameLst>
                                      </p:cBhvr>
                                      <p:to>
                                        <p:strVal val="visible"/>
                                      </p:to>
                                    </p:set>
                                    <p:animEffect transition="in" filter="fade">
                                      <p:cBhvr>
                                        <p:cTn id="35" dur="500"/>
                                        <p:tgtEl>
                                          <p:spTgt spid="43"/>
                                        </p:tgtEl>
                                      </p:cBhvr>
                                    </p:animEffect>
                                  </p:childTnLst>
                                </p:cTn>
                              </p:par>
                              <p:par>
                                <p:cTn id="36" presetID="35" presetClass="path" presetSubtype="0" decel="100000" fill="hold" nodeType="withEffect">
                                  <p:stCondLst>
                                    <p:cond delay="1500"/>
                                  </p:stCondLst>
                                  <p:childTnLst>
                                    <p:animMotion origin="layout" path="M 0.31654 4.07407E-6 L 2.08167E-17 4.07407E-6 " pathEditMode="relative" rAng="0" ptsTypes="AA">
                                      <p:cBhvr>
                                        <p:cTn id="37" dur="500" fill="hold"/>
                                        <p:tgtEl>
                                          <p:spTgt spid="43"/>
                                        </p:tgtEl>
                                        <p:attrNameLst>
                                          <p:attrName>ppt_x</p:attrName>
                                          <p:attrName>ppt_y</p:attrName>
                                        </p:attrNameLst>
                                      </p:cBhvr>
                                      <p:rCtr x="-15625" y="0"/>
                                    </p:animMotion>
                                  </p:childTnLst>
                                </p:cTn>
                              </p:par>
                              <p:par>
                                <p:cTn id="38" presetID="10" presetClass="entr" presetSubtype="0" fill="hold" grpId="0" nodeType="withEffect">
                                  <p:stCondLst>
                                    <p:cond delay="1750"/>
                                  </p:stCondLst>
                                  <p:childTnLst>
                                    <p:set>
                                      <p:cBhvr>
                                        <p:cTn id="39" dur="1" fill="hold">
                                          <p:stCondLst>
                                            <p:cond delay="0"/>
                                          </p:stCondLst>
                                        </p:cTn>
                                        <p:tgtEl>
                                          <p:spTgt spid="41"/>
                                        </p:tgtEl>
                                        <p:attrNameLst>
                                          <p:attrName>style.visibility</p:attrName>
                                        </p:attrNameLst>
                                      </p:cBhvr>
                                      <p:to>
                                        <p:strVal val="visible"/>
                                      </p:to>
                                    </p:set>
                                    <p:animEffect transition="in" filter="fade">
                                      <p:cBhvr>
                                        <p:cTn id="40" dur="500"/>
                                        <p:tgtEl>
                                          <p:spTgt spid="41"/>
                                        </p:tgtEl>
                                      </p:cBhvr>
                                    </p:animEffect>
                                  </p:childTnLst>
                                </p:cTn>
                              </p:par>
                              <p:par>
                                <p:cTn id="41" presetID="10" presetClass="entr" presetSubtype="0" fill="hold" nodeType="withEffect">
                                  <p:stCondLst>
                                    <p:cond delay="1750"/>
                                  </p:stCondLst>
                                  <p:childTnLst>
                                    <p:set>
                                      <p:cBhvr>
                                        <p:cTn id="42" dur="1" fill="hold">
                                          <p:stCondLst>
                                            <p:cond delay="0"/>
                                          </p:stCondLst>
                                        </p:cTn>
                                        <p:tgtEl>
                                          <p:spTgt spid="114"/>
                                        </p:tgtEl>
                                        <p:attrNameLst>
                                          <p:attrName>style.visibility</p:attrName>
                                        </p:attrNameLst>
                                      </p:cBhvr>
                                      <p:to>
                                        <p:strVal val="visible"/>
                                      </p:to>
                                    </p:set>
                                    <p:animEffect transition="in" filter="fade">
                                      <p:cBhvr>
                                        <p:cTn id="43" dur="500"/>
                                        <p:tgtEl>
                                          <p:spTgt spid="114"/>
                                        </p:tgtEl>
                                      </p:cBhvr>
                                    </p:animEffect>
                                  </p:childTnLst>
                                </p:cTn>
                              </p:par>
                              <p:par>
                                <p:cTn id="44" presetID="42" presetClass="path" presetSubtype="0" decel="100000" fill="hold" nodeType="withEffect">
                                  <p:stCondLst>
                                    <p:cond delay="1750"/>
                                  </p:stCondLst>
                                  <p:childTnLst>
                                    <p:animMotion origin="layout" path="M 4.16667E-7 -0.08356 L 4.16667E-7 1.11111E-6 " pathEditMode="relative" rAng="0" ptsTypes="AA">
                                      <p:cBhvr>
                                        <p:cTn id="45" dur="500" fill="hold"/>
                                        <p:tgtEl>
                                          <p:spTgt spid="114"/>
                                        </p:tgtEl>
                                        <p:attrNameLst>
                                          <p:attrName>ppt_x</p:attrName>
                                          <p:attrName>ppt_y</p:attrName>
                                        </p:attrNameLst>
                                      </p:cBhvr>
                                      <p:rCtr x="0" y="4236"/>
                                    </p:animMotion>
                                  </p:childTnLst>
                                </p:cTn>
                              </p:par>
                              <p:par>
                                <p:cTn id="46" presetID="22" presetClass="entr" presetSubtype="8" fill="hold" nodeType="withEffect">
                                  <p:stCondLst>
                                    <p:cond delay="2100"/>
                                  </p:stCondLst>
                                  <p:childTnLst>
                                    <p:set>
                                      <p:cBhvr>
                                        <p:cTn id="47" dur="1" fill="hold">
                                          <p:stCondLst>
                                            <p:cond delay="0"/>
                                          </p:stCondLst>
                                        </p:cTn>
                                        <p:tgtEl>
                                          <p:spTgt spid="56"/>
                                        </p:tgtEl>
                                        <p:attrNameLst>
                                          <p:attrName>style.visibility</p:attrName>
                                        </p:attrNameLst>
                                      </p:cBhvr>
                                      <p:to>
                                        <p:strVal val="visible"/>
                                      </p:to>
                                    </p:set>
                                    <p:animEffect transition="in" filter="wipe(left)">
                                      <p:cBhvr>
                                        <p:cTn id="48" dur="500"/>
                                        <p:tgtEl>
                                          <p:spTgt spid="56"/>
                                        </p:tgtEl>
                                      </p:cBhvr>
                                    </p:animEffect>
                                  </p:childTnLst>
                                </p:cTn>
                              </p:par>
                              <p:par>
                                <p:cTn id="49" presetID="10" presetClass="entr" presetSubtype="0" fill="hold" nodeType="withEffect">
                                  <p:stCondLst>
                                    <p:cond delay="2250"/>
                                  </p:stCondLst>
                                  <p:childTnLst>
                                    <p:set>
                                      <p:cBhvr>
                                        <p:cTn id="50" dur="1" fill="hold">
                                          <p:stCondLst>
                                            <p:cond delay="0"/>
                                          </p:stCondLst>
                                        </p:cTn>
                                        <p:tgtEl>
                                          <p:spTgt spid="57"/>
                                        </p:tgtEl>
                                        <p:attrNameLst>
                                          <p:attrName>style.visibility</p:attrName>
                                        </p:attrNameLst>
                                      </p:cBhvr>
                                      <p:to>
                                        <p:strVal val="visible"/>
                                      </p:to>
                                    </p:set>
                                    <p:animEffect transition="in" filter="fade">
                                      <p:cBhvr>
                                        <p:cTn id="51" dur="500"/>
                                        <p:tgtEl>
                                          <p:spTgt spid="57"/>
                                        </p:tgtEl>
                                      </p:cBhvr>
                                    </p:animEffect>
                                  </p:childTnLst>
                                </p:cTn>
                              </p:par>
                              <p:par>
                                <p:cTn id="52" presetID="35" presetClass="path" presetSubtype="0" decel="100000" fill="hold" nodeType="withEffect">
                                  <p:stCondLst>
                                    <p:cond delay="2250"/>
                                  </p:stCondLst>
                                  <p:childTnLst>
                                    <p:animMotion origin="layout" path="M 0.31654 4.07407E-6 L 2.08167E-17 4.07407E-6 " pathEditMode="relative" rAng="0" ptsTypes="AA">
                                      <p:cBhvr>
                                        <p:cTn id="53" dur="500" fill="hold"/>
                                        <p:tgtEl>
                                          <p:spTgt spid="57"/>
                                        </p:tgtEl>
                                        <p:attrNameLst>
                                          <p:attrName>ppt_x</p:attrName>
                                          <p:attrName>ppt_y</p:attrName>
                                        </p:attrNameLst>
                                      </p:cBhvr>
                                      <p:rCtr x="-15625" y="0"/>
                                    </p:animMotion>
                                  </p:childTnLst>
                                </p:cTn>
                              </p:par>
                              <p:par>
                                <p:cTn id="54" presetID="10" presetClass="entr" presetSubtype="0" fill="hold" grpId="0" nodeType="withEffect">
                                  <p:stCondLst>
                                    <p:cond delay="2500"/>
                                  </p:stCondLst>
                                  <p:childTnLst>
                                    <p:set>
                                      <p:cBhvr>
                                        <p:cTn id="55" dur="1" fill="hold">
                                          <p:stCondLst>
                                            <p:cond delay="0"/>
                                          </p:stCondLst>
                                        </p:cTn>
                                        <p:tgtEl>
                                          <p:spTgt spid="55"/>
                                        </p:tgtEl>
                                        <p:attrNameLst>
                                          <p:attrName>style.visibility</p:attrName>
                                        </p:attrNameLst>
                                      </p:cBhvr>
                                      <p:to>
                                        <p:strVal val="visible"/>
                                      </p:to>
                                    </p:set>
                                    <p:animEffect transition="in" filter="fade">
                                      <p:cBhvr>
                                        <p:cTn id="56" dur="500"/>
                                        <p:tgtEl>
                                          <p:spTgt spid="55"/>
                                        </p:tgtEl>
                                      </p:cBhvr>
                                    </p:animEffect>
                                  </p:childTnLst>
                                </p:cTn>
                              </p:par>
                              <p:par>
                                <p:cTn id="57" presetID="10" presetClass="entr" presetSubtype="0" fill="hold" nodeType="withEffect">
                                  <p:stCondLst>
                                    <p:cond delay="2500"/>
                                  </p:stCondLst>
                                  <p:childTnLst>
                                    <p:set>
                                      <p:cBhvr>
                                        <p:cTn id="58" dur="1" fill="hold">
                                          <p:stCondLst>
                                            <p:cond delay="0"/>
                                          </p:stCondLst>
                                        </p:cTn>
                                        <p:tgtEl>
                                          <p:spTgt spid="115"/>
                                        </p:tgtEl>
                                        <p:attrNameLst>
                                          <p:attrName>style.visibility</p:attrName>
                                        </p:attrNameLst>
                                      </p:cBhvr>
                                      <p:to>
                                        <p:strVal val="visible"/>
                                      </p:to>
                                    </p:set>
                                    <p:animEffect transition="in" filter="fade">
                                      <p:cBhvr>
                                        <p:cTn id="59" dur="500"/>
                                        <p:tgtEl>
                                          <p:spTgt spid="115"/>
                                        </p:tgtEl>
                                      </p:cBhvr>
                                    </p:animEffect>
                                  </p:childTnLst>
                                </p:cTn>
                              </p:par>
                              <p:par>
                                <p:cTn id="60" presetID="42" presetClass="path" presetSubtype="0" decel="100000" fill="hold" nodeType="withEffect">
                                  <p:stCondLst>
                                    <p:cond delay="2500"/>
                                  </p:stCondLst>
                                  <p:childTnLst>
                                    <p:animMotion origin="layout" path="M 4.16667E-7 -0.08356 L 4.16667E-7 1.11111E-6 " pathEditMode="relative" rAng="0" ptsTypes="AA">
                                      <p:cBhvr>
                                        <p:cTn id="61" dur="500" fill="hold"/>
                                        <p:tgtEl>
                                          <p:spTgt spid="115"/>
                                        </p:tgtEl>
                                        <p:attrNameLst>
                                          <p:attrName>ppt_x</p:attrName>
                                          <p:attrName>ppt_y</p:attrName>
                                        </p:attrNameLst>
                                      </p:cBhvr>
                                      <p:rCtr x="0" y="4236"/>
                                    </p:animMotion>
                                  </p:childTnLst>
                                </p:cTn>
                              </p:par>
                              <p:par>
                                <p:cTn id="62" presetID="22" presetClass="entr" presetSubtype="8" fill="hold" nodeType="withEffect">
                                  <p:stCondLst>
                                    <p:cond delay="2850"/>
                                  </p:stCondLst>
                                  <p:childTnLst>
                                    <p:set>
                                      <p:cBhvr>
                                        <p:cTn id="63" dur="1" fill="hold">
                                          <p:stCondLst>
                                            <p:cond delay="0"/>
                                          </p:stCondLst>
                                        </p:cTn>
                                        <p:tgtEl>
                                          <p:spTgt spid="62"/>
                                        </p:tgtEl>
                                        <p:attrNameLst>
                                          <p:attrName>style.visibility</p:attrName>
                                        </p:attrNameLst>
                                      </p:cBhvr>
                                      <p:to>
                                        <p:strVal val="visible"/>
                                      </p:to>
                                    </p:set>
                                    <p:animEffect transition="in" filter="wipe(left)">
                                      <p:cBhvr>
                                        <p:cTn id="64" dur="500"/>
                                        <p:tgtEl>
                                          <p:spTgt spid="62"/>
                                        </p:tgtEl>
                                      </p:cBhvr>
                                    </p:animEffect>
                                  </p:childTnLst>
                                </p:cTn>
                              </p:par>
                              <p:par>
                                <p:cTn id="65" presetID="10" presetClass="entr" presetSubtype="0" fill="hold" nodeType="withEffect">
                                  <p:stCondLst>
                                    <p:cond delay="3000"/>
                                  </p:stCondLst>
                                  <p:childTnLst>
                                    <p:set>
                                      <p:cBhvr>
                                        <p:cTn id="66" dur="1" fill="hold">
                                          <p:stCondLst>
                                            <p:cond delay="0"/>
                                          </p:stCondLst>
                                        </p:cTn>
                                        <p:tgtEl>
                                          <p:spTgt spid="63"/>
                                        </p:tgtEl>
                                        <p:attrNameLst>
                                          <p:attrName>style.visibility</p:attrName>
                                        </p:attrNameLst>
                                      </p:cBhvr>
                                      <p:to>
                                        <p:strVal val="visible"/>
                                      </p:to>
                                    </p:set>
                                    <p:animEffect transition="in" filter="fade">
                                      <p:cBhvr>
                                        <p:cTn id="67" dur="500"/>
                                        <p:tgtEl>
                                          <p:spTgt spid="63"/>
                                        </p:tgtEl>
                                      </p:cBhvr>
                                    </p:animEffect>
                                  </p:childTnLst>
                                </p:cTn>
                              </p:par>
                              <p:par>
                                <p:cTn id="68" presetID="35" presetClass="path" presetSubtype="0" decel="100000" fill="hold" nodeType="withEffect">
                                  <p:stCondLst>
                                    <p:cond delay="3000"/>
                                  </p:stCondLst>
                                  <p:childTnLst>
                                    <p:animMotion origin="layout" path="M 0.31654 4.07407E-6 L 2.08167E-17 4.07407E-6 " pathEditMode="relative" rAng="0" ptsTypes="AA">
                                      <p:cBhvr>
                                        <p:cTn id="69" dur="500" fill="hold"/>
                                        <p:tgtEl>
                                          <p:spTgt spid="63"/>
                                        </p:tgtEl>
                                        <p:attrNameLst>
                                          <p:attrName>ppt_x</p:attrName>
                                          <p:attrName>ppt_y</p:attrName>
                                        </p:attrNameLst>
                                      </p:cBhvr>
                                      <p:rCtr x="-15625" y="0"/>
                                    </p:animMotion>
                                  </p:childTnLst>
                                </p:cTn>
                              </p:par>
                              <p:par>
                                <p:cTn id="70" presetID="10" presetClass="entr" presetSubtype="0" fill="hold" grpId="0" nodeType="withEffect">
                                  <p:stCondLst>
                                    <p:cond delay="3250"/>
                                  </p:stCondLst>
                                  <p:childTnLst>
                                    <p:set>
                                      <p:cBhvr>
                                        <p:cTn id="71" dur="1" fill="hold">
                                          <p:stCondLst>
                                            <p:cond delay="0"/>
                                          </p:stCondLst>
                                        </p:cTn>
                                        <p:tgtEl>
                                          <p:spTgt spid="61"/>
                                        </p:tgtEl>
                                        <p:attrNameLst>
                                          <p:attrName>style.visibility</p:attrName>
                                        </p:attrNameLst>
                                      </p:cBhvr>
                                      <p:to>
                                        <p:strVal val="visible"/>
                                      </p:to>
                                    </p:set>
                                    <p:animEffect transition="in" filter="fade">
                                      <p:cBhvr>
                                        <p:cTn id="72" dur="500"/>
                                        <p:tgtEl>
                                          <p:spTgt spid="61"/>
                                        </p:tgtEl>
                                      </p:cBhvr>
                                    </p:animEffect>
                                  </p:childTnLst>
                                </p:cTn>
                              </p:par>
                              <p:par>
                                <p:cTn id="73" presetID="10" presetClass="entr" presetSubtype="0" fill="hold" nodeType="withEffect">
                                  <p:stCondLst>
                                    <p:cond delay="3250"/>
                                  </p:stCondLst>
                                  <p:childTnLst>
                                    <p:set>
                                      <p:cBhvr>
                                        <p:cTn id="74" dur="1" fill="hold">
                                          <p:stCondLst>
                                            <p:cond delay="0"/>
                                          </p:stCondLst>
                                        </p:cTn>
                                        <p:tgtEl>
                                          <p:spTgt spid="116"/>
                                        </p:tgtEl>
                                        <p:attrNameLst>
                                          <p:attrName>style.visibility</p:attrName>
                                        </p:attrNameLst>
                                      </p:cBhvr>
                                      <p:to>
                                        <p:strVal val="visible"/>
                                      </p:to>
                                    </p:set>
                                    <p:animEffect transition="in" filter="fade">
                                      <p:cBhvr>
                                        <p:cTn id="75" dur="500"/>
                                        <p:tgtEl>
                                          <p:spTgt spid="116"/>
                                        </p:tgtEl>
                                      </p:cBhvr>
                                    </p:animEffect>
                                  </p:childTnLst>
                                </p:cTn>
                              </p:par>
                              <p:par>
                                <p:cTn id="76" presetID="42" presetClass="path" presetSubtype="0" decel="100000" fill="hold" nodeType="withEffect">
                                  <p:stCondLst>
                                    <p:cond delay="3250"/>
                                  </p:stCondLst>
                                  <p:childTnLst>
                                    <p:animMotion origin="layout" path="M 4.16667E-7 -0.08356 L 4.16667E-7 1.11111E-6 " pathEditMode="relative" rAng="0" ptsTypes="AA">
                                      <p:cBhvr>
                                        <p:cTn id="77" dur="500" fill="hold"/>
                                        <p:tgtEl>
                                          <p:spTgt spid="116"/>
                                        </p:tgtEl>
                                        <p:attrNameLst>
                                          <p:attrName>ppt_x</p:attrName>
                                          <p:attrName>ppt_y</p:attrName>
                                        </p:attrNameLst>
                                      </p:cBhvr>
                                      <p:rCtr x="0" y="4236"/>
                                    </p:animMotion>
                                  </p:childTnLst>
                                </p:cTn>
                              </p:par>
                              <p:par>
                                <p:cTn id="78" presetID="22" presetClass="entr" presetSubtype="8" fill="hold" nodeType="withEffect">
                                  <p:stCondLst>
                                    <p:cond delay="3600"/>
                                  </p:stCondLst>
                                  <p:childTnLst>
                                    <p:set>
                                      <p:cBhvr>
                                        <p:cTn id="79" dur="1" fill="hold">
                                          <p:stCondLst>
                                            <p:cond delay="0"/>
                                          </p:stCondLst>
                                        </p:cTn>
                                        <p:tgtEl>
                                          <p:spTgt spid="68"/>
                                        </p:tgtEl>
                                        <p:attrNameLst>
                                          <p:attrName>style.visibility</p:attrName>
                                        </p:attrNameLst>
                                      </p:cBhvr>
                                      <p:to>
                                        <p:strVal val="visible"/>
                                      </p:to>
                                    </p:set>
                                    <p:animEffect transition="in" filter="wipe(left)">
                                      <p:cBhvr>
                                        <p:cTn id="80" dur="500"/>
                                        <p:tgtEl>
                                          <p:spTgt spid="68"/>
                                        </p:tgtEl>
                                      </p:cBhvr>
                                    </p:animEffect>
                                  </p:childTnLst>
                                </p:cTn>
                              </p:par>
                              <p:par>
                                <p:cTn id="81" presetID="10" presetClass="entr" presetSubtype="0" fill="hold" nodeType="withEffect">
                                  <p:stCondLst>
                                    <p:cond delay="3750"/>
                                  </p:stCondLst>
                                  <p:childTnLst>
                                    <p:set>
                                      <p:cBhvr>
                                        <p:cTn id="82" dur="1" fill="hold">
                                          <p:stCondLst>
                                            <p:cond delay="0"/>
                                          </p:stCondLst>
                                        </p:cTn>
                                        <p:tgtEl>
                                          <p:spTgt spid="69"/>
                                        </p:tgtEl>
                                        <p:attrNameLst>
                                          <p:attrName>style.visibility</p:attrName>
                                        </p:attrNameLst>
                                      </p:cBhvr>
                                      <p:to>
                                        <p:strVal val="visible"/>
                                      </p:to>
                                    </p:set>
                                    <p:animEffect transition="in" filter="fade">
                                      <p:cBhvr>
                                        <p:cTn id="83" dur="500"/>
                                        <p:tgtEl>
                                          <p:spTgt spid="69"/>
                                        </p:tgtEl>
                                      </p:cBhvr>
                                    </p:animEffect>
                                  </p:childTnLst>
                                </p:cTn>
                              </p:par>
                              <p:par>
                                <p:cTn id="84" presetID="35" presetClass="path" presetSubtype="0" decel="100000" fill="hold" nodeType="withEffect">
                                  <p:stCondLst>
                                    <p:cond delay="3750"/>
                                  </p:stCondLst>
                                  <p:childTnLst>
                                    <p:animMotion origin="layout" path="M 0.31654 4.07407E-6 L 2.08167E-17 4.07407E-6 " pathEditMode="relative" rAng="0" ptsTypes="AA">
                                      <p:cBhvr>
                                        <p:cTn id="85" dur="500" fill="hold"/>
                                        <p:tgtEl>
                                          <p:spTgt spid="69"/>
                                        </p:tgtEl>
                                        <p:attrNameLst>
                                          <p:attrName>ppt_x</p:attrName>
                                          <p:attrName>ppt_y</p:attrName>
                                        </p:attrNameLst>
                                      </p:cBhvr>
                                      <p:rCtr x="-15625" y="0"/>
                                    </p:animMotion>
                                  </p:childTnLst>
                                </p:cTn>
                              </p:par>
                              <p:par>
                                <p:cTn id="86" presetID="10" presetClass="entr" presetSubtype="0" fill="hold" grpId="0" nodeType="withEffect">
                                  <p:stCondLst>
                                    <p:cond delay="4000"/>
                                  </p:stCondLst>
                                  <p:childTnLst>
                                    <p:set>
                                      <p:cBhvr>
                                        <p:cTn id="87" dur="1" fill="hold">
                                          <p:stCondLst>
                                            <p:cond delay="0"/>
                                          </p:stCondLst>
                                        </p:cTn>
                                        <p:tgtEl>
                                          <p:spTgt spid="67"/>
                                        </p:tgtEl>
                                        <p:attrNameLst>
                                          <p:attrName>style.visibility</p:attrName>
                                        </p:attrNameLst>
                                      </p:cBhvr>
                                      <p:to>
                                        <p:strVal val="visible"/>
                                      </p:to>
                                    </p:set>
                                    <p:animEffect transition="in" filter="fade">
                                      <p:cBhvr>
                                        <p:cTn id="88" dur="500"/>
                                        <p:tgtEl>
                                          <p:spTgt spid="67"/>
                                        </p:tgtEl>
                                      </p:cBhvr>
                                    </p:animEffect>
                                  </p:childTnLst>
                                </p:cTn>
                              </p:par>
                              <p:par>
                                <p:cTn id="89" presetID="10" presetClass="entr" presetSubtype="0" fill="hold" nodeType="withEffect">
                                  <p:stCondLst>
                                    <p:cond delay="4000"/>
                                  </p:stCondLst>
                                  <p:childTnLst>
                                    <p:set>
                                      <p:cBhvr>
                                        <p:cTn id="90" dur="1" fill="hold">
                                          <p:stCondLst>
                                            <p:cond delay="0"/>
                                          </p:stCondLst>
                                        </p:cTn>
                                        <p:tgtEl>
                                          <p:spTgt spid="117"/>
                                        </p:tgtEl>
                                        <p:attrNameLst>
                                          <p:attrName>style.visibility</p:attrName>
                                        </p:attrNameLst>
                                      </p:cBhvr>
                                      <p:to>
                                        <p:strVal val="visible"/>
                                      </p:to>
                                    </p:set>
                                    <p:animEffect transition="in" filter="fade">
                                      <p:cBhvr>
                                        <p:cTn id="91" dur="500"/>
                                        <p:tgtEl>
                                          <p:spTgt spid="117"/>
                                        </p:tgtEl>
                                      </p:cBhvr>
                                    </p:animEffect>
                                  </p:childTnLst>
                                </p:cTn>
                              </p:par>
                              <p:par>
                                <p:cTn id="92" presetID="42" presetClass="path" presetSubtype="0" decel="100000" fill="hold" nodeType="withEffect">
                                  <p:stCondLst>
                                    <p:cond delay="4000"/>
                                  </p:stCondLst>
                                  <p:childTnLst>
                                    <p:animMotion origin="layout" path="M 4.16667E-7 -0.08356 L 4.16667E-7 1.11111E-6 " pathEditMode="relative" rAng="0" ptsTypes="AA">
                                      <p:cBhvr>
                                        <p:cTn id="93" dur="500" fill="hold"/>
                                        <p:tgtEl>
                                          <p:spTgt spid="117"/>
                                        </p:tgtEl>
                                        <p:attrNameLst>
                                          <p:attrName>ppt_x</p:attrName>
                                          <p:attrName>ppt_y</p:attrName>
                                        </p:attrNameLst>
                                      </p:cBhvr>
                                      <p:rCtr x="0" y="4236"/>
                                    </p:animMotion>
                                  </p:childTnLst>
                                </p:cTn>
                              </p:par>
                              <p:par>
                                <p:cTn id="94" presetID="22" presetClass="entr" presetSubtype="8" fill="hold" nodeType="withEffect">
                                  <p:stCondLst>
                                    <p:cond delay="4350"/>
                                  </p:stCondLst>
                                  <p:childTnLst>
                                    <p:set>
                                      <p:cBhvr>
                                        <p:cTn id="95" dur="1" fill="hold">
                                          <p:stCondLst>
                                            <p:cond delay="0"/>
                                          </p:stCondLst>
                                        </p:cTn>
                                        <p:tgtEl>
                                          <p:spTgt spid="75"/>
                                        </p:tgtEl>
                                        <p:attrNameLst>
                                          <p:attrName>style.visibility</p:attrName>
                                        </p:attrNameLst>
                                      </p:cBhvr>
                                      <p:to>
                                        <p:strVal val="visible"/>
                                      </p:to>
                                    </p:set>
                                    <p:animEffect transition="in" filter="wipe(left)">
                                      <p:cBhvr>
                                        <p:cTn id="96" dur="500"/>
                                        <p:tgtEl>
                                          <p:spTgt spid="75"/>
                                        </p:tgtEl>
                                      </p:cBhvr>
                                    </p:animEffect>
                                  </p:childTnLst>
                                </p:cTn>
                              </p:par>
                              <p:par>
                                <p:cTn id="97" presetID="10" presetClass="entr" presetSubtype="0" fill="hold" nodeType="withEffect">
                                  <p:stCondLst>
                                    <p:cond delay="4500"/>
                                  </p:stCondLst>
                                  <p:childTnLst>
                                    <p:set>
                                      <p:cBhvr>
                                        <p:cTn id="98" dur="1" fill="hold">
                                          <p:stCondLst>
                                            <p:cond delay="0"/>
                                          </p:stCondLst>
                                        </p:cTn>
                                        <p:tgtEl>
                                          <p:spTgt spid="76"/>
                                        </p:tgtEl>
                                        <p:attrNameLst>
                                          <p:attrName>style.visibility</p:attrName>
                                        </p:attrNameLst>
                                      </p:cBhvr>
                                      <p:to>
                                        <p:strVal val="visible"/>
                                      </p:to>
                                    </p:set>
                                    <p:animEffect transition="in" filter="fade">
                                      <p:cBhvr>
                                        <p:cTn id="99" dur="500"/>
                                        <p:tgtEl>
                                          <p:spTgt spid="76"/>
                                        </p:tgtEl>
                                      </p:cBhvr>
                                    </p:animEffect>
                                  </p:childTnLst>
                                </p:cTn>
                              </p:par>
                              <p:par>
                                <p:cTn id="100" presetID="35" presetClass="path" presetSubtype="0" decel="100000" fill="hold" nodeType="withEffect">
                                  <p:stCondLst>
                                    <p:cond delay="4500"/>
                                  </p:stCondLst>
                                  <p:childTnLst>
                                    <p:animMotion origin="layout" path="M 0.31654 4.07407E-6 L 2.08167E-17 4.07407E-6 " pathEditMode="relative" rAng="0" ptsTypes="AA">
                                      <p:cBhvr>
                                        <p:cTn id="101" dur="500" fill="hold"/>
                                        <p:tgtEl>
                                          <p:spTgt spid="76"/>
                                        </p:tgtEl>
                                        <p:attrNameLst>
                                          <p:attrName>ppt_x</p:attrName>
                                          <p:attrName>ppt_y</p:attrName>
                                        </p:attrNameLst>
                                      </p:cBhvr>
                                      <p:rCtr x="-15625" y="0"/>
                                    </p:animMotion>
                                  </p:childTnLst>
                                </p:cTn>
                              </p:par>
                              <p:par>
                                <p:cTn id="102" presetID="10" presetClass="entr" presetSubtype="0" fill="hold" grpId="0" nodeType="withEffect">
                                  <p:stCondLst>
                                    <p:cond delay="4750"/>
                                  </p:stCondLst>
                                  <p:childTnLst>
                                    <p:set>
                                      <p:cBhvr>
                                        <p:cTn id="103" dur="1" fill="hold">
                                          <p:stCondLst>
                                            <p:cond delay="0"/>
                                          </p:stCondLst>
                                        </p:cTn>
                                        <p:tgtEl>
                                          <p:spTgt spid="74"/>
                                        </p:tgtEl>
                                        <p:attrNameLst>
                                          <p:attrName>style.visibility</p:attrName>
                                        </p:attrNameLst>
                                      </p:cBhvr>
                                      <p:to>
                                        <p:strVal val="visible"/>
                                      </p:to>
                                    </p:set>
                                    <p:animEffect transition="in" filter="fade">
                                      <p:cBhvr>
                                        <p:cTn id="104" dur="500"/>
                                        <p:tgtEl>
                                          <p:spTgt spid="74"/>
                                        </p:tgtEl>
                                      </p:cBhvr>
                                    </p:animEffect>
                                  </p:childTnLst>
                                </p:cTn>
                              </p:par>
                              <p:par>
                                <p:cTn id="105" presetID="10" presetClass="entr" presetSubtype="0" fill="hold" nodeType="withEffect">
                                  <p:stCondLst>
                                    <p:cond delay="4750"/>
                                  </p:stCondLst>
                                  <p:childTnLst>
                                    <p:set>
                                      <p:cBhvr>
                                        <p:cTn id="106" dur="1" fill="hold">
                                          <p:stCondLst>
                                            <p:cond delay="0"/>
                                          </p:stCondLst>
                                        </p:cTn>
                                        <p:tgtEl>
                                          <p:spTgt spid="118"/>
                                        </p:tgtEl>
                                        <p:attrNameLst>
                                          <p:attrName>style.visibility</p:attrName>
                                        </p:attrNameLst>
                                      </p:cBhvr>
                                      <p:to>
                                        <p:strVal val="visible"/>
                                      </p:to>
                                    </p:set>
                                    <p:animEffect transition="in" filter="fade">
                                      <p:cBhvr>
                                        <p:cTn id="107" dur="500"/>
                                        <p:tgtEl>
                                          <p:spTgt spid="118"/>
                                        </p:tgtEl>
                                      </p:cBhvr>
                                    </p:animEffect>
                                  </p:childTnLst>
                                </p:cTn>
                              </p:par>
                              <p:par>
                                <p:cTn id="108" presetID="42" presetClass="path" presetSubtype="0" decel="100000" fill="hold" nodeType="withEffect">
                                  <p:stCondLst>
                                    <p:cond delay="4750"/>
                                  </p:stCondLst>
                                  <p:childTnLst>
                                    <p:animMotion origin="layout" path="M 4.16667E-7 -0.08356 L 4.16667E-7 1.11111E-6 " pathEditMode="relative" rAng="0" ptsTypes="AA">
                                      <p:cBhvr>
                                        <p:cTn id="109" dur="500" fill="hold"/>
                                        <p:tgtEl>
                                          <p:spTgt spid="118"/>
                                        </p:tgtEl>
                                        <p:attrNameLst>
                                          <p:attrName>ppt_x</p:attrName>
                                          <p:attrName>ppt_y</p:attrName>
                                        </p:attrNameLst>
                                      </p:cBhvr>
                                      <p:rCtr x="0" y="4236"/>
                                    </p:animMotion>
                                  </p:childTnLst>
                                </p:cTn>
                              </p:par>
                              <p:par>
                                <p:cTn id="110" presetID="22" presetClass="entr" presetSubtype="8" fill="hold" nodeType="withEffect">
                                  <p:stCondLst>
                                    <p:cond delay="5100"/>
                                  </p:stCondLst>
                                  <p:childTnLst>
                                    <p:set>
                                      <p:cBhvr>
                                        <p:cTn id="111" dur="1" fill="hold">
                                          <p:stCondLst>
                                            <p:cond delay="0"/>
                                          </p:stCondLst>
                                        </p:cTn>
                                        <p:tgtEl>
                                          <p:spTgt spid="81"/>
                                        </p:tgtEl>
                                        <p:attrNameLst>
                                          <p:attrName>style.visibility</p:attrName>
                                        </p:attrNameLst>
                                      </p:cBhvr>
                                      <p:to>
                                        <p:strVal val="visible"/>
                                      </p:to>
                                    </p:set>
                                    <p:animEffect transition="in" filter="wipe(left)">
                                      <p:cBhvr>
                                        <p:cTn id="112" dur="500"/>
                                        <p:tgtEl>
                                          <p:spTgt spid="81"/>
                                        </p:tgtEl>
                                      </p:cBhvr>
                                    </p:animEffect>
                                  </p:childTnLst>
                                </p:cTn>
                              </p:par>
                              <p:par>
                                <p:cTn id="113" presetID="10" presetClass="entr" presetSubtype="0" fill="hold" nodeType="withEffect">
                                  <p:stCondLst>
                                    <p:cond delay="5250"/>
                                  </p:stCondLst>
                                  <p:childTnLst>
                                    <p:set>
                                      <p:cBhvr>
                                        <p:cTn id="114" dur="1" fill="hold">
                                          <p:stCondLst>
                                            <p:cond delay="0"/>
                                          </p:stCondLst>
                                        </p:cTn>
                                        <p:tgtEl>
                                          <p:spTgt spid="82"/>
                                        </p:tgtEl>
                                        <p:attrNameLst>
                                          <p:attrName>style.visibility</p:attrName>
                                        </p:attrNameLst>
                                      </p:cBhvr>
                                      <p:to>
                                        <p:strVal val="visible"/>
                                      </p:to>
                                    </p:set>
                                    <p:animEffect transition="in" filter="fade">
                                      <p:cBhvr>
                                        <p:cTn id="115" dur="500"/>
                                        <p:tgtEl>
                                          <p:spTgt spid="82"/>
                                        </p:tgtEl>
                                      </p:cBhvr>
                                    </p:animEffect>
                                  </p:childTnLst>
                                </p:cTn>
                              </p:par>
                              <p:par>
                                <p:cTn id="116" presetID="35" presetClass="path" presetSubtype="0" decel="100000" fill="hold" nodeType="withEffect">
                                  <p:stCondLst>
                                    <p:cond delay="5250"/>
                                  </p:stCondLst>
                                  <p:childTnLst>
                                    <p:animMotion origin="layout" path="M 0.31654 4.07407E-6 L 2.08167E-17 4.07407E-6 " pathEditMode="relative" rAng="0" ptsTypes="AA">
                                      <p:cBhvr>
                                        <p:cTn id="117" dur="500" fill="hold"/>
                                        <p:tgtEl>
                                          <p:spTgt spid="82"/>
                                        </p:tgtEl>
                                        <p:attrNameLst>
                                          <p:attrName>ppt_x</p:attrName>
                                          <p:attrName>ppt_y</p:attrName>
                                        </p:attrNameLst>
                                      </p:cBhvr>
                                      <p:rCtr x="-15625" y="0"/>
                                    </p:animMotion>
                                  </p:childTnLst>
                                </p:cTn>
                              </p:par>
                              <p:par>
                                <p:cTn id="118" presetID="10" presetClass="entr" presetSubtype="0" fill="hold" grpId="0" nodeType="withEffect">
                                  <p:stCondLst>
                                    <p:cond delay="5500"/>
                                  </p:stCondLst>
                                  <p:childTnLst>
                                    <p:set>
                                      <p:cBhvr>
                                        <p:cTn id="119" dur="1" fill="hold">
                                          <p:stCondLst>
                                            <p:cond delay="0"/>
                                          </p:stCondLst>
                                        </p:cTn>
                                        <p:tgtEl>
                                          <p:spTgt spid="80"/>
                                        </p:tgtEl>
                                        <p:attrNameLst>
                                          <p:attrName>style.visibility</p:attrName>
                                        </p:attrNameLst>
                                      </p:cBhvr>
                                      <p:to>
                                        <p:strVal val="visible"/>
                                      </p:to>
                                    </p:set>
                                    <p:animEffect transition="in" filter="fade">
                                      <p:cBhvr>
                                        <p:cTn id="120" dur="500"/>
                                        <p:tgtEl>
                                          <p:spTgt spid="80"/>
                                        </p:tgtEl>
                                      </p:cBhvr>
                                    </p:animEffect>
                                  </p:childTnLst>
                                </p:cTn>
                              </p:par>
                              <p:par>
                                <p:cTn id="121" presetID="10" presetClass="entr" presetSubtype="0" fill="hold" nodeType="withEffect">
                                  <p:stCondLst>
                                    <p:cond delay="5500"/>
                                  </p:stCondLst>
                                  <p:childTnLst>
                                    <p:set>
                                      <p:cBhvr>
                                        <p:cTn id="122" dur="1" fill="hold">
                                          <p:stCondLst>
                                            <p:cond delay="0"/>
                                          </p:stCondLst>
                                        </p:cTn>
                                        <p:tgtEl>
                                          <p:spTgt spid="119"/>
                                        </p:tgtEl>
                                        <p:attrNameLst>
                                          <p:attrName>style.visibility</p:attrName>
                                        </p:attrNameLst>
                                      </p:cBhvr>
                                      <p:to>
                                        <p:strVal val="visible"/>
                                      </p:to>
                                    </p:set>
                                    <p:animEffect transition="in" filter="fade">
                                      <p:cBhvr>
                                        <p:cTn id="123" dur="500"/>
                                        <p:tgtEl>
                                          <p:spTgt spid="119"/>
                                        </p:tgtEl>
                                      </p:cBhvr>
                                    </p:animEffect>
                                  </p:childTnLst>
                                </p:cTn>
                              </p:par>
                              <p:par>
                                <p:cTn id="124" presetID="42" presetClass="path" presetSubtype="0" decel="100000" fill="hold" nodeType="withEffect">
                                  <p:stCondLst>
                                    <p:cond delay="5500"/>
                                  </p:stCondLst>
                                  <p:childTnLst>
                                    <p:animMotion origin="layout" path="M 4.16667E-7 -0.08356 L 4.16667E-7 1.11111E-6 " pathEditMode="relative" rAng="0" ptsTypes="AA">
                                      <p:cBhvr>
                                        <p:cTn id="125" dur="500" fill="hold"/>
                                        <p:tgtEl>
                                          <p:spTgt spid="119"/>
                                        </p:tgtEl>
                                        <p:attrNameLst>
                                          <p:attrName>ppt_x</p:attrName>
                                          <p:attrName>ppt_y</p:attrName>
                                        </p:attrNameLst>
                                      </p:cBhvr>
                                      <p:rCtr x="0" y="4236"/>
                                    </p:animMotion>
                                  </p:childTnLst>
                                </p:cTn>
                              </p:par>
                              <p:par>
                                <p:cTn id="126" presetID="22" presetClass="entr" presetSubtype="8" fill="hold" nodeType="withEffect">
                                  <p:stCondLst>
                                    <p:cond delay="5850"/>
                                  </p:stCondLst>
                                  <p:childTnLst>
                                    <p:set>
                                      <p:cBhvr>
                                        <p:cTn id="127" dur="1" fill="hold">
                                          <p:stCondLst>
                                            <p:cond delay="0"/>
                                          </p:stCondLst>
                                        </p:cTn>
                                        <p:tgtEl>
                                          <p:spTgt spid="87"/>
                                        </p:tgtEl>
                                        <p:attrNameLst>
                                          <p:attrName>style.visibility</p:attrName>
                                        </p:attrNameLst>
                                      </p:cBhvr>
                                      <p:to>
                                        <p:strVal val="visible"/>
                                      </p:to>
                                    </p:set>
                                    <p:animEffect transition="in" filter="wipe(left)">
                                      <p:cBhvr>
                                        <p:cTn id="128" dur="500"/>
                                        <p:tgtEl>
                                          <p:spTgt spid="87"/>
                                        </p:tgtEl>
                                      </p:cBhvr>
                                    </p:animEffect>
                                  </p:childTnLst>
                                </p:cTn>
                              </p:par>
                              <p:par>
                                <p:cTn id="129" presetID="10" presetClass="entr" presetSubtype="0" fill="hold" nodeType="withEffect">
                                  <p:stCondLst>
                                    <p:cond delay="6000"/>
                                  </p:stCondLst>
                                  <p:childTnLst>
                                    <p:set>
                                      <p:cBhvr>
                                        <p:cTn id="130" dur="1" fill="hold">
                                          <p:stCondLst>
                                            <p:cond delay="0"/>
                                          </p:stCondLst>
                                        </p:cTn>
                                        <p:tgtEl>
                                          <p:spTgt spid="88"/>
                                        </p:tgtEl>
                                        <p:attrNameLst>
                                          <p:attrName>style.visibility</p:attrName>
                                        </p:attrNameLst>
                                      </p:cBhvr>
                                      <p:to>
                                        <p:strVal val="visible"/>
                                      </p:to>
                                    </p:set>
                                    <p:animEffect transition="in" filter="fade">
                                      <p:cBhvr>
                                        <p:cTn id="131" dur="500"/>
                                        <p:tgtEl>
                                          <p:spTgt spid="88"/>
                                        </p:tgtEl>
                                      </p:cBhvr>
                                    </p:animEffect>
                                  </p:childTnLst>
                                </p:cTn>
                              </p:par>
                              <p:par>
                                <p:cTn id="132" presetID="35" presetClass="path" presetSubtype="0" decel="100000" fill="hold" nodeType="withEffect">
                                  <p:stCondLst>
                                    <p:cond delay="6000"/>
                                  </p:stCondLst>
                                  <p:childTnLst>
                                    <p:animMotion origin="layout" path="M 0.31654 4.07407E-6 L 2.08167E-17 4.07407E-6 " pathEditMode="relative" rAng="0" ptsTypes="AA">
                                      <p:cBhvr>
                                        <p:cTn id="133" dur="500" fill="hold"/>
                                        <p:tgtEl>
                                          <p:spTgt spid="88"/>
                                        </p:tgtEl>
                                        <p:attrNameLst>
                                          <p:attrName>ppt_x</p:attrName>
                                          <p:attrName>ppt_y</p:attrName>
                                        </p:attrNameLst>
                                      </p:cBhvr>
                                      <p:rCtr x="-15625" y="0"/>
                                    </p:animMotion>
                                  </p:childTnLst>
                                </p:cTn>
                              </p:par>
                              <p:par>
                                <p:cTn id="134" presetID="10" presetClass="entr" presetSubtype="0" fill="hold" grpId="0" nodeType="withEffect">
                                  <p:stCondLst>
                                    <p:cond delay="6250"/>
                                  </p:stCondLst>
                                  <p:childTnLst>
                                    <p:set>
                                      <p:cBhvr>
                                        <p:cTn id="135" dur="1" fill="hold">
                                          <p:stCondLst>
                                            <p:cond delay="0"/>
                                          </p:stCondLst>
                                        </p:cTn>
                                        <p:tgtEl>
                                          <p:spTgt spid="86"/>
                                        </p:tgtEl>
                                        <p:attrNameLst>
                                          <p:attrName>style.visibility</p:attrName>
                                        </p:attrNameLst>
                                      </p:cBhvr>
                                      <p:to>
                                        <p:strVal val="visible"/>
                                      </p:to>
                                    </p:set>
                                    <p:animEffect transition="in" filter="fade">
                                      <p:cBhvr>
                                        <p:cTn id="136" dur="500"/>
                                        <p:tgtEl>
                                          <p:spTgt spid="86"/>
                                        </p:tgtEl>
                                      </p:cBhvr>
                                    </p:animEffect>
                                  </p:childTnLst>
                                </p:cTn>
                              </p:par>
                              <p:par>
                                <p:cTn id="137" presetID="10" presetClass="entr" presetSubtype="0" fill="hold" nodeType="withEffect">
                                  <p:stCondLst>
                                    <p:cond delay="6250"/>
                                  </p:stCondLst>
                                  <p:childTnLst>
                                    <p:set>
                                      <p:cBhvr>
                                        <p:cTn id="138" dur="1" fill="hold">
                                          <p:stCondLst>
                                            <p:cond delay="0"/>
                                          </p:stCondLst>
                                        </p:cTn>
                                        <p:tgtEl>
                                          <p:spTgt spid="120"/>
                                        </p:tgtEl>
                                        <p:attrNameLst>
                                          <p:attrName>style.visibility</p:attrName>
                                        </p:attrNameLst>
                                      </p:cBhvr>
                                      <p:to>
                                        <p:strVal val="visible"/>
                                      </p:to>
                                    </p:set>
                                    <p:animEffect transition="in" filter="fade">
                                      <p:cBhvr>
                                        <p:cTn id="139" dur="500"/>
                                        <p:tgtEl>
                                          <p:spTgt spid="120"/>
                                        </p:tgtEl>
                                      </p:cBhvr>
                                    </p:animEffect>
                                  </p:childTnLst>
                                </p:cTn>
                              </p:par>
                              <p:par>
                                <p:cTn id="140" presetID="42" presetClass="path" presetSubtype="0" decel="100000" fill="hold" nodeType="withEffect">
                                  <p:stCondLst>
                                    <p:cond delay="6250"/>
                                  </p:stCondLst>
                                  <p:childTnLst>
                                    <p:animMotion origin="layout" path="M 4.16667E-7 -0.08356 L 4.16667E-7 1.11111E-6 " pathEditMode="relative" rAng="0" ptsTypes="AA">
                                      <p:cBhvr>
                                        <p:cTn id="141" dur="500" fill="hold"/>
                                        <p:tgtEl>
                                          <p:spTgt spid="120"/>
                                        </p:tgtEl>
                                        <p:attrNameLst>
                                          <p:attrName>ppt_x</p:attrName>
                                          <p:attrName>ppt_y</p:attrName>
                                        </p:attrNameLst>
                                      </p:cBhvr>
                                      <p:rCtr x="0" y="4236"/>
                                    </p:animMotion>
                                  </p:childTnLst>
                                </p:cTn>
                              </p:par>
                              <p:par>
                                <p:cTn id="142" presetID="22" presetClass="entr" presetSubtype="8" fill="hold" nodeType="withEffect">
                                  <p:stCondLst>
                                    <p:cond delay="6600"/>
                                  </p:stCondLst>
                                  <p:childTnLst>
                                    <p:set>
                                      <p:cBhvr>
                                        <p:cTn id="143" dur="1" fill="hold">
                                          <p:stCondLst>
                                            <p:cond delay="0"/>
                                          </p:stCondLst>
                                        </p:cTn>
                                        <p:tgtEl>
                                          <p:spTgt spid="93"/>
                                        </p:tgtEl>
                                        <p:attrNameLst>
                                          <p:attrName>style.visibility</p:attrName>
                                        </p:attrNameLst>
                                      </p:cBhvr>
                                      <p:to>
                                        <p:strVal val="visible"/>
                                      </p:to>
                                    </p:set>
                                    <p:animEffect transition="in" filter="wipe(left)">
                                      <p:cBhvr>
                                        <p:cTn id="144" dur="500"/>
                                        <p:tgtEl>
                                          <p:spTgt spid="93"/>
                                        </p:tgtEl>
                                      </p:cBhvr>
                                    </p:animEffect>
                                  </p:childTnLst>
                                </p:cTn>
                              </p:par>
                              <p:par>
                                <p:cTn id="145" presetID="10" presetClass="entr" presetSubtype="0" fill="hold" nodeType="withEffect">
                                  <p:stCondLst>
                                    <p:cond delay="6750"/>
                                  </p:stCondLst>
                                  <p:childTnLst>
                                    <p:set>
                                      <p:cBhvr>
                                        <p:cTn id="146" dur="1" fill="hold">
                                          <p:stCondLst>
                                            <p:cond delay="0"/>
                                          </p:stCondLst>
                                        </p:cTn>
                                        <p:tgtEl>
                                          <p:spTgt spid="94"/>
                                        </p:tgtEl>
                                        <p:attrNameLst>
                                          <p:attrName>style.visibility</p:attrName>
                                        </p:attrNameLst>
                                      </p:cBhvr>
                                      <p:to>
                                        <p:strVal val="visible"/>
                                      </p:to>
                                    </p:set>
                                    <p:animEffect transition="in" filter="fade">
                                      <p:cBhvr>
                                        <p:cTn id="147" dur="500"/>
                                        <p:tgtEl>
                                          <p:spTgt spid="94"/>
                                        </p:tgtEl>
                                      </p:cBhvr>
                                    </p:animEffect>
                                  </p:childTnLst>
                                </p:cTn>
                              </p:par>
                              <p:par>
                                <p:cTn id="148" presetID="35" presetClass="path" presetSubtype="0" decel="100000" fill="hold" nodeType="withEffect">
                                  <p:stCondLst>
                                    <p:cond delay="6750"/>
                                  </p:stCondLst>
                                  <p:childTnLst>
                                    <p:animMotion origin="layout" path="M 0.31654 4.07407E-6 L 2.08167E-17 4.07407E-6 " pathEditMode="relative" rAng="0" ptsTypes="AA">
                                      <p:cBhvr>
                                        <p:cTn id="149" dur="500" fill="hold"/>
                                        <p:tgtEl>
                                          <p:spTgt spid="94"/>
                                        </p:tgtEl>
                                        <p:attrNameLst>
                                          <p:attrName>ppt_x</p:attrName>
                                          <p:attrName>ppt_y</p:attrName>
                                        </p:attrNameLst>
                                      </p:cBhvr>
                                      <p:rCtr x="-15625" y="0"/>
                                    </p:animMotion>
                                  </p:childTnLst>
                                </p:cTn>
                              </p:par>
                              <p:par>
                                <p:cTn id="150" presetID="10" presetClass="entr" presetSubtype="0" fill="hold" grpId="0" nodeType="withEffect">
                                  <p:stCondLst>
                                    <p:cond delay="7000"/>
                                  </p:stCondLst>
                                  <p:childTnLst>
                                    <p:set>
                                      <p:cBhvr>
                                        <p:cTn id="151" dur="1" fill="hold">
                                          <p:stCondLst>
                                            <p:cond delay="0"/>
                                          </p:stCondLst>
                                        </p:cTn>
                                        <p:tgtEl>
                                          <p:spTgt spid="92"/>
                                        </p:tgtEl>
                                        <p:attrNameLst>
                                          <p:attrName>style.visibility</p:attrName>
                                        </p:attrNameLst>
                                      </p:cBhvr>
                                      <p:to>
                                        <p:strVal val="visible"/>
                                      </p:to>
                                    </p:set>
                                    <p:animEffect transition="in" filter="fade">
                                      <p:cBhvr>
                                        <p:cTn id="152"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8" grpId="0"/>
      <p:bldP spid="41" grpId="0"/>
      <p:bldP spid="55" grpId="0"/>
      <p:bldP spid="61" grpId="0"/>
      <p:bldP spid="67" grpId="0"/>
      <p:bldP spid="74" grpId="0"/>
      <p:bldP spid="80" grpId="0"/>
      <p:bldP spid="86" grpId="0"/>
      <p:bldP spid="9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035475" y="364422"/>
            <a:ext cx="4679525" cy="720197"/>
          </a:xfrm>
          <a:prstGeom prst="rect">
            <a:avLst/>
          </a:prstGeom>
          <a:noFill/>
        </p:spPr>
        <p:txBody>
          <a:bodyPr wrap="square" rtlCol="0">
            <a:spAutoFit/>
            <a:scene3d>
              <a:camera prst="orthographicFront"/>
              <a:lightRig rig="threePt" dir="t"/>
            </a:scene3d>
            <a:sp3d>
              <a:bevelT w="0" h="0" prst="artDeco"/>
            </a:sp3d>
          </a:bodyPr>
          <a:lstStyle/>
          <a:p>
            <a:pPr algn="l" defTabSz="914400">
              <a:lnSpc>
                <a:spcPct val="85000"/>
              </a:lnSpc>
              <a:spcBef>
                <a:spcPts val="0"/>
              </a:spcBef>
            </a:pPr>
            <a:r>
              <a:rPr lang="en-US" sz="4800" b="1" dirty="0">
                <a:solidFill>
                  <a:srgbClr val="404041"/>
                </a:solidFill>
                <a:latin typeface="Verdana" panose="020B0604030504040204" pitchFamily="34" charset="0"/>
                <a:ea typeface="Verdana" panose="020B0604030504040204" pitchFamily="34" charset="0"/>
                <a:cs typeface="Verdana" panose="020B0604030504040204" pitchFamily="34" charset="0"/>
              </a:rPr>
              <a:t>REFERENCES</a:t>
            </a:r>
          </a:p>
        </p:txBody>
      </p:sp>
      <p:pic>
        <p:nvPicPr>
          <p:cNvPr id="24" name="Graphic 23">
            <a:extLst>
              <a:ext uri="{FF2B5EF4-FFF2-40B4-BE49-F238E27FC236}">
                <a16:creationId xmlns="" xmlns:a16="http://schemas.microsoft.com/office/drawing/2014/main" id="{579D6A33-DD99-4CC1-9B42-3F10C2AD652C}"/>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1345612" y="6490506"/>
            <a:ext cx="720740" cy="276876"/>
          </a:xfrm>
          <a:prstGeom prst="rect">
            <a:avLst/>
          </a:prstGeom>
        </p:spPr>
      </p:pic>
      <p:sp>
        <p:nvSpPr>
          <p:cNvPr id="28" name="Rectangle 27">
            <a:extLst>
              <a:ext uri="{FF2B5EF4-FFF2-40B4-BE49-F238E27FC236}">
                <a16:creationId xmlns="" xmlns:a16="http://schemas.microsoft.com/office/drawing/2014/main" id="{F7605A4B-1D52-4F42-BABD-663796A4816E}"/>
              </a:ext>
            </a:extLst>
          </p:cNvPr>
          <p:cNvSpPr/>
          <p:nvPr/>
        </p:nvSpPr>
        <p:spPr>
          <a:xfrm>
            <a:off x="1101791" y="1700318"/>
            <a:ext cx="4846552" cy="602473"/>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Densford</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Fink. "ICU Medical, Medline split $59.5 Excelsior Medical buy."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MassDevice</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N.p</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08 Oct. 2015. Web. 22 June 2017.</a:t>
            </a:r>
          </a:p>
        </p:txBody>
      </p:sp>
      <p:cxnSp>
        <p:nvCxnSpPr>
          <p:cNvPr id="37" name="Straight Connector 36">
            <a:extLst>
              <a:ext uri="{FF2B5EF4-FFF2-40B4-BE49-F238E27FC236}">
                <a16:creationId xmlns="" xmlns:a16="http://schemas.microsoft.com/office/drawing/2014/main" id="{2805566E-4CD3-4911-949E-B3F1EE8653E4}"/>
              </a:ext>
            </a:extLst>
          </p:cNvPr>
          <p:cNvCxnSpPr>
            <a:cxnSpLocks/>
          </p:cNvCxnSpPr>
          <p:nvPr/>
        </p:nvCxnSpPr>
        <p:spPr>
          <a:xfrm>
            <a:off x="941231" y="1498064"/>
            <a:ext cx="487944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 xmlns:a16="http://schemas.microsoft.com/office/drawing/2014/main" id="{B683CA1D-0C21-4623-A83F-D5A2953B5EBA}"/>
              </a:ext>
            </a:extLst>
          </p:cNvPr>
          <p:cNvCxnSpPr>
            <a:cxnSpLocks/>
          </p:cNvCxnSpPr>
          <p:nvPr/>
        </p:nvCxnSpPr>
        <p:spPr>
          <a:xfrm>
            <a:off x="1178091" y="1506008"/>
            <a:ext cx="1204686"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2" name="Group 111">
            <a:extLst>
              <a:ext uri="{FF2B5EF4-FFF2-40B4-BE49-F238E27FC236}">
                <a16:creationId xmlns="" xmlns:a16="http://schemas.microsoft.com/office/drawing/2014/main" id="{A1E732A9-CC59-4D86-A857-FD698B117AE6}"/>
              </a:ext>
            </a:extLst>
          </p:cNvPr>
          <p:cNvGrpSpPr/>
          <p:nvPr/>
        </p:nvGrpSpPr>
        <p:grpSpPr>
          <a:xfrm>
            <a:off x="424414" y="1382698"/>
            <a:ext cx="670436" cy="577961"/>
            <a:chOff x="424414" y="1382698"/>
            <a:chExt cx="670436" cy="577961"/>
          </a:xfrm>
        </p:grpSpPr>
        <p:sp>
          <p:nvSpPr>
            <p:cNvPr id="25" name="Isosceles Triangle 24">
              <a:extLst>
                <a:ext uri="{FF2B5EF4-FFF2-40B4-BE49-F238E27FC236}">
                  <a16:creationId xmlns="" xmlns:a16="http://schemas.microsoft.com/office/drawing/2014/main" id="{90BCEF73-5B94-483D-8982-311A2142F404}"/>
                </a:ext>
              </a:extLst>
            </p:cNvPr>
            <p:cNvSpPr/>
            <p:nvPr/>
          </p:nvSpPr>
          <p:spPr>
            <a:xfrm rot="10800000">
              <a:off x="424415" y="1382698"/>
              <a:ext cx="670435" cy="577961"/>
            </a:xfrm>
            <a:prstGeom prst="triangl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 xmlns:a16="http://schemas.microsoft.com/office/drawing/2014/main" id="{3F73D663-5445-49C4-8386-68F7FB9A270F}"/>
                </a:ext>
              </a:extLst>
            </p:cNvPr>
            <p:cNvSpPr txBox="1"/>
            <p:nvPr/>
          </p:nvSpPr>
          <p:spPr>
            <a:xfrm>
              <a:off x="424414" y="1395476"/>
              <a:ext cx="67043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10</a:t>
              </a:r>
            </a:p>
          </p:txBody>
        </p:sp>
      </p:grpSp>
      <p:sp>
        <p:nvSpPr>
          <p:cNvPr id="41" name="Rectangle 40">
            <a:extLst>
              <a:ext uri="{FF2B5EF4-FFF2-40B4-BE49-F238E27FC236}">
                <a16:creationId xmlns="" xmlns:a16="http://schemas.microsoft.com/office/drawing/2014/main" id="{DD7AAE6E-3E55-495C-A4A1-C89F15A6349D}"/>
              </a:ext>
            </a:extLst>
          </p:cNvPr>
          <p:cNvSpPr/>
          <p:nvPr/>
        </p:nvSpPr>
        <p:spPr>
          <a:xfrm>
            <a:off x="1101790" y="2658301"/>
            <a:ext cx="4232210" cy="602473"/>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AmUSA</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changes company name to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Aquabilti</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t>
            </a:r>
            <a:b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AmUSA</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changes company name to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Aquabilti</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Aquabiliti</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N.p</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n.d.</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Web. 22 June 2017.</a:t>
            </a:r>
          </a:p>
        </p:txBody>
      </p:sp>
      <p:cxnSp>
        <p:nvCxnSpPr>
          <p:cNvPr id="42" name="Straight Connector 41">
            <a:extLst>
              <a:ext uri="{FF2B5EF4-FFF2-40B4-BE49-F238E27FC236}">
                <a16:creationId xmlns="" xmlns:a16="http://schemas.microsoft.com/office/drawing/2014/main" id="{2865EF75-8FD7-4B6B-8C6D-D9F77F5250F6}"/>
              </a:ext>
            </a:extLst>
          </p:cNvPr>
          <p:cNvCxnSpPr>
            <a:cxnSpLocks/>
          </p:cNvCxnSpPr>
          <p:nvPr/>
        </p:nvCxnSpPr>
        <p:spPr>
          <a:xfrm>
            <a:off x="941231" y="2533829"/>
            <a:ext cx="487944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 xmlns:a16="http://schemas.microsoft.com/office/drawing/2014/main" id="{BC42C877-08F7-463F-90FE-A125E911FC3C}"/>
              </a:ext>
            </a:extLst>
          </p:cNvPr>
          <p:cNvCxnSpPr>
            <a:cxnSpLocks/>
          </p:cNvCxnSpPr>
          <p:nvPr/>
        </p:nvCxnSpPr>
        <p:spPr>
          <a:xfrm>
            <a:off x="1178091" y="2541773"/>
            <a:ext cx="1204686"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 xmlns:a16="http://schemas.microsoft.com/office/drawing/2014/main" id="{28AAA571-82A6-4093-8FE6-8A06058838D1}"/>
              </a:ext>
            </a:extLst>
          </p:cNvPr>
          <p:cNvGrpSpPr/>
          <p:nvPr/>
        </p:nvGrpSpPr>
        <p:grpSpPr>
          <a:xfrm>
            <a:off x="401870" y="2418463"/>
            <a:ext cx="692980" cy="577961"/>
            <a:chOff x="401870" y="2418463"/>
            <a:chExt cx="692980" cy="577961"/>
          </a:xfrm>
        </p:grpSpPr>
        <p:sp>
          <p:nvSpPr>
            <p:cNvPr id="44" name="Isosceles Triangle 43">
              <a:extLst>
                <a:ext uri="{FF2B5EF4-FFF2-40B4-BE49-F238E27FC236}">
                  <a16:creationId xmlns="" xmlns:a16="http://schemas.microsoft.com/office/drawing/2014/main" id="{6888C2A8-29CE-4955-9F3C-4F27436CB42B}"/>
                </a:ext>
              </a:extLst>
            </p:cNvPr>
            <p:cNvSpPr/>
            <p:nvPr/>
          </p:nvSpPr>
          <p:spPr>
            <a:xfrm rot="10800000">
              <a:off x="424415" y="2418463"/>
              <a:ext cx="670435" cy="577961"/>
            </a:xfrm>
            <a:prstGeom prst="triangl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5" name="TextBox 44">
              <a:extLst>
                <a:ext uri="{FF2B5EF4-FFF2-40B4-BE49-F238E27FC236}">
                  <a16:creationId xmlns="" xmlns:a16="http://schemas.microsoft.com/office/drawing/2014/main" id="{97FC15F1-605D-4F68-9FC7-CCD89E96463D}"/>
                </a:ext>
              </a:extLst>
            </p:cNvPr>
            <p:cNvSpPr txBox="1"/>
            <p:nvPr/>
          </p:nvSpPr>
          <p:spPr>
            <a:xfrm>
              <a:off x="401870" y="2432352"/>
              <a:ext cx="6929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11</a:t>
              </a:r>
            </a:p>
          </p:txBody>
        </p:sp>
      </p:grpSp>
      <p:sp>
        <p:nvSpPr>
          <p:cNvPr id="55" name="Rectangle 54">
            <a:extLst>
              <a:ext uri="{FF2B5EF4-FFF2-40B4-BE49-F238E27FC236}">
                <a16:creationId xmlns="" xmlns:a16="http://schemas.microsoft.com/office/drawing/2014/main" id="{0835E18D-5486-461A-81E2-AF65460505C0}"/>
              </a:ext>
            </a:extLst>
          </p:cNvPr>
          <p:cNvSpPr/>
          <p:nvPr/>
        </p:nvSpPr>
        <p:spPr>
          <a:xfrm>
            <a:off x="1101791" y="3656380"/>
            <a:ext cx="4718882" cy="772519"/>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Medtronic. "Physician and Healthcare Payer Information | Medtronic." Newsroom | Medtronic | Medtronic to Acquire Covidien for $42.9 billion in Cash and Stock.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N.p</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n.d.</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Web. 22 June 2017.</a:t>
            </a:r>
          </a:p>
        </p:txBody>
      </p:sp>
      <p:cxnSp>
        <p:nvCxnSpPr>
          <p:cNvPr id="56" name="Straight Connector 55">
            <a:extLst>
              <a:ext uri="{FF2B5EF4-FFF2-40B4-BE49-F238E27FC236}">
                <a16:creationId xmlns="" xmlns:a16="http://schemas.microsoft.com/office/drawing/2014/main" id="{FA733877-4B13-4F3C-B670-E5C12CCA847E}"/>
              </a:ext>
            </a:extLst>
          </p:cNvPr>
          <p:cNvCxnSpPr>
            <a:cxnSpLocks/>
          </p:cNvCxnSpPr>
          <p:nvPr/>
        </p:nvCxnSpPr>
        <p:spPr>
          <a:xfrm>
            <a:off x="941231" y="3531908"/>
            <a:ext cx="487944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 xmlns:a16="http://schemas.microsoft.com/office/drawing/2014/main" id="{97F224B0-1478-4883-90A2-8090C2E14439}"/>
              </a:ext>
            </a:extLst>
          </p:cNvPr>
          <p:cNvCxnSpPr>
            <a:cxnSpLocks/>
          </p:cNvCxnSpPr>
          <p:nvPr/>
        </p:nvCxnSpPr>
        <p:spPr>
          <a:xfrm>
            <a:off x="1178091" y="3539852"/>
            <a:ext cx="1204686"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4" name="Group 113">
            <a:extLst>
              <a:ext uri="{FF2B5EF4-FFF2-40B4-BE49-F238E27FC236}">
                <a16:creationId xmlns="" xmlns:a16="http://schemas.microsoft.com/office/drawing/2014/main" id="{412D9D26-1559-446E-BA7E-C63252780528}"/>
              </a:ext>
            </a:extLst>
          </p:cNvPr>
          <p:cNvGrpSpPr/>
          <p:nvPr/>
        </p:nvGrpSpPr>
        <p:grpSpPr>
          <a:xfrm>
            <a:off x="424414" y="3416542"/>
            <a:ext cx="670436" cy="577961"/>
            <a:chOff x="424414" y="3150637"/>
            <a:chExt cx="670436" cy="577961"/>
          </a:xfrm>
        </p:grpSpPr>
        <p:sp>
          <p:nvSpPr>
            <p:cNvPr id="58" name="Isosceles Triangle 57">
              <a:extLst>
                <a:ext uri="{FF2B5EF4-FFF2-40B4-BE49-F238E27FC236}">
                  <a16:creationId xmlns="" xmlns:a16="http://schemas.microsoft.com/office/drawing/2014/main" id="{1E85C91F-3742-4A28-B569-AFA06D4354C5}"/>
                </a:ext>
              </a:extLst>
            </p:cNvPr>
            <p:cNvSpPr/>
            <p:nvPr/>
          </p:nvSpPr>
          <p:spPr>
            <a:xfrm rot="10800000">
              <a:off x="424415" y="3150637"/>
              <a:ext cx="670435" cy="577961"/>
            </a:xfrm>
            <a:prstGeom prst="triangl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TextBox 58">
              <a:extLst>
                <a:ext uri="{FF2B5EF4-FFF2-40B4-BE49-F238E27FC236}">
                  <a16:creationId xmlns="" xmlns:a16="http://schemas.microsoft.com/office/drawing/2014/main" id="{1AAF00BB-426D-449E-9C3B-0A2D0D6CB943}"/>
                </a:ext>
              </a:extLst>
            </p:cNvPr>
            <p:cNvSpPr txBox="1"/>
            <p:nvPr/>
          </p:nvSpPr>
          <p:spPr>
            <a:xfrm>
              <a:off x="424414" y="3176102"/>
              <a:ext cx="67043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12</a:t>
              </a:r>
            </a:p>
          </p:txBody>
        </p:sp>
      </p:grpSp>
      <p:sp>
        <p:nvSpPr>
          <p:cNvPr id="61" name="Rectangle 60">
            <a:extLst>
              <a:ext uri="{FF2B5EF4-FFF2-40B4-BE49-F238E27FC236}">
                <a16:creationId xmlns="" xmlns:a16="http://schemas.microsoft.com/office/drawing/2014/main" id="{1568476D-B67E-449F-8E50-0D8CD4A95AB7}"/>
              </a:ext>
            </a:extLst>
          </p:cNvPr>
          <p:cNvSpPr/>
          <p:nvPr/>
        </p:nvSpPr>
        <p:spPr>
          <a:xfrm>
            <a:off x="1101790" y="4783923"/>
            <a:ext cx="4846552" cy="602473"/>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Cardinal Health to Acquire Leading Patient Product Portfolio from Medtronic for $6.1 Billion." Cardinal Health Inc.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N.p</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18 Apr. 2017. Web. 22 June 2017.</a:t>
            </a:r>
          </a:p>
        </p:txBody>
      </p:sp>
      <p:cxnSp>
        <p:nvCxnSpPr>
          <p:cNvPr id="62" name="Straight Connector 61">
            <a:extLst>
              <a:ext uri="{FF2B5EF4-FFF2-40B4-BE49-F238E27FC236}">
                <a16:creationId xmlns="" xmlns:a16="http://schemas.microsoft.com/office/drawing/2014/main" id="{E3F238AE-27A1-4C49-90A7-174A799F6BCE}"/>
              </a:ext>
            </a:extLst>
          </p:cNvPr>
          <p:cNvCxnSpPr>
            <a:cxnSpLocks/>
          </p:cNvCxnSpPr>
          <p:nvPr/>
        </p:nvCxnSpPr>
        <p:spPr>
          <a:xfrm>
            <a:off x="941231" y="4659451"/>
            <a:ext cx="487944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 xmlns:a16="http://schemas.microsoft.com/office/drawing/2014/main" id="{65B2E449-3337-4AB2-9C13-986295EF8700}"/>
              </a:ext>
            </a:extLst>
          </p:cNvPr>
          <p:cNvCxnSpPr>
            <a:cxnSpLocks/>
          </p:cNvCxnSpPr>
          <p:nvPr/>
        </p:nvCxnSpPr>
        <p:spPr>
          <a:xfrm>
            <a:off x="1178091" y="4667395"/>
            <a:ext cx="1204686"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 xmlns:a16="http://schemas.microsoft.com/office/drawing/2014/main" id="{24870938-3A0F-4430-9A76-E60C9E246F76}"/>
              </a:ext>
            </a:extLst>
          </p:cNvPr>
          <p:cNvGrpSpPr/>
          <p:nvPr/>
        </p:nvGrpSpPr>
        <p:grpSpPr>
          <a:xfrm>
            <a:off x="417474" y="4544085"/>
            <a:ext cx="677376" cy="577961"/>
            <a:chOff x="417474" y="4369529"/>
            <a:chExt cx="677376" cy="577961"/>
          </a:xfrm>
        </p:grpSpPr>
        <p:sp>
          <p:nvSpPr>
            <p:cNvPr id="64" name="Isosceles Triangle 63">
              <a:extLst>
                <a:ext uri="{FF2B5EF4-FFF2-40B4-BE49-F238E27FC236}">
                  <a16:creationId xmlns="" xmlns:a16="http://schemas.microsoft.com/office/drawing/2014/main" id="{CD29CB59-9E2C-44BE-B31D-BA2D8DA42EAE}"/>
                </a:ext>
              </a:extLst>
            </p:cNvPr>
            <p:cNvSpPr/>
            <p:nvPr/>
          </p:nvSpPr>
          <p:spPr>
            <a:xfrm rot="10800000">
              <a:off x="424415" y="4369529"/>
              <a:ext cx="670435" cy="577961"/>
            </a:xfrm>
            <a:prstGeom prst="triangl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TextBox 64">
              <a:extLst>
                <a:ext uri="{FF2B5EF4-FFF2-40B4-BE49-F238E27FC236}">
                  <a16:creationId xmlns="" xmlns:a16="http://schemas.microsoft.com/office/drawing/2014/main" id="{CA0FDCEA-FBE8-427F-AEF2-A30CD8941271}"/>
                </a:ext>
              </a:extLst>
            </p:cNvPr>
            <p:cNvSpPr txBox="1"/>
            <p:nvPr/>
          </p:nvSpPr>
          <p:spPr>
            <a:xfrm>
              <a:off x="417474" y="4394841"/>
              <a:ext cx="67737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13</a:t>
              </a:r>
            </a:p>
          </p:txBody>
        </p:sp>
      </p:grpSp>
      <p:sp>
        <p:nvSpPr>
          <p:cNvPr id="67" name="Rectangle 66">
            <a:extLst>
              <a:ext uri="{FF2B5EF4-FFF2-40B4-BE49-F238E27FC236}">
                <a16:creationId xmlns="" xmlns:a16="http://schemas.microsoft.com/office/drawing/2014/main" id="{2C2538E6-532B-495E-97D8-35301989F594}"/>
              </a:ext>
            </a:extLst>
          </p:cNvPr>
          <p:cNvSpPr/>
          <p:nvPr/>
        </p:nvSpPr>
        <p:spPr>
          <a:xfrm>
            <a:off x="1101790" y="5756965"/>
            <a:ext cx="4416134" cy="602473"/>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Hadaway</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L. Technology of Flushing Vascular Access Devices. Journal of Infusion Nursing. 2006;29(3):139-140</a:t>
            </a:r>
          </a:p>
        </p:txBody>
      </p:sp>
      <p:cxnSp>
        <p:nvCxnSpPr>
          <p:cNvPr id="68" name="Straight Connector 67">
            <a:extLst>
              <a:ext uri="{FF2B5EF4-FFF2-40B4-BE49-F238E27FC236}">
                <a16:creationId xmlns="" xmlns:a16="http://schemas.microsoft.com/office/drawing/2014/main" id="{B30F95A4-70BA-4923-829C-1A8FC3CAFD6A}"/>
              </a:ext>
            </a:extLst>
          </p:cNvPr>
          <p:cNvCxnSpPr>
            <a:cxnSpLocks/>
          </p:cNvCxnSpPr>
          <p:nvPr/>
        </p:nvCxnSpPr>
        <p:spPr>
          <a:xfrm>
            <a:off x="941231" y="5632493"/>
            <a:ext cx="487944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 xmlns:a16="http://schemas.microsoft.com/office/drawing/2014/main" id="{A9693DDE-6327-468A-9C7E-EBD2BFD5D206}"/>
              </a:ext>
            </a:extLst>
          </p:cNvPr>
          <p:cNvCxnSpPr>
            <a:cxnSpLocks/>
          </p:cNvCxnSpPr>
          <p:nvPr/>
        </p:nvCxnSpPr>
        <p:spPr>
          <a:xfrm>
            <a:off x="1178091" y="5640437"/>
            <a:ext cx="1204686"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6" name="Group 115">
            <a:extLst>
              <a:ext uri="{FF2B5EF4-FFF2-40B4-BE49-F238E27FC236}">
                <a16:creationId xmlns="" xmlns:a16="http://schemas.microsoft.com/office/drawing/2014/main" id="{C92B0E0B-CDD4-4F8F-8A87-92D484589D28}"/>
              </a:ext>
            </a:extLst>
          </p:cNvPr>
          <p:cNvGrpSpPr/>
          <p:nvPr/>
        </p:nvGrpSpPr>
        <p:grpSpPr>
          <a:xfrm>
            <a:off x="424414" y="5517127"/>
            <a:ext cx="670436" cy="577961"/>
            <a:chOff x="424414" y="5222165"/>
            <a:chExt cx="670436" cy="577961"/>
          </a:xfrm>
        </p:grpSpPr>
        <p:sp>
          <p:nvSpPr>
            <p:cNvPr id="70" name="Isosceles Triangle 69">
              <a:extLst>
                <a:ext uri="{FF2B5EF4-FFF2-40B4-BE49-F238E27FC236}">
                  <a16:creationId xmlns="" xmlns:a16="http://schemas.microsoft.com/office/drawing/2014/main" id="{BEE56391-E476-4BAC-812F-57E1B06DD1F2}"/>
                </a:ext>
              </a:extLst>
            </p:cNvPr>
            <p:cNvSpPr/>
            <p:nvPr/>
          </p:nvSpPr>
          <p:spPr>
            <a:xfrm rot="10800000">
              <a:off x="424415" y="5222165"/>
              <a:ext cx="670435" cy="577961"/>
            </a:xfrm>
            <a:prstGeom prst="triangl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TextBox 70">
              <a:extLst>
                <a:ext uri="{FF2B5EF4-FFF2-40B4-BE49-F238E27FC236}">
                  <a16:creationId xmlns="" xmlns:a16="http://schemas.microsoft.com/office/drawing/2014/main" id="{E133BACB-D03E-403E-85BD-2AE7F9C47BA7}"/>
                </a:ext>
              </a:extLst>
            </p:cNvPr>
            <p:cNvSpPr txBox="1"/>
            <p:nvPr/>
          </p:nvSpPr>
          <p:spPr>
            <a:xfrm>
              <a:off x="424414" y="5247477"/>
              <a:ext cx="67043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14</a:t>
              </a:r>
            </a:p>
          </p:txBody>
        </p:sp>
      </p:grpSp>
      <p:sp>
        <p:nvSpPr>
          <p:cNvPr id="74" name="Rectangle 73">
            <a:extLst>
              <a:ext uri="{FF2B5EF4-FFF2-40B4-BE49-F238E27FC236}">
                <a16:creationId xmlns="" xmlns:a16="http://schemas.microsoft.com/office/drawing/2014/main" id="{0ED3E177-C7B2-43DC-96D8-322ED421B726}"/>
              </a:ext>
            </a:extLst>
          </p:cNvPr>
          <p:cNvSpPr/>
          <p:nvPr/>
        </p:nvSpPr>
        <p:spPr>
          <a:xfrm>
            <a:off x="6931012" y="1622536"/>
            <a:ext cx="3965588" cy="942566"/>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The Joint Commission. 2008 National Patient Safety Goal Hospital Program. Available at www.jointcommission.org/patientsafety/nationalpatientsafetygoals.htm. Accessed June 22, 2017</a:t>
            </a:r>
          </a:p>
        </p:txBody>
      </p:sp>
      <p:cxnSp>
        <p:nvCxnSpPr>
          <p:cNvPr id="75" name="Straight Connector 74">
            <a:extLst>
              <a:ext uri="{FF2B5EF4-FFF2-40B4-BE49-F238E27FC236}">
                <a16:creationId xmlns="" xmlns:a16="http://schemas.microsoft.com/office/drawing/2014/main" id="{433D7048-3D6C-4DF5-986B-6DF2C7A20814}"/>
              </a:ext>
            </a:extLst>
          </p:cNvPr>
          <p:cNvCxnSpPr>
            <a:cxnSpLocks/>
          </p:cNvCxnSpPr>
          <p:nvPr/>
        </p:nvCxnSpPr>
        <p:spPr>
          <a:xfrm>
            <a:off x="6770452" y="1498064"/>
            <a:ext cx="487944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 xmlns:a16="http://schemas.microsoft.com/office/drawing/2014/main" id="{1E886B3D-EB8C-424A-A424-3C699FD6864F}"/>
              </a:ext>
            </a:extLst>
          </p:cNvPr>
          <p:cNvCxnSpPr>
            <a:cxnSpLocks/>
          </p:cNvCxnSpPr>
          <p:nvPr/>
        </p:nvCxnSpPr>
        <p:spPr>
          <a:xfrm>
            <a:off x="7007312" y="1506008"/>
            <a:ext cx="1204686"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 xmlns:a16="http://schemas.microsoft.com/office/drawing/2014/main" id="{DF2FAC5B-36F7-4BC3-8A4A-24DF47A0F23D}"/>
              </a:ext>
            </a:extLst>
          </p:cNvPr>
          <p:cNvGrpSpPr/>
          <p:nvPr/>
        </p:nvGrpSpPr>
        <p:grpSpPr>
          <a:xfrm>
            <a:off x="6246695" y="1382698"/>
            <a:ext cx="677376" cy="577961"/>
            <a:chOff x="6246695" y="1382698"/>
            <a:chExt cx="677376" cy="577961"/>
          </a:xfrm>
        </p:grpSpPr>
        <p:sp>
          <p:nvSpPr>
            <p:cNvPr id="77" name="Isosceles Triangle 76">
              <a:extLst>
                <a:ext uri="{FF2B5EF4-FFF2-40B4-BE49-F238E27FC236}">
                  <a16:creationId xmlns="" xmlns:a16="http://schemas.microsoft.com/office/drawing/2014/main" id="{16186E18-9C37-497B-956D-97E09AF2AA3E}"/>
                </a:ext>
              </a:extLst>
            </p:cNvPr>
            <p:cNvSpPr/>
            <p:nvPr/>
          </p:nvSpPr>
          <p:spPr>
            <a:xfrm rot="10800000">
              <a:off x="6253636" y="1382698"/>
              <a:ext cx="670435" cy="577961"/>
            </a:xfrm>
            <a:prstGeom prst="triangl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8" name="TextBox 77">
              <a:extLst>
                <a:ext uri="{FF2B5EF4-FFF2-40B4-BE49-F238E27FC236}">
                  <a16:creationId xmlns="" xmlns:a16="http://schemas.microsoft.com/office/drawing/2014/main" id="{742EFCD8-20B7-4823-AE4B-68A6A81DA74E}"/>
                </a:ext>
              </a:extLst>
            </p:cNvPr>
            <p:cNvSpPr txBox="1"/>
            <p:nvPr/>
          </p:nvSpPr>
          <p:spPr>
            <a:xfrm>
              <a:off x="6246695" y="1395476"/>
              <a:ext cx="67737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15</a:t>
              </a:r>
            </a:p>
          </p:txBody>
        </p:sp>
      </p:grpSp>
      <p:sp>
        <p:nvSpPr>
          <p:cNvPr id="80" name="Rectangle 79">
            <a:extLst>
              <a:ext uri="{FF2B5EF4-FFF2-40B4-BE49-F238E27FC236}">
                <a16:creationId xmlns="" xmlns:a16="http://schemas.microsoft.com/office/drawing/2014/main" id="{ABD82172-8E5C-4820-8BEA-95A7FA7E0D97}"/>
              </a:ext>
            </a:extLst>
          </p:cNvPr>
          <p:cNvSpPr/>
          <p:nvPr/>
        </p:nvSpPr>
        <p:spPr>
          <a:xfrm>
            <a:off x="6931011" y="2772444"/>
            <a:ext cx="4481408" cy="942566"/>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Bertoglio</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S, </a:t>
            </a:r>
            <a:r>
              <a:rPr kumimoji="0" lang="en-US" sz="13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Rezzo</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R, Merlo FD, et al. Pre-filled normal saline syringes to reduce totally implantable venous access device-associated bloodstream infection: a single institution pilot study. J Hosp Infect. 2013;84(1):85-88.</a:t>
            </a:r>
          </a:p>
        </p:txBody>
      </p:sp>
      <p:cxnSp>
        <p:nvCxnSpPr>
          <p:cNvPr id="81" name="Straight Connector 80">
            <a:extLst>
              <a:ext uri="{FF2B5EF4-FFF2-40B4-BE49-F238E27FC236}">
                <a16:creationId xmlns="" xmlns:a16="http://schemas.microsoft.com/office/drawing/2014/main" id="{C2742BA1-00FF-4A8C-88E3-0C548265B922}"/>
              </a:ext>
            </a:extLst>
          </p:cNvPr>
          <p:cNvCxnSpPr>
            <a:cxnSpLocks/>
          </p:cNvCxnSpPr>
          <p:nvPr/>
        </p:nvCxnSpPr>
        <p:spPr>
          <a:xfrm>
            <a:off x="6770452" y="2647972"/>
            <a:ext cx="487944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 xmlns:a16="http://schemas.microsoft.com/office/drawing/2014/main" id="{22716736-452F-4243-97FF-61F37929DB58}"/>
              </a:ext>
            </a:extLst>
          </p:cNvPr>
          <p:cNvCxnSpPr>
            <a:cxnSpLocks/>
          </p:cNvCxnSpPr>
          <p:nvPr/>
        </p:nvCxnSpPr>
        <p:spPr>
          <a:xfrm>
            <a:off x="7007312" y="2655916"/>
            <a:ext cx="1204686"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8" name="Group 117">
            <a:extLst>
              <a:ext uri="{FF2B5EF4-FFF2-40B4-BE49-F238E27FC236}">
                <a16:creationId xmlns="" xmlns:a16="http://schemas.microsoft.com/office/drawing/2014/main" id="{362C9685-673B-4EA4-88FB-25272B50C94B}"/>
              </a:ext>
            </a:extLst>
          </p:cNvPr>
          <p:cNvGrpSpPr/>
          <p:nvPr/>
        </p:nvGrpSpPr>
        <p:grpSpPr>
          <a:xfrm>
            <a:off x="6246695" y="2532606"/>
            <a:ext cx="684316" cy="577961"/>
            <a:chOff x="6246695" y="2885832"/>
            <a:chExt cx="684316" cy="577961"/>
          </a:xfrm>
        </p:grpSpPr>
        <p:sp>
          <p:nvSpPr>
            <p:cNvPr id="83" name="Isosceles Triangle 82">
              <a:extLst>
                <a:ext uri="{FF2B5EF4-FFF2-40B4-BE49-F238E27FC236}">
                  <a16:creationId xmlns="" xmlns:a16="http://schemas.microsoft.com/office/drawing/2014/main" id="{BF4A9D80-EBCA-4BA1-B260-08E932888948}"/>
                </a:ext>
              </a:extLst>
            </p:cNvPr>
            <p:cNvSpPr/>
            <p:nvPr/>
          </p:nvSpPr>
          <p:spPr>
            <a:xfrm rot="10800000">
              <a:off x="6253636" y="2885832"/>
              <a:ext cx="670435" cy="577961"/>
            </a:xfrm>
            <a:prstGeom prst="triangl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4" name="TextBox 83">
              <a:extLst>
                <a:ext uri="{FF2B5EF4-FFF2-40B4-BE49-F238E27FC236}">
                  <a16:creationId xmlns="" xmlns:a16="http://schemas.microsoft.com/office/drawing/2014/main" id="{46D002A2-9FD3-4B4B-9BA0-2AB708B83446}"/>
                </a:ext>
              </a:extLst>
            </p:cNvPr>
            <p:cNvSpPr txBox="1"/>
            <p:nvPr/>
          </p:nvSpPr>
          <p:spPr>
            <a:xfrm>
              <a:off x="6246695" y="2913473"/>
              <a:ext cx="68431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16</a:t>
              </a:r>
            </a:p>
          </p:txBody>
        </p:sp>
      </p:grpSp>
      <p:sp>
        <p:nvSpPr>
          <p:cNvPr id="86" name="Rectangle 85">
            <a:extLst>
              <a:ext uri="{FF2B5EF4-FFF2-40B4-BE49-F238E27FC236}">
                <a16:creationId xmlns="" xmlns:a16="http://schemas.microsoft.com/office/drawing/2014/main" id="{1FA0729F-385C-4776-9A08-4D6FAB293F77}"/>
              </a:ext>
            </a:extLst>
          </p:cNvPr>
          <p:cNvSpPr/>
          <p:nvPr/>
        </p:nvSpPr>
        <p:spPr>
          <a:xfrm>
            <a:off x="6931012" y="4143946"/>
            <a:ext cx="4481408" cy="772519"/>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Keogh S. A Time and Motion Study of Peripheral Venous Catheter Flushing Practice Using Manually Prepared and Prefilled Flush Syringes. J InfusNurs.2014;37(2):96-101.</a:t>
            </a:r>
          </a:p>
        </p:txBody>
      </p:sp>
      <p:cxnSp>
        <p:nvCxnSpPr>
          <p:cNvPr id="87" name="Straight Connector 86">
            <a:extLst>
              <a:ext uri="{FF2B5EF4-FFF2-40B4-BE49-F238E27FC236}">
                <a16:creationId xmlns="" xmlns:a16="http://schemas.microsoft.com/office/drawing/2014/main" id="{3EB31D62-9F70-41CA-BE57-697E11A0D430}"/>
              </a:ext>
            </a:extLst>
          </p:cNvPr>
          <p:cNvCxnSpPr>
            <a:cxnSpLocks/>
          </p:cNvCxnSpPr>
          <p:nvPr/>
        </p:nvCxnSpPr>
        <p:spPr>
          <a:xfrm>
            <a:off x="6770452" y="4019474"/>
            <a:ext cx="487944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 xmlns:a16="http://schemas.microsoft.com/office/drawing/2014/main" id="{A28F3BD8-7B93-436C-9819-31D6776AA782}"/>
              </a:ext>
            </a:extLst>
          </p:cNvPr>
          <p:cNvCxnSpPr>
            <a:cxnSpLocks/>
          </p:cNvCxnSpPr>
          <p:nvPr/>
        </p:nvCxnSpPr>
        <p:spPr>
          <a:xfrm>
            <a:off x="7007312" y="4027418"/>
            <a:ext cx="1204686"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 xmlns:a16="http://schemas.microsoft.com/office/drawing/2014/main" id="{B4DEF7F7-4DAC-4BE7-A935-BC90AE7081B7}"/>
              </a:ext>
            </a:extLst>
          </p:cNvPr>
          <p:cNvGrpSpPr/>
          <p:nvPr/>
        </p:nvGrpSpPr>
        <p:grpSpPr>
          <a:xfrm>
            <a:off x="6253635" y="3904108"/>
            <a:ext cx="670436" cy="577961"/>
            <a:chOff x="6253635" y="3904108"/>
            <a:chExt cx="670436" cy="577961"/>
          </a:xfrm>
        </p:grpSpPr>
        <p:sp>
          <p:nvSpPr>
            <p:cNvPr id="89" name="Isosceles Triangle 88">
              <a:extLst>
                <a:ext uri="{FF2B5EF4-FFF2-40B4-BE49-F238E27FC236}">
                  <a16:creationId xmlns="" xmlns:a16="http://schemas.microsoft.com/office/drawing/2014/main" id="{E7A051C4-7DD1-4D2F-B6FB-E850913E6E2F}"/>
                </a:ext>
              </a:extLst>
            </p:cNvPr>
            <p:cNvSpPr/>
            <p:nvPr/>
          </p:nvSpPr>
          <p:spPr>
            <a:xfrm rot="10800000">
              <a:off x="6253636" y="3904108"/>
              <a:ext cx="670435" cy="577961"/>
            </a:xfrm>
            <a:prstGeom prst="triangl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0" name="TextBox 89">
              <a:extLst>
                <a:ext uri="{FF2B5EF4-FFF2-40B4-BE49-F238E27FC236}">
                  <a16:creationId xmlns="" xmlns:a16="http://schemas.microsoft.com/office/drawing/2014/main" id="{23AAADBD-3CE3-4667-9950-B5E2C371B2C1}"/>
                </a:ext>
              </a:extLst>
            </p:cNvPr>
            <p:cNvSpPr txBox="1"/>
            <p:nvPr/>
          </p:nvSpPr>
          <p:spPr>
            <a:xfrm>
              <a:off x="6253635" y="3927841"/>
              <a:ext cx="67043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17</a:t>
              </a:r>
            </a:p>
          </p:txBody>
        </p:sp>
      </p:grpSp>
      <p:sp>
        <p:nvSpPr>
          <p:cNvPr id="92" name="Rectangle 91">
            <a:extLst>
              <a:ext uri="{FF2B5EF4-FFF2-40B4-BE49-F238E27FC236}">
                <a16:creationId xmlns="" xmlns:a16="http://schemas.microsoft.com/office/drawing/2014/main" id="{39E7143B-17B5-467E-A46A-8A52218129AB}"/>
              </a:ext>
            </a:extLst>
          </p:cNvPr>
          <p:cNvSpPr/>
          <p:nvPr/>
        </p:nvSpPr>
        <p:spPr>
          <a:xfrm>
            <a:off x="6931010" y="5239930"/>
            <a:ext cx="4879990" cy="1452705"/>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Rosenthal V, et al. Clinical impact and cost-effectiveness of split-septum and single-use prefilled flushing device vs 3-way stopcock on central line-associated bloodstream infection rates in India: a randomized clinical trial conducted by the International Nosocomial Infection Control Consortium (INICC). Am J Infect Control. 2015 Jul 8.</a:t>
            </a:r>
          </a:p>
          <a:p>
            <a:pPr marL="0" marR="0" lvl="0" indent="0" algn="l" defTabSz="914400" rtl="0" eaLnBrk="1" fontAlgn="auto" latinLnBrk="0" hangingPunct="1">
              <a:lnSpc>
                <a:spcPct val="85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93" name="Straight Connector 92">
            <a:extLst>
              <a:ext uri="{FF2B5EF4-FFF2-40B4-BE49-F238E27FC236}">
                <a16:creationId xmlns="" xmlns:a16="http://schemas.microsoft.com/office/drawing/2014/main" id="{B01DA6AF-C0AE-403B-94B6-A89F327A43BF}"/>
              </a:ext>
            </a:extLst>
          </p:cNvPr>
          <p:cNvCxnSpPr>
            <a:cxnSpLocks/>
          </p:cNvCxnSpPr>
          <p:nvPr/>
        </p:nvCxnSpPr>
        <p:spPr>
          <a:xfrm>
            <a:off x="6770452" y="5115458"/>
            <a:ext cx="487944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 xmlns:a16="http://schemas.microsoft.com/office/drawing/2014/main" id="{F91FDC18-EE24-41A6-848E-FDA5D453646A}"/>
              </a:ext>
            </a:extLst>
          </p:cNvPr>
          <p:cNvCxnSpPr>
            <a:cxnSpLocks/>
          </p:cNvCxnSpPr>
          <p:nvPr/>
        </p:nvCxnSpPr>
        <p:spPr>
          <a:xfrm>
            <a:off x="7007312" y="5123402"/>
            <a:ext cx="1204686"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0" name="Group 119">
            <a:extLst>
              <a:ext uri="{FF2B5EF4-FFF2-40B4-BE49-F238E27FC236}">
                <a16:creationId xmlns="" xmlns:a16="http://schemas.microsoft.com/office/drawing/2014/main" id="{5CE0D244-9F57-459A-9053-AA305BF9C9D1}"/>
              </a:ext>
            </a:extLst>
          </p:cNvPr>
          <p:cNvGrpSpPr/>
          <p:nvPr/>
        </p:nvGrpSpPr>
        <p:grpSpPr>
          <a:xfrm>
            <a:off x="6253635" y="5000092"/>
            <a:ext cx="670436" cy="577961"/>
            <a:chOff x="6253635" y="4752322"/>
            <a:chExt cx="670436" cy="577961"/>
          </a:xfrm>
        </p:grpSpPr>
        <p:sp>
          <p:nvSpPr>
            <p:cNvPr id="95" name="Isosceles Triangle 94">
              <a:extLst>
                <a:ext uri="{FF2B5EF4-FFF2-40B4-BE49-F238E27FC236}">
                  <a16:creationId xmlns="" xmlns:a16="http://schemas.microsoft.com/office/drawing/2014/main" id="{8C526A38-0D39-4BE7-BE9B-6C496F419AB1}"/>
                </a:ext>
              </a:extLst>
            </p:cNvPr>
            <p:cNvSpPr/>
            <p:nvPr/>
          </p:nvSpPr>
          <p:spPr>
            <a:xfrm rot="10800000">
              <a:off x="6253636" y="4752322"/>
              <a:ext cx="670435" cy="577961"/>
            </a:xfrm>
            <a:prstGeom prst="triangl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6" name="TextBox 95">
              <a:extLst>
                <a:ext uri="{FF2B5EF4-FFF2-40B4-BE49-F238E27FC236}">
                  <a16:creationId xmlns="" xmlns:a16="http://schemas.microsoft.com/office/drawing/2014/main" id="{EC8ED3AE-AC8B-4855-BA38-95B981F1865B}"/>
                </a:ext>
              </a:extLst>
            </p:cNvPr>
            <p:cNvSpPr txBox="1"/>
            <p:nvPr/>
          </p:nvSpPr>
          <p:spPr>
            <a:xfrm>
              <a:off x="6253635" y="4777634"/>
              <a:ext cx="67043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18</a:t>
              </a:r>
            </a:p>
          </p:txBody>
        </p:sp>
      </p:grpSp>
      <p:pic>
        <p:nvPicPr>
          <p:cNvPr id="60" name="Picture 59"/>
          <p:cNvPicPr>
            <a:picLocks noChangeAspect="1"/>
          </p:cNvPicPr>
          <p:nvPr/>
        </p:nvPicPr>
        <p:blipFill>
          <a:blip r:embed="rId4"/>
          <a:stretch>
            <a:fillRect/>
          </a:stretch>
        </p:blipFill>
        <p:spPr>
          <a:xfrm>
            <a:off x="76200" y="6629400"/>
            <a:ext cx="4619050" cy="195171"/>
          </a:xfrm>
          <a:prstGeom prst="rect">
            <a:avLst/>
          </a:prstGeom>
        </p:spPr>
      </p:pic>
    </p:spTree>
    <p:extLst>
      <p:ext uri="{BB962C8B-B14F-4D97-AF65-F5344CB8AC3E}">
        <p14:creationId xmlns:p14="http://schemas.microsoft.com/office/powerpoint/2010/main" val="1332207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112"/>
                                        </p:tgtEl>
                                        <p:attrNameLst>
                                          <p:attrName>style.visibility</p:attrName>
                                        </p:attrNameLst>
                                      </p:cBhvr>
                                      <p:to>
                                        <p:strVal val="visible"/>
                                      </p:to>
                                    </p:set>
                                    <p:animEffect transition="in" filter="fade">
                                      <p:cBhvr>
                                        <p:cTn id="7" dur="500"/>
                                        <p:tgtEl>
                                          <p:spTgt spid="112"/>
                                        </p:tgtEl>
                                      </p:cBhvr>
                                    </p:animEffect>
                                  </p:childTnLst>
                                </p:cTn>
                              </p:par>
                              <p:par>
                                <p:cTn id="8" presetID="42" presetClass="path" presetSubtype="0" decel="100000" fill="hold" nodeType="withEffect">
                                  <p:stCondLst>
                                    <p:cond delay="250"/>
                                  </p:stCondLst>
                                  <p:childTnLst>
                                    <p:animMotion origin="layout" path="M 4.16667E-7 -0.08356 L 4.16667E-7 0 " pathEditMode="relative" rAng="0" ptsTypes="AA">
                                      <p:cBhvr>
                                        <p:cTn id="9" dur="500" fill="hold"/>
                                        <p:tgtEl>
                                          <p:spTgt spid="112"/>
                                        </p:tgtEl>
                                        <p:attrNameLst>
                                          <p:attrName>ppt_x</p:attrName>
                                          <p:attrName>ppt_y</p:attrName>
                                        </p:attrNameLst>
                                      </p:cBhvr>
                                      <p:rCtr x="0" y="4167"/>
                                    </p:animMotion>
                                  </p:childTnLst>
                                </p:cTn>
                              </p:par>
                              <p:par>
                                <p:cTn id="10" presetID="22" presetClass="entr" presetSubtype="8" fill="hold" nodeType="withEffect">
                                  <p:stCondLst>
                                    <p:cond delay="650"/>
                                  </p:stCondLst>
                                  <p:childTnLst>
                                    <p:set>
                                      <p:cBhvr>
                                        <p:cTn id="11" dur="1" fill="hold">
                                          <p:stCondLst>
                                            <p:cond delay="0"/>
                                          </p:stCondLst>
                                        </p:cTn>
                                        <p:tgtEl>
                                          <p:spTgt spid="37"/>
                                        </p:tgtEl>
                                        <p:attrNameLst>
                                          <p:attrName>style.visibility</p:attrName>
                                        </p:attrNameLst>
                                      </p:cBhvr>
                                      <p:to>
                                        <p:strVal val="visible"/>
                                      </p:to>
                                    </p:set>
                                    <p:animEffect transition="in" filter="wipe(left)">
                                      <p:cBhvr>
                                        <p:cTn id="12" dur="500"/>
                                        <p:tgtEl>
                                          <p:spTgt spid="37"/>
                                        </p:tgtEl>
                                      </p:cBhvr>
                                    </p:animEffect>
                                  </p:childTnLst>
                                </p:cTn>
                              </p:par>
                              <p:par>
                                <p:cTn id="13" presetID="10" presetClass="entr" presetSubtype="0" fill="hold" nodeType="withEffect">
                                  <p:stCondLst>
                                    <p:cond delay="750"/>
                                  </p:stCondLst>
                                  <p:childTnLst>
                                    <p:set>
                                      <p:cBhvr>
                                        <p:cTn id="14" dur="1" fill="hold">
                                          <p:stCondLst>
                                            <p:cond delay="0"/>
                                          </p:stCondLst>
                                        </p:cTn>
                                        <p:tgtEl>
                                          <p:spTgt spid="38"/>
                                        </p:tgtEl>
                                        <p:attrNameLst>
                                          <p:attrName>style.visibility</p:attrName>
                                        </p:attrNameLst>
                                      </p:cBhvr>
                                      <p:to>
                                        <p:strVal val="visible"/>
                                      </p:to>
                                    </p:set>
                                    <p:animEffect transition="in" filter="fade">
                                      <p:cBhvr>
                                        <p:cTn id="15" dur="500"/>
                                        <p:tgtEl>
                                          <p:spTgt spid="38"/>
                                        </p:tgtEl>
                                      </p:cBhvr>
                                    </p:animEffect>
                                  </p:childTnLst>
                                </p:cTn>
                              </p:par>
                              <p:par>
                                <p:cTn id="16" presetID="35" presetClass="path" presetSubtype="0" decel="100000" fill="hold" nodeType="withEffect">
                                  <p:stCondLst>
                                    <p:cond delay="750"/>
                                  </p:stCondLst>
                                  <p:childTnLst>
                                    <p:animMotion origin="layout" path="M 0.31654 4.07407E-6 L 2.08167E-17 4.07407E-6 " pathEditMode="relative" rAng="0" ptsTypes="AA">
                                      <p:cBhvr>
                                        <p:cTn id="17" dur="500" fill="hold"/>
                                        <p:tgtEl>
                                          <p:spTgt spid="38"/>
                                        </p:tgtEl>
                                        <p:attrNameLst>
                                          <p:attrName>ppt_x</p:attrName>
                                          <p:attrName>ppt_y</p:attrName>
                                        </p:attrNameLst>
                                      </p:cBhvr>
                                      <p:rCtr x="-15625" y="0"/>
                                    </p:animMotion>
                                  </p:childTnLst>
                                </p:cTn>
                              </p:par>
                              <p:par>
                                <p:cTn id="18" presetID="10" presetClass="entr" presetSubtype="0" fill="hold" grpId="0" nodeType="withEffect">
                                  <p:stCondLst>
                                    <p:cond delay="1000"/>
                                  </p:stCondLst>
                                  <p:childTnLst>
                                    <p:set>
                                      <p:cBhvr>
                                        <p:cTn id="19" dur="1" fill="hold">
                                          <p:stCondLst>
                                            <p:cond delay="0"/>
                                          </p:stCondLst>
                                        </p:cTn>
                                        <p:tgtEl>
                                          <p:spTgt spid="28"/>
                                        </p:tgtEl>
                                        <p:attrNameLst>
                                          <p:attrName>style.visibility</p:attrName>
                                        </p:attrNameLst>
                                      </p:cBhvr>
                                      <p:to>
                                        <p:strVal val="visible"/>
                                      </p:to>
                                    </p:set>
                                    <p:animEffect transition="in" filter="fade">
                                      <p:cBhvr>
                                        <p:cTn id="20" dur="500"/>
                                        <p:tgtEl>
                                          <p:spTgt spid="28"/>
                                        </p:tgtEl>
                                      </p:cBhvr>
                                    </p:animEffect>
                                  </p:childTnLst>
                                </p:cTn>
                              </p:par>
                              <p:par>
                                <p:cTn id="21" presetID="10" presetClass="entr" presetSubtype="0" fill="hold" nodeType="withEffect">
                                  <p:stCondLst>
                                    <p:cond delay="1000"/>
                                  </p:stCondLst>
                                  <p:childTnLst>
                                    <p:set>
                                      <p:cBhvr>
                                        <p:cTn id="22" dur="1" fill="hold">
                                          <p:stCondLst>
                                            <p:cond delay="0"/>
                                          </p:stCondLst>
                                        </p:cTn>
                                        <p:tgtEl>
                                          <p:spTgt spid="113"/>
                                        </p:tgtEl>
                                        <p:attrNameLst>
                                          <p:attrName>style.visibility</p:attrName>
                                        </p:attrNameLst>
                                      </p:cBhvr>
                                      <p:to>
                                        <p:strVal val="visible"/>
                                      </p:to>
                                    </p:set>
                                    <p:animEffect transition="in" filter="fade">
                                      <p:cBhvr>
                                        <p:cTn id="23" dur="500"/>
                                        <p:tgtEl>
                                          <p:spTgt spid="113"/>
                                        </p:tgtEl>
                                      </p:cBhvr>
                                    </p:animEffect>
                                  </p:childTnLst>
                                </p:cTn>
                              </p:par>
                              <p:par>
                                <p:cTn id="24" presetID="42" presetClass="path" presetSubtype="0" decel="100000" fill="hold" nodeType="withEffect">
                                  <p:stCondLst>
                                    <p:cond delay="1000"/>
                                  </p:stCondLst>
                                  <p:childTnLst>
                                    <p:animMotion origin="layout" path="M 1.875E-6 -0.08357 L 1.875E-6 4.07407E-6 " pathEditMode="relative" rAng="0" ptsTypes="AA">
                                      <p:cBhvr>
                                        <p:cTn id="25" dur="500" fill="hold"/>
                                        <p:tgtEl>
                                          <p:spTgt spid="113"/>
                                        </p:tgtEl>
                                        <p:attrNameLst>
                                          <p:attrName>ppt_x</p:attrName>
                                          <p:attrName>ppt_y</p:attrName>
                                        </p:attrNameLst>
                                      </p:cBhvr>
                                      <p:rCtr x="0" y="4167"/>
                                    </p:animMotion>
                                  </p:childTnLst>
                                </p:cTn>
                              </p:par>
                              <p:par>
                                <p:cTn id="26" presetID="22" presetClass="entr" presetSubtype="8" fill="hold" nodeType="withEffect">
                                  <p:stCondLst>
                                    <p:cond delay="1350"/>
                                  </p:stCondLst>
                                  <p:childTnLst>
                                    <p:set>
                                      <p:cBhvr>
                                        <p:cTn id="27" dur="1" fill="hold">
                                          <p:stCondLst>
                                            <p:cond delay="0"/>
                                          </p:stCondLst>
                                        </p:cTn>
                                        <p:tgtEl>
                                          <p:spTgt spid="42"/>
                                        </p:tgtEl>
                                        <p:attrNameLst>
                                          <p:attrName>style.visibility</p:attrName>
                                        </p:attrNameLst>
                                      </p:cBhvr>
                                      <p:to>
                                        <p:strVal val="visible"/>
                                      </p:to>
                                    </p:set>
                                    <p:animEffect transition="in" filter="wipe(left)">
                                      <p:cBhvr>
                                        <p:cTn id="28" dur="500"/>
                                        <p:tgtEl>
                                          <p:spTgt spid="42"/>
                                        </p:tgtEl>
                                      </p:cBhvr>
                                    </p:animEffect>
                                  </p:childTnLst>
                                </p:cTn>
                              </p:par>
                              <p:par>
                                <p:cTn id="29" presetID="10" presetClass="entr" presetSubtype="0" fill="hold" nodeType="withEffect">
                                  <p:stCondLst>
                                    <p:cond delay="1500"/>
                                  </p:stCondLst>
                                  <p:childTnLst>
                                    <p:set>
                                      <p:cBhvr>
                                        <p:cTn id="30" dur="1" fill="hold">
                                          <p:stCondLst>
                                            <p:cond delay="0"/>
                                          </p:stCondLst>
                                        </p:cTn>
                                        <p:tgtEl>
                                          <p:spTgt spid="43"/>
                                        </p:tgtEl>
                                        <p:attrNameLst>
                                          <p:attrName>style.visibility</p:attrName>
                                        </p:attrNameLst>
                                      </p:cBhvr>
                                      <p:to>
                                        <p:strVal val="visible"/>
                                      </p:to>
                                    </p:set>
                                    <p:animEffect transition="in" filter="fade">
                                      <p:cBhvr>
                                        <p:cTn id="31" dur="500"/>
                                        <p:tgtEl>
                                          <p:spTgt spid="43"/>
                                        </p:tgtEl>
                                      </p:cBhvr>
                                    </p:animEffect>
                                  </p:childTnLst>
                                </p:cTn>
                              </p:par>
                              <p:par>
                                <p:cTn id="32" presetID="35" presetClass="path" presetSubtype="0" decel="100000" fill="hold" nodeType="withEffect">
                                  <p:stCondLst>
                                    <p:cond delay="1500"/>
                                  </p:stCondLst>
                                  <p:childTnLst>
                                    <p:animMotion origin="layout" path="M 0.31654 4.07407E-6 L 2.08167E-17 4.07407E-6 " pathEditMode="relative" rAng="0" ptsTypes="AA">
                                      <p:cBhvr>
                                        <p:cTn id="33" dur="500" fill="hold"/>
                                        <p:tgtEl>
                                          <p:spTgt spid="43"/>
                                        </p:tgtEl>
                                        <p:attrNameLst>
                                          <p:attrName>ppt_x</p:attrName>
                                          <p:attrName>ppt_y</p:attrName>
                                        </p:attrNameLst>
                                      </p:cBhvr>
                                      <p:rCtr x="-15625" y="0"/>
                                    </p:animMotion>
                                  </p:childTnLst>
                                </p:cTn>
                              </p:par>
                              <p:par>
                                <p:cTn id="34" presetID="10" presetClass="entr" presetSubtype="0" fill="hold" grpId="0" nodeType="withEffect">
                                  <p:stCondLst>
                                    <p:cond delay="1750"/>
                                  </p:stCondLst>
                                  <p:childTnLst>
                                    <p:set>
                                      <p:cBhvr>
                                        <p:cTn id="35" dur="1" fill="hold">
                                          <p:stCondLst>
                                            <p:cond delay="0"/>
                                          </p:stCondLst>
                                        </p:cTn>
                                        <p:tgtEl>
                                          <p:spTgt spid="41"/>
                                        </p:tgtEl>
                                        <p:attrNameLst>
                                          <p:attrName>style.visibility</p:attrName>
                                        </p:attrNameLst>
                                      </p:cBhvr>
                                      <p:to>
                                        <p:strVal val="visible"/>
                                      </p:to>
                                    </p:set>
                                    <p:animEffect transition="in" filter="fade">
                                      <p:cBhvr>
                                        <p:cTn id="36" dur="500"/>
                                        <p:tgtEl>
                                          <p:spTgt spid="41"/>
                                        </p:tgtEl>
                                      </p:cBhvr>
                                    </p:animEffect>
                                  </p:childTnLst>
                                </p:cTn>
                              </p:par>
                              <p:par>
                                <p:cTn id="37" presetID="10" presetClass="entr" presetSubtype="0" fill="hold" nodeType="withEffect">
                                  <p:stCondLst>
                                    <p:cond delay="1750"/>
                                  </p:stCondLst>
                                  <p:childTnLst>
                                    <p:set>
                                      <p:cBhvr>
                                        <p:cTn id="38" dur="1" fill="hold">
                                          <p:stCondLst>
                                            <p:cond delay="0"/>
                                          </p:stCondLst>
                                        </p:cTn>
                                        <p:tgtEl>
                                          <p:spTgt spid="114"/>
                                        </p:tgtEl>
                                        <p:attrNameLst>
                                          <p:attrName>style.visibility</p:attrName>
                                        </p:attrNameLst>
                                      </p:cBhvr>
                                      <p:to>
                                        <p:strVal val="visible"/>
                                      </p:to>
                                    </p:set>
                                    <p:animEffect transition="in" filter="fade">
                                      <p:cBhvr>
                                        <p:cTn id="39" dur="500"/>
                                        <p:tgtEl>
                                          <p:spTgt spid="114"/>
                                        </p:tgtEl>
                                      </p:cBhvr>
                                    </p:animEffect>
                                  </p:childTnLst>
                                </p:cTn>
                              </p:par>
                              <p:par>
                                <p:cTn id="40" presetID="42" presetClass="path" presetSubtype="0" decel="100000" fill="hold" nodeType="withEffect">
                                  <p:stCondLst>
                                    <p:cond delay="1750"/>
                                  </p:stCondLst>
                                  <p:childTnLst>
                                    <p:animMotion origin="layout" path="M 4.16667E-7 -0.08357 L 4.16667E-7 2.22222E-6 " pathEditMode="relative" rAng="0" ptsTypes="AA">
                                      <p:cBhvr>
                                        <p:cTn id="41" dur="500" fill="hold"/>
                                        <p:tgtEl>
                                          <p:spTgt spid="114"/>
                                        </p:tgtEl>
                                        <p:attrNameLst>
                                          <p:attrName>ppt_x</p:attrName>
                                          <p:attrName>ppt_y</p:attrName>
                                        </p:attrNameLst>
                                      </p:cBhvr>
                                      <p:rCtr x="0" y="4167"/>
                                    </p:animMotion>
                                  </p:childTnLst>
                                </p:cTn>
                              </p:par>
                              <p:par>
                                <p:cTn id="42" presetID="22" presetClass="entr" presetSubtype="8" fill="hold" nodeType="withEffect">
                                  <p:stCondLst>
                                    <p:cond delay="2100"/>
                                  </p:stCondLst>
                                  <p:childTnLst>
                                    <p:set>
                                      <p:cBhvr>
                                        <p:cTn id="43" dur="1" fill="hold">
                                          <p:stCondLst>
                                            <p:cond delay="0"/>
                                          </p:stCondLst>
                                        </p:cTn>
                                        <p:tgtEl>
                                          <p:spTgt spid="56"/>
                                        </p:tgtEl>
                                        <p:attrNameLst>
                                          <p:attrName>style.visibility</p:attrName>
                                        </p:attrNameLst>
                                      </p:cBhvr>
                                      <p:to>
                                        <p:strVal val="visible"/>
                                      </p:to>
                                    </p:set>
                                    <p:animEffect transition="in" filter="wipe(left)">
                                      <p:cBhvr>
                                        <p:cTn id="44" dur="500"/>
                                        <p:tgtEl>
                                          <p:spTgt spid="56"/>
                                        </p:tgtEl>
                                      </p:cBhvr>
                                    </p:animEffect>
                                  </p:childTnLst>
                                </p:cTn>
                              </p:par>
                              <p:par>
                                <p:cTn id="45" presetID="10" presetClass="entr" presetSubtype="0" fill="hold" nodeType="withEffect">
                                  <p:stCondLst>
                                    <p:cond delay="2250"/>
                                  </p:stCondLst>
                                  <p:childTnLst>
                                    <p:set>
                                      <p:cBhvr>
                                        <p:cTn id="46" dur="1" fill="hold">
                                          <p:stCondLst>
                                            <p:cond delay="0"/>
                                          </p:stCondLst>
                                        </p:cTn>
                                        <p:tgtEl>
                                          <p:spTgt spid="57"/>
                                        </p:tgtEl>
                                        <p:attrNameLst>
                                          <p:attrName>style.visibility</p:attrName>
                                        </p:attrNameLst>
                                      </p:cBhvr>
                                      <p:to>
                                        <p:strVal val="visible"/>
                                      </p:to>
                                    </p:set>
                                    <p:animEffect transition="in" filter="fade">
                                      <p:cBhvr>
                                        <p:cTn id="47" dur="500"/>
                                        <p:tgtEl>
                                          <p:spTgt spid="57"/>
                                        </p:tgtEl>
                                      </p:cBhvr>
                                    </p:animEffect>
                                  </p:childTnLst>
                                </p:cTn>
                              </p:par>
                              <p:par>
                                <p:cTn id="48" presetID="35" presetClass="path" presetSubtype="0" decel="100000" fill="hold" nodeType="withEffect">
                                  <p:stCondLst>
                                    <p:cond delay="2250"/>
                                  </p:stCondLst>
                                  <p:childTnLst>
                                    <p:animMotion origin="layout" path="M 0.31654 -3.7037E-6 L -3.54167E-6 -3.7037E-6 " pathEditMode="relative" rAng="0" ptsTypes="AA">
                                      <p:cBhvr>
                                        <p:cTn id="49" dur="500" fill="hold"/>
                                        <p:tgtEl>
                                          <p:spTgt spid="57"/>
                                        </p:tgtEl>
                                        <p:attrNameLst>
                                          <p:attrName>ppt_x</p:attrName>
                                          <p:attrName>ppt_y</p:attrName>
                                        </p:attrNameLst>
                                      </p:cBhvr>
                                      <p:rCtr x="-15833" y="0"/>
                                    </p:animMotion>
                                  </p:childTnLst>
                                </p:cTn>
                              </p:par>
                              <p:par>
                                <p:cTn id="50" presetID="10" presetClass="entr" presetSubtype="0" fill="hold" grpId="0" nodeType="withEffect">
                                  <p:stCondLst>
                                    <p:cond delay="2500"/>
                                  </p:stCondLst>
                                  <p:childTnLst>
                                    <p:set>
                                      <p:cBhvr>
                                        <p:cTn id="51" dur="1" fill="hold">
                                          <p:stCondLst>
                                            <p:cond delay="0"/>
                                          </p:stCondLst>
                                        </p:cTn>
                                        <p:tgtEl>
                                          <p:spTgt spid="55"/>
                                        </p:tgtEl>
                                        <p:attrNameLst>
                                          <p:attrName>style.visibility</p:attrName>
                                        </p:attrNameLst>
                                      </p:cBhvr>
                                      <p:to>
                                        <p:strVal val="visible"/>
                                      </p:to>
                                    </p:set>
                                    <p:animEffect transition="in" filter="fade">
                                      <p:cBhvr>
                                        <p:cTn id="52" dur="500"/>
                                        <p:tgtEl>
                                          <p:spTgt spid="55"/>
                                        </p:tgtEl>
                                      </p:cBhvr>
                                    </p:animEffect>
                                  </p:childTnLst>
                                </p:cTn>
                              </p:par>
                              <p:par>
                                <p:cTn id="53" presetID="10" presetClass="entr" presetSubtype="0" fill="hold" nodeType="withEffect">
                                  <p:stCondLst>
                                    <p:cond delay="2500"/>
                                  </p:stCondLst>
                                  <p:childTnLst>
                                    <p:set>
                                      <p:cBhvr>
                                        <p:cTn id="54" dur="1" fill="hold">
                                          <p:stCondLst>
                                            <p:cond delay="0"/>
                                          </p:stCondLst>
                                        </p:cTn>
                                        <p:tgtEl>
                                          <p:spTgt spid="115"/>
                                        </p:tgtEl>
                                        <p:attrNameLst>
                                          <p:attrName>style.visibility</p:attrName>
                                        </p:attrNameLst>
                                      </p:cBhvr>
                                      <p:to>
                                        <p:strVal val="visible"/>
                                      </p:to>
                                    </p:set>
                                    <p:animEffect transition="in" filter="fade">
                                      <p:cBhvr>
                                        <p:cTn id="55" dur="500"/>
                                        <p:tgtEl>
                                          <p:spTgt spid="115"/>
                                        </p:tgtEl>
                                      </p:cBhvr>
                                    </p:animEffect>
                                  </p:childTnLst>
                                </p:cTn>
                              </p:par>
                              <p:par>
                                <p:cTn id="56" presetID="42" presetClass="path" presetSubtype="0" decel="100000" fill="hold" nodeType="withEffect">
                                  <p:stCondLst>
                                    <p:cond delay="2500"/>
                                  </p:stCondLst>
                                  <p:childTnLst>
                                    <p:animMotion origin="layout" path="M 8.33333E-7 -0.08357 L 8.33333E-7 3.7037E-7 " pathEditMode="relative" rAng="0" ptsTypes="AA">
                                      <p:cBhvr>
                                        <p:cTn id="57" dur="500" fill="hold"/>
                                        <p:tgtEl>
                                          <p:spTgt spid="115"/>
                                        </p:tgtEl>
                                        <p:attrNameLst>
                                          <p:attrName>ppt_x</p:attrName>
                                          <p:attrName>ppt_y</p:attrName>
                                        </p:attrNameLst>
                                      </p:cBhvr>
                                      <p:rCtr x="0" y="4167"/>
                                    </p:animMotion>
                                  </p:childTnLst>
                                </p:cTn>
                              </p:par>
                              <p:par>
                                <p:cTn id="58" presetID="22" presetClass="entr" presetSubtype="8" fill="hold" nodeType="withEffect">
                                  <p:stCondLst>
                                    <p:cond delay="2850"/>
                                  </p:stCondLst>
                                  <p:childTnLst>
                                    <p:set>
                                      <p:cBhvr>
                                        <p:cTn id="59" dur="1" fill="hold">
                                          <p:stCondLst>
                                            <p:cond delay="0"/>
                                          </p:stCondLst>
                                        </p:cTn>
                                        <p:tgtEl>
                                          <p:spTgt spid="62"/>
                                        </p:tgtEl>
                                        <p:attrNameLst>
                                          <p:attrName>style.visibility</p:attrName>
                                        </p:attrNameLst>
                                      </p:cBhvr>
                                      <p:to>
                                        <p:strVal val="visible"/>
                                      </p:to>
                                    </p:set>
                                    <p:animEffect transition="in" filter="wipe(left)">
                                      <p:cBhvr>
                                        <p:cTn id="60" dur="500"/>
                                        <p:tgtEl>
                                          <p:spTgt spid="62"/>
                                        </p:tgtEl>
                                      </p:cBhvr>
                                    </p:animEffect>
                                  </p:childTnLst>
                                </p:cTn>
                              </p:par>
                              <p:par>
                                <p:cTn id="61" presetID="10" presetClass="entr" presetSubtype="0" fill="hold" nodeType="withEffect">
                                  <p:stCondLst>
                                    <p:cond delay="3000"/>
                                  </p:stCondLst>
                                  <p:childTnLst>
                                    <p:set>
                                      <p:cBhvr>
                                        <p:cTn id="62" dur="1" fill="hold">
                                          <p:stCondLst>
                                            <p:cond delay="0"/>
                                          </p:stCondLst>
                                        </p:cTn>
                                        <p:tgtEl>
                                          <p:spTgt spid="63"/>
                                        </p:tgtEl>
                                        <p:attrNameLst>
                                          <p:attrName>style.visibility</p:attrName>
                                        </p:attrNameLst>
                                      </p:cBhvr>
                                      <p:to>
                                        <p:strVal val="visible"/>
                                      </p:to>
                                    </p:set>
                                    <p:animEffect transition="in" filter="fade">
                                      <p:cBhvr>
                                        <p:cTn id="63" dur="500"/>
                                        <p:tgtEl>
                                          <p:spTgt spid="63"/>
                                        </p:tgtEl>
                                      </p:cBhvr>
                                    </p:animEffect>
                                  </p:childTnLst>
                                </p:cTn>
                              </p:par>
                              <p:par>
                                <p:cTn id="64" presetID="35" presetClass="path" presetSubtype="0" decel="100000" fill="hold" nodeType="withEffect">
                                  <p:stCondLst>
                                    <p:cond delay="3000"/>
                                  </p:stCondLst>
                                  <p:childTnLst>
                                    <p:animMotion origin="layout" path="M 0.31654 4.44444E-6 L -3.54167E-6 4.44444E-6 " pathEditMode="relative" rAng="0" ptsTypes="AA">
                                      <p:cBhvr>
                                        <p:cTn id="65" dur="500" fill="hold"/>
                                        <p:tgtEl>
                                          <p:spTgt spid="63"/>
                                        </p:tgtEl>
                                        <p:attrNameLst>
                                          <p:attrName>ppt_x</p:attrName>
                                          <p:attrName>ppt_y</p:attrName>
                                        </p:attrNameLst>
                                      </p:cBhvr>
                                      <p:rCtr x="-15833" y="0"/>
                                    </p:animMotion>
                                  </p:childTnLst>
                                </p:cTn>
                              </p:par>
                              <p:par>
                                <p:cTn id="66" presetID="10" presetClass="entr" presetSubtype="0" fill="hold" grpId="0" nodeType="withEffect">
                                  <p:stCondLst>
                                    <p:cond delay="3250"/>
                                  </p:stCondLst>
                                  <p:childTnLst>
                                    <p:set>
                                      <p:cBhvr>
                                        <p:cTn id="67" dur="1" fill="hold">
                                          <p:stCondLst>
                                            <p:cond delay="0"/>
                                          </p:stCondLst>
                                        </p:cTn>
                                        <p:tgtEl>
                                          <p:spTgt spid="61"/>
                                        </p:tgtEl>
                                        <p:attrNameLst>
                                          <p:attrName>style.visibility</p:attrName>
                                        </p:attrNameLst>
                                      </p:cBhvr>
                                      <p:to>
                                        <p:strVal val="visible"/>
                                      </p:to>
                                    </p:set>
                                    <p:animEffect transition="in" filter="fade">
                                      <p:cBhvr>
                                        <p:cTn id="68" dur="500"/>
                                        <p:tgtEl>
                                          <p:spTgt spid="61"/>
                                        </p:tgtEl>
                                      </p:cBhvr>
                                    </p:animEffect>
                                  </p:childTnLst>
                                </p:cTn>
                              </p:par>
                              <p:par>
                                <p:cTn id="69" presetID="10" presetClass="entr" presetSubtype="0" fill="hold" nodeType="withEffect">
                                  <p:stCondLst>
                                    <p:cond delay="3250"/>
                                  </p:stCondLst>
                                  <p:childTnLst>
                                    <p:set>
                                      <p:cBhvr>
                                        <p:cTn id="70" dur="1" fill="hold">
                                          <p:stCondLst>
                                            <p:cond delay="0"/>
                                          </p:stCondLst>
                                        </p:cTn>
                                        <p:tgtEl>
                                          <p:spTgt spid="116"/>
                                        </p:tgtEl>
                                        <p:attrNameLst>
                                          <p:attrName>style.visibility</p:attrName>
                                        </p:attrNameLst>
                                      </p:cBhvr>
                                      <p:to>
                                        <p:strVal val="visible"/>
                                      </p:to>
                                    </p:set>
                                    <p:animEffect transition="in" filter="fade">
                                      <p:cBhvr>
                                        <p:cTn id="71" dur="500"/>
                                        <p:tgtEl>
                                          <p:spTgt spid="116"/>
                                        </p:tgtEl>
                                      </p:cBhvr>
                                    </p:animEffect>
                                  </p:childTnLst>
                                </p:cTn>
                              </p:par>
                              <p:par>
                                <p:cTn id="72" presetID="42" presetClass="path" presetSubtype="0" decel="100000" fill="hold" nodeType="withEffect">
                                  <p:stCondLst>
                                    <p:cond delay="3250"/>
                                  </p:stCondLst>
                                  <p:childTnLst>
                                    <p:animMotion origin="layout" path="M 4.16667E-7 -0.08357 L 4.16667E-7 2.22222E-6 " pathEditMode="relative" rAng="0" ptsTypes="AA">
                                      <p:cBhvr>
                                        <p:cTn id="73" dur="500" fill="hold"/>
                                        <p:tgtEl>
                                          <p:spTgt spid="116"/>
                                        </p:tgtEl>
                                        <p:attrNameLst>
                                          <p:attrName>ppt_x</p:attrName>
                                          <p:attrName>ppt_y</p:attrName>
                                        </p:attrNameLst>
                                      </p:cBhvr>
                                      <p:rCtr x="0" y="4167"/>
                                    </p:animMotion>
                                  </p:childTnLst>
                                </p:cTn>
                              </p:par>
                              <p:par>
                                <p:cTn id="74" presetID="22" presetClass="entr" presetSubtype="8" fill="hold" nodeType="withEffect">
                                  <p:stCondLst>
                                    <p:cond delay="3600"/>
                                  </p:stCondLst>
                                  <p:childTnLst>
                                    <p:set>
                                      <p:cBhvr>
                                        <p:cTn id="75" dur="1" fill="hold">
                                          <p:stCondLst>
                                            <p:cond delay="0"/>
                                          </p:stCondLst>
                                        </p:cTn>
                                        <p:tgtEl>
                                          <p:spTgt spid="68"/>
                                        </p:tgtEl>
                                        <p:attrNameLst>
                                          <p:attrName>style.visibility</p:attrName>
                                        </p:attrNameLst>
                                      </p:cBhvr>
                                      <p:to>
                                        <p:strVal val="visible"/>
                                      </p:to>
                                    </p:set>
                                    <p:animEffect transition="in" filter="wipe(left)">
                                      <p:cBhvr>
                                        <p:cTn id="76" dur="500"/>
                                        <p:tgtEl>
                                          <p:spTgt spid="68"/>
                                        </p:tgtEl>
                                      </p:cBhvr>
                                    </p:animEffect>
                                  </p:childTnLst>
                                </p:cTn>
                              </p:par>
                              <p:par>
                                <p:cTn id="77" presetID="10" presetClass="entr" presetSubtype="0" fill="hold" nodeType="withEffect">
                                  <p:stCondLst>
                                    <p:cond delay="3750"/>
                                  </p:stCondLst>
                                  <p:childTnLst>
                                    <p:set>
                                      <p:cBhvr>
                                        <p:cTn id="78" dur="1" fill="hold">
                                          <p:stCondLst>
                                            <p:cond delay="0"/>
                                          </p:stCondLst>
                                        </p:cTn>
                                        <p:tgtEl>
                                          <p:spTgt spid="69"/>
                                        </p:tgtEl>
                                        <p:attrNameLst>
                                          <p:attrName>style.visibility</p:attrName>
                                        </p:attrNameLst>
                                      </p:cBhvr>
                                      <p:to>
                                        <p:strVal val="visible"/>
                                      </p:to>
                                    </p:set>
                                    <p:animEffect transition="in" filter="fade">
                                      <p:cBhvr>
                                        <p:cTn id="79" dur="500"/>
                                        <p:tgtEl>
                                          <p:spTgt spid="69"/>
                                        </p:tgtEl>
                                      </p:cBhvr>
                                    </p:animEffect>
                                  </p:childTnLst>
                                </p:cTn>
                              </p:par>
                              <p:par>
                                <p:cTn id="80" presetID="35" presetClass="path" presetSubtype="0" decel="100000" fill="hold" nodeType="withEffect">
                                  <p:stCondLst>
                                    <p:cond delay="3750"/>
                                  </p:stCondLst>
                                  <p:childTnLst>
                                    <p:animMotion origin="layout" path="M 0.31654 -3.7037E-6 L -3.54167E-6 -3.7037E-6 " pathEditMode="relative" rAng="0" ptsTypes="AA">
                                      <p:cBhvr>
                                        <p:cTn id="81" dur="500" fill="hold"/>
                                        <p:tgtEl>
                                          <p:spTgt spid="69"/>
                                        </p:tgtEl>
                                        <p:attrNameLst>
                                          <p:attrName>ppt_x</p:attrName>
                                          <p:attrName>ppt_y</p:attrName>
                                        </p:attrNameLst>
                                      </p:cBhvr>
                                      <p:rCtr x="-15833" y="0"/>
                                    </p:animMotion>
                                  </p:childTnLst>
                                </p:cTn>
                              </p:par>
                              <p:par>
                                <p:cTn id="82" presetID="10" presetClass="entr" presetSubtype="0" fill="hold" grpId="0" nodeType="withEffect">
                                  <p:stCondLst>
                                    <p:cond delay="4000"/>
                                  </p:stCondLst>
                                  <p:childTnLst>
                                    <p:set>
                                      <p:cBhvr>
                                        <p:cTn id="83" dur="1" fill="hold">
                                          <p:stCondLst>
                                            <p:cond delay="0"/>
                                          </p:stCondLst>
                                        </p:cTn>
                                        <p:tgtEl>
                                          <p:spTgt spid="67"/>
                                        </p:tgtEl>
                                        <p:attrNameLst>
                                          <p:attrName>style.visibility</p:attrName>
                                        </p:attrNameLst>
                                      </p:cBhvr>
                                      <p:to>
                                        <p:strVal val="visible"/>
                                      </p:to>
                                    </p:set>
                                    <p:animEffect transition="in" filter="fade">
                                      <p:cBhvr>
                                        <p:cTn id="84" dur="500"/>
                                        <p:tgtEl>
                                          <p:spTgt spid="67"/>
                                        </p:tgtEl>
                                      </p:cBhvr>
                                    </p:animEffect>
                                  </p:childTnLst>
                                </p:cTn>
                              </p:par>
                              <p:par>
                                <p:cTn id="85" presetID="10" presetClass="entr" presetSubtype="0" fill="hold" nodeType="withEffect">
                                  <p:stCondLst>
                                    <p:cond delay="4000"/>
                                  </p:stCondLst>
                                  <p:childTnLst>
                                    <p:set>
                                      <p:cBhvr>
                                        <p:cTn id="86" dur="1" fill="hold">
                                          <p:stCondLst>
                                            <p:cond delay="0"/>
                                          </p:stCondLst>
                                        </p:cTn>
                                        <p:tgtEl>
                                          <p:spTgt spid="117"/>
                                        </p:tgtEl>
                                        <p:attrNameLst>
                                          <p:attrName>style.visibility</p:attrName>
                                        </p:attrNameLst>
                                      </p:cBhvr>
                                      <p:to>
                                        <p:strVal val="visible"/>
                                      </p:to>
                                    </p:set>
                                    <p:animEffect transition="in" filter="fade">
                                      <p:cBhvr>
                                        <p:cTn id="87" dur="500"/>
                                        <p:tgtEl>
                                          <p:spTgt spid="117"/>
                                        </p:tgtEl>
                                      </p:cBhvr>
                                    </p:animEffect>
                                  </p:childTnLst>
                                </p:cTn>
                              </p:par>
                              <p:par>
                                <p:cTn id="88" presetID="42" presetClass="path" presetSubtype="0" decel="100000" fill="hold" nodeType="withEffect">
                                  <p:stCondLst>
                                    <p:cond delay="4000"/>
                                  </p:stCondLst>
                                  <p:childTnLst>
                                    <p:animMotion origin="layout" path="M 4.16667E-7 -0.08356 L 4.16667E-7 1.11111E-6 " pathEditMode="relative" rAng="0" ptsTypes="AA">
                                      <p:cBhvr>
                                        <p:cTn id="89" dur="500" fill="hold"/>
                                        <p:tgtEl>
                                          <p:spTgt spid="117"/>
                                        </p:tgtEl>
                                        <p:attrNameLst>
                                          <p:attrName>ppt_x</p:attrName>
                                          <p:attrName>ppt_y</p:attrName>
                                        </p:attrNameLst>
                                      </p:cBhvr>
                                      <p:rCtr x="0" y="4236"/>
                                    </p:animMotion>
                                  </p:childTnLst>
                                </p:cTn>
                              </p:par>
                              <p:par>
                                <p:cTn id="90" presetID="22" presetClass="entr" presetSubtype="8" fill="hold" nodeType="withEffect">
                                  <p:stCondLst>
                                    <p:cond delay="4350"/>
                                  </p:stCondLst>
                                  <p:childTnLst>
                                    <p:set>
                                      <p:cBhvr>
                                        <p:cTn id="91" dur="1" fill="hold">
                                          <p:stCondLst>
                                            <p:cond delay="0"/>
                                          </p:stCondLst>
                                        </p:cTn>
                                        <p:tgtEl>
                                          <p:spTgt spid="75"/>
                                        </p:tgtEl>
                                        <p:attrNameLst>
                                          <p:attrName>style.visibility</p:attrName>
                                        </p:attrNameLst>
                                      </p:cBhvr>
                                      <p:to>
                                        <p:strVal val="visible"/>
                                      </p:to>
                                    </p:set>
                                    <p:animEffect transition="in" filter="wipe(left)">
                                      <p:cBhvr>
                                        <p:cTn id="92" dur="500"/>
                                        <p:tgtEl>
                                          <p:spTgt spid="75"/>
                                        </p:tgtEl>
                                      </p:cBhvr>
                                    </p:animEffect>
                                  </p:childTnLst>
                                </p:cTn>
                              </p:par>
                              <p:par>
                                <p:cTn id="93" presetID="10" presetClass="entr" presetSubtype="0" fill="hold" nodeType="withEffect">
                                  <p:stCondLst>
                                    <p:cond delay="4500"/>
                                  </p:stCondLst>
                                  <p:childTnLst>
                                    <p:set>
                                      <p:cBhvr>
                                        <p:cTn id="94" dur="1" fill="hold">
                                          <p:stCondLst>
                                            <p:cond delay="0"/>
                                          </p:stCondLst>
                                        </p:cTn>
                                        <p:tgtEl>
                                          <p:spTgt spid="76"/>
                                        </p:tgtEl>
                                        <p:attrNameLst>
                                          <p:attrName>style.visibility</p:attrName>
                                        </p:attrNameLst>
                                      </p:cBhvr>
                                      <p:to>
                                        <p:strVal val="visible"/>
                                      </p:to>
                                    </p:set>
                                    <p:animEffect transition="in" filter="fade">
                                      <p:cBhvr>
                                        <p:cTn id="95" dur="500"/>
                                        <p:tgtEl>
                                          <p:spTgt spid="76"/>
                                        </p:tgtEl>
                                      </p:cBhvr>
                                    </p:animEffect>
                                  </p:childTnLst>
                                </p:cTn>
                              </p:par>
                              <p:par>
                                <p:cTn id="96" presetID="35" presetClass="path" presetSubtype="0" decel="100000" fill="hold" nodeType="withEffect">
                                  <p:stCondLst>
                                    <p:cond delay="4500"/>
                                  </p:stCondLst>
                                  <p:childTnLst>
                                    <p:animMotion origin="layout" path="M 0.31654 4.07407E-6 L 2.08167E-17 4.07407E-6 " pathEditMode="relative" rAng="0" ptsTypes="AA">
                                      <p:cBhvr>
                                        <p:cTn id="97" dur="500" fill="hold"/>
                                        <p:tgtEl>
                                          <p:spTgt spid="76"/>
                                        </p:tgtEl>
                                        <p:attrNameLst>
                                          <p:attrName>ppt_x</p:attrName>
                                          <p:attrName>ppt_y</p:attrName>
                                        </p:attrNameLst>
                                      </p:cBhvr>
                                      <p:rCtr x="-15625" y="0"/>
                                    </p:animMotion>
                                  </p:childTnLst>
                                </p:cTn>
                              </p:par>
                              <p:par>
                                <p:cTn id="98" presetID="10" presetClass="entr" presetSubtype="0" fill="hold" grpId="0" nodeType="withEffect">
                                  <p:stCondLst>
                                    <p:cond delay="4750"/>
                                  </p:stCondLst>
                                  <p:childTnLst>
                                    <p:set>
                                      <p:cBhvr>
                                        <p:cTn id="99" dur="1" fill="hold">
                                          <p:stCondLst>
                                            <p:cond delay="0"/>
                                          </p:stCondLst>
                                        </p:cTn>
                                        <p:tgtEl>
                                          <p:spTgt spid="74"/>
                                        </p:tgtEl>
                                        <p:attrNameLst>
                                          <p:attrName>style.visibility</p:attrName>
                                        </p:attrNameLst>
                                      </p:cBhvr>
                                      <p:to>
                                        <p:strVal val="visible"/>
                                      </p:to>
                                    </p:set>
                                    <p:animEffect transition="in" filter="fade">
                                      <p:cBhvr>
                                        <p:cTn id="100" dur="500"/>
                                        <p:tgtEl>
                                          <p:spTgt spid="74"/>
                                        </p:tgtEl>
                                      </p:cBhvr>
                                    </p:animEffect>
                                  </p:childTnLst>
                                </p:cTn>
                              </p:par>
                              <p:par>
                                <p:cTn id="101" presetID="10" presetClass="entr" presetSubtype="0" fill="hold" nodeType="withEffect">
                                  <p:stCondLst>
                                    <p:cond delay="4750"/>
                                  </p:stCondLst>
                                  <p:childTnLst>
                                    <p:set>
                                      <p:cBhvr>
                                        <p:cTn id="102" dur="1" fill="hold">
                                          <p:stCondLst>
                                            <p:cond delay="0"/>
                                          </p:stCondLst>
                                        </p:cTn>
                                        <p:tgtEl>
                                          <p:spTgt spid="118"/>
                                        </p:tgtEl>
                                        <p:attrNameLst>
                                          <p:attrName>style.visibility</p:attrName>
                                        </p:attrNameLst>
                                      </p:cBhvr>
                                      <p:to>
                                        <p:strVal val="visible"/>
                                      </p:to>
                                    </p:set>
                                    <p:animEffect transition="in" filter="fade">
                                      <p:cBhvr>
                                        <p:cTn id="103" dur="500"/>
                                        <p:tgtEl>
                                          <p:spTgt spid="118"/>
                                        </p:tgtEl>
                                      </p:cBhvr>
                                    </p:animEffect>
                                  </p:childTnLst>
                                </p:cTn>
                              </p:par>
                              <p:par>
                                <p:cTn id="104" presetID="42" presetClass="path" presetSubtype="0" decel="100000" fill="hold" nodeType="withEffect">
                                  <p:stCondLst>
                                    <p:cond delay="4750"/>
                                  </p:stCondLst>
                                  <p:childTnLst>
                                    <p:animMotion origin="layout" path="M 4.16667E-7 -0.08356 L 4.16667E-7 1.11111E-6 " pathEditMode="relative" rAng="0" ptsTypes="AA">
                                      <p:cBhvr>
                                        <p:cTn id="105" dur="500" fill="hold"/>
                                        <p:tgtEl>
                                          <p:spTgt spid="118"/>
                                        </p:tgtEl>
                                        <p:attrNameLst>
                                          <p:attrName>ppt_x</p:attrName>
                                          <p:attrName>ppt_y</p:attrName>
                                        </p:attrNameLst>
                                      </p:cBhvr>
                                      <p:rCtr x="0" y="4236"/>
                                    </p:animMotion>
                                  </p:childTnLst>
                                </p:cTn>
                              </p:par>
                              <p:par>
                                <p:cTn id="106" presetID="22" presetClass="entr" presetSubtype="8" fill="hold" nodeType="withEffect">
                                  <p:stCondLst>
                                    <p:cond delay="5100"/>
                                  </p:stCondLst>
                                  <p:childTnLst>
                                    <p:set>
                                      <p:cBhvr>
                                        <p:cTn id="107" dur="1" fill="hold">
                                          <p:stCondLst>
                                            <p:cond delay="0"/>
                                          </p:stCondLst>
                                        </p:cTn>
                                        <p:tgtEl>
                                          <p:spTgt spid="81"/>
                                        </p:tgtEl>
                                        <p:attrNameLst>
                                          <p:attrName>style.visibility</p:attrName>
                                        </p:attrNameLst>
                                      </p:cBhvr>
                                      <p:to>
                                        <p:strVal val="visible"/>
                                      </p:to>
                                    </p:set>
                                    <p:animEffect transition="in" filter="wipe(left)">
                                      <p:cBhvr>
                                        <p:cTn id="108" dur="500"/>
                                        <p:tgtEl>
                                          <p:spTgt spid="81"/>
                                        </p:tgtEl>
                                      </p:cBhvr>
                                    </p:animEffect>
                                  </p:childTnLst>
                                </p:cTn>
                              </p:par>
                              <p:par>
                                <p:cTn id="109" presetID="10" presetClass="entr" presetSubtype="0" fill="hold" nodeType="withEffect">
                                  <p:stCondLst>
                                    <p:cond delay="5250"/>
                                  </p:stCondLst>
                                  <p:childTnLst>
                                    <p:set>
                                      <p:cBhvr>
                                        <p:cTn id="110" dur="1" fill="hold">
                                          <p:stCondLst>
                                            <p:cond delay="0"/>
                                          </p:stCondLst>
                                        </p:cTn>
                                        <p:tgtEl>
                                          <p:spTgt spid="82"/>
                                        </p:tgtEl>
                                        <p:attrNameLst>
                                          <p:attrName>style.visibility</p:attrName>
                                        </p:attrNameLst>
                                      </p:cBhvr>
                                      <p:to>
                                        <p:strVal val="visible"/>
                                      </p:to>
                                    </p:set>
                                    <p:animEffect transition="in" filter="fade">
                                      <p:cBhvr>
                                        <p:cTn id="111" dur="500"/>
                                        <p:tgtEl>
                                          <p:spTgt spid="82"/>
                                        </p:tgtEl>
                                      </p:cBhvr>
                                    </p:animEffect>
                                  </p:childTnLst>
                                </p:cTn>
                              </p:par>
                              <p:par>
                                <p:cTn id="112" presetID="35" presetClass="path" presetSubtype="0" decel="100000" fill="hold" nodeType="withEffect">
                                  <p:stCondLst>
                                    <p:cond delay="5250"/>
                                  </p:stCondLst>
                                  <p:childTnLst>
                                    <p:animMotion origin="layout" path="M 0.31654 4.07407E-6 L 2.08167E-17 4.07407E-6 " pathEditMode="relative" rAng="0" ptsTypes="AA">
                                      <p:cBhvr>
                                        <p:cTn id="113" dur="500" fill="hold"/>
                                        <p:tgtEl>
                                          <p:spTgt spid="82"/>
                                        </p:tgtEl>
                                        <p:attrNameLst>
                                          <p:attrName>ppt_x</p:attrName>
                                          <p:attrName>ppt_y</p:attrName>
                                        </p:attrNameLst>
                                      </p:cBhvr>
                                      <p:rCtr x="-15625" y="0"/>
                                    </p:animMotion>
                                  </p:childTnLst>
                                </p:cTn>
                              </p:par>
                              <p:par>
                                <p:cTn id="114" presetID="10" presetClass="entr" presetSubtype="0" fill="hold" grpId="0" nodeType="withEffect">
                                  <p:stCondLst>
                                    <p:cond delay="5500"/>
                                  </p:stCondLst>
                                  <p:childTnLst>
                                    <p:set>
                                      <p:cBhvr>
                                        <p:cTn id="115" dur="1" fill="hold">
                                          <p:stCondLst>
                                            <p:cond delay="0"/>
                                          </p:stCondLst>
                                        </p:cTn>
                                        <p:tgtEl>
                                          <p:spTgt spid="80"/>
                                        </p:tgtEl>
                                        <p:attrNameLst>
                                          <p:attrName>style.visibility</p:attrName>
                                        </p:attrNameLst>
                                      </p:cBhvr>
                                      <p:to>
                                        <p:strVal val="visible"/>
                                      </p:to>
                                    </p:set>
                                    <p:animEffect transition="in" filter="fade">
                                      <p:cBhvr>
                                        <p:cTn id="116" dur="500"/>
                                        <p:tgtEl>
                                          <p:spTgt spid="80"/>
                                        </p:tgtEl>
                                      </p:cBhvr>
                                    </p:animEffect>
                                  </p:childTnLst>
                                </p:cTn>
                              </p:par>
                              <p:par>
                                <p:cTn id="117" presetID="10" presetClass="entr" presetSubtype="0" fill="hold" nodeType="withEffect">
                                  <p:stCondLst>
                                    <p:cond delay="5500"/>
                                  </p:stCondLst>
                                  <p:childTnLst>
                                    <p:set>
                                      <p:cBhvr>
                                        <p:cTn id="118" dur="1" fill="hold">
                                          <p:stCondLst>
                                            <p:cond delay="0"/>
                                          </p:stCondLst>
                                        </p:cTn>
                                        <p:tgtEl>
                                          <p:spTgt spid="119"/>
                                        </p:tgtEl>
                                        <p:attrNameLst>
                                          <p:attrName>style.visibility</p:attrName>
                                        </p:attrNameLst>
                                      </p:cBhvr>
                                      <p:to>
                                        <p:strVal val="visible"/>
                                      </p:to>
                                    </p:set>
                                    <p:animEffect transition="in" filter="fade">
                                      <p:cBhvr>
                                        <p:cTn id="119" dur="500"/>
                                        <p:tgtEl>
                                          <p:spTgt spid="119"/>
                                        </p:tgtEl>
                                      </p:cBhvr>
                                    </p:animEffect>
                                  </p:childTnLst>
                                </p:cTn>
                              </p:par>
                              <p:par>
                                <p:cTn id="120" presetID="42" presetClass="path" presetSubtype="0" decel="100000" fill="hold" nodeType="withEffect">
                                  <p:stCondLst>
                                    <p:cond delay="5500"/>
                                  </p:stCondLst>
                                  <p:childTnLst>
                                    <p:animMotion origin="layout" path="M 4.16667E-7 -0.08356 L 4.16667E-7 1.11111E-6 " pathEditMode="relative" rAng="0" ptsTypes="AA">
                                      <p:cBhvr>
                                        <p:cTn id="121" dur="500" fill="hold"/>
                                        <p:tgtEl>
                                          <p:spTgt spid="119"/>
                                        </p:tgtEl>
                                        <p:attrNameLst>
                                          <p:attrName>ppt_x</p:attrName>
                                          <p:attrName>ppt_y</p:attrName>
                                        </p:attrNameLst>
                                      </p:cBhvr>
                                      <p:rCtr x="0" y="4236"/>
                                    </p:animMotion>
                                  </p:childTnLst>
                                </p:cTn>
                              </p:par>
                              <p:par>
                                <p:cTn id="122" presetID="22" presetClass="entr" presetSubtype="8" fill="hold" nodeType="withEffect">
                                  <p:stCondLst>
                                    <p:cond delay="5850"/>
                                  </p:stCondLst>
                                  <p:childTnLst>
                                    <p:set>
                                      <p:cBhvr>
                                        <p:cTn id="123" dur="1" fill="hold">
                                          <p:stCondLst>
                                            <p:cond delay="0"/>
                                          </p:stCondLst>
                                        </p:cTn>
                                        <p:tgtEl>
                                          <p:spTgt spid="87"/>
                                        </p:tgtEl>
                                        <p:attrNameLst>
                                          <p:attrName>style.visibility</p:attrName>
                                        </p:attrNameLst>
                                      </p:cBhvr>
                                      <p:to>
                                        <p:strVal val="visible"/>
                                      </p:to>
                                    </p:set>
                                    <p:animEffect transition="in" filter="wipe(left)">
                                      <p:cBhvr>
                                        <p:cTn id="124" dur="500"/>
                                        <p:tgtEl>
                                          <p:spTgt spid="87"/>
                                        </p:tgtEl>
                                      </p:cBhvr>
                                    </p:animEffect>
                                  </p:childTnLst>
                                </p:cTn>
                              </p:par>
                              <p:par>
                                <p:cTn id="125" presetID="10" presetClass="entr" presetSubtype="0" fill="hold" nodeType="withEffect">
                                  <p:stCondLst>
                                    <p:cond delay="6000"/>
                                  </p:stCondLst>
                                  <p:childTnLst>
                                    <p:set>
                                      <p:cBhvr>
                                        <p:cTn id="126" dur="1" fill="hold">
                                          <p:stCondLst>
                                            <p:cond delay="0"/>
                                          </p:stCondLst>
                                        </p:cTn>
                                        <p:tgtEl>
                                          <p:spTgt spid="88"/>
                                        </p:tgtEl>
                                        <p:attrNameLst>
                                          <p:attrName>style.visibility</p:attrName>
                                        </p:attrNameLst>
                                      </p:cBhvr>
                                      <p:to>
                                        <p:strVal val="visible"/>
                                      </p:to>
                                    </p:set>
                                    <p:animEffect transition="in" filter="fade">
                                      <p:cBhvr>
                                        <p:cTn id="127" dur="500"/>
                                        <p:tgtEl>
                                          <p:spTgt spid="88"/>
                                        </p:tgtEl>
                                      </p:cBhvr>
                                    </p:animEffect>
                                  </p:childTnLst>
                                </p:cTn>
                              </p:par>
                              <p:par>
                                <p:cTn id="128" presetID="35" presetClass="path" presetSubtype="0" decel="100000" fill="hold" nodeType="withEffect">
                                  <p:stCondLst>
                                    <p:cond delay="6000"/>
                                  </p:stCondLst>
                                  <p:childTnLst>
                                    <p:animMotion origin="layout" path="M 0.31654 4.07407E-6 L 2.08167E-17 4.07407E-6 " pathEditMode="relative" rAng="0" ptsTypes="AA">
                                      <p:cBhvr>
                                        <p:cTn id="129" dur="500" fill="hold"/>
                                        <p:tgtEl>
                                          <p:spTgt spid="88"/>
                                        </p:tgtEl>
                                        <p:attrNameLst>
                                          <p:attrName>ppt_x</p:attrName>
                                          <p:attrName>ppt_y</p:attrName>
                                        </p:attrNameLst>
                                      </p:cBhvr>
                                      <p:rCtr x="-15625" y="0"/>
                                    </p:animMotion>
                                  </p:childTnLst>
                                </p:cTn>
                              </p:par>
                              <p:par>
                                <p:cTn id="130" presetID="10" presetClass="entr" presetSubtype="0" fill="hold" grpId="0" nodeType="withEffect">
                                  <p:stCondLst>
                                    <p:cond delay="6250"/>
                                  </p:stCondLst>
                                  <p:childTnLst>
                                    <p:set>
                                      <p:cBhvr>
                                        <p:cTn id="131" dur="1" fill="hold">
                                          <p:stCondLst>
                                            <p:cond delay="0"/>
                                          </p:stCondLst>
                                        </p:cTn>
                                        <p:tgtEl>
                                          <p:spTgt spid="86"/>
                                        </p:tgtEl>
                                        <p:attrNameLst>
                                          <p:attrName>style.visibility</p:attrName>
                                        </p:attrNameLst>
                                      </p:cBhvr>
                                      <p:to>
                                        <p:strVal val="visible"/>
                                      </p:to>
                                    </p:set>
                                    <p:animEffect transition="in" filter="fade">
                                      <p:cBhvr>
                                        <p:cTn id="132" dur="500"/>
                                        <p:tgtEl>
                                          <p:spTgt spid="86"/>
                                        </p:tgtEl>
                                      </p:cBhvr>
                                    </p:animEffect>
                                  </p:childTnLst>
                                </p:cTn>
                              </p:par>
                              <p:par>
                                <p:cTn id="133" presetID="10" presetClass="entr" presetSubtype="0" fill="hold" nodeType="withEffect">
                                  <p:stCondLst>
                                    <p:cond delay="6250"/>
                                  </p:stCondLst>
                                  <p:childTnLst>
                                    <p:set>
                                      <p:cBhvr>
                                        <p:cTn id="134" dur="1" fill="hold">
                                          <p:stCondLst>
                                            <p:cond delay="0"/>
                                          </p:stCondLst>
                                        </p:cTn>
                                        <p:tgtEl>
                                          <p:spTgt spid="120"/>
                                        </p:tgtEl>
                                        <p:attrNameLst>
                                          <p:attrName>style.visibility</p:attrName>
                                        </p:attrNameLst>
                                      </p:cBhvr>
                                      <p:to>
                                        <p:strVal val="visible"/>
                                      </p:to>
                                    </p:set>
                                    <p:animEffect transition="in" filter="fade">
                                      <p:cBhvr>
                                        <p:cTn id="135" dur="500"/>
                                        <p:tgtEl>
                                          <p:spTgt spid="120"/>
                                        </p:tgtEl>
                                      </p:cBhvr>
                                    </p:animEffect>
                                  </p:childTnLst>
                                </p:cTn>
                              </p:par>
                              <p:par>
                                <p:cTn id="136" presetID="42" presetClass="path" presetSubtype="0" decel="100000" fill="hold" nodeType="withEffect">
                                  <p:stCondLst>
                                    <p:cond delay="6250"/>
                                  </p:stCondLst>
                                  <p:childTnLst>
                                    <p:animMotion origin="layout" path="M -4.58333E-6 -0.08357 L -4.58333E-6 3.7037E-6 " pathEditMode="relative" rAng="0" ptsTypes="AA">
                                      <p:cBhvr>
                                        <p:cTn id="137" dur="500" fill="hold"/>
                                        <p:tgtEl>
                                          <p:spTgt spid="120"/>
                                        </p:tgtEl>
                                        <p:attrNameLst>
                                          <p:attrName>ppt_x</p:attrName>
                                          <p:attrName>ppt_y</p:attrName>
                                        </p:attrNameLst>
                                      </p:cBhvr>
                                      <p:rCtr x="0" y="4167"/>
                                    </p:animMotion>
                                  </p:childTnLst>
                                </p:cTn>
                              </p:par>
                              <p:par>
                                <p:cTn id="138" presetID="22" presetClass="entr" presetSubtype="8" fill="hold" nodeType="withEffect">
                                  <p:stCondLst>
                                    <p:cond delay="6600"/>
                                  </p:stCondLst>
                                  <p:childTnLst>
                                    <p:set>
                                      <p:cBhvr>
                                        <p:cTn id="139" dur="1" fill="hold">
                                          <p:stCondLst>
                                            <p:cond delay="0"/>
                                          </p:stCondLst>
                                        </p:cTn>
                                        <p:tgtEl>
                                          <p:spTgt spid="93"/>
                                        </p:tgtEl>
                                        <p:attrNameLst>
                                          <p:attrName>style.visibility</p:attrName>
                                        </p:attrNameLst>
                                      </p:cBhvr>
                                      <p:to>
                                        <p:strVal val="visible"/>
                                      </p:to>
                                    </p:set>
                                    <p:animEffect transition="in" filter="wipe(left)">
                                      <p:cBhvr>
                                        <p:cTn id="140" dur="500"/>
                                        <p:tgtEl>
                                          <p:spTgt spid="93"/>
                                        </p:tgtEl>
                                      </p:cBhvr>
                                    </p:animEffect>
                                  </p:childTnLst>
                                </p:cTn>
                              </p:par>
                              <p:par>
                                <p:cTn id="141" presetID="10" presetClass="entr" presetSubtype="0" fill="hold" nodeType="withEffect">
                                  <p:stCondLst>
                                    <p:cond delay="6750"/>
                                  </p:stCondLst>
                                  <p:childTnLst>
                                    <p:set>
                                      <p:cBhvr>
                                        <p:cTn id="142" dur="1" fill="hold">
                                          <p:stCondLst>
                                            <p:cond delay="0"/>
                                          </p:stCondLst>
                                        </p:cTn>
                                        <p:tgtEl>
                                          <p:spTgt spid="94"/>
                                        </p:tgtEl>
                                        <p:attrNameLst>
                                          <p:attrName>style.visibility</p:attrName>
                                        </p:attrNameLst>
                                      </p:cBhvr>
                                      <p:to>
                                        <p:strVal val="visible"/>
                                      </p:to>
                                    </p:set>
                                    <p:animEffect transition="in" filter="fade">
                                      <p:cBhvr>
                                        <p:cTn id="143" dur="500"/>
                                        <p:tgtEl>
                                          <p:spTgt spid="94"/>
                                        </p:tgtEl>
                                      </p:cBhvr>
                                    </p:animEffect>
                                  </p:childTnLst>
                                </p:cTn>
                              </p:par>
                              <p:par>
                                <p:cTn id="144" presetID="35" presetClass="path" presetSubtype="0" decel="100000" fill="hold" nodeType="withEffect">
                                  <p:stCondLst>
                                    <p:cond delay="6750"/>
                                  </p:stCondLst>
                                  <p:childTnLst>
                                    <p:animMotion origin="layout" path="M 0.31654 4.07407E-6 L 2.08167E-17 4.07407E-6 " pathEditMode="relative" rAng="0" ptsTypes="AA">
                                      <p:cBhvr>
                                        <p:cTn id="145" dur="500" fill="hold"/>
                                        <p:tgtEl>
                                          <p:spTgt spid="94"/>
                                        </p:tgtEl>
                                        <p:attrNameLst>
                                          <p:attrName>ppt_x</p:attrName>
                                          <p:attrName>ppt_y</p:attrName>
                                        </p:attrNameLst>
                                      </p:cBhvr>
                                      <p:rCtr x="-15625" y="0"/>
                                    </p:animMotion>
                                  </p:childTnLst>
                                </p:cTn>
                              </p:par>
                              <p:par>
                                <p:cTn id="146" presetID="10" presetClass="entr" presetSubtype="0" fill="hold" grpId="0" nodeType="withEffect">
                                  <p:stCondLst>
                                    <p:cond delay="7000"/>
                                  </p:stCondLst>
                                  <p:childTnLst>
                                    <p:set>
                                      <p:cBhvr>
                                        <p:cTn id="147" dur="1" fill="hold">
                                          <p:stCondLst>
                                            <p:cond delay="0"/>
                                          </p:stCondLst>
                                        </p:cTn>
                                        <p:tgtEl>
                                          <p:spTgt spid="92"/>
                                        </p:tgtEl>
                                        <p:attrNameLst>
                                          <p:attrName>style.visibility</p:attrName>
                                        </p:attrNameLst>
                                      </p:cBhvr>
                                      <p:to>
                                        <p:strVal val="visible"/>
                                      </p:to>
                                    </p:set>
                                    <p:animEffect transition="in" filter="fade">
                                      <p:cBhvr>
                                        <p:cTn id="148"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41" grpId="0"/>
      <p:bldP spid="55" grpId="0"/>
      <p:bldP spid="61" grpId="0"/>
      <p:bldP spid="67" grpId="0"/>
      <p:bldP spid="74" grpId="0"/>
      <p:bldP spid="80" grpId="0"/>
      <p:bldP spid="86" grpId="0"/>
      <p:bldP spid="9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035475" y="364422"/>
            <a:ext cx="4679525" cy="720197"/>
          </a:xfrm>
          <a:prstGeom prst="rect">
            <a:avLst/>
          </a:prstGeom>
          <a:noFill/>
        </p:spPr>
        <p:txBody>
          <a:bodyPr wrap="square" rtlCol="0">
            <a:spAutoFit/>
            <a:scene3d>
              <a:camera prst="orthographicFront"/>
              <a:lightRig rig="threePt" dir="t"/>
            </a:scene3d>
            <a:sp3d>
              <a:bevelT w="0" h="0" prst="artDeco"/>
            </a:sp3d>
          </a:bodyPr>
          <a:lstStyle/>
          <a:p>
            <a:pPr algn="l" defTabSz="914400">
              <a:lnSpc>
                <a:spcPct val="85000"/>
              </a:lnSpc>
              <a:spcBef>
                <a:spcPts val="0"/>
              </a:spcBef>
            </a:pPr>
            <a:r>
              <a:rPr lang="en-US" sz="4800" b="1" dirty="0">
                <a:solidFill>
                  <a:srgbClr val="404041"/>
                </a:solidFill>
                <a:latin typeface="Verdana" panose="020B0604030504040204" pitchFamily="34" charset="0"/>
                <a:ea typeface="Verdana" panose="020B0604030504040204" pitchFamily="34" charset="0"/>
                <a:cs typeface="Verdana" panose="020B0604030504040204" pitchFamily="34" charset="0"/>
              </a:rPr>
              <a:t>REFERENCES</a:t>
            </a:r>
          </a:p>
        </p:txBody>
      </p:sp>
      <p:pic>
        <p:nvPicPr>
          <p:cNvPr id="24" name="Graphic 23">
            <a:extLst>
              <a:ext uri="{FF2B5EF4-FFF2-40B4-BE49-F238E27FC236}">
                <a16:creationId xmlns="" xmlns:a16="http://schemas.microsoft.com/office/drawing/2014/main" id="{579D6A33-DD99-4CC1-9B42-3F10C2AD652C}"/>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1345612" y="6490506"/>
            <a:ext cx="720740" cy="276876"/>
          </a:xfrm>
          <a:prstGeom prst="rect">
            <a:avLst/>
          </a:prstGeom>
        </p:spPr>
      </p:pic>
      <p:sp>
        <p:nvSpPr>
          <p:cNvPr id="28" name="Rectangle 27">
            <a:extLst>
              <a:ext uri="{FF2B5EF4-FFF2-40B4-BE49-F238E27FC236}">
                <a16:creationId xmlns="" xmlns:a16="http://schemas.microsoft.com/office/drawing/2014/main" id="{F7605A4B-1D52-4F42-BABD-663796A4816E}"/>
              </a:ext>
            </a:extLst>
          </p:cNvPr>
          <p:cNvSpPr/>
          <p:nvPr/>
        </p:nvSpPr>
        <p:spPr>
          <a:xfrm>
            <a:off x="1101791" y="1524000"/>
            <a:ext cx="4846552" cy="942566"/>
          </a:xfrm>
          <a:prstGeom prst="rect">
            <a:avLst/>
          </a:prstGeom>
        </p:spPr>
        <p:txBody>
          <a:bodyPr wrap="square">
            <a:spAutoFit/>
          </a:bodyPr>
          <a:lstStyle/>
          <a:p>
            <a:pPr lvl="0">
              <a:lnSpc>
                <a:spcPct val="85000"/>
              </a:lnSpc>
              <a:defRPr/>
            </a:pPr>
            <a:r>
              <a:rPr lang="en-US" sz="1300" dirty="0">
                <a:latin typeface="Verdana" panose="020B0604030504040204" pitchFamily="34" charset="0"/>
                <a:ea typeface="Verdana" panose="020B0604030504040204" pitchFamily="34" charset="0"/>
                <a:cs typeface="Verdana" panose="020B0604030504040204" pitchFamily="34" charset="0"/>
              </a:rPr>
              <a:t>Corporation, </a:t>
            </a:r>
            <a:r>
              <a:rPr lang="en-US" sz="1300" dirty="0" err="1">
                <a:latin typeface="Verdana" panose="020B0604030504040204" pitchFamily="34" charset="0"/>
                <a:ea typeface="Verdana" panose="020B0604030504040204" pitchFamily="34" charset="0"/>
                <a:cs typeface="Verdana" panose="020B0604030504040204" pitchFamily="34" charset="0"/>
              </a:rPr>
              <a:t>Sabratek</a:t>
            </a:r>
            <a:r>
              <a:rPr lang="en-US" sz="1300" dirty="0">
                <a:latin typeface="Verdana" panose="020B0604030504040204" pitchFamily="34" charset="0"/>
                <a:ea typeface="Verdana" panose="020B0604030504040204" pitchFamily="34" charset="0"/>
                <a:cs typeface="Verdana" panose="020B0604030504040204" pitchFamily="34" charset="0"/>
              </a:rPr>
              <a:t>. “</a:t>
            </a:r>
            <a:r>
              <a:rPr lang="en-US" sz="1300" dirty="0" err="1">
                <a:latin typeface="Verdana" panose="020B0604030504040204" pitchFamily="34" charset="0"/>
                <a:ea typeface="Verdana" panose="020B0604030504040204" pitchFamily="34" charset="0"/>
                <a:cs typeface="Verdana" panose="020B0604030504040204" pitchFamily="34" charset="0"/>
              </a:rPr>
              <a:t>Sabratek</a:t>
            </a:r>
            <a:r>
              <a:rPr lang="en-US" sz="1300" dirty="0">
                <a:latin typeface="Verdana" panose="020B0604030504040204" pitchFamily="34" charset="0"/>
                <a:ea typeface="Verdana" panose="020B0604030504040204" pitchFamily="34" charset="0"/>
                <a:cs typeface="Verdana" panose="020B0604030504040204" pitchFamily="34" charset="0"/>
              </a:rPr>
              <a:t> Halts Distribution of </a:t>
            </a:r>
            <a:r>
              <a:rPr lang="en-US" sz="1300" dirty="0" err="1">
                <a:latin typeface="Verdana" panose="020B0604030504040204" pitchFamily="34" charset="0"/>
                <a:ea typeface="Verdana" panose="020B0604030504040204" pitchFamily="34" charset="0"/>
                <a:cs typeface="Verdana" panose="020B0604030504040204" pitchFamily="34" charset="0"/>
              </a:rPr>
              <a:t>Rocap</a:t>
            </a:r>
            <a:r>
              <a:rPr lang="en-US" sz="1300" dirty="0">
                <a:latin typeface="Verdana" panose="020B0604030504040204" pitchFamily="34" charset="0"/>
                <a:ea typeface="Verdana" panose="020B0604030504040204" pitchFamily="34" charset="0"/>
                <a:cs typeface="Verdana" panose="020B0604030504040204" pitchFamily="34" charset="0"/>
              </a:rPr>
              <a:t>.” PR Newswire: news distribution, targeting and monitoring, 23 Nov. 1998, www.prnewswire.com/news-releases/sabratek-halts-distribution-of-rocap-77525497.html#.</a:t>
            </a:r>
            <a:endParaRPr kumimoji="0" lang="en-US" sz="1300" b="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37" name="Straight Connector 36">
            <a:extLst>
              <a:ext uri="{FF2B5EF4-FFF2-40B4-BE49-F238E27FC236}">
                <a16:creationId xmlns="" xmlns:a16="http://schemas.microsoft.com/office/drawing/2014/main" id="{2805566E-4CD3-4911-949E-B3F1EE8653E4}"/>
              </a:ext>
            </a:extLst>
          </p:cNvPr>
          <p:cNvCxnSpPr>
            <a:cxnSpLocks/>
          </p:cNvCxnSpPr>
          <p:nvPr/>
        </p:nvCxnSpPr>
        <p:spPr>
          <a:xfrm>
            <a:off x="941231" y="1498064"/>
            <a:ext cx="487944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 xmlns:a16="http://schemas.microsoft.com/office/drawing/2014/main" id="{B683CA1D-0C21-4623-A83F-D5A2953B5EBA}"/>
              </a:ext>
            </a:extLst>
          </p:cNvPr>
          <p:cNvCxnSpPr>
            <a:cxnSpLocks/>
          </p:cNvCxnSpPr>
          <p:nvPr/>
        </p:nvCxnSpPr>
        <p:spPr>
          <a:xfrm>
            <a:off x="1178091" y="1506008"/>
            <a:ext cx="1204686"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2" name="Group 111">
            <a:extLst>
              <a:ext uri="{FF2B5EF4-FFF2-40B4-BE49-F238E27FC236}">
                <a16:creationId xmlns="" xmlns:a16="http://schemas.microsoft.com/office/drawing/2014/main" id="{A1E732A9-CC59-4D86-A857-FD698B117AE6}"/>
              </a:ext>
            </a:extLst>
          </p:cNvPr>
          <p:cNvGrpSpPr/>
          <p:nvPr/>
        </p:nvGrpSpPr>
        <p:grpSpPr>
          <a:xfrm>
            <a:off x="424414" y="1382698"/>
            <a:ext cx="670436" cy="577961"/>
            <a:chOff x="424414" y="1382698"/>
            <a:chExt cx="670436" cy="577961"/>
          </a:xfrm>
        </p:grpSpPr>
        <p:sp>
          <p:nvSpPr>
            <p:cNvPr id="25" name="Isosceles Triangle 24">
              <a:extLst>
                <a:ext uri="{FF2B5EF4-FFF2-40B4-BE49-F238E27FC236}">
                  <a16:creationId xmlns="" xmlns:a16="http://schemas.microsoft.com/office/drawing/2014/main" id="{90BCEF73-5B94-483D-8982-311A2142F404}"/>
                </a:ext>
              </a:extLst>
            </p:cNvPr>
            <p:cNvSpPr/>
            <p:nvPr/>
          </p:nvSpPr>
          <p:spPr>
            <a:xfrm rot="10800000">
              <a:off x="424415" y="1382698"/>
              <a:ext cx="670435" cy="577961"/>
            </a:xfrm>
            <a:prstGeom prst="triangl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 xmlns:a16="http://schemas.microsoft.com/office/drawing/2014/main" id="{3F73D663-5445-49C4-8386-68F7FB9A270F}"/>
                </a:ext>
              </a:extLst>
            </p:cNvPr>
            <p:cNvSpPr txBox="1"/>
            <p:nvPr/>
          </p:nvSpPr>
          <p:spPr>
            <a:xfrm>
              <a:off x="424414" y="1395476"/>
              <a:ext cx="67043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PT" sz="1400" b="1" i="0" u="none" strike="noStrike" kern="1200" cap="none" spc="0" normalizeH="0" baseline="0" noProof="0" dirty="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19</a:t>
              </a:r>
              <a:endParaRPr kumimoji="0" lang="pt-PT"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cxnSp>
        <p:nvCxnSpPr>
          <p:cNvPr id="42" name="Straight Connector 41">
            <a:extLst>
              <a:ext uri="{FF2B5EF4-FFF2-40B4-BE49-F238E27FC236}">
                <a16:creationId xmlns="" xmlns:a16="http://schemas.microsoft.com/office/drawing/2014/main" id="{2865EF75-8FD7-4B6B-8C6D-D9F77F5250F6}"/>
              </a:ext>
            </a:extLst>
          </p:cNvPr>
          <p:cNvCxnSpPr>
            <a:cxnSpLocks/>
          </p:cNvCxnSpPr>
          <p:nvPr/>
        </p:nvCxnSpPr>
        <p:spPr>
          <a:xfrm>
            <a:off x="941231" y="2533829"/>
            <a:ext cx="487944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 xmlns:a16="http://schemas.microsoft.com/office/drawing/2014/main" id="{BC42C877-08F7-463F-90FE-A125E911FC3C}"/>
              </a:ext>
            </a:extLst>
          </p:cNvPr>
          <p:cNvCxnSpPr>
            <a:cxnSpLocks/>
          </p:cNvCxnSpPr>
          <p:nvPr/>
        </p:nvCxnSpPr>
        <p:spPr>
          <a:xfrm>
            <a:off x="1178091" y="2541773"/>
            <a:ext cx="1204686" cy="0"/>
          </a:xfrm>
          <a:prstGeom prst="line">
            <a:avLst/>
          </a:prstGeom>
          <a:ln w="571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 xmlns:a16="http://schemas.microsoft.com/office/drawing/2014/main" id="{28AAA571-82A6-4093-8FE6-8A06058838D1}"/>
              </a:ext>
            </a:extLst>
          </p:cNvPr>
          <p:cNvGrpSpPr/>
          <p:nvPr/>
        </p:nvGrpSpPr>
        <p:grpSpPr>
          <a:xfrm>
            <a:off x="401870" y="2418463"/>
            <a:ext cx="692980" cy="577961"/>
            <a:chOff x="401870" y="2418463"/>
            <a:chExt cx="692980" cy="577961"/>
          </a:xfrm>
        </p:grpSpPr>
        <p:sp>
          <p:nvSpPr>
            <p:cNvPr id="44" name="Isosceles Triangle 43">
              <a:extLst>
                <a:ext uri="{FF2B5EF4-FFF2-40B4-BE49-F238E27FC236}">
                  <a16:creationId xmlns="" xmlns:a16="http://schemas.microsoft.com/office/drawing/2014/main" id="{6888C2A8-29CE-4955-9F3C-4F27436CB42B}"/>
                </a:ext>
              </a:extLst>
            </p:cNvPr>
            <p:cNvSpPr/>
            <p:nvPr/>
          </p:nvSpPr>
          <p:spPr>
            <a:xfrm rot="10800000">
              <a:off x="424415" y="2418463"/>
              <a:ext cx="670435" cy="577961"/>
            </a:xfrm>
            <a:prstGeom prst="triangl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5" name="TextBox 44">
              <a:extLst>
                <a:ext uri="{FF2B5EF4-FFF2-40B4-BE49-F238E27FC236}">
                  <a16:creationId xmlns="" xmlns:a16="http://schemas.microsoft.com/office/drawing/2014/main" id="{97FC15F1-605D-4F68-9FC7-CCD89E96463D}"/>
                </a:ext>
              </a:extLst>
            </p:cNvPr>
            <p:cNvSpPr txBox="1"/>
            <p:nvPr/>
          </p:nvSpPr>
          <p:spPr>
            <a:xfrm>
              <a:off x="401870" y="2432352"/>
              <a:ext cx="6929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PT" sz="1400" b="1" dirty="0" smtClean="0">
                  <a:solidFill>
                    <a:srgbClr val="FFFFFF"/>
                  </a:solidFill>
                  <a:latin typeface="Verdana" panose="020B0604030504040204" pitchFamily="34" charset="0"/>
                  <a:ea typeface="Verdana" panose="020B0604030504040204" pitchFamily="34" charset="0"/>
                  <a:cs typeface="Verdana" panose="020B0604030504040204" pitchFamily="34" charset="0"/>
                </a:rPr>
                <a:t>20</a:t>
              </a:r>
              <a:endParaRPr kumimoji="0" lang="pt-PT" sz="1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
        <p:nvSpPr>
          <p:cNvPr id="55" name="Rectangle 54">
            <a:extLst>
              <a:ext uri="{FF2B5EF4-FFF2-40B4-BE49-F238E27FC236}">
                <a16:creationId xmlns="" xmlns:a16="http://schemas.microsoft.com/office/drawing/2014/main" id="{0835E18D-5486-461A-81E2-AF65460505C0}"/>
              </a:ext>
            </a:extLst>
          </p:cNvPr>
          <p:cNvSpPr/>
          <p:nvPr/>
        </p:nvSpPr>
        <p:spPr>
          <a:xfrm>
            <a:off x="1101791" y="2656481"/>
            <a:ext cx="4718882" cy="772519"/>
          </a:xfrm>
          <a:prstGeom prst="rect">
            <a:avLst/>
          </a:prstGeom>
        </p:spPr>
        <p:txBody>
          <a:bodyPr wrap="square">
            <a:spAutoFit/>
          </a:bodyPr>
          <a:lstStyle/>
          <a:p>
            <a:pPr lvl="0">
              <a:lnSpc>
                <a:spcPct val="85000"/>
              </a:lnSpc>
              <a:defRPr/>
            </a:pPr>
            <a:r>
              <a:rPr lang="en-US" sz="1300" dirty="0">
                <a:latin typeface="Verdana" panose="020B0604030504040204" pitchFamily="34" charset="0"/>
                <a:ea typeface="Verdana" panose="020B0604030504040204" pitchFamily="34" charset="0"/>
                <a:cs typeface="Verdana" panose="020B0604030504040204" pitchFamily="34" charset="0"/>
              </a:rPr>
              <a:t>Nguyen, Christina </a:t>
            </a:r>
            <a:r>
              <a:rPr lang="en-US" sz="1300" dirty="0" err="1">
                <a:latin typeface="Verdana" panose="020B0604030504040204" pitchFamily="34" charset="0"/>
                <a:ea typeface="Verdana" panose="020B0604030504040204" pitchFamily="34" charset="0"/>
                <a:cs typeface="Verdana" panose="020B0604030504040204" pitchFamily="34" charset="0"/>
              </a:rPr>
              <a:t>JewettDan</a:t>
            </a:r>
            <a:r>
              <a:rPr lang="en-US" sz="1300" dirty="0">
                <a:latin typeface="Verdana" panose="020B0604030504040204" pitchFamily="34" charset="0"/>
                <a:ea typeface="Verdana" panose="020B0604030504040204" pitchFamily="34" charset="0"/>
                <a:cs typeface="Verdana" panose="020B0604030504040204" pitchFamily="34" charset="0"/>
              </a:rPr>
              <a:t>. “Timeline: How Contaminated Syringes Got From Factory to Patients.” </a:t>
            </a:r>
            <a:r>
              <a:rPr lang="en-US" sz="1300" i="1" dirty="0" err="1">
                <a:latin typeface="Verdana" panose="020B0604030504040204" pitchFamily="34" charset="0"/>
                <a:ea typeface="Verdana" panose="020B0604030504040204" pitchFamily="34" charset="0"/>
                <a:cs typeface="Verdana" panose="020B0604030504040204" pitchFamily="34" charset="0"/>
              </a:rPr>
              <a:t>ProPublica</a:t>
            </a:r>
            <a:r>
              <a:rPr lang="en-US" sz="1300" dirty="0">
                <a:latin typeface="Verdana" panose="020B0604030504040204" pitchFamily="34" charset="0"/>
                <a:ea typeface="Verdana" panose="020B0604030504040204" pitchFamily="34" charset="0"/>
                <a:cs typeface="Verdana" panose="020B0604030504040204" pitchFamily="34" charset="0"/>
              </a:rPr>
              <a:t>, 6 June 2009, www.propublica.org/article/timeline-am2pat.</a:t>
            </a:r>
            <a:endPar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6" name="Picture 15"/>
          <p:cNvPicPr>
            <a:picLocks noChangeAspect="1"/>
          </p:cNvPicPr>
          <p:nvPr/>
        </p:nvPicPr>
        <p:blipFill>
          <a:blip r:embed="rId4"/>
          <a:stretch>
            <a:fillRect/>
          </a:stretch>
        </p:blipFill>
        <p:spPr>
          <a:xfrm>
            <a:off x="76200" y="6629400"/>
            <a:ext cx="4619050" cy="195171"/>
          </a:xfrm>
          <a:prstGeom prst="rect">
            <a:avLst/>
          </a:prstGeom>
        </p:spPr>
      </p:pic>
    </p:spTree>
    <p:extLst>
      <p:ext uri="{BB962C8B-B14F-4D97-AF65-F5344CB8AC3E}">
        <p14:creationId xmlns:p14="http://schemas.microsoft.com/office/powerpoint/2010/main" val="550876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112"/>
                                        </p:tgtEl>
                                        <p:attrNameLst>
                                          <p:attrName>style.visibility</p:attrName>
                                        </p:attrNameLst>
                                      </p:cBhvr>
                                      <p:to>
                                        <p:strVal val="visible"/>
                                      </p:to>
                                    </p:set>
                                    <p:animEffect transition="in" filter="fade">
                                      <p:cBhvr>
                                        <p:cTn id="7" dur="500"/>
                                        <p:tgtEl>
                                          <p:spTgt spid="112"/>
                                        </p:tgtEl>
                                      </p:cBhvr>
                                    </p:animEffect>
                                  </p:childTnLst>
                                </p:cTn>
                              </p:par>
                              <p:par>
                                <p:cTn id="8" presetID="42" presetClass="path" presetSubtype="0" decel="100000" fill="hold" nodeType="withEffect">
                                  <p:stCondLst>
                                    <p:cond delay="250"/>
                                  </p:stCondLst>
                                  <p:childTnLst>
                                    <p:animMotion origin="layout" path="M 4.16667E-7 -0.08356 L 4.16667E-7 0 " pathEditMode="relative" rAng="0" ptsTypes="AA">
                                      <p:cBhvr>
                                        <p:cTn id="9" dur="500" fill="hold"/>
                                        <p:tgtEl>
                                          <p:spTgt spid="112"/>
                                        </p:tgtEl>
                                        <p:attrNameLst>
                                          <p:attrName>ppt_x</p:attrName>
                                          <p:attrName>ppt_y</p:attrName>
                                        </p:attrNameLst>
                                      </p:cBhvr>
                                      <p:rCtr x="0" y="4167"/>
                                    </p:animMotion>
                                  </p:childTnLst>
                                </p:cTn>
                              </p:par>
                              <p:par>
                                <p:cTn id="10" presetID="22" presetClass="entr" presetSubtype="8" fill="hold" nodeType="withEffect">
                                  <p:stCondLst>
                                    <p:cond delay="650"/>
                                  </p:stCondLst>
                                  <p:childTnLst>
                                    <p:set>
                                      <p:cBhvr>
                                        <p:cTn id="11" dur="1" fill="hold">
                                          <p:stCondLst>
                                            <p:cond delay="0"/>
                                          </p:stCondLst>
                                        </p:cTn>
                                        <p:tgtEl>
                                          <p:spTgt spid="37"/>
                                        </p:tgtEl>
                                        <p:attrNameLst>
                                          <p:attrName>style.visibility</p:attrName>
                                        </p:attrNameLst>
                                      </p:cBhvr>
                                      <p:to>
                                        <p:strVal val="visible"/>
                                      </p:to>
                                    </p:set>
                                    <p:animEffect transition="in" filter="wipe(left)">
                                      <p:cBhvr>
                                        <p:cTn id="12" dur="500"/>
                                        <p:tgtEl>
                                          <p:spTgt spid="37"/>
                                        </p:tgtEl>
                                      </p:cBhvr>
                                    </p:animEffect>
                                  </p:childTnLst>
                                </p:cTn>
                              </p:par>
                              <p:par>
                                <p:cTn id="13" presetID="10" presetClass="entr" presetSubtype="0" fill="hold" nodeType="withEffect">
                                  <p:stCondLst>
                                    <p:cond delay="750"/>
                                  </p:stCondLst>
                                  <p:childTnLst>
                                    <p:set>
                                      <p:cBhvr>
                                        <p:cTn id="14" dur="1" fill="hold">
                                          <p:stCondLst>
                                            <p:cond delay="0"/>
                                          </p:stCondLst>
                                        </p:cTn>
                                        <p:tgtEl>
                                          <p:spTgt spid="38"/>
                                        </p:tgtEl>
                                        <p:attrNameLst>
                                          <p:attrName>style.visibility</p:attrName>
                                        </p:attrNameLst>
                                      </p:cBhvr>
                                      <p:to>
                                        <p:strVal val="visible"/>
                                      </p:to>
                                    </p:set>
                                    <p:animEffect transition="in" filter="fade">
                                      <p:cBhvr>
                                        <p:cTn id="15" dur="500"/>
                                        <p:tgtEl>
                                          <p:spTgt spid="38"/>
                                        </p:tgtEl>
                                      </p:cBhvr>
                                    </p:animEffect>
                                  </p:childTnLst>
                                </p:cTn>
                              </p:par>
                              <p:par>
                                <p:cTn id="16" presetID="35" presetClass="path" presetSubtype="0" decel="100000" fill="hold" nodeType="withEffect">
                                  <p:stCondLst>
                                    <p:cond delay="750"/>
                                  </p:stCondLst>
                                  <p:childTnLst>
                                    <p:animMotion origin="layout" path="M 0.31654 4.07407E-6 L 2.08167E-17 4.07407E-6 " pathEditMode="relative" rAng="0" ptsTypes="AA">
                                      <p:cBhvr>
                                        <p:cTn id="17" dur="500" fill="hold"/>
                                        <p:tgtEl>
                                          <p:spTgt spid="38"/>
                                        </p:tgtEl>
                                        <p:attrNameLst>
                                          <p:attrName>ppt_x</p:attrName>
                                          <p:attrName>ppt_y</p:attrName>
                                        </p:attrNameLst>
                                      </p:cBhvr>
                                      <p:rCtr x="-15625" y="0"/>
                                    </p:animMotion>
                                  </p:childTnLst>
                                </p:cTn>
                              </p:par>
                              <p:par>
                                <p:cTn id="18" presetID="10" presetClass="entr" presetSubtype="0" fill="hold" grpId="0" nodeType="withEffect">
                                  <p:stCondLst>
                                    <p:cond delay="1000"/>
                                  </p:stCondLst>
                                  <p:childTnLst>
                                    <p:set>
                                      <p:cBhvr>
                                        <p:cTn id="19" dur="1" fill="hold">
                                          <p:stCondLst>
                                            <p:cond delay="0"/>
                                          </p:stCondLst>
                                        </p:cTn>
                                        <p:tgtEl>
                                          <p:spTgt spid="28"/>
                                        </p:tgtEl>
                                        <p:attrNameLst>
                                          <p:attrName>style.visibility</p:attrName>
                                        </p:attrNameLst>
                                      </p:cBhvr>
                                      <p:to>
                                        <p:strVal val="visible"/>
                                      </p:to>
                                    </p:set>
                                    <p:animEffect transition="in" filter="fade">
                                      <p:cBhvr>
                                        <p:cTn id="20" dur="500"/>
                                        <p:tgtEl>
                                          <p:spTgt spid="28"/>
                                        </p:tgtEl>
                                      </p:cBhvr>
                                    </p:animEffect>
                                  </p:childTnLst>
                                </p:cTn>
                              </p:par>
                              <p:par>
                                <p:cTn id="21" presetID="10" presetClass="entr" presetSubtype="0" fill="hold" nodeType="withEffect">
                                  <p:stCondLst>
                                    <p:cond delay="1000"/>
                                  </p:stCondLst>
                                  <p:childTnLst>
                                    <p:set>
                                      <p:cBhvr>
                                        <p:cTn id="22" dur="1" fill="hold">
                                          <p:stCondLst>
                                            <p:cond delay="0"/>
                                          </p:stCondLst>
                                        </p:cTn>
                                        <p:tgtEl>
                                          <p:spTgt spid="113"/>
                                        </p:tgtEl>
                                        <p:attrNameLst>
                                          <p:attrName>style.visibility</p:attrName>
                                        </p:attrNameLst>
                                      </p:cBhvr>
                                      <p:to>
                                        <p:strVal val="visible"/>
                                      </p:to>
                                    </p:set>
                                    <p:animEffect transition="in" filter="fade">
                                      <p:cBhvr>
                                        <p:cTn id="23" dur="500"/>
                                        <p:tgtEl>
                                          <p:spTgt spid="113"/>
                                        </p:tgtEl>
                                      </p:cBhvr>
                                    </p:animEffect>
                                  </p:childTnLst>
                                </p:cTn>
                              </p:par>
                              <p:par>
                                <p:cTn id="24" presetID="42" presetClass="path" presetSubtype="0" decel="100000" fill="hold" nodeType="withEffect">
                                  <p:stCondLst>
                                    <p:cond delay="1000"/>
                                  </p:stCondLst>
                                  <p:childTnLst>
                                    <p:animMotion origin="layout" path="M 1.875E-6 -0.08357 L 1.875E-6 4.07407E-6 " pathEditMode="relative" rAng="0" ptsTypes="AA">
                                      <p:cBhvr>
                                        <p:cTn id="25" dur="500" fill="hold"/>
                                        <p:tgtEl>
                                          <p:spTgt spid="113"/>
                                        </p:tgtEl>
                                        <p:attrNameLst>
                                          <p:attrName>ppt_x</p:attrName>
                                          <p:attrName>ppt_y</p:attrName>
                                        </p:attrNameLst>
                                      </p:cBhvr>
                                      <p:rCtr x="0" y="4167"/>
                                    </p:animMotion>
                                  </p:childTnLst>
                                </p:cTn>
                              </p:par>
                              <p:par>
                                <p:cTn id="26" presetID="22" presetClass="entr" presetSubtype="8" fill="hold" nodeType="withEffect">
                                  <p:stCondLst>
                                    <p:cond delay="1350"/>
                                  </p:stCondLst>
                                  <p:childTnLst>
                                    <p:set>
                                      <p:cBhvr>
                                        <p:cTn id="27" dur="1" fill="hold">
                                          <p:stCondLst>
                                            <p:cond delay="0"/>
                                          </p:stCondLst>
                                        </p:cTn>
                                        <p:tgtEl>
                                          <p:spTgt spid="42"/>
                                        </p:tgtEl>
                                        <p:attrNameLst>
                                          <p:attrName>style.visibility</p:attrName>
                                        </p:attrNameLst>
                                      </p:cBhvr>
                                      <p:to>
                                        <p:strVal val="visible"/>
                                      </p:to>
                                    </p:set>
                                    <p:animEffect transition="in" filter="wipe(left)">
                                      <p:cBhvr>
                                        <p:cTn id="28" dur="500"/>
                                        <p:tgtEl>
                                          <p:spTgt spid="42"/>
                                        </p:tgtEl>
                                      </p:cBhvr>
                                    </p:animEffect>
                                  </p:childTnLst>
                                </p:cTn>
                              </p:par>
                              <p:par>
                                <p:cTn id="29" presetID="10" presetClass="entr" presetSubtype="0" fill="hold" nodeType="withEffect">
                                  <p:stCondLst>
                                    <p:cond delay="1500"/>
                                  </p:stCondLst>
                                  <p:childTnLst>
                                    <p:set>
                                      <p:cBhvr>
                                        <p:cTn id="30" dur="1" fill="hold">
                                          <p:stCondLst>
                                            <p:cond delay="0"/>
                                          </p:stCondLst>
                                        </p:cTn>
                                        <p:tgtEl>
                                          <p:spTgt spid="43"/>
                                        </p:tgtEl>
                                        <p:attrNameLst>
                                          <p:attrName>style.visibility</p:attrName>
                                        </p:attrNameLst>
                                      </p:cBhvr>
                                      <p:to>
                                        <p:strVal val="visible"/>
                                      </p:to>
                                    </p:set>
                                    <p:animEffect transition="in" filter="fade">
                                      <p:cBhvr>
                                        <p:cTn id="31" dur="500"/>
                                        <p:tgtEl>
                                          <p:spTgt spid="43"/>
                                        </p:tgtEl>
                                      </p:cBhvr>
                                    </p:animEffect>
                                  </p:childTnLst>
                                </p:cTn>
                              </p:par>
                              <p:par>
                                <p:cTn id="32" presetID="35" presetClass="path" presetSubtype="0" decel="100000" fill="hold" nodeType="withEffect">
                                  <p:stCondLst>
                                    <p:cond delay="1500"/>
                                  </p:stCondLst>
                                  <p:childTnLst>
                                    <p:animMotion origin="layout" path="M 0.31654 4.07407E-6 L 2.08167E-17 4.07407E-6 " pathEditMode="relative" rAng="0" ptsTypes="AA">
                                      <p:cBhvr>
                                        <p:cTn id="33" dur="500" fill="hold"/>
                                        <p:tgtEl>
                                          <p:spTgt spid="43"/>
                                        </p:tgtEl>
                                        <p:attrNameLst>
                                          <p:attrName>ppt_x</p:attrName>
                                          <p:attrName>ppt_y</p:attrName>
                                        </p:attrNameLst>
                                      </p:cBhvr>
                                      <p:rCtr x="-15625" y="0"/>
                                    </p:animMotion>
                                  </p:childTnLst>
                                </p:cTn>
                              </p:par>
                              <p:par>
                                <p:cTn id="34" presetID="10" presetClass="entr" presetSubtype="0" fill="hold" grpId="0" nodeType="withEffect">
                                  <p:stCondLst>
                                    <p:cond delay="2500"/>
                                  </p:stCondLst>
                                  <p:childTnLst>
                                    <p:set>
                                      <p:cBhvr>
                                        <p:cTn id="35" dur="1" fill="hold">
                                          <p:stCondLst>
                                            <p:cond delay="0"/>
                                          </p:stCondLst>
                                        </p:cTn>
                                        <p:tgtEl>
                                          <p:spTgt spid="55"/>
                                        </p:tgtEl>
                                        <p:attrNameLst>
                                          <p:attrName>style.visibility</p:attrName>
                                        </p:attrNameLst>
                                      </p:cBhvr>
                                      <p:to>
                                        <p:strVal val="visible"/>
                                      </p:to>
                                    </p:set>
                                    <p:animEffect transition="in" filter="fade">
                                      <p:cBhvr>
                                        <p:cTn id="36"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5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 xmlns:a16="http://schemas.microsoft.com/office/drawing/2014/main" id="{AAF6D7C4-24D2-4F10-B738-60084B9FB5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58"/>
            <a:ext cx="12188976" cy="6856298"/>
          </a:xfrm>
          <a:prstGeom prst="rect">
            <a:avLst/>
          </a:prstGeom>
        </p:spPr>
      </p:pic>
      <p:sp>
        <p:nvSpPr>
          <p:cNvPr id="12" name="Rectangle 11">
            <a:extLst>
              <a:ext uri="{FF2B5EF4-FFF2-40B4-BE49-F238E27FC236}">
                <a16:creationId xmlns="" xmlns:a16="http://schemas.microsoft.com/office/drawing/2014/main" id="{FF0C6604-42DF-43A5-86DB-2268DC1A67A2}"/>
              </a:ext>
            </a:extLst>
          </p:cNvPr>
          <p:cNvSpPr/>
          <p:nvPr/>
        </p:nvSpPr>
        <p:spPr>
          <a:xfrm rot="5400000" flipH="1" flipV="1">
            <a:off x="-2057801" y="2057803"/>
            <a:ext cx="6858802" cy="2743200"/>
          </a:xfrm>
          <a:prstGeom prst="rect">
            <a:avLst/>
          </a:prstGeom>
          <a:solidFill>
            <a:srgbClr val="F26926">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Isosceles Triangle 12">
            <a:extLst>
              <a:ext uri="{FF2B5EF4-FFF2-40B4-BE49-F238E27FC236}">
                <a16:creationId xmlns="" xmlns:a16="http://schemas.microsoft.com/office/drawing/2014/main" id="{E4F81EDD-82D5-420C-8247-48CE65D7C2BA}"/>
              </a:ext>
            </a:extLst>
          </p:cNvPr>
          <p:cNvSpPr/>
          <p:nvPr/>
        </p:nvSpPr>
        <p:spPr>
          <a:xfrm flipH="1" flipV="1">
            <a:off x="1714500" y="1"/>
            <a:ext cx="2404615" cy="2410333"/>
          </a:xfrm>
          <a:prstGeom prst="triangle">
            <a:avLst/>
          </a:prstGeom>
          <a:solidFill>
            <a:srgbClr val="D5500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Isosceles Triangle 13">
            <a:extLst>
              <a:ext uri="{FF2B5EF4-FFF2-40B4-BE49-F238E27FC236}">
                <a16:creationId xmlns="" xmlns:a16="http://schemas.microsoft.com/office/drawing/2014/main" id="{541B2283-9580-4804-9CA3-C93C6EEADAD9}"/>
              </a:ext>
            </a:extLst>
          </p:cNvPr>
          <p:cNvSpPr/>
          <p:nvPr/>
        </p:nvSpPr>
        <p:spPr>
          <a:xfrm rot="10800000" flipH="1" flipV="1">
            <a:off x="-838200" y="1300251"/>
            <a:ext cx="6400797" cy="5553201"/>
          </a:xfrm>
          <a:prstGeom prst="triangle">
            <a:avLst/>
          </a:prstGeom>
          <a:solidFill>
            <a:srgbClr val="F269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 xmlns:a16="http://schemas.microsoft.com/office/drawing/2014/main" id="{A0E41C13-4B64-4D3F-8B13-7620B469C143}"/>
              </a:ext>
            </a:extLst>
          </p:cNvPr>
          <p:cNvSpPr txBox="1"/>
          <p:nvPr/>
        </p:nvSpPr>
        <p:spPr>
          <a:xfrm>
            <a:off x="457200" y="5029200"/>
            <a:ext cx="3757165" cy="667875"/>
          </a:xfrm>
          <a:prstGeom prst="rect">
            <a:avLst/>
          </a:prstGeom>
          <a:noFill/>
        </p:spPr>
        <p:txBody>
          <a:bodyPr wrap="square" rtlCol="0">
            <a:spAutoFit/>
            <a:scene3d>
              <a:camera prst="orthographicFront"/>
              <a:lightRig rig="threePt" dir="t"/>
            </a:scene3d>
            <a:sp3d>
              <a:bevelT w="0" h="0" prst="artDeco"/>
            </a:sp3d>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pt-PT" sz="44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PPENDIX</a:t>
            </a:r>
            <a:endParaRPr kumimoji="0" lang="pt-PT" sz="36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50990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750" fill="hold"/>
                                        <p:tgtEl>
                                          <p:spTgt spid="13"/>
                                        </p:tgtEl>
                                        <p:attrNameLst>
                                          <p:attrName>ppt_x</p:attrName>
                                        </p:attrNameLst>
                                      </p:cBhvr>
                                      <p:tavLst>
                                        <p:tav tm="0">
                                          <p:val>
                                            <p:strVal val="#ppt_x"/>
                                          </p:val>
                                        </p:tav>
                                        <p:tav tm="100000">
                                          <p:val>
                                            <p:strVal val="#ppt_x"/>
                                          </p:val>
                                        </p:tav>
                                      </p:tavLst>
                                    </p:anim>
                                    <p:anim calcmode="lin" valueType="num">
                                      <p:cBhvr additive="base">
                                        <p:cTn id="8" dur="750" fill="hold"/>
                                        <p:tgtEl>
                                          <p:spTgt spid="13"/>
                                        </p:tgtEl>
                                        <p:attrNameLst>
                                          <p:attrName>ppt_y</p:attrName>
                                        </p:attrNameLst>
                                      </p:cBhvr>
                                      <p:tavLst>
                                        <p:tav tm="0">
                                          <p:val>
                                            <p:strVal val="0-#ppt_h/2"/>
                                          </p:val>
                                        </p:tav>
                                        <p:tav tm="100000">
                                          <p:val>
                                            <p:strVal val="#ppt_y"/>
                                          </p:val>
                                        </p:tav>
                                      </p:tavLst>
                                    </p:anim>
                                  </p:childTnLst>
                                </p:cTn>
                              </p:par>
                              <p:par>
                                <p:cTn id="9" presetID="2" presetClass="entr" presetSubtype="4" decel="10000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750" fill="hold"/>
                                        <p:tgtEl>
                                          <p:spTgt spid="14"/>
                                        </p:tgtEl>
                                        <p:attrNameLst>
                                          <p:attrName>ppt_x</p:attrName>
                                        </p:attrNameLst>
                                      </p:cBhvr>
                                      <p:tavLst>
                                        <p:tav tm="0">
                                          <p:val>
                                            <p:strVal val="#ppt_x"/>
                                          </p:val>
                                        </p:tav>
                                        <p:tav tm="100000">
                                          <p:val>
                                            <p:strVal val="#ppt_x"/>
                                          </p:val>
                                        </p:tav>
                                      </p:tavLst>
                                    </p:anim>
                                    <p:anim calcmode="lin" valueType="num">
                                      <p:cBhvr additive="base">
                                        <p:cTn id="12" dur="750" fill="hold"/>
                                        <p:tgtEl>
                                          <p:spTgt spid="14"/>
                                        </p:tgtEl>
                                        <p:attrNameLst>
                                          <p:attrName>ppt_y</p:attrName>
                                        </p:attrNameLst>
                                      </p:cBhvr>
                                      <p:tavLst>
                                        <p:tav tm="0">
                                          <p:val>
                                            <p:strVal val="1+#ppt_h/2"/>
                                          </p:val>
                                        </p:tav>
                                        <p:tav tm="100000">
                                          <p:val>
                                            <p:strVal val="#ppt_y"/>
                                          </p:val>
                                        </p:tav>
                                      </p:tavLst>
                                    </p:anim>
                                  </p:childTnLst>
                                </p:cTn>
                              </p:par>
                              <p:par>
                                <p:cTn id="13" presetID="2" presetClass="entr" presetSubtype="8" decel="100000" fill="hold" grpId="0" nodeType="withEffect">
                                  <p:stCondLst>
                                    <p:cond delay="25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750" fill="hold"/>
                                        <p:tgtEl>
                                          <p:spTgt spid="12"/>
                                        </p:tgtEl>
                                        <p:attrNameLst>
                                          <p:attrName>ppt_x</p:attrName>
                                        </p:attrNameLst>
                                      </p:cBhvr>
                                      <p:tavLst>
                                        <p:tav tm="0">
                                          <p:val>
                                            <p:strVal val="0-#ppt_w/2"/>
                                          </p:val>
                                        </p:tav>
                                        <p:tav tm="100000">
                                          <p:val>
                                            <p:strVal val="#ppt_x"/>
                                          </p:val>
                                        </p:tav>
                                      </p:tavLst>
                                    </p:anim>
                                    <p:anim calcmode="lin" valueType="num">
                                      <p:cBhvr additive="base">
                                        <p:cTn id="16" dur="750" fill="hold"/>
                                        <p:tgtEl>
                                          <p:spTgt spid="12"/>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75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7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6858000" y="361189"/>
            <a:ext cx="4181272" cy="1505027"/>
          </a:xfrm>
          <a:prstGeom prst="rect">
            <a:avLst/>
          </a:prstGeom>
          <a:noFill/>
          <a:ln>
            <a:noFill/>
          </a:ln>
        </p:spPr>
        <p:txBody>
          <a:bodyPr wrap="square"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Contaminated prefilled saline flush syringes manufactured by </a:t>
            </a:r>
            <a:r>
              <a:rPr kumimoji="0" lang="en-US" sz="1200" b="1" i="1"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Nurse Assist</a:t>
            </a:r>
            <a:r>
              <a:rPr kumimoji="0" lang="en-US" sz="1200" b="0" i="1"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2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may have caused more </a:t>
            </a:r>
            <a:r>
              <a:rPr kumimoji="0" lang="en-US" sz="1200" b="0" i="1" u="none" strike="noStrike" kern="1200" cap="none" spc="0" normalizeH="0" baseline="0" noProof="0" dirty="0" smtClean="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than </a:t>
            </a:r>
            <a:r>
              <a:rPr kumimoji="0" lang="en-US" sz="1200" b="1" i="1" u="none" strike="noStrike" kern="1200" cap="none" spc="0" normalizeH="0" baseline="0" noProof="0" dirty="0" smtClean="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164 </a:t>
            </a:r>
            <a:r>
              <a:rPr kumimoji="0" lang="en-US" sz="12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bloodstream infections</a:t>
            </a:r>
            <a:r>
              <a:rPr kumimoji="0" lang="en-US" sz="12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cross several states in 59 healthcare facilities… in total, </a:t>
            </a:r>
            <a:r>
              <a:rPr kumimoji="0" lang="en-US" sz="12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7 patients diagnosed with the infection </a:t>
            </a:r>
            <a:r>
              <a:rPr kumimoji="0" lang="en-US" sz="1200" b="1" i="1" u="none" strike="noStrike" kern="1200" cap="none" spc="0" normalizeH="0" baseline="0" noProof="0" dirty="0" smtClean="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have </a:t>
            </a:r>
            <a:r>
              <a:rPr kumimoji="0" lang="en-US" sz="12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died</a:t>
            </a:r>
            <a:r>
              <a:rPr kumimoji="0" lang="en-US" sz="1200" b="0" i="1" u="none" strike="noStrike" kern="1200" cap="none" spc="0" normalizeH="0" baseline="3000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3 </a:t>
            </a:r>
            <a:endParaRPr kumimoji="0" lang="en-US" sz="1200" b="0" i="1" u="none" strike="noStrike" kern="1200" cap="none" spc="0" normalizeH="0" baseline="30000" noProof="0" dirty="0" smtClean="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85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Center for Disease Control, </a:t>
            </a:r>
            <a:br>
              <a:rPr kumimoji="0" lang="en-US" sz="12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April 2017</a:t>
            </a:r>
          </a:p>
        </p:txBody>
      </p:sp>
      <p:sp>
        <p:nvSpPr>
          <p:cNvPr id="23" name="Rectangle 15">
            <a:extLst>
              <a:ext uri="{FF2B5EF4-FFF2-40B4-BE49-F238E27FC236}">
                <a16:creationId xmlns="" xmlns:a16="http://schemas.microsoft.com/office/drawing/2014/main" id="{6283CB12-608E-40CB-94A3-FB2EC94633CB}"/>
              </a:ext>
            </a:extLst>
          </p:cNvPr>
          <p:cNvSpPr/>
          <p:nvPr/>
        </p:nvSpPr>
        <p:spPr>
          <a:xfrm>
            <a:off x="555172" y="2286000"/>
            <a:ext cx="4474028" cy="568231"/>
          </a:xfrm>
          <a:prstGeom prst="rect">
            <a:avLst/>
          </a:prstGeom>
          <a:noFill/>
          <a:ln>
            <a:noFill/>
          </a:ln>
          <a:effectLst>
            <a:outerShdw blurRad="76200" dir="18900000" sy="23000" kx="-1200000" algn="bl"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defTabSz="457200">
              <a:lnSpc>
                <a:spcPct val="85000"/>
              </a:lnSpc>
              <a:spcBef>
                <a:spcPct val="0"/>
              </a:spcBef>
              <a:defRPr/>
            </a:pPr>
            <a:r>
              <a:rPr lang="en-US" sz="1400" dirty="0">
                <a:solidFill>
                  <a:srgbClr val="404041"/>
                </a:solidFill>
                <a:latin typeface="Verdana" panose="020B0604030504040204" pitchFamily="34" charset="0"/>
                <a:ea typeface="Verdana" panose="020B0604030504040204" pitchFamily="34" charset="0"/>
                <a:cs typeface="Verdana" panose="020B0604030504040204" pitchFamily="34" charset="0"/>
              </a:rPr>
              <a:t>When </a:t>
            </a:r>
            <a:r>
              <a:rPr lang="en-US" sz="1400" b="1" dirty="0">
                <a:solidFill>
                  <a:srgbClr val="05589C"/>
                </a:solidFill>
                <a:latin typeface="Verdana" panose="020B0604030504040204" pitchFamily="34" charset="0"/>
                <a:ea typeface="Verdana" panose="020B0604030504040204" pitchFamily="34" charset="0"/>
                <a:cs typeface="Verdana" panose="020B0604030504040204" pitchFamily="34" charset="0"/>
              </a:rPr>
              <a:t>Manufacturing Excellence </a:t>
            </a:r>
            <a:r>
              <a:rPr lang="en-US" sz="1400" dirty="0">
                <a:solidFill>
                  <a:srgbClr val="404041"/>
                </a:solidFill>
                <a:latin typeface="Verdana" panose="020B0604030504040204" pitchFamily="34" charset="0"/>
                <a:ea typeface="Verdana" panose="020B0604030504040204" pitchFamily="34" charset="0"/>
                <a:cs typeface="Verdana" panose="020B0604030504040204" pitchFamily="34" charset="0"/>
              </a:rPr>
              <a:t>is Not Met, It Can Have Potentially Fatal Consequences</a:t>
            </a:r>
          </a:p>
        </p:txBody>
      </p:sp>
      <p:sp>
        <p:nvSpPr>
          <p:cNvPr id="27" name="Title 1">
            <a:extLst>
              <a:ext uri="{FF2B5EF4-FFF2-40B4-BE49-F238E27FC236}">
                <a16:creationId xmlns="" xmlns:a16="http://schemas.microsoft.com/office/drawing/2014/main" id="{8EF12C95-1B5E-41BC-9D4C-BE8AE8C93829}"/>
              </a:ext>
            </a:extLst>
          </p:cNvPr>
          <p:cNvSpPr txBox="1">
            <a:spLocks/>
          </p:cNvSpPr>
          <p:nvPr/>
        </p:nvSpPr>
        <p:spPr>
          <a:xfrm>
            <a:off x="555172" y="346575"/>
            <a:ext cx="5693228" cy="115964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nSpc>
                <a:spcPct val="85000"/>
              </a:lnSpc>
              <a:defRPr/>
            </a:pPr>
            <a:r>
              <a:rPr lang="en-US" sz="3200" b="1" dirty="0">
                <a:solidFill>
                  <a:srgbClr val="05589C"/>
                </a:solidFill>
                <a:latin typeface="Verdana" panose="020B0604030504040204" pitchFamily="34" charset="0"/>
                <a:ea typeface="Verdana" panose="020B0604030504040204" pitchFamily="34" charset="0"/>
                <a:cs typeface="Verdana" panose="020B0604030504040204" pitchFamily="34" charset="0"/>
              </a:rPr>
              <a:t>QUALITY ISSUES</a:t>
            </a:r>
          </a:p>
          <a:p>
            <a:pPr lvl="0">
              <a:lnSpc>
                <a:spcPct val="85000"/>
              </a:lnSpc>
              <a:defRPr/>
            </a:pPr>
            <a:r>
              <a:rPr lang="en-US" sz="3200" b="1" dirty="0">
                <a:solidFill>
                  <a:srgbClr val="05589C"/>
                </a:solidFill>
                <a:latin typeface="Verdana" panose="020B0604030504040204" pitchFamily="34" charset="0"/>
                <a:ea typeface="Verdana" panose="020B0604030504040204" pitchFamily="34" charset="0"/>
                <a:cs typeface="Verdana" panose="020B0604030504040204" pitchFamily="34" charset="0"/>
              </a:rPr>
              <a:t>IN MANUFACTURING</a:t>
            </a:r>
            <a:r>
              <a:rPr kumimoji="0" lang="en-US" sz="2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2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800" b="0" i="0" u="none" strike="noStrike" kern="1200" cap="none" spc="4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N HAVE A PROFOUND</a:t>
            </a:r>
          </a:p>
          <a:p>
            <a:pPr lvl="0">
              <a:lnSpc>
                <a:spcPct val="85000"/>
              </a:lnSpc>
              <a:defRPr/>
            </a:pPr>
            <a:r>
              <a:rPr kumimoji="0" lang="en-US" sz="1800" b="0" i="0" u="none" strike="noStrike" kern="1200" cap="none" spc="4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EFFECT ON </a:t>
            </a:r>
            <a:r>
              <a:rPr lang="en-US" sz="1800" spc="400" dirty="0">
                <a:solidFill>
                  <a:prstClr val="black"/>
                </a:solidFill>
                <a:latin typeface="Verdana" panose="020B0604030504040204" pitchFamily="34" charset="0"/>
                <a:ea typeface="Verdana" panose="020B0604030504040204" pitchFamily="34" charset="0"/>
                <a:cs typeface="Verdana" panose="020B0604030504040204" pitchFamily="34" charset="0"/>
              </a:rPr>
              <a:t>PATIENT SAFETY,</a:t>
            </a:r>
            <a:br>
              <a:rPr lang="en-US" sz="1800" spc="400" dirty="0">
                <a:solidFill>
                  <a:prstClr val="black"/>
                </a:solidFill>
                <a:latin typeface="Verdana" panose="020B0604030504040204" pitchFamily="34" charset="0"/>
                <a:ea typeface="Verdana" panose="020B0604030504040204" pitchFamily="34" charset="0"/>
                <a:cs typeface="Verdana" panose="020B0604030504040204" pitchFamily="34" charset="0"/>
              </a:rPr>
            </a:br>
            <a:r>
              <a:rPr lang="en-US" sz="1800" spc="400" dirty="0">
                <a:solidFill>
                  <a:prstClr val="black"/>
                </a:solidFill>
                <a:latin typeface="Verdana" panose="020B0604030504040204" pitchFamily="34" charset="0"/>
                <a:ea typeface="Verdana" panose="020B0604030504040204" pitchFamily="34" charset="0"/>
                <a:cs typeface="Verdana" panose="020B0604030504040204" pitchFamily="34" charset="0"/>
              </a:rPr>
              <a:t>INCLUDING INFECTION</a:t>
            </a:r>
          </a:p>
          <a:p>
            <a:pPr lvl="0">
              <a:lnSpc>
                <a:spcPct val="85000"/>
              </a:lnSpc>
              <a:defRPr/>
            </a:pPr>
            <a:r>
              <a:rPr lang="en-US" sz="1800" spc="400" dirty="0">
                <a:solidFill>
                  <a:prstClr val="black"/>
                </a:solidFill>
                <a:latin typeface="Verdana" panose="020B0604030504040204" pitchFamily="34" charset="0"/>
                <a:ea typeface="Verdana" panose="020B0604030504040204" pitchFamily="34" charset="0"/>
                <a:cs typeface="Verdana" panose="020B0604030504040204" pitchFamily="34" charset="0"/>
              </a:rPr>
              <a:t>OR DEATH</a:t>
            </a:r>
            <a:endParaRPr kumimoji="0" lang="en-US" sz="2400" b="0" i="0" u="none" strike="noStrike" kern="1200" cap="none" spc="6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1" name="Graphic 10">
            <a:extLst>
              <a:ext uri="{FF2B5EF4-FFF2-40B4-BE49-F238E27FC236}">
                <a16:creationId xmlns="" xmlns:a16="http://schemas.microsoft.com/office/drawing/2014/main" id="{828997A5-E8E8-47C6-A844-C76301A85414}"/>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1345612" y="6490506"/>
            <a:ext cx="720740" cy="276876"/>
          </a:xfrm>
          <a:prstGeom prst="rect">
            <a:avLst/>
          </a:prstGeom>
        </p:spPr>
      </p:pic>
      <p:sp>
        <p:nvSpPr>
          <p:cNvPr id="12" name="TextBox 11">
            <a:extLst>
              <a:ext uri="{FF2B5EF4-FFF2-40B4-BE49-F238E27FC236}">
                <a16:creationId xmlns="" xmlns:a16="http://schemas.microsoft.com/office/drawing/2014/main" id="{04392F3C-CAD5-4032-B98C-F7D39490CD8E}"/>
              </a:ext>
            </a:extLst>
          </p:cNvPr>
          <p:cNvSpPr txBox="1"/>
          <p:nvPr/>
        </p:nvSpPr>
        <p:spPr>
          <a:xfrm>
            <a:off x="6858000" y="2166317"/>
            <a:ext cx="4029725" cy="1295739"/>
          </a:xfrm>
          <a:prstGeom prst="rect">
            <a:avLst/>
          </a:prstGeom>
          <a:noFill/>
          <a:ln>
            <a:noFill/>
          </a:ln>
        </p:spPr>
        <p:txBody>
          <a:bodyPr wrap="square"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Excelsior </a:t>
            </a:r>
            <a:r>
              <a:rPr kumimoji="0" lang="en-US" sz="12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pre-filled flush syringes subject to a </a:t>
            </a:r>
            <a:r>
              <a:rPr kumimoji="0" lang="en-US" sz="12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Class 1 </a:t>
            </a:r>
            <a:r>
              <a:rPr kumimoji="0" lang="en-US" sz="12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recall due </a:t>
            </a:r>
            <a:r>
              <a:rPr kumimoji="0" lang="en-US" sz="1200" b="0" i="1" u="none" strike="noStrike" kern="1200" cap="none" spc="0" normalizeH="0" baseline="0" noProof="0" dirty="0" smtClean="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to </a:t>
            </a:r>
            <a:r>
              <a:rPr kumimoji="0" lang="en-US" sz="12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the potential for leaking or </a:t>
            </a:r>
            <a:r>
              <a:rPr kumimoji="0" lang="en-US" sz="12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loss </a:t>
            </a:r>
            <a:r>
              <a:rPr kumimoji="0" lang="en-US" sz="1200" b="1" i="1" u="none" strike="noStrike" kern="1200" cap="none" spc="0" normalizeH="0" baseline="0" noProof="0" dirty="0" smtClean="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of </a:t>
            </a:r>
            <a:r>
              <a:rPr kumimoji="0" lang="en-US" sz="12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sterility</a:t>
            </a:r>
            <a:r>
              <a:rPr kumimoji="0" lang="en-US" sz="12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which could cause </a:t>
            </a:r>
            <a:br>
              <a:rPr kumimoji="0" lang="en-US" sz="12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a bloodstream infection, resulting </a:t>
            </a:r>
            <a:r>
              <a:rPr kumimoji="0" lang="en-US" sz="1200" b="0" i="1" u="none" strike="noStrike" kern="1200" cap="none" spc="0" normalizeH="0" baseline="0" noProof="0" dirty="0" smtClean="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in </a:t>
            </a:r>
            <a:r>
              <a:rPr kumimoji="0" lang="en-US" sz="12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serious injury or death </a:t>
            </a:r>
            <a:r>
              <a:rPr kumimoji="0" lang="en-US" sz="1200" b="0" i="1" u="none" strike="noStrike" kern="1200" cap="none" spc="0" normalizeH="0" baseline="30000" noProof="0" dirty="0" smtClean="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4</a:t>
            </a:r>
          </a:p>
          <a:p>
            <a:pPr marL="0" marR="0" lvl="0" indent="0" algn="l" defTabSz="914400" rtl="0" eaLnBrk="1" fontAlgn="auto" latinLnBrk="0" hangingPunct="1">
              <a:lnSpc>
                <a:spcPct val="85000"/>
              </a:lnSpc>
              <a:spcBef>
                <a:spcPts val="0"/>
              </a:spcBef>
              <a:spcAft>
                <a:spcPts val="0"/>
              </a:spcAft>
              <a:buClrTx/>
              <a:buSzTx/>
              <a:buFontTx/>
              <a:buNone/>
              <a:tabLst/>
              <a:defRPr/>
            </a:pPr>
            <a:endParaRPr kumimoji="0" lang="en-US" sz="1200" b="0" i="1" u="none" strike="noStrike" kern="1200" cap="none" spc="0" normalizeH="0" baseline="3000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Medscape, </a:t>
            </a:r>
            <a:br>
              <a:rPr kumimoji="0" lang="en-US" sz="12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October 2010</a:t>
            </a:r>
          </a:p>
        </p:txBody>
      </p:sp>
      <p:sp>
        <p:nvSpPr>
          <p:cNvPr id="14" name="TextBox 13">
            <a:extLst>
              <a:ext uri="{FF2B5EF4-FFF2-40B4-BE49-F238E27FC236}">
                <a16:creationId xmlns="" xmlns:a16="http://schemas.microsoft.com/office/drawing/2014/main" id="{7590C3E6-819A-4869-B762-3BDFAC0AAE1E}"/>
              </a:ext>
            </a:extLst>
          </p:cNvPr>
          <p:cNvSpPr txBox="1"/>
          <p:nvPr/>
        </p:nvSpPr>
        <p:spPr>
          <a:xfrm>
            <a:off x="6858000" y="3814479"/>
            <a:ext cx="4245524" cy="981807"/>
          </a:xfrm>
          <a:prstGeom prst="rect">
            <a:avLst/>
          </a:prstGeom>
          <a:noFill/>
          <a:ln>
            <a:noFill/>
          </a:ln>
        </p:spPr>
        <p:txBody>
          <a:bodyPr wrap="square"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Pre-filled syringes from a contaminated lot made by </a:t>
            </a:r>
            <a:r>
              <a:rPr kumimoji="0" lang="en-US" sz="1200" b="1" i="1"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AM2PAT</a:t>
            </a:r>
            <a:r>
              <a:rPr kumimoji="0" lang="en-US" sz="12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have since been linked to </a:t>
            </a:r>
            <a:r>
              <a:rPr kumimoji="0" lang="en-US" sz="12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four deaths </a:t>
            </a:r>
            <a:r>
              <a:rPr kumimoji="0" lang="en-US" sz="12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and </a:t>
            </a:r>
            <a:r>
              <a:rPr kumimoji="0" lang="en-US" sz="12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162 illnesses </a:t>
            </a:r>
            <a:r>
              <a:rPr kumimoji="0" lang="en-US" sz="12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in the </a:t>
            </a:r>
            <a:r>
              <a:rPr kumimoji="0" lang="en-US" sz="1200" b="0" i="1" u="none" strike="noStrike" kern="1200" cap="none" spc="0" normalizeH="0" baseline="0" noProof="0" dirty="0" smtClean="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US </a:t>
            </a:r>
            <a:r>
              <a:rPr kumimoji="0" lang="en-US" sz="1200" b="0" i="1" u="none" strike="noStrike" kern="1200" cap="none" spc="0" normalizeH="0" baseline="30000" noProof="0" dirty="0" smtClean="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5</a:t>
            </a:r>
          </a:p>
          <a:p>
            <a:pPr marL="0" marR="0" lvl="0" indent="0" algn="l" defTabSz="914400" rtl="0" eaLnBrk="1" fontAlgn="auto" latinLnBrk="0" hangingPunct="1">
              <a:lnSpc>
                <a:spcPct val="85000"/>
              </a:lnSpc>
              <a:spcBef>
                <a:spcPts val="0"/>
              </a:spcBef>
              <a:spcAft>
                <a:spcPts val="0"/>
              </a:spcAft>
              <a:buClrTx/>
              <a:buSzTx/>
              <a:buFontTx/>
              <a:buNone/>
              <a:tabLst/>
              <a:defRPr/>
            </a:pPr>
            <a:endParaRPr kumimoji="0" lang="en-US" sz="1200" b="0" i="0" u="none" strike="noStrike" kern="1200" cap="none" spc="0" normalizeH="0" baseline="3000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Chicago Tribune, </a:t>
            </a:r>
            <a:br>
              <a:rPr kumimoji="0" lang="en-US" sz="12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June </a:t>
            </a:r>
            <a:r>
              <a:rPr kumimoji="0" lang="en-US" sz="1200" b="0" i="0" u="none" strike="noStrike" kern="1200" cap="none" spc="0" normalizeH="0" baseline="0" noProof="0" dirty="0" smtClean="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2009</a:t>
            </a:r>
            <a:endParaRPr kumimoji="0" lang="en-US" sz="12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6" name="TextBox 15">
            <a:extLst>
              <a:ext uri="{FF2B5EF4-FFF2-40B4-BE49-F238E27FC236}">
                <a16:creationId xmlns="" xmlns:a16="http://schemas.microsoft.com/office/drawing/2014/main" id="{8D35A348-DACE-4CD5-85C5-747187531CAD}"/>
              </a:ext>
            </a:extLst>
          </p:cNvPr>
          <p:cNvSpPr txBox="1"/>
          <p:nvPr/>
        </p:nvSpPr>
        <p:spPr>
          <a:xfrm>
            <a:off x="6858000" y="4991742"/>
            <a:ext cx="4157794" cy="1505027"/>
          </a:xfrm>
          <a:prstGeom prst="rect">
            <a:avLst/>
          </a:prstGeom>
          <a:noFill/>
          <a:ln>
            <a:noFill/>
          </a:ln>
        </p:spPr>
        <p:txBody>
          <a:bodyPr wrap="square"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A number of </a:t>
            </a:r>
            <a:r>
              <a:rPr kumimoji="0" lang="en-US" sz="1200" b="1" i="1" u="none" strike="noStrike" kern="1200" cap="none" spc="0" normalizeH="0" baseline="0" noProof="0" dirty="0" err="1">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Monoject</a:t>
            </a:r>
            <a:r>
              <a:rPr kumimoji="0" lang="en-US" sz="12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pre-filled flush syringes were filled with water but </a:t>
            </a:r>
            <a:r>
              <a:rPr kumimoji="0" lang="en-US" sz="12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not subjected to the autoclave sterilization process.  </a:t>
            </a:r>
            <a:r>
              <a:rPr kumimoji="0" lang="en-US" sz="12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If non-sterile fluid is administered there is a health risk of </a:t>
            </a:r>
            <a:r>
              <a:rPr kumimoji="0" lang="en-US" sz="12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life-threatening infection </a:t>
            </a:r>
            <a:r>
              <a:rPr kumimoji="0" lang="en-US" sz="12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to the blood stream or other areas.</a:t>
            </a:r>
            <a:r>
              <a:rPr kumimoji="0" lang="en-US" sz="1200" b="0" i="1" u="none" strike="noStrike" kern="1200" cap="none" spc="0" normalizeH="0" baseline="3000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6</a:t>
            </a:r>
            <a:r>
              <a:rPr kumimoji="0" lang="en-US" sz="12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t>
            </a:r>
            <a:endParaRPr kumimoji="0" lang="en-US" sz="1200" b="0" i="1" u="none" strike="noStrike" kern="1200" cap="none" spc="0" normalizeH="0" baseline="0" noProof="0" dirty="0" smtClean="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US Food and Drug </a:t>
            </a:r>
            <a:r>
              <a:rPr kumimoji="0" lang="en-US" sz="1200" b="0" i="0" u="none" strike="noStrike" kern="1200" cap="none" spc="0" normalizeH="0" baseline="0" noProof="0" dirty="0" smtClean="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Administration</a:t>
            </a:r>
            <a:r>
              <a:rPr kumimoji="0" lang="en-US" sz="12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 </a:t>
            </a:r>
            <a:br>
              <a:rPr kumimoji="0" lang="en-US" sz="12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2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June </a:t>
            </a:r>
            <a:r>
              <a:rPr kumimoji="0" lang="en-US" sz="1200" b="0" i="0" u="none" strike="noStrike" kern="1200" cap="none" spc="0" normalizeH="0" baseline="0" noProof="0" dirty="0" smtClean="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2013</a:t>
            </a:r>
            <a:endParaRPr kumimoji="0" lang="en-US" sz="12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9" name="Agrupar 8">
            <a:extLst>
              <a:ext uri="{FF2B5EF4-FFF2-40B4-BE49-F238E27FC236}">
                <a16:creationId xmlns="" xmlns:a16="http://schemas.microsoft.com/office/drawing/2014/main" id="{5494D227-72CA-4202-B127-9754E24CDAAA}"/>
              </a:ext>
            </a:extLst>
          </p:cNvPr>
          <p:cNvGrpSpPr/>
          <p:nvPr/>
        </p:nvGrpSpPr>
        <p:grpSpPr>
          <a:xfrm>
            <a:off x="-1" y="2854230"/>
            <a:ext cx="6248402" cy="4030929"/>
            <a:chOff x="-1" y="2854230"/>
            <a:chExt cx="6248402" cy="4030929"/>
          </a:xfrm>
        </p:grpSpPr>
        <p:pic>
          <p:nvPicPr>
            <p:cNvPr id="21" name="Imagem 20">
              <a:extLst>
                <a:ext uri="{FF2B5EF4-FFF2-40B4-BE49-F238E27FC236}">
                  <a16:creationId xmlns="" xmlns:a16="http://schemas.microsoft.com/office/drawing/2014/main" id="{31027E0B-1D1B-41D1-A0B7-A548BBE5AEC1}"/>
                </a:ext>
              </a:extLst>
            </p:cNvPr>
            <p:cNvPicPr>
              <a:picLocks noChangeAspect="1"/>
            </p:cNvPicPr>
            <p:nvPr/>
          </p:nvPicPr>
          <p:blipFill rotWithShape="1">
            <a:blip r:embed="rId4">
              <a:extLst>
                <a:ext uri="{28A0092B-C50C-407E-A947-70E740481C1C}">
                  <a14:useLocalDpi xmlns:a14="http://schemas.microsoft.com/office/drawing/2010/main" val="0"/>
                </a:ext>
              </a:extLst>
            </a:blip>
            <a:srcRect l="41023" t="3334" r="8160" b="5555"/>
            <a:stretch/>
          </p:blipFill>
          <p:spPr>
            <a:xfrm flipH="1">
              <a:off x="-1" y="2902515"/>
              <a:ext cx="3096986" cy="3124200"/>
            </a:xfrm>
            <a:prstGeom prst="rect">
              <a:avLst/>
            </a:prstGeom>
          </p:spPr>
        </p:pic>
        <p:pic>
          <p:nvPicPr>
            <p:cNvPr id="4" name="Imagem 3">
              <a:extLst>
                <a:ext uri="{FF2B5EF4-FFF2-40B4-BE49-F238E27FC236}">
                  <a16:creationId xmlns="" xmlns:a16="http://schemas.microsoft.com/office/drawing/2014/main" id="{AC211DB2-5F6E-4804-ADF2-4F5C1127715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 t="-435" r="11882" b="3385"/>
            <a:stretch/>
          </p:blipFill>
          <p:spPr>
            <a:xfrm>
              <a:off x="51148" y="4952999"/>
              <a:ext cx="3050592" cy="1890387"/>
            </a:xfrm>
            <a:prstGeom prst="triangle">
              <a:avLst>
                <a:gd name="adj" fmla="val 48544"/>
              </a:avLst>
            </a:prstGeom>
          </p:spPr>
        </p:pic>
        <p:pic>
          <p:nvPicPr>
            <p:cNvPr id="8" name="Imagem 7">
              <a:extLst>
                <a:ext uri="{FF2B5EF4-FFF2-40B4-BE49-F238E27FC236}">
                  <a16:creationId xmlns="" xmlns:a16="http://schemas.microsoft.com/office/drawing/2014/main" id="{39D3F98C-330C-45E7-8A33-4FC5F2D8ABA9}"/>
                </a:ext>
              </a:extLst>
            </p:cNvPr>
            <p:cNvPicPr>
              <a:picLocks noChangeAspect="1"/>
            </p:cNvPicPr>
            <p:nvPr/>
          </p:nvPicPr>
          <p:blipFill rotWithShape="1">
            <a:blip r:embed="rId6">
              <a:extLst>
                <a:ext uri="{28A0092B-C50C-407E-A947-70E740481C1C}">
                  <a14:useLocalDpi xmlns:a14="http://schemas.microsoft.com/office/drawing/2010/main" val="0"/>
                </a:ext>
              </a:extLst>
            </a:blip>
            <a:srcRect l="14725" t="41223" r="47140"/>
            <a:stretch/>
          </p:blipFill>
          <p:spPr>
            <a:xfrm>
              <a:off x="1600201" y="2854230"/>
              <a:ext cx="4648200" cy="4030929"/>
            </a:xfrm>
            <a:prstGeom prst="rect">
              <a:avLst/>
            </a:prstGeom>
          </p:spPr>
        </p:pic>
      </p:grpSp>
      <p:cxnSp>
        <p:nvCxnSpPr>
          <p:cNvPr id="29" name="Straight Connector 74">
            <a:extLst>
              <a:ext uri="{FF2B5EF4-FFF2-40B4-BE49-F238E27FC236}">
                <a16:creationId xmlns="" xmlns:a16="http://schemas.microsoft.com/office/drawing/2014/main" id="{A93775CA-778B-4F2A-BA0D-A3EE009A227D}"/>
              </a:ext>
            </a:extLst>
          </p:cNvPr>
          <p:cNvCxnSpPr>
            <a:cxnSpLocks/>
          </p:cNvCxnSpPr>
          <p:nvPr/>
        </p:nvCxnSpPr>
        <p:spPr>
          <a:xfrm>
            <a:off x="6974508" y="4800600"/>
            <a:ext cx="392400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74">
            <a:extLst>
              <a:ext uri="{FF2B5EF4-FFF2-40B4-BE49-F238E27FC236}">
                <a16:creationId xmlns="" xmlns:a16="http://schemas.microsoft.com/office/drawing/2014/main" id="{1E088F1F-B856-4C85-8FD2-7941C78EE605}"/>
              </a:ext>
            </a:extLst>
          </p:cNvPr>
          <p:cNvCxnSpPr>
            <a:cxnSpLocks/>
          </p:cNvCxnSpPr>
          <p:nvPr/>
        </p:nvCxnSpPr>
        <p:spPr>
          <a:xfrm>
            <a:off x="6974508" y="1986429"/>
            <a:ext cx="392400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74">
            <a:extLst>
              <a:ext uri="{FF2B5EF4-FFF2-40B4-BE49-F238E27FC236}">
                <a16:creationId xmlns="" xmlns:a16="http://schemas.microsoft.com/office/drawing/2014/main" id="{50BE32F9-32D9-4B88-8AC2-5ADC12861512}"/>
              </a:ext>
            </a:extLst>
          </p:cNvPr>
          <p:cNvCxnSpPr>
            <a:cxnSpLocks/>
          </p:cNvCxnSpPr>
          <p:nvPr/>
        </p:nvCxnSpPr>
        <p:spPr>
          <a:xfrm>
            <a:off x="6974508" y="3657600"/>
            <a:ext cx="392400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a:blip r:embed="rId7"/>
          <a:stretch>
            <a:fillRect/>
          </a:stretch>
        </p:blipFill>
        <p:spPr>
          <a:xfrm>
            <a:off x="4677350" y="6629400"/>
            <a:ext cx="4619050" cy="195171"/>
          </a:xfrm>
          <a:prstGeom prst="rect">
            <a:avLst/>
          </a:prstGeom>
        </p:spPr>
      </p:pic>
    </p:spTree>
    <p:extLst>
      <p:ext uri="{BB962C8B-B14F-4D97-AF65-F5344CB8AC3E}">
        <p14:creationId xmlns:p14="http://schemas.microsoft.com/office/powerpoint/2010/main" val="938385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42"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1000"/>
                                        <p:tgtEl>
                                          <p:spTgt spid="9"/>
                                        </p:tgtEl>
                                      </p:cBhvr>
                                    </p:animEffect>
                                    <p:anim calcmode="lin" valueType="num">
                                      <p:cBhvr>
                                        <p:cTn id="11" dur="1000" fill="hold"/>
                                        <p:tgtEl>
                                          <p:spTgt spid="9"/>
                                        </p:tgtEl>
                                        <p:attrNameLst>
                                          <p:attrName>ppt_x</p:attrName>
                                        </p:attrNameLst>
                                      </p:cBhvr>
                                      <p:tavLst>
                                        <p:tav tm="0">
                                          <p:val>
                                            <p:strVal val="#ppt_x"/>
                                          </p:val>
                                        </p:tav>
                                        <p:tav tm="100000">
                                          <p:val>
                                            <p:strVal val="#ppt_x"/>
                                          </p:val>
                                        </p:tav>
                                      </p:tavLst>
                                    </p:anim>
                                    <p:anim calcmode="lin" valueType="num">
                                      <p:cBhvr>
                                        <p:cTn id="12" dur="1000" fill="hold"/>
                                        <p:tgtEl>
                                          <p:spTgt spid="9"/>
                                        </p:tgtEl>
                                        <p:attrNameLst>
                                          <p:attrName>ppt_y</p:attrName>
                                        </p:attrNameLst>
                                      </p:cBhvr>
                                      <p:tavLst>
                                        <p:tav tm="0">
                                          <p:val>
                                            <p:strVal val="#ppt_y+.1"/>
                                          </p:val>
                                        </p:tav>
                                        <p:tav tm="100000">
                                          <p:val>
                                            <p:strVal val="#ppt_y"/>
                                          </p:val>
                                        </p:tav>
                                      </p:tavLst>
                                    </p:anim>
                                  </p:childTnLst>
                                </p:cTn>
                              </p:par>
                              <p:par>
                                <p:cTn id="13" presetID="10" presetClass="entr" presetSubtype="0" fill="hold" grpId="0" nodeType="withEffect">
                                  <p:stCondLst>
                                    <p:cond delay="50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par>
                                <p:cTn id="29" presetID="22" presetClass="entr" presetSubtype="8" fill="hold" nodeType="with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left)">
                                      <p:cBhvr>
                                        <p:cTn id="31" dur="500"/>
                                        <p:tgtEl>
                                          <p:spTgt spid="29"/>
                                        </p:tgtEl>
                                      </p:cBhvr>
                                    </p:animEffect>
                                  </p:childTnLst>
                                </p:cTn>
                              </p:par>
                              <p:par>
                                <p:cTn id="32" presetID="22" presetClass="entr" presetSubtype="8" fill="hold" nodeType="withEffect">
                                  <p:stCondLst>
                                    <p:cond delay="0"/>
                                  </p:stCondLst>
                                  <p:childTnLst>
                                    <p:set>
                                      <p:cBhvr>
                                        <p:cTn id="33" dur="1" fill="hold">
                                          <p:stCondLst>
                                            <p:cond delay="0"/>
                                          </p:stCondLst>
                                        </p:cTn>
                                        <p:tgtEl>
                                          <p:spTgt spid="37"/>
                                        </p:tgtEl>
                                        <p:attrNameLst>
                                          <p:attrName>style.visibility</p:attrName>
                                        </p:attrNameLst>
                                      </p:cBhvr>
                                      <p:to>
                                        <p:strVal val="visible"/>
                                      </p:to>
                                    </p:set>
                                    <p:animEffect transition="in" filter="wipe(left)">
                                      <p:cBhvr>
                                        <p:cTn id="34" dur="500"/>
                                        <p:tgtEl>
                                          <p:spTgt spid="37"/>
                                        </p:tgtEl>
                                      </p:cBhvr>
                                    </p:animEffect>
                                  </p:childTnLst>
                                </p:cTn>
                              </p:par>
                              <p:par>
                                <p:cTn id="35" presetID="22" presetClass="entr" presetSubtype="8" fill="hold" nodeType="withEffect">
                                  <p:stCondLst>
                                    <p:cond delay="0"/>
                                  </p:stCondLst>
                                  <p:childTnLst>
                                    <p:set>
                                      <p:cBhvr>
                                        <p:cTn id="36" dur="1" fill="hold">
                                          <p:stCondLst>
                                            <p:cond delay="0"/>
                                          </p:stCondLst>
                                        </p:cTn>
                                        <p:tgtEl>
                                          <p:spTgt spid="39"/>
                                        </p:tgtEl>
                                        <p:attrNameLst>
                                          <p:attrName>style.visibility</p:attrName>
                                        </p:attrNameLst>
                                      </p:cBhvr>
                                      <p:to>
                                        <p:strVal val="visible"/>
                                      </p:to>
                                    </p:set>
                                    <p:animEffect transition="in" filter="wipe(left)">
                                      <p:cBhvr>
                                        <p:cTn id="37"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3" grpId="0"/>
      <p:bldP spid="27" grpId="0"/>
      <p:bldP spid="12" grpId="0"/>
      <p:bldP spid="14" grpId="0"/>
      <p:bldP spid="1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380313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7" name="Picture 86"/>
          <p:cNvPicPr>
            <a:picLocks noChangeAspect="1"/>
          </p:cNvPicPr>
          <p:nvPr/>
        </p:nvPicPr>
        <p:blipFill>
          <a:blip r:embed="rId6"/>
          <a:stretch>
            <a:fillRect/>
          </a:stretch>
        </p:blipFill>
        <p:spPr>
          <a:xfrm>
            <a:off x="76200" y="6629400"/>
            <a:ext cx="4619050" cy="195171"/>
          </a:xfrm>
          <a:prstGeom prst="rect">
            <a:avLst/>
          </a:prstGeom>
        </p:spPr>
      </p:pic>
      <p:sp>
        <p:nvSpPr>
          <p:cNvPr id="82" name="Rectangle 81">
            <a:extLst>
              <a:ext uri="{FF2B5EF4-FFF2-40B4-BE49-F238E27FC236}">
                <a16:creationId xmlns="" xmlns:a16="http://schemas.microsoft.com/office/drawing/2014/main" id="{2F5C2B03-D7D1-43F3-BF09-6320BA62C63A}"/>
              </a:ext>
            </a:extLst>
          </p:cNvPr>
          <p:cNvSpPr/>
          <p:nvPr/>
        </p:nvSpPr>
        <p:spPr>
          <a:xfrm>
            <a:off x="465280" y="820306"/>
            <a:ext cx="11261440" cy="894193"/>
          </a:xfrm>
          <a:prstGeom prst="rect">
            <a:avLst/>
          </a:prstGeom>
          <a:solidFill>
            <a:srgbClr val="E4E5E6">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Rectangle 87">
            <a:extLst>
              <a:ext uri="{FF2B5EF4-FFF2-40B4-BE49-F238E27FC236}">
                <a16:creationId xmlns="" xmlns:a16="http://schemas.microsoft.com/office/drawing/2014/main" id="{F778E3F0-7ED1-4CB2-9A3B-3BB6FF1F66C5}"/>
              </a:ext>
            </a:extLst>
          </p:cNvPr>
          <p:cNvSpPr/>
          <p:nvPr/>
        </p:nvSpPr>
        <p:spPr>
          <a:xfrm>
            <a:off x="465279" y="1821004"/>
            <a:ext cx="11261440" cy="894193"/>
          </a:xfrm>
          <a:prstGeom prst="rect">
            <a:avLst/>
          </a:prstGeom>
          <a:solidFill>
            <a:srgbClr val="E4E5E6">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9" name="Rectangle 88">
            <a:extLst>
              <a:ext uri="{FF2B5EF4-FFF2-40B4-BE49-F238E27FC236}">
                <a16:creationId xmlns="" xmlns:a16="http://schemas.microsoft.com/office/drawing/2014/main" id="{041C3740-5B99-469F-82DB-87A9BA1CF979}"/>
              </a:ext>
            </a:extLst>
          </p:cNvPr>
          <p:cNvSpPr/>
          <p:nvPr/>
        </p:nvSpPr>
        <p:spPr>
          <a:xfrm>
            <a:off x="465279" y="2821702"/>
            <a:ext cx="11261440" cy="894193"/>
          </a:xfrm>
          <a:prstGeom prst="rect">
            <a:avLst/>
          </a:prstGeom>
          <a:solidFill>
            <a:srgbClr val="E4E5E6">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Rectangle 89">
            <a:extLst>
              <a:ext uri="{FF2B5EF4-FFF2-40B4-BE49-F238E27FC236}">
                <a16:creationId xmlns="" xmlns:a16="http://schemas.microsoft.com/office/drawing/2014/main" id="{499CEF84-BD39-4549-81E9-FBF5D7B1E559}"/>
              </a:ext>
            </a:extLst>
          </p:cNvPr>
          <p:cNvSpPr/>
          <p:nvPr/>
        </p:nvSpPr>
        <p:spPr>
          <a:xfrm>
            <a:off x="465279" y="3822400"/>
            <a:ext cx="11261440" cy="894193"/>
          </a:xfrm>
          <a:prstGeom prst="rect">
            <a:avLst/>
          </a:prstGeom>
          <a:solidFill>
            <a:srgbClr val="E4E5E6">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Rectangle 90">
            <a:extLst>
              <a:ext uri="{FF2B5EF4-FFF2-40B4-BE49-F238E27FC236}">
                <a16:creationId xmlns="" xmlns:a16="http://schemas.microsoft.com/office/drawing/2014/main" id="{11699686-0420-4406-B352-1E478D25B1AA}"/>
              </a:ext>
            </a:extLst>
          </p:cNvPr>
          <p:cNvSpPr/>
          <p:nvPr/>
        </p:nvSpPr>
        <p:spPr>
          <a:xfrm>
            <a:off x="465279" y="4823098"/>
            <a:ext cx="11261440" cy="894193"/>
          </a:xfrm>
          <a:prstGeom prst="rect">
            <a:avLst/>
          </a:prstGeom>
          <a:solidFill>
            <a:srgbClr val="E4E5E6">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2" name="Rectangle 91">
            <a:extLst>
              <a:ext uri="{FF2B5EF4-FFF2-40B4-BE49-F238E27FC236}">
                <a16:creationId xmlns="" xmlns:a16="http://schemas.microsoft.com/office/drawing/2014/main" id="{21CF6033-0ED8-4BE3-9496-B4EB5947E1CC}"/>
              </a:ext>
            </a:extLst>
          </p:cNvPr>
          <p:cNvSpPr/>
          <p:nvPr/>
        </p:nvSpPr>
        <p:spPr>
          <a:xfrm>
            <a:off x="465279" y="5823798"/>
            <a:ext cx="11261440" cy="894193"/>
          </a:xfrm>
          <a:prstGeom prst="rect">
            <a:avLst/>
          </a:prstGeom>
          <a:solidFill>
            <a:srgbClr val="E4E5E6">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Graphic 1">
            <a:extLst>
              <a:ext uri="{FF2B5EF4-FFF2-40B4-BE49-F238E27FC236}">
                <a16:creationId xmlns="" xmlns:a16="http://schemas.microsoft.com/office/drawing/2014/main" id="{C3DE0493-C96D-491F-97E2-9AC13BD73BF1}"/>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11345612" y="6490506"/>
            <a:ext cx="720740" cy="276876"/>
          </a:xfrm>
          <a:prstGeom prst="rect">
            <a:avLst/>
          </a:prstGeom>
        </p:spPr>
      </p:pic>
      <p:grpSp>
        <p:nvGrpSpPr>
          <p:cNvPr id="3" name="Group 2">
            <a:extLst>
              <a:ext uri="{FF2B5EF4-FFF2-40B4-BE49-F238E27FC236}">
                <a16:creationId xmlns="" xmlns:a16="http://schemas.microsoft.com/office/drawing/2014/main" id="{DF0A89E7-5715-498F-BFD6-F07FD1F3FBED}"/>
              </a:ext>
            </a:extLst>
          </p:cNvPr>
          <p:cNvGrpSpPr/>
          <p:nvPr/>
        </p:nvGrpSpPr>
        <p:grpSpPr>
          <a:xfrm>
            <a:off x="749301" y="939609"/>
            <a:ext cx="655587" cy="655587"/>
            <a:chOff x="373009" y="1239467"/>
            <a:chExt cx="1197131" cy="1197131"/>
          </a:xfrm>
        </p:grpSpPr>
        <p:sp>
          <p:nvSpPr>
            <p:cNvPr id="4" name="Oval 3">
              <a:extLst>
                <a:ext uri="{FF2B5EF4-FFF2-40B4-BE49-F238E27FC236}">
                  <a16:creationId xmlns="" xmlns:a16="http://schemas.microsoft.com/office/drawing/2014/main" id="{E2F462A1-89B2-45CB-9F86-BE4D905AB269}"/>
                </a:ext>
              </a:extLst>
            </p:cNvPr>
            <p:cNvSpPr/>
            <p:nvPr/>
          </p:nvSpPr>
          <p:spPr>
            <a:xfrm>
              <a:off x="373009" y="1239467"/>
              <a:ext cx="1197131" cy="1197131"/>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 name="Picture 21" descr="ROCAP">
              <a:extLst>
                <a:ext uri="{FF2B5EF4-FFF2-40B4-BE49-F238E27FC236}">
                  <a16:creationId xmlns="" xmlns:a16="http://schemas.microsoft.com/office/drawing/2014/main" id="{FCB25722-92D3-4B29-92A4-C04E4837077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98365" y="1645735"/>
              <a:ext cx="920407" cy="427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a:extLst>
              <a:ext uri="{FF2B5EF4-FFF2-40B4-BE49-F238E27FC236}">
                <a16:creationId xmlns="" xmlns:a16="http://schemas.microsoft.com/office/drawing/2014/main" id="{52631AB9-FAF8-414F-B89F-18E96D6AFED9}"/>
              </a:ext>
            </a:extLst>
          </p:cNvPr>
          <p:cNvGrpSpPr/>
          <p:nvPr/>
        </p:nvGrpSpPr>
        <p:grpSpPr>
          <a:xfrm>
            <a:off x="2013692" y="939609"/>
            <a:ext cx="655587" cy="655587"/>
            <a:chOff x="6579310" y="2818888"/>
            <a:chExt cx="563264" cy="563264"/>
          </a:xfrm>
        </p:grpSpPr>
        <p:sp>
          <p:nvSpPr>
            <p:cNvPr id="7" name="Oval 6">
              <a:extLst>
                <a:ext uri="{FF2B5EF4-FFF2-40B4-BE49-F238E27FC236}">
                  <a16:creationId xmlns="" xmlns:a16="http://schemas.microsoft.com/office/drawing/2014/main" id="{3CA236E9-9E20-41C5-B876-B4DF51DAF4D2}"/>
                </a:ext>
              </a:extLst>
            </p:cNvPr>
            <p:cNvSpPr/>
            <p:nvPr/>
          </p:nvSpPr>
          <p:spPr>
            <a:xfrm>
              <a:off x="6579310" y="281888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8" name="Picture 7">
              <a:extLst>
                <a:ext uri="{FF2B5EF4-FFF2-40B4-BE49-F238E27FC236}">
                  <a16:creationId xmlns="" xmlns:a16="http://schemas.microsoft.com/office/drawing/2014/main" id="{13459FB2-70C7-4D47-B829-5F957B344967}"/>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b="58009"/>
            <a:stretch/>
          </p:blipFill>
          <p:spPr>
            <a:xfrm>
              <a:off x="6651301" y="3040242"/>
              <a:ext cx="435053" cy="104391"/>
            </a:xfrm>
            <a:prstGeom prst="rect">
              <a:avLst/>
            </a:prstGeom>
          </p:spPr>
        </p:pic>
      </p:grpSp>
      <p:grpSp>
        <p:nvGrpSpPr>
          <p:cNvPr id="15" name="Group 14">
            <a:extLst>
              <a:ext uri="{FF2B5EF4-FFF2-40B4-BE49-F238E27FC236}">
                <a16:creationId xmlns="" xmlns:a16="http://schemas.microsoft.com/office/drawing/2014/main" id="{CED01535-D3BA-4546-A506-9FB0F7043350}"/>
              </a:ext>
            </a:extLst>
          </p:cNvPr>
          <p:cNvGrpSpPr/>
          <p:nvPr/>
        </p:nvGrpSpPr>
        <p:grpSpPr>
          <a:xfrm>
            <a:off x="2013692" y="1940307"/>
            <a:ext cx="655587" cy="655587"/>
            <a:chOff x="6969800" y="3695697"/>
            <a:chExt cx="563264" cy="563264"/>
          </a:xfrm>
        </p:grpSpPr>
        <p:sp>
          <p:nvSpPr>
            <p:cNvPr id="16" name="Oval 15">
              <a:extLst>
                <a:ext uri="{FF2B5EF4-FFF2-40B4-BE49-F238E27FC236}">
                  <a16:creationId xmlns="" xmlns:a16="http://schemas.microsoft.com/office/drawing/2014/main" id="{011F19CE-3044-4525-9104-2D4D9E141552}"/>
                </a:ext>
              </a:extLst>
            </p:cNvPr>
            <p:cNvSpPr/>
            <p:nvPr/>
          </p:nvSpPr>
          <p:spPr>
            <a:xfrm>
              <a:off x="6969800" y="3695697"/>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35" descr="logo">
              <a:extLst>
                <a:ext uri="{FF2B5EF4-FFF2-40B4-BE49-F238E27FC236}">
                  <a16:creationId xmlns="" xmlns:a16="http://schemas.microsoft.com/office/drawing/2014/main" id="{3B7ADF53-1509-4C5B-A852-3E6D78D3F625}"/>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4706" r="41959" b="47293"/>
            <a:stretch/>
          </p:blipFill>
          <p:spPr bwMode="auto">
            <a:xfrm>
              <a:off x="7008033" y="3931231"/>
              <a:ext cx="491317" cy="91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 name="Group 17">
            <a:extLst>
              <a:ext uri="{FF2B5EF4-FFF2-40B4-BE49-F238E27FC236}">
                <a16:creationId xmlns="" xmlns:a16="http://schemas.microsoft.com/office/drawing/2014/main" id="{3E033607-8560-47D5-92EF-4BCB4B3282ED}"/>
              </a:ext>
            </a:extLst>
          </p:cNvPr>
          <p:cNvGrpSpPr/>
          <p:nvPr/>
        </p:nvGrpSpPr>
        <p:grpSpPr>
          <a:xfrm>
            <a:off x="749301" y="1940307"/>
            <a:ext cx="673908" cy="655587"/>
            <a:chOff x="8056465" y="4655668"/>
            <a:chExt cx="579005" cy="563264"/>
          </a:xfrm>
        </p:grpSpPr>
        <p:sp>
          <p:nvSpPr>
            <p:cNvPr id="19" name="Oval 18">
              <a:extLst>
                <a:ext uri="{FF2B5EF4-FFF2-40B4-BE49-F238E27FC236}">
                  <a16:creationId xmlns="" xmlns:a16="http://schemas.microsoft.com/office/drawing/2014/main" id="{CC696757-38FB-4261-B3FA-B941A797CFD1}"/>
                </a:ext>
              </a:extLst>
            </p:cNvPr>
            <p:cNvSpPr/>
            <p:nvPr/>
          </p:nvSpPr>
          <p:spPr>
            <a:xfrm>
              <a:off x="8064336" y="465566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48">
              <a:extLst>
                <a:ext uri="{FF2B5EF4-FFF2-40B4-BE49-F238E27FC236}">
                  <a16:creationId xmlns="" xmlns:a16="http://schemas.microsoft.com/office/drawing/2014/main" id="{E68B943A-6FCA-493C-BD5E-17DC0B9E1247}"/>
                </a:ext>
              </a:extLst>
            </p:cNvPr>
            <p:cNvSpPr>
              <a:spLocks noChangeArrowheads="1"/>
            </p:cNvSpPr>
            <p:nvPr/>
          </p:nvSpPr>
          <p:spPr bwMode="auto">
            <a:xfrm>
              <a:off x="8056465" y="4851417"/>
              <a:ext cx="579005" cy="200055"/>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20000"/>
                </a:spcBef>
                <a:buClr>
                  <a:srgbClr val="61A0D7"/>
                </a:buClr>
                <a:buFont typeface="Arial" charset="0"/>
                <a:buChar char="•"/>
                <a:defRPr sz="3200" b="1">
                  <a:solidFill>
                    <a:srgbClr val="595959"/>
                  </a:solidFill>
                  <a:latin typeface="Calibri" pitchFamily="34" charset="0"/>
                  <a:ea typeface="ＭＳ Ｐゴシック" pitchFamily="34" charset="-128"/>
                  <a:cs typeface="Calibri" pitchFamily="34" charset="0"/>
                </a:defRPr>
              </a:lvl1pPr>
              <a:lvl2pPr marL="742950" indent="-285750">
                <a:spcBef>
                  <a:spcPct val="20000"/>
                </a:spcBef>
                <a:buClr>
                  <a:srgbClr val="61A0D7"/>
                </a:buClr>
                <a:buFont typeface="Arial" charset="0"/>
                <a:buChar char="–"/>
                <a:defRPr sz="2800">
                  <a:solidFill>
                    <a:srgbClr val="595959"/>
                  </a:solidFill>
                  <a:latin typeface="Calibri" pitchFamily="34" charset="0"/>
                  <a:ea typeface="ＭＳ Ｐゴシック" pitchFamily="34" charset="-128"/>
                </a:defRPr>
              </a:lvl2pPr>
              <a:lvl3pPr marL="1143000" indent="-228600">
                <a:spcBef>
                  <a:spcPct val="20000"/>
                </a:spcBef>
                <a:buClr>
                  <a:srgbClr val="61A0D7"/>
                </a:buClr>
                <a:buFont typeface="Arial" charset="0"/>
                <a:buChar char="•"/>
                <a:defRPr sz="2400">
                  <a:solidFill>
                    <a:srgbClr val="595959"/>
                  </a:solidFill>
                  <a:latin typeface="Calibri" pitchFamily="34" charset="0"/>
                  <a:ea typeface="ＭＳ Ｐゴシック" pitchFamily="34" charset="-128"/>
                </a:defRPr>
              </a:lvl3pPr>
              <a:lvl4pPr marL="16002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4pPr>
              <a:lvl5pPr marL="2057400" indent="-228600">
                <a:spcBef>
                  <a:spcPct val="20000"/>
                </a:spcBef>
                <a:buClr>
                  <a:srgbClr val="61A0D7"/>
                </a:buClr>
                <a:buFont typeface="Arial" charset="0"/>
                <a:buChar char="»"/>
                <a:defRPr sz="2000">
                  <a:solidFill>
                    <a:srgbClr val="595959"/>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Clr>
                  <a:srgbClr val="61A0D7"/>
                </a:buClr>
                <a:buFont typeface="Arial" charset="0"/>
                <a:buChar char="»"/>
                <a:defRPr sz="2000">
                  <a:solidFill>
                    <a:srgbClr val="595959"/>
                  </a:solidFill>
                  <a:latin typeface="Calibri" pitchFamily="34" charset="0"/>
                  <a:ea typeface="ＭＳ Ｐゴシック" pitchFamily="34" charset="-128"/>
                </a:defRPr>
              </a:lvl9pPr>
            </a:lstStyle>
            <a:p>
              <a:pPr marL="0" marR="0" lvl="0" indent="0" algn="ctr" defTabSz="457200" rtl="0" eaLnBrk="0" fontAlgn="base" latinLnBrk="0" hangingPunct="0">
                <a:lnSpc>
                  <a:spcPct val="100000"/>
                </a:lnSpc>
                <a:spcBef>
                  <a:spcPct val="0"/>
                </a:spcBef>
                <a:spcAft>
                  <a:spcPct val="0"/>
                </a:spcAft>
                <a:buClrTx/>
                <a:buSzTx/>
                <a:buFont typeface="Arial" charset="0"/>
                <a:buNone/>
                <a:tabLst/>
                <a:defRPr/>
              </a:pPr>
              <a:r>
                <a:rPr kumimoji="0" lang="en-US" altLang="en-US" sz="700" b="1" i="0" u="none" strike="noStrike" kern="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Am2Pat</a:t>
              </a:r>
            </a:p>
          </p:txBody>
        </p:sp>
      </p:grpSp>
      <p:grpSp>
        <p:nvGrpSpPr>
          <p:cNvPr id="21" name="Group 20">
            <a:extLst>
              <a:ext uri="{FF2B5EF4-FFF2-40B4-BE49-F238E27FC236}">
                <a16:creationId xmlns="" xmlns:a16="http://schemas.microsoft.com/office/drawing/2014/main" id="{BF4657F1-30D0-467B-90D9-913F5BBDFFA6}"/>
              </a:ext>
            </a:extLst>
          </p:cNvPr>
          <p:cNvGrpSpPr/>
          <p:nvPr/>
        </p:nvGrpSpPr>
        <p:grpSpPr>
          <a:xfrm>
            <a:off x="749301" y="2941005"/>
            <a:ext cx="655587" cy="655587"/>
            <a:chOff x="5256929" y="1967698"/>
            <a:chExt cx="563264" cy="563264"/>
          </a:xfrm>
        </p:grpSpPr>
        <p:sp>
          <p:nvSpPr>
            <p:cNvPr id="22" name="Oval 21">
              <a:extLst>
                <a:ext uri="{FF2B5EF4-FFF2-40B4-BE49-F238E27FC236}">
                  <a16:creationId xmlns="" xmlns:a16="http://schemas.microsoft.com/office/drawing/2014/main" id="{696884C6-BB31-4B0E-AFA7-A7111FAE730A}"/>
                </a:ext>
              </a:extLst>
            </p:cNvPr>
            <p:cNvSpPr/>
            <p:nvPr/>
          </p:nvSpPr>
          <p:spPr>
            <a:xfrm>
              <a:off x="5256929" y="196769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3" name="Picture 22">
              <a:extLst>
                <a:ext uri="{FF2B5EF4-FFF2-40B4-BE49-F238E27FC236}">
                  <a16:creationId xmlns="" xmlns:a16="http://schemas.microsoft.com/office/drawing/2014/main" id="{1B4ED9F0-6ABD-4EB7-9FA2-853342C8C02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l="1563" t="15625" r="78999" b="71875"/>
            <a:stretch>
              <a:fillRect/>
            </a:stretch>
          </p:blipFill>
          <p:spPr bwMode="auto">
            <a:xfrm>
              <a:off x="5302752" y="2148907"/>
              <a:ext cx="468305" cy="226415"/>
            </a:xfrm>
            <a:prstGeom prst="rect">
              <a:avLst/>
            </a:prstGeom>
            <a:noFill/>
            <a:ln>
              <a:noFill/>
            </a:ln>
            <a:effectLst/>
            <a:extLst>
              <a:ext uri="{909E8E84-426E-40DD-AFC4-6F175D3DCCD1}">
                <a14:hiddenFill xmlns:a14="http://schemas.microsoft.com/office/drawing/2010/main">
                  <a:solidFill>
                    <a:srgbClr val="A1BD6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BBD83"/>
                    </a:outerShdw>
                  </a:effectLst>
                </a14:hiddenEffects>
              </a:ext>
            </a:extLst>
          </p:spPr>
        </p:pic>
      </p:grpSp>
      <p:grpSp>
        <p:nvGrpSpPr>
          <p:cNvPr id="24" name="Group 23">
            <a:extLst>
              <a:ext uri="{FF2B5EF4-FFF2-40B4-BE49-F238E27FC236}">
                <a16:creationId xmlns="" xmlns:a16="http://schemas.microsoft.com/office/drawing/2014/main" id="{45154474-8C41-4A5E-B609-5967DEF18C29}"/>
              </a:ext>
            </a:extLst>
          </p:cNvPr>
          <p:cNvGrpSpPr/>
          <p:nvPr/>
        </p:nvGrpSpPr>
        <p:grpSpPr>
          <a:xfrm>
            <a:off x="3278083" y="2941005"/>
            <a:ext cx="655587" cy="655587"/>
            <a:chOff x="8804639" y="5557682"/>
            <a:chExt cx="563264" cy="563264"/>
          </a:xfrm>
        </p:grpSpPr>
        <p:sp>
          <p:nvSpPr>
            <p:cNvPr id="25" name="Oval 24">
              <a:extLst>
                <a:ext uri="{FF2B5EF4-FFF2-40B4-BE49-F238E27FC236}">
                  <a16:creationId xmlns="" xmlns:a16="http://schemas.microsoft.com/office/drawing/2014/main" id="{629C3428-E7A8-443A-9D4B-41B28F6413A0}"/>
                </a:ext>
              </a:extLst>
            </p:cNvPr>
            <p:cNvSpPr/>
            <p:nvPr/>
          </p:nvSpPr>
          <p:spPr>
            <a:xfrm>
              <a:off x="8804639" y="5557682"/>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6" name="Picture 25">
              <a:extLst>
                <a:ext uri="{FF2B5EF4-FFF2-40B4-BE49-F238E27FC236}">
                  <a16:creationId xmlns="" xmlns:a16="http://schemas.microsoft.com/office/drawing/2014/main" id="{8A6CC9F5-7EFB-4528-8A5A-F1C54221405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871986" y="5637577"/>
              <a:ext cx="417469" cy="417469"/>
            </a:xfrm>
            <a:prstGeom prst="rect">
              <a:avLst/>
            </a:prstGeom>
          </p:spPr>
        </p:pic>
      </p:grpSp>
      <p:grpSp>
        <p:nvGrpSpPr>
          <p:cNvPr id="27" name="Group 26">
            <a:extLst>
              <a:ext uri="{FF2B5EF4-FFF2-40B4-BE49-F238E27FC236}">
                <a16:creationId xmlns="" xmlns:a16="http://schemas.microsoft.com/office/drawing/2014/main" id="{A97105E8-CF50-4065-BD2C-E672E3BD8F38}"/>
              </a:ext>
            </a:extLst>
          </p:cNvPr>
          <p:cNvGrpSpPr/>
          <p:nvPr/>
        </p:nvGrpSpPr>
        <p:grpSpPr>
          <a:xfrm>
            <a:off x="749301" y="3941703"/>
            <a:ext cx="655587" cy="655587"/>
            <a:chOff x="6579310" y="2818888"/>
            <a:chExt cx="563264" cy="563264"/>
          </a:xfrm>
        </p:grpSpPr>
        <p:sp>
          <p:nvSpPr>
            <p:cNvPr id="28" name="Oval 27">
              <a:extLst>
                <a:ext uri="{FF2B5EF4-FFF2-40B4-BE49-F238E27FC236}">
                  <a16:creationId xmlns="" xmlns:a16="http://schemas.microsoft.com/office/drawing/2014/main" id="{6F164047-323E-4CBF-A8D2-CE7AAB97401E}"/>
                </a:ext>
              </a:extLst>
            </p:cNvPr>
            <p:cNvSpPr/>
            <p:nvPr/>
          </p:nvSpPr>
          <p:spPr>
            <a:xfrm>
              <a:off x="6579310" y="281888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9" name="Picture 28">
              <a:extLst>
                <a:ext uri="{FF2B5EF4-FFF2-40B4-BE49-F238E27FC236}">
                  <a16:creationId xmlns="" xmlns:a16="http://schemas.microsoft.com/office/drawing/2014/main" id="{D6C3D995-AA0C-4EF7-AD95-A65BD4105588}"/>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b="58009"/>
            <a:stretch/>
          </p:blipFill>
          <p:spPr>
            <a:xfrm>
              <a:off x="6651301" y="3040242"/>
              <a:ext cx="435053" cy="104391"/>
            </a:xfrm>
            <a:prstGeom prst="rect">
              <a:avLst/>
            </a:prstGeom>
          </p:spPr>
        </p:pic>
      </p:grpSp>
      <p:grpSp>
        <p:nvGrpSpPr>
          <p:cNvPr id="30" name="Group 29">
            <a:extLst>
              <a:ext uri="{FF2B5EF4-FFF2-40B4-BE49-F238E27FC236}">
                <a16:creationId xmlns="" xmlns:a16="http://schemas.microsoft.com/office/drawing/2014/main" id="{FA12D6FC-89DD-40CD-81D3-4A716D40FDC8}"/>
              </a:ext>
            </a:extLst>
          </p:cNvPr>
          <p:cNvGrpSpPr/>
          <p:nvPr/>
        </p:nvGrpSpPr>
        <p:grpSpPr>
          <a:xfrm>
            <a:off x="2013692" y="3941703"/>
            <a:ext cx="655587" cy="655587"/>
            <a:chOff x="7360065" y="4655668"/>
            <a:chExt cx="563264" cy="563264"/>
          </a:xfrm>
        </p:grpSpPr>
        <p:sp>
          <p:nvSpPr>
            <p:cNvPr id="31" name="Oval 30">
              <a:extLst>
                <a:ext uri="{FF2B5EF4-FFF2-40B4-BE49-F238E27FC236}">
                  <a16:creationId xmlns="" xmlns:a16="http://schemas.microsoft.com/office/drawing/2014/main" id="{E636208B-E8F6-4F2B-BE78-0161DC96D35B}"/>
                </a:ext>
              </a:extLst>
            </p:cNvPr>
            <p:cNvSpPr/>
            <p:nvPr/>
          </p:nvSpPr>
          <p:spPr>
            <a:xfrm>
              <a:off x="7360065" y="4655668"/>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2" name="Picture 31">
              <a:extLst>
                <a:ext uri="{FF2B5EF4-FFF2-40B4-BE49-F238E27FC236}">
                  <a16:creationId xmlns="" xmlns:a16="http://schemas.microsoft.com/office/drawing/2014/main" id="{A77D4A21-CEFC-45E3-A6D8-BF35E570C0F9}"/>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429827" y="4888091"/>
              <a:ext cx="414439" cy="134983"/>
            </a:xfrm>
            <a:prstGeom prst="rect">
              <a:avLst/>
            </a:prstGeom>
          </p:spPr>
        </p:pic>
      </p:grpSp>
      <p:grpSp>
        <p:nvGrpSpPr>
          <p:cNvPr id="35" name="Group 34">
            <a:extLst>
              <a:ext uri="{FF2B5EF4-FFF2-40B4-BE49-F238E27FC236}">
                <a16:creationId xmlns="" xmlns:a16="http://schemas.microsoft.com/office/drawing/2014/main" id="{DF7472A4-647D-46A7-9653-64A87FE0625A}"/>
              </a:ext>
            </a:extLst>
          </p:cNvPr>
          <p:cNvGrpSpPr/>
          <p:nvPr/>
        </p:nvGrpSpPr>
        <p:grpSpPr>
          <a:xfrm>
            <a:off x="3278083" y="3941703"/>
            <a:ext cx="655587" cy="655587"/>
            <a:chOff x="5682691" y="5559012"/>
            <a:chExt cx="563264" cy="563264"/>
          </a:xfrm>
        </p:grpSpPr>
        <p:sp>
          <p:nvSpPr>
            <p:cNvPr id="33" name="Oval 32">
              <a:extLst>
                <a:ext uri="{FF2B5EF4-FFF2-40B4-BE49-F238E27FC236}">
                  <a16:creationId xmlns="" xmlns:a16="http://schemas.microsoft.com/office/drawing/2014/main" id="{617593BB-1ABF-4106-B9F7-1B4AC3401547}"/>
                </a:ext>
              </a:extLst>
            </p:cNvPr>
            <p:cNvSpPr/>
            <p:nvPr/>
          </p:nvSpPr>
          <p:spPr>
            <a:xfrm>
              <a:off x="5682691" y="5559012"/>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4" name="Picture 2">
              <a:extLst>
                <a:ext uri="{FF2B5EF4-FFF2-40B4-BE49-F238E27FC236}">
                  <a16:creationId xmlns="" xmlns:a16="http://schemas.microsoft.com/office/drawing/2014/main" id="{7C74F9C2-88C0-4BFE-A85A-7291046FDB5B}"/>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726743" y="5793170"/>
              <a:ext cx="481780" cy="1158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36" name="Group 35">
            <a:extLst>
              <a:ext uri="{FF2B5EF4-FFF2-40B4-BE49-F238E27FC236}">
                <a16:creationId xmlns="" xmlns:a16="http://schemas.microsoft.com/office/drawing/2014/main" id="{1BFC88E2-993D-42BF-9879-F63984D2BBC7}"/>
              </a:ext>
            </a:extLst>
          </p:cNvPr>
          <p:cNvGrpSpPr/>
          <p:nvPr/>
        </p:nvGrpSpPr>
        <p:grpSpPr>
          <a:xfrm>
            <a:off x="749301" y="4943012"/>
            <a:ext cx="655587" cy="655587"/>
            <a:chOff x="6360399" y="3697027"/>
            <a:chExt cx="563264" cy="563264"/>
          </a:xfrm>
        </p:grpSpPr>
        <p:sp>
          <p:nvSpPr>
            <p:cNvPr id="37" name="Oval 36">
              <a:extLst>
                <a:ext uri="{FF2B5EF4-FFF2-40B4-BE49-F238E27FC236}">
                  <a16:creationId xmlns="" xmlns:a16="http://schemas.microsoft.com/office/drawing/2014/main" id="{1E7FE97E-47C9-4CE9-B269-49D8B31CEA83}"/>
                </a:ext>
              </a:extLst>
            </p:cNvPr>
            <p:cNvSpPr/>
            <p:nvPr/>
          </p:nvSpPr>
          <p:spPr>
            <a:xfrm>
              <a:off x="6360399" y="3697027"/>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8" name="Picture 34">
              <a:extLst>
                <a:ext uri="{FF2B5EF4-FFF2-40B4-BE49-F238E27FC236}">
                  <a16:creationId xmlns="" xmlns:a16="http://schemas.microsoft.com/office/drawing/2014/main" id="{82256AF1-E1B1-4154-AC0F-2351041B1609}"/>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6035" t="21055" r="76154" b="73846"/>
            <a:stretch/>
          </p:blipFill>
          <p:spPr bwMode="auto">
            <a:xfrm>
              <a:off x="6380905" y="3920048"/>
              <a:ext cx="522251" cy="112197"/>
            </a:xfrm>
            <a:prstGeom prst="rect">
              <a:avLst/>
            </a:prstGeom>
            <a:noFill/>
            <a:ln>
              <a:noFill/>
            </a:ln>
            <a:effectLst/>
            <a:extLst>
              <a:ext uri="{909E8E84-426E-40DD-AFC4-6F175D3DCCD1}">
                <a14:hiddenFill xmlns:a14="http://schemas.microsoft.com/office/drawing/2010/main">
                  <a:solidFill>
                    <a:srgbClr val="A1BD6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BBD83"/>
                    </a:outerShdw>
                  </a:effectLst>
                </a14:hiddenEffects>
              </a:ext>
            </a:extLst>
          </p:spPr>
        </p:pic>
      </p:grpSp>
      <p:grpSp>
        <p:nvGrpSpPr>
          <p:cNvPr id="39" name="Group 38">
            <a:extLst>
              <a:ext uri="{FF2B5EF4-FFF2-40B4-BE49-F238E27FC236}">
                <a16:creationId xmlns="" xmlns:a16="http://schemas.microsoft.com/office/drawing/2014/main" id="{CBEF74A3-9063-40A0-9490-BE2C7B840C47}"/>
              </a:ext>
            </a:extLst>
          </p:cNvPr>
          <p:cNvGrpSpPr/>
          <p:nvPr/>
        </p:nvGrpSpPr>
        <p:grpSpPr>
          <a:xfrm>
            <a:off x="3278083" y="4943012"/>
            <a:ext cx="655587" cy="655587"/>
            <a:chOff x="6461211" y="5557682"/>
            <a:chExt cx="563264" cy="563264"/>
          </a:xfrm>
        </p:grpSpPr>
        <p:sp>
          <p:nvSpPr>
            <p:cNvPr id="40" name="Oval 39">
              <a:extLst>
                <a:ext uri="{FF2B5EF4-FFF2-40B4-BE49-F238E27FC236}">
                  <a16:creationId xmlns="" xmlns:a16="http://schemas.microsoft.com/office/drawing/2014/main" id="{5799DBC8-1706-46D5-8A73-048925EBB672}"/>
                </a:ext>
              </a:extLst>
            </p:cNvPr>
            <p:cNvSpPr/>
            <p:nvPr/>
          </p:nvSpPr>
          <p:spPr>
            <a:xfrm>
              <a:off x="6461211" y="5557682"/>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1" name="Picture 58" descr="Homepage of Cardinal Health">
              <a:hlinkClick r:id="rId17"/>
              <a:extLst>
                <a:ext uri="{FF2B5EF4-FFF2-40B4-BE49-F238E27FC236}">
                  <a16:creationId xmlns="" xmlns:a16="http://schemas.microsoft.com/office/drawing/2014/main" id="{BE3B06E3-53D3-4CBB-A640-253D095C1A74}"/>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499105" y="5761370"/>
              <a:ext cx="462622" cy="166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2" name="Group 41">
            <a:extLst>
              <a:ext uri="{FF2B5EF4-FFF2-40B4-BE49-F238E27FC236}">
                <a16:creationId xmlns="" xmlns:a16="http://schemas.microsoft.com/office/drawing/2014/main" id="{C186725A-8202-4D6A-B3F0-61E25B5E942E}"/>
              </a:ext>
            </a:extLst>
          </p:cNvPr>
          <p:cNvGrpSpPr/>
          <p:nvPr/>
        </p:nvGrpSpPr>
        <p:grpSpPr>
          <a:xfrm>
            <a:off x="2013692" y="4943012"/>
            <a:ext cx="655587" cy="655587"/>
            <a:chOff x="7239731" y="5557682"/>
            <a:chExt cx="563264" cy="563264"/>
          </a:xfrm>
        </p:grpSpPr>
        <p:sp>
          <p:nvSpPr>
            <p:cNvPr id="43" name="Oval 42">
              <a:extLst>
                <a:ext uri="{FF2B5EF4-FFF2-40B4-BE49-F238E27FC236}">
                  <a16:creationId xmlns="" xmlns:a16="http://schemas.microsoft.com/office/drawing/2014/main" id="{4196FE88-49E5-4271-8BE6-35B8F5E9D0EF}"/>
                </a:ext>
              </a:extLst>
            </p:cNvPr>
            <p:cNvSpPr/>
            <p:nvPr/>
          </p:nvSpPr>
          <p:spPr>
            <a:xfrm>
              <a:off x="7239731" y="5557682"/>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4" name="Picture 3">
              <a:extLst>
                <a:ext uri="{FF2B5EF4-FFF2-40B4-BE49-F238E27FC236}">
                  <a16:creationId xmlns="" xmlns:a16="http://schemas.microsoft.com/office/drawing/2014/main" id="{1AEE8685-7DF5-4330-A881-EF218616DEC8}"/>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276270" y="5793100"/>
              <a:ext cx="498054" cy="1064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5" name="Group 44">
            <a:extLst>
              <a:ext uri="{FF2B5EF4-FFF2-40B4-BE49-F238E27FC236}">
                <a16:creationId xmlns="" xmlns:a16="http://schemas.microsoft.com/office/drawing/2014/main" id="{04FDF1F6-7919-4E0A-A1C9-93C4FB1CDA43}"/>
              </a:ext>
            </a:extLst>
          </p:cNvPr>
          <p:cNvGrpSpPr/>
          <p:nvPr/>
        </p:nvGrpSpPr>
        <p:grpSpPr>
          <a:xfrm>
            <a:off x="2645888" y="5943101"/>
            <a:ext cx="655587" cy="655587"/>
            <a:chOff x="6360399" y="3697027"/>
            <a:chExt cx="563264" cy="563264"/>
          </a:xfrm>
        </p:grpSpPr>
        <p:sp>
          <p:nvSpPr>
            <p:cNvPr id="46" name="Oval 45">
              <a:extLst>
                <a:ext uri="{FF2B5EF4-FFF2-40B4-BE49-F238E27FC236}">
                  <a16:creationId xmlns="" xmlns:a16="http://schemas.microsoft.com/office/drawing/2014/main" id="{0ADCF6C1-2A5C-429D-8908-B50326B9237E}"/>
                </a:ext>
              </a:extLst>
            </p:cNvPr>
            <p:cNvSpPr/>
            <p:nvPr/>
          </p:nvSpPr>
          <p:spPr>
            <a:xfrm>
              <a:off x="6360399" y="3697027"/>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7" name="Picture 34">
              <a:extLst>
                <a:ext uri="{FF2B5EF4-FFF2-40B4-BE49-F238E27FC236}">
                  <a16:creationId xmlns="" xmlns:a16="http://schemas.microsoft.com/office/drawing/2014/main" id="{A1654156-930A-4057-83CC-344A4AA77B7B}"/>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6035" t="21055" r="76154" b="73846"/>
            <a:stretch/>
          </p:blipFill>
          <p:spPr bwMode="auto">
            <a:xfrm>
              <a:off x="6380905" y="3920048"/>
              <a:ext cx="522251" cy="112197"/>
            </a:xfrm>
            <a:prstGeom prst="rect">
              <a:avLst/>
            </a:prstGeom>
            <a:noFill/>
            <a:ln>
              <a:noFill/>
            </a:ln>
            <a:effectLst/>
            <a:extLst>
              <a:ext uri="{909E8E84-426E-40DD-AFC4-6F175D3DCCD1}">
                <a14:hiddenFill xmlns:a14="http://schemas.microsoft.com/office/drawing/2010/main">
                  <a:solidFill>
                    <a:srgbClr val="A1BD6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BBD83"/>
                    </a:outerShdw>
                  </a:effectLst>
                </a14:hiddenEffects>
              </a:ext>
            </a:extLst>
          </p:spPr>
        </p:pic>
      </p:grpSp>
      <p:grpSp>
        <p:nvGrpSpPr>
          <p:cNvPr id="48" name="Group 47">
            <a:extLst>
              <a:ext uri="{FF2B5EF4-FFF2-40B4-BE49-F238E27FC236}">
                <a16:creationId xmlns="" xmlns:a16="http://schemas.microsoft.com/office/drawing/2014/main" id="{240E9FAF-530C-4ED8-97E0-F90205267CA2}"/>
              </a:ext>
            </a:extLst>
          </p:cNvPr>
          <p:cNvGrpSpPr/>
          <p:nvPr/>
        </p:nvGrpSpPr>
        <p:grpSpPr>
          <a:xfrm>
            <a:off x="2013692" y="5943101"/>
            <a:ext cx="655587" cy="655587"/>
            <a:chOff x="4920372" y="5557682"/>
            <a:chExt cx="563264" cy="563264"/>
          </a:xfrm>
        </p:grpSpPr>
        <p:sp>
          <p:nvSpPr>
            <p:cNvPr id="49" name="Oval 48">
              <a:extLst>
                <a:ext uri="{FF2B5EF4-FFF2-40B4-BE49-F238E27FC236}">
                  <a16:creationId xmlns="" xmlns:a16="http://schemas.microsoft.com/office/drawing/2014/main" id="{8B939835-D022-4675-8FD2-7BE5A96E49D2}"/>
                </a:ext>
              </a:extLst>
            </p:cNvPr>
            <p:cNvSpPr/>
            <p:nvPr/>
          </p:nvSpPr>
          <p:spPr>
            <a:xfrm>
              <a:off x="4920372" y="5557682"/>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0" name="Picture 35" descr="logo">
              <a:extLst>
                <a:ext uri="{FF2B5EF4-FFF2-40B4-BE49-F238E27FC236}">
                  <a16:creationId xmlns="" xmlns:a16="http://schemas.microsoft.com/office/drawing/2014/main" id="{86389142-4531-48B1-BB69-9EEFCB1008B1}"/>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4706" r="41959" b="47293"/>
            <a:stretch/>
          </p:blipFill>
          <p:spPr bwMode="auto">
            <a:xfrm>
              <a:off x="4956345" y="5793216"/>
              <a:ext cx="491317" cy="91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 name="Group 50">
            <a:extLst>
              <a:ext uri="{FF2B5EF4-FFF2-40B4-BE49-F238E27FC236}">
                <a16:creationId xmlns="" xmlns:a16="http://schemas.microsoft.com/office/drawing/2014/main" id="{7B7948EA-5F7B-405F-9DAD-68058B494416}"/>
              </a:ext>
            </a:extLst>
          </p:cNvPr>
          <p:cNvGrpSpPr/>
          <p:nvPr/>
        </p:nvGrpSpPr>
        <p:grpSpPr>
          <a:xfrm>
            <a:off x="3278083" y="5943101"/>
            <a:ext cx="655587" cy="655587"/>
            <a:chOff x="6461211" y="5557682"/>
            <a:chExt cx="563264" cy="563264"/>
          </a:xfrm>
        </p:grpSpPr>
        <p:sp>
          <p:nvSpPr>
            <p:cNvPr id="52" name="Oval 51">
              <a:extLst>
                <a:ext uri="{FF2B5EF4-FFF2-40B4-BE49-F238E27FC236}">
                  <a16:creationId xmlns="" xmlns:a16="http://schemas.microsoft.com/office/drawing/2014/main" id="{35681470-C6EF-42C0-8CE6-7249CE2BCFBC}"/>
                </a:ext>
              </a:extLst>
            </p:cNvPr>
            <p:cNvSpPr/>
            <p:nvPr/>
          </p:nvSpPr>
          <p:spPr>
            <a:xfrm>
              <a:off x="6461211" y="5557682"/>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3" name="Picture 58" descr="Homepage of Cardinal Health">
              <a:hlinkClick r:id="rId17"/>
              <a:extLst>
                <a:ext uri="{FF2B5EF4-FFF2-40B4-BE49-F238E27FC236}">
                  <a16:creationId xmlns="" xmlns:a16="http://schemas.microsoft.com/office/drawing/2014/main" id="{4CC21F11-F2A1-4CD4-A8EF-ADF81146A45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499105" y="5761370"/>
              <a:ext cx="462622" cy="166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4" name="Group 53">
            <a:extLst>
              <a:ext uri="{FF2B5EF4-FFF2-40B4-BE49-F238E27FC236}">
                <a16:creationId xmlns="" xmlns:a16="http://schemas.microsoft.com/office/drawing/2014/main" id="{68818818-0101-4EB0-8639-760925DA85B9}"/>
              </a:ext>
            </a:extLst>
          </p:cNvPr>
          <p:cNvGrpSpPr/>
          <p:nvPr/>
        </p:nvGrpSpPr>
        <p:grpSpPr>
          <a:xfrm>
            <a:off x="749301" y="5943101"/>
            <a:ext cx="655587" cy="655587"/>
            <a:chOff x="8804639" y="5557682"/>
            <a:chExt cx="563264" cy="563264"/>
          </a:xfrm>
        </p:grpSpPr>
        <p:sp>
          <p:nvSpPr>
            <p:cNvPr id="55" name="Oval 54">
              <a:extLst>
                <a:ext uri="{FF2B5EF4-FFF2-40B4-BE49-F238E27FC236}">
                  <a16:creationId xmlns="" xmlns:a16="http://schemas.microsoft.com/office/drawing/2014/main" id="{4DCEFB50-3CB1-44E8-A3D4-5FBBE0E642C1}"/>
                </a:ext>
              </a:extLst>
            </p:cNvPr>
            <p:cNvSpPr/>
            <p:nvPr/>
          </p:nvSpPr>
          <p:spPr>
            <a:xfrm>
              <a:off x="8804639" y="5557682"/>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6" name="Picture 55">
              <a:extLst>
                <a:ext uri="{FF2B5EF4-FFF2-40B4-BE49-F238E27FC236}">
                  <a16:creationId xmlns="" xmlns:a16="http://schemas.microsoft.com/office/drawing/2014/main" id="{245734AB-DED4-438A-BA97-CE3DEAD0A153}"/>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871986" y="5637577"/>
              <a:ext cx="417469" cy="417469"/>
            </a:xfrm>
            <a:prstGeom prst="rect">
              <a:avLst/>
            </a:prstGeom>
          </p:spPr>
        </p:pic>
      </p:grpSp>
      <p:grpSp>
        <p:nvGrpSpPr>
          <p:cNvPr id="61" name="Group 60">
            <a:extLst>
              <a:ext uri="{FF2B5EF4-FFF2-40B4-BE49-F238E27FC236}">
                <a16:creationId xmlns="" xmlns:a16="http://schemas.microsoft.com/office/drawing/2014/main" id="{4158E493-BD82-4F8F-BC41-EEC9AAB2AA85}"/>
              </a:ext>
            </a:extLst>
          </p:cNvPr>
          <p:cNvGrpSpPr/>
          <p:nvPr/>
        </p:nvGrpSpPr>
        <p:grpSpPr>
          <a:xfrm>
            <a:off x="2013692" y="2941005"/>
            <a:ext cx="655587" cy="655587"/>
            <a:chOff x="2012253" y="3370133"/>
            <a:chExt cx="563264" cy="563264"/>
          </a:xfrm>
        </p:grpSpPr>
        <p:sp>
          <p:nvSpPr>
            <p:cNvPr id="58" name="Oval 57">
              <a:extLst>
                <a:ext uri="{FF2B5EF4-FFF2-40B4-BE49-F238E27FC236}">
                  <a16:creationId xmlns="" xmlns:a16="http://schemas.microsoft.com/office/drawing/2014/main" id="{020B4D85-CCE7-403C-A206-2AD0E91F7DDC}"/>
                </a:ext>
              </a:extLst>
            </p:cNvPr>
            <p:cNvSpPr/>
            <p:nvPr/>
          </p:nvSpPr>
          <p:spPr>
            <a:xfrm>
              <a:off x="2012253" y="3370133"/>
              <a:ext cx="563264" cy="563264"/>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60" name="Picture 2" descr="microclave - ICU Medical">
              <a:extLst>
                <a:ext uri="{FF2B5EF4-FFF2-40B4-BE49-F238E27FC236}">
                  <a16:creationId xmlns="" xmlns:a16="http://schemas.microsoft.com/office/drawing/2014/main" id="{F2423B97-4F4C-459C-B5C9-EA45CB599D7C}"/>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057097" y="3589194"/>
              <a:ext cx="473577" cy="125142"/>
            </a:xfrm>
            <a:prstGeom prst="rect">
              <a:avLst/>
            </a:prstGeom>
            <a:noFill/>
            <a:extLst>
              <a:ext uri="{909E8E84-426E-40DD-AFC4-6F175D3DCCD1}">
                <a14:hiddenFill xmlns:a14="http://schemas.microsoft.com/office/drawing/2010/main">
                  <a:solidFill>
                    <a:srgbClr val="FFFFFF"/>
                  </a:solidFill>
                </a14:hiddenFill>
              </a:ext>
            </a:extLst>
          </p:spPr>
        </p:pic>
      </p:grpSp>
      <p:sp>
        <p:nvSpPr>
          <p:cNvPr id="62" name="Title 1">
            <a:extLst>
              <a:ext uri="{FF2B5EF4-FFF2-40B4-BE49-F238E27FC236}">
                <a16:creationId xmlns="" xmlns:a16="http://schemas.microsoft.com/office/drawing/2014/main" id="{8E89D534-6436-49FE-9CC8-047ABE28B1F5}"/>
              </a:ext>
            </a:extLst>
          </p:cNvPr>
          <p:cNvSpPr txBox="1">
            <a:spLocks/>
          </p:cNvSpPr>
          <p:nvPr/>
        </p:nvSpPr>
        <p:spPr>
          <a:xfrm>
            <a:off x="1489940" y="229873"/>
            <a:ext cx="9212121" cy="58614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EVEN WITH THE COMPLEX CHANGING-OF-HANDS IN THE PRE-FILLED FLUSH MARKET, </a:t>
            </a:r>
            <a:r>
              <a:rPr kumimoji="0" lang="en-US" sz="20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BD HAS REMAINED UNCHANGED</a:t>
            </a:r>
          </a:p>
        </p:txBody>
      </p:sp>
      <p:pic>
        <p:nvPicPr>
          <p:cNvPr id="64" name="Graphic 63">
            <a:extLst>
              <a:ext uri="{FF2B5EF4-FFF2-40B4-BE49-F238E27FC236}">
                <a16:creationId xmlns="" xmlns:a16="http://schemas.microsoft.com/office/drawing/2014/main" id="{14BD23C1-FF06-4788-A760-CB9EC29BAA9A}"/>
              </a:ext>
            </a:extLst>
          </p:cNvPr>
          <p:cNvPicPr>
            <a:picLocks noChangeAspect="1"/>
          </p:cNvPicPr>
          <p:nvPr/>
        </p:nvPicPr>
        <p:blipFill>
          <a:blip r:embed="rId21">
            <a:extLst>
              <a:ext uri="{96DAC541-7B7A-43D3-8B79-37D633B846F1}">
                <asvg:svgBlip xmlns="" xmlns:asvg="http://schemas.microsoft.com/office/drawing/2016/SVG/main" r:embed="rId22"/>
              </a:ext>
            </a:extLst>
          </a:blip>
          <a:stretch>
            <a:fillRect/>
          </a:stretch>
        </p:blipFill>
        <p:spPr>
          <a:xfrm>
            <a:off x="1543217" y="1115771"/>
            <a:ext cx="332145" cy="303262"/>
          </a:xfrm>
          <a:prstGeom prst="rect">
            <a:avLst/>
          </a:prstGeom>
        </p:spPr>
      </p:pic>
      <p:pic>
        <p:nvPicPr>
          <p:cNvPr id="65" name="Graphic 64">
            <a:extLst>
              <a:ext uri="{FF2B5EF4-FFF2-40B4-BE49-F238E27FC236}">
                <a16:creationId xmlns="" xmlns:a16="http://schemas.microsoft.com/office/drawing/2014/main" id="{6EB44BAF-D207-4EFE-9728-CAC33C1D8ED2}"/>
              </a:ext>
            </a:extLst>
          </p:cNvPr>
          <p:cNvPicPr>
            <a:picLocks noChangeAspect="1"/>
          </p:cNvPicPr>
          <p:nvPr/>
        </p:nvPicPr>
        <p:blipFill>
          <a:blip r:embed="rId21">
            <a:extLst>
              <a:ext uri="{96DAC541-7B7A-43D3-8B79-37D633B846F1}">
                <asvg:svgBlip xmlns="" xmlns:asvg="http://schemas.microsoft.com/office/drawing/2016/SVG/main" r:embed="rId22"/>
              </a:ext>
            </a:extLst>
          </a:blip>
          <a:stretch>
            <a:fillRect/>
          </a:stretch>
        </p:blipFill>
        <p:spPr>
          <a:xfrm>
            <a:off x="1552378" y="2116469"/>
            <a:ext cx="332145" cy="303262"/>
          </a:xfrm>
          <a:prstGeom prst="rect">
            <a:avLst/>
          </a:prstGeom>
        </p:spPr>
      </p:pic>
      <p:pic>
        <p:nvPicPr>
          <p:cNvPr id="66" name="Graphic 65">
            <a:extLst>
              <a:ext uri="{FF2B5EF4-FFF2-40B4-BE49-F238E27FC236}">
                <a16:creationId xmlns="" xmlns:a16="http://schemas.microsoft.com/office/drawing/2014/main" id="{55392842-20F7-4C06-A286-B29383CAECE5}"/>
              </a:ext>
            </a:extLst>
          </p:cNvPr>
          <p:cNvPicPr>
            <a:picLocks noChangeAspect="1"/>
          </p:cNvPicPr>
          <p:nvPr/>
        </p:nvPicPr>
        <p:blipFill>
          <a:blip r:embed="rId21">
            <a:extLst>
              <a:ext uri="{96DAC541-7B7A-43D3-8B79-37D633B846F1}">
                <asvg:svgBlip xmlns="" xmlns:asvg="http://schemas.microsoft.com/office/drawing/2016/SVG/main" r:embed="rId22"/>
              </a:ext>
            </a:extLst>
          </a:blip>
          <a:stretch>
            <a:fillRect/>
          </a:stretch>
        </p:blipFill>
        <p:spPr>
          <a:xfrm>
            <a:off x="1543217" y="3117167"/>
            <a:ext cx="332145" cy="303262"/>
          </a:xfrm>
          <a:prstGeom prst="rect">
            <a:avLst/>
          </a:prstGeom>
        </p:spPr>
      </p:pic>
      <p:pic>
        <p:nvPicPr>
          <p:cNvPr id="70" name="Graphic 69">
            <a:extLst>
              <a:ext uri="{FF2B5EF4-FFF2-40B4-BE49-F238E27FC236}">
                <a16:creationId xmlns="" xmlns:a16="http://schemas.microsoft.com/office/drawing/2014/main" id="{568F7C36-3602-43D3-B73D-20CF46FDD687}"/>
              </a:ext>
            </a:extLst>
          </p:cNvPr>
          <p:cNvPicPr>
            <a:picLocks noChangeAspect="1"/>
          </p:cNvPicPr>
          <p:nvPr/>
        </p:nvPicPr>
        <p:blipFill>
          <a:blip r:embed="rId21">
            <a:extLst>
              <a:ext uri="{96DAC541-7B7A-43D3-8B79-37D633B846F1}">
                <asvg:svgBlip xmlns="" xmlns:asvg="http://schemas.microsoft.com/office/drawing/2016/SVG/main" r:embed="rId22"/>
              </a:ext>
            </a:extLst>
          </a:blip>
          <a:stretch>
            <a:fillRect/>
          </a:stretch>
        </p:blipFill>
        <p:spPr>
          <a:xfrm>
            <a:off x="2789698" y="3117167"/>
            <a:ext cx="332145" cy="303262"/>
          </a:xfrm>
          <a:prstGeom prst="rect">
            <a:avLst/>
          </a:prstGeom>
        </p:spPr>
      </p:pic>
      <p:pic>
        <p:nvPicPr>
          <p:cNvPr id="71" name="Graphic 70">
            <a:extLst>
              <a:ext uri="{FF2B5EF4-FFF2-40B4-BE49-F238E27FC236}">
                <a16:creationId xmlns="" xmlns:a16="http://schemas.microsoft.com/office/drawing/2014/main" id="{43124DD4-374E-4520-BB17-8175447538E2}"/>
              </a:ext>
            </a:extLst>
          </p:cNvPr>
          <p:cNvPicPr>
            <a:picLocks noChangeAspect="1"/>
          </p:cNvPicPr>
          <p:nvPr/>
        </p:nvPicPr>
        <p:blipFill>
          <a:blip r:embed="rId21">
            <a:extLst>
              <a:ext uri="{96DAC541-7B7A-43D3-8B79-37D633B846F1}">
                <asvg:svgBlip xmlns="" xmlns:asvg="http://schemas.microsoft.com/office/drawing/2016/SVG/main" r:embed="rId22"/>
              </a:ext>
            </a:extLst>
          </a:blip>
          <a:stretch>
            <a:fillRect/>
          </a:stretch>
        </p:blipFill>
        <p:spPr>
          <a:xfrm>
            <a:off x="1543217" y="4117865"/>
            <a:ext cx="332145" cy="303262"/>
          </a:xfrm>
          <a:prstGeom prst="rect">
            <a:avLst/>
          </a:prstGeom>
        </p:spPr>
      </p:pic>
      <p:pic>
        <p:nvPicPr>
          <p:cNvPr id="72" name="Graphic 71">
            <a:extLst>
              <a:ext uri="{FF2B5EF4-FFF2-40B4-BE49-F238E27FC236}">
                <a16:creationId xmlns="" xmlns:a16="http://schemas.microsoft.com/office/drawing/2014/main" id="{E2AD5CF3-6C85-424F-97BD-4F8D7A4D0DF3}"/>
              </a:ext>
            </a:extLst>
          </p:cNvPr>
          <p:cNvPicPr>
            <a:picLocks noChangeAspect="1"/>
          </p:cNvPicPr>
          <p:nvPr/>
        </p:nvPicPr>
        <p:blipFill>
          <a:blip r:embed="rId21">
            <a:extLst>
              <a:ext uri="{96DAC541-7B7A-43D3-8B79-37D633B846F1}">
                <asvg:svgBlip xmlns="" xmlns:asvg="http://schemas.microsoft.com/office/drawing/2016/SVG/main" r:embed="rId22"/>
              </a:ext>
            </a:extLst>
          </a:blip>
          <a:stretch>
            <a:fillRect/>
          </a:stretch>
        </p:blipFill>
        <p:spPr>
          <a:xfrm>
            <a:off x="2789698" y="4117865"/>
            <a:ext cx="332145" cy="303262"/>
          </a:xfrm>
          <a:prstGeom prst="rect">
            <a:avLst/>
          </a:prstGeom>
        </p:spPr>
      </p:pic>
      <p:pic>
        <p:nvPicPr>
          <p:cNvPr id="73" name="Graphic 72">
            <a:extLst>
              <a:ext uri="{FF2B5EF4-FFF2-40B4-BE49-F238E27FC236}">
                <a16:creationId xmlns="" xmlns:a16="http://schemas.microsoft.com/office/drawing/2014/main" id="{464020C5-4640-45C5-B37E-B2C0025BCCDB}"/>
              </a:ext>
            </a:extLst>
          </p:cNvPr>
          <p:cNvPicPr>
            <a:picLocks noChangeAspect="1"/>
          </p:cNvPicPr>
          <p:nvPr/>
        </p:nvPicPr>
        <p:blipFill>
          <a:blip r:embed="rId21">
            <a:extLst>
              <a:ext uri="{96DAC541-7B7A-43D3-8B79-37D633B846F1}">
                <asvg:svgBlip xmlns="" xmlns:asvg="http://schemas.microsoft.com/office/drawing/2016/SVG/main" r:embed="rId22"/>
              </a:ext>
            </a:extLst>
          </a:blip>
          <a:stretch>
            <a:fillRect/>
          </a:stretch>
        </p:blipFill>
        <p:spPr>
          <a:xfrm>
            <a:off x="1543217" y="5119174"/>
            <a:ext cx="332145" cy="303262"/>
          </a:xfrm>
          <a:prstGeom prst="rect">
            <a:avLst/>
          </a:prstGeom>
        </p:spPr>
      </p:pic>
      <p:pic>
        <p:nvPicPr>
          <p:cNvPr id="74" name="Graphic 73">
            <a:extLst>
              <a:ext uri="{FF2B5EF4-FFF2-40B4-BE49-F238E27FC236}">
                <a16:creationId xmlns="" xmlns:a16="http://schemas.microsoft.com/office/drawing/2014/main" id="{EA727AF1-DCE6-4437-B12F-A9A28D1BC8EA}"/>
              </a:ext>
            </a:extLst>
          </p:cNvPr>
          <p:cNvPicPr>
            <a:picLocks noChangeAspect="1"/>
          </p:cNvPicPr>
          <p:nvPr/>
        </p:nvPicPr>
        <p:blipFill>
          <a:blip r:embed="rId21">
            <a:extLst>
              <a:ext uri="{96DAC541-7B7A-43D3-8B79-37D633B846F1}">
                <asvg:svgBlip xmlns="" xmlns:asvg="http://schemas.microsoft.com/office/drawing/2016/SVG/main" r:embed="rId22"/>
              </a:ext>
            </a:extLst>
          </a:blip>
          <a:stretch>
            <a:fillRect/>
          </a:stretch>
        </p:blipFill>
        <p:spPr>
          <a:xfrm>
            <a:off x="2789698" y="5119174"/>
            <a:ext cx="332145" cy="303262"/>
          </a:xfrm>
          <a:prstGeom prst="rect">
            <a:avLst/>
          </a:prstGeom>
        </p:spPr>
      </p:pic>
      <p:pic>
        <p:nvPicPr>
          <p:cNvPr id="75" name="Graphic 74">
            <a:extLst>
              <a:ext uri="{FF2B5EF4-FFF2-40B4-BE49-F238E27FC236}">
                <a16:creationId xmlns="" xmlns:a16="http://schemas.microsoft.com/office/drawing/2014/main" id="{215C1703-CBF3-475F-B228-620A07EEECB5}"/>
              </a:ext>
            </a:extLst>
          </p:cNvPr>
          <p:cNvPicPr>
            <a:picLocks noChangeAspect="1"/>
          </p:cNvPicPr>
          <p:nvPr/>
        </p:nvPicPr>
        <p:blipFill>
          <a:blip r:embed="rId21">
            <a:extLst>
              <a:ext uri="{96DAC541-7B7A-43D3-8B79-37D633B846F1}">
                <asvg:svgBlip xmlns="" xmlns:asvg="http://schemas.microsoft.com/office/drawing/2016/SVG/main" r:embed="rId22"/>
              </a:ext>
            </a:extLst>
          </a:blip>
          <a:stretch>
            <a:fillRect/>
          </a:stretch>
        </p:blipFill>
        <p:spPr>
          <a:xfrm>
            <a:off x="1543217" y="6119263"/>
            <a:ext cx="332145" cy="303262"/>
          </a:xfrm>
          <a:prstGeom prst="rect">
            <a:avLst/>
          </a:prstGeom>
        </p:spPr>
      </p:pic>
      <p:sp>
        <p:nvSpPr>
          <p:cNvPr id="76" name="Rectangle 75">
            <a:extLst>
              <a:ext uri="{FF2B5EF4-FFF2-40B4-BE49-F238E27FC236}">
                <a16:creationId xmlns="" xmlns:a16="http://schemas.microsoft.com/office/drawing/2014/main" id="{C764A0D1-45BF-4E3E-92B3-0E778578F1F5}"/>
              </a:ext>
            </a:extLst>
          </p:cNvPr>
          <p:cNvSpPr/>
          <p:nvPr/>
        </p:nvSpPr>
        <p:spPr>
          <a:xfrm>
            <a:off x="4267198" y="1064270"/>
            <a:ext cx="7377875" cy="406265"/>
          </a:xfrm>
          <a:prstGeom prst="rect">
            <a:avLst/>
          </a:prstGeom>
        </p:spPr>
        <p:txBody>
          <a:bodyPr wrap="square">
            <a:spAutoFit/>
          </a:bodyPr>
          <a:lstStyle/>
          <a:p>
            <a:pPr lvl="0">
              <a:lnSpc>
                <a:spcPct val="85000"/>
              </a:lnSpc>
              <a:spcAft>
                <a:spcPts val="600"/>
              </a:spcAft>
              <a:defRPr/>
            </a:pP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Baxter purchased the </a:t>
            </a:r>
            <a:r>
              <a:rPr kumimoji="0" lang="en-US" sz="12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Rocap</a:t>
            </a: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pre-filled syringe business along with other assets in December 1999 after </a:t>
            </a:r>
            <a:r>
              <a:rPr kumimoji="0" lang="en-US" sz="12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Sabratek</a:t>
            </a: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filed for </a:t>
            </a:r>
            <a:r>
              <a:rPr kumimoji="0" lang="en-US" sz="1200" b="0" i="0" u="none" strike="noStrike" kern="1200" cap="none" spc="0" normalizeH="0" baseline="0" noProof="0" dirty="0" smtClean="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bankruptcy</a:t>
            </a:r>
            <a:r>
              <a:rPr lang="en-US" sz="1200" baseline="30000" dirty="0" smtClean="0">
                <a:solidFill>
                  <a:srgbClr val="606062"/>
                </a:solidFill>
                <a:latin typeface="Verdana" panose="020B0604030504040204" pitchFamily="34" charset="0"/>
                <a:ea typeface="Verdana" panose="020B0604030504040204" pitchFamily="34" charset="0"/>
                <a:cs typeface="Verdana" panose="020B0604030504040204" pitchFamily="34" charset="0"/>
              </a:rPr>
              <a:t>9</a:t>
            </a:r>
            <a:r>
              <a:rPr kumimoji="0" lang="en-US" sz="1200" b="0" i="0" u="none" strike="noStrike" kern="1200" cap="none" spc="0" normalizeH="0" baseline="0" noProof="0" dirty="0" smtClean="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t>
            </a:r>
            <a:endPar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7" name="Rectangle 76">
            <a:extLst>
              <a:ext uri="{FF2B5EF4-FFF2-40B4-BE49-F238E27FC236}">
                <a16:creationId xmlns="" xmlns:a16="http://schemas.microsoft.com/office/drawing/2014/main" id="{7CDA696A-569F-4938-964A-B2416A6DB206}"/>
              </a:ext>
            </a:extLst>
          </p:cNvPr>
          <p:cNvSpPr/>
          <p:nvPr/>
        </p:nvSpPr>
        <p:spPr>
          <a:xfrm>
            <a:off x="4267198" y="2143451"/>
            <a:ext cx="7237591" cy="249299"/>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B. Braun was a former distributor of AM2PAT syringes at the time of AM2PAT’s fatal recall  </a:t>
            </a:r>
          </a:p>
        </p:txBody>
      </p:sp>
      <p:sp>
        <p:nvSpPr>
          <p:cNvPr id="78" name="Rectangle 77">
            <a:extLst>
              <a:ext uri="{FF2B5EF4-FFF2-40B4-BE49-F238E27FC236}">
                <a16:creationId xmlns="" xmlns:a16="http://schemas.microsoft.com/office/drawing/2014/main" id="{C3C18BE7-7BE4-4468-8169-90CE688C6650}"/>
              </a:ext>
            </a:extLst>
          </p:cNvPr>
          <p:cNvSpPr/>
          <p:nvPr/>
        </p:nvSpPr>
        <p:spPr>
          <a:xfrm>
            <a:off x="4267198" y="2924694"/>
            <a:ext cx="7459521"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October 2015, ICU Medical, Inc. signs a definitive agreement to acquire Excelsior Medical Corp. ICU also signed a definitive agreement to sell the operating assets of </a:t>
            </a:r>
            <a:r>
              <a:rPr kumimoji="0" lang="en-US" sz="12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SwabFlush</a:t>
            </a:r>
            <a:endParaRPr lang="en-US" sz="1200" dirty="0">
              <a:solidFill>
                <a:srgbClr val="404041"/>
              </a:solidFill>
              <a:latin typeface="Verdana" panose="020B0604030504040204" pitchFamily="34" charset="0"/>
              <a:ea typeface="Verdana" panose="020B0604030504040204" pitchFamily="34" charset="0"/>
              <a:cs typeface="Verdana" panose="020B0604030504040204" pitchFamily="34" charset="0"/>
            </a:endParaRPr>
          </a:p>
          <a:p>
            <a:pPr lvl="0">
              <a:defRPr/>
            </a:pP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and the pre-filled saline and heparin flush syringes to </a:t>
            </a:r>
            <a:r>
              <a:rPr kumimoji="0" lang="en-US" sz="1200" b="0" i="0" u="none" strike="noStrike" kern="1200" cap="none" spc="0" normalizeH="0" baseline="0" noProof="0" dirty="0" smtClean="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Medline</a:t>
            </a:r>
            <a:r>
              <a:rPr lang="en-US" sz="1200" baseline="30000" dirty="0" smtClean="0">
                <a:solidFill>
                  <a:srgbClr val="606062"/>
                </a:solidFill>
                <a:latin typeface="Verdana" panose="020B0604030504040204" pitchFamily="34" charset="0"/>
                <a:ea typeface="Verdana" panose="020B0604030504040204" pitchFamily="34" charset="0"/>
                <a:cs typeface="Verdana" panose="020B0604030504040204" pitchFamily="34" charset="0"/>
              </a:rPr>
              <a:t>10</a:t>
            </a:r>
            <a:endPar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79" name="Rectangle 78">
            <a:extLst>
              <a:ext uri="{FF2B5EF4-FFF2-40B4-BE49-F238E27FC236}">
                <a16:creationId xmlns="" xmlns:a16="http://schemas.microsoft.com/office/drawing/2014/main" id="{080A9E7A-F754-40F5-A646-34D484CCE4B0}"/>
              </a:ext>
            </a:extLst>
          </p:cNvPr>
          <p:cNvSpPr/>
          <p:nvPr/>
        </p:nvSpPr>
        <p:spPr>
          <a:xfrm>
            <a:off x="4267198" y="3927737"/>
            <a:ext cx="6976426" cy="646331"/>
          </a:xfrm>
          <a:prstGeom prst="rect">
            <a:avLst/>
          </a:prstGeom>
        </p:spPr>
        <p:txBody>
          <a:bodyPr wrap="square">
            <a:spAutoFit/>
          </a:bodyPr>
          <a:lstStyle/>
          <a:p>
            <a:pPr lvl="0">
              <a:defRPr/>
            </a:pP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Founded by Baxter Healthcare in 2000 and operating under the name AMUSA.  Effective September 2015, operating company, AMUSA, changes name to Aquabiliti to better reflect company’s current and future water based </a:t>
            </a:r>
            <a:r>
              <a:rPr kumimoji="0" lang="en-US" sz="1200" b="0" i="0" u="none" strike="noStrike" kern="1200" cap="none" spc="0" normalizeH="0" baseline="0" noProof="0" dirty="0" smtClean="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products</a:t>
            </a:r>
            <a:r>
              <a:rPr lang="en-US" sz="1200" baseline="30000" dirty="0" smtClean="0">
                <a:solidFill>
                  <a:srgbClr val="606062"/>
                </a:solidFill>
                <a:latin typeface="Verdana" panose="020B0604030504040204" pitchFamily="34" charset="0"/>
                <a:ea typeface="Verdana" panose="020B0604030504040204" pitchFamily="34" charset="0"/>
                <a:cs typeface="Verdana" panose="020B0604030504040204" pitchFamily="34" charset="0"/>
              </a:rPr>
              <a:t>11</a:t>
            </a:r>
            <a:endPar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0" name="Rectangle 79">
            <a:extLst>
              <a:ext uri="{FF2B5EF4-FFF2-40B4-BE49-F238E27FC236}">
                <a16:creationId xmlns="" xmlns:a16="http://schemas.microsoft.com/office/drawing/2014/main" id="{E8D00C25-1796-41E0-80F6-99F32F91869B}"/>
              </a:ext>
            </a:extLst>
          </p:cNvPr>
          <p:cNvSpPr/>
          <p:nvPr/>
        </p:nvSpPr>
        <p:spPr>
          <a:xfrm>
            <a:off x="4267198" y="4940393"/>
            <a:ext cx="7237591" cy="646331"/>
          </a:xfrm>
          <a:prstGeom prst="rect">
            <a:avLst/>
          </a:prstGeom>
        </p:spPr>
        <p:txBody>
          <a:bodyPr wrap="square">
            <a:spAutoFit/>
          </a:bodyPr>
          <a:lstStyle/>
          <a:p>
            <a:pPr lvl="0">
              <a:defRPr/>
            </a:pP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In January 2015, Medtronic completes acquisition of Covidien and attains pre-filled flush syringe business.  In April 2017, Cardinal Health acquired Medtronic’s patient care, DVT and nutritional insufficiency </a:t>
            </a:r>
            <a:r>
              <a:rPr kumimoji="0" lang="en-US" sz="1200" b="0" i="0" u="none" strike="noStrike" kern="1200" cap="none" spc="0" normalizeH="0" baseline="0" noProof="0" dirty="0" smtClean="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business</a:t>
            </a:r>
            <a:r>
              <a:rPr lang="en-US" sz="1200" baseline="30000" dirty="0" smtClean="0">
                <a:solidFill>
                  <a:srgbClr val="606062"/>
                </a:solidFill>
                <a:latin typeface="Verdana" panose="020B0604030504040204" pitchFamily="34" charset="0"/>
                <a:ea typeface="Verdana" panose="020B0604030504040204" pitchFamily="34" charset="0"/>
                <a:cs typeface="Verdana" panose="020B0604030504040204" pitchFamily="34" charset="0"/>
              </a:rPr>
              <a:t>12</a:t>
            </a:r>
            <a:endPar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1" name="Rectangle 80">
            <a:extLst>
              <a:ext uri="{FF2B5EF4-FFF2-40B4-BE49-F238E27FC236}">
                <a16:creationId xmlns="" xmlns:a16="http://schemas.microsoft.com/office/drawing/2014/main" id="{D8F1AB3C-71D7-4037-AF49-C0BA68D5687E}"/>
              </a:ext>
            </a:extLst>
          </p:cNvPr>
          <p:cNvSpPr/>
          <p:nvPr/>
        </p:nvSpPr>
        <p:spPr>
          <a:xfrm>
            <a:off x="4267198" y="5861543"/>
            <a:ext cx="6553202"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Braun is a current distributor of the Medline product (ZR Syring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Cardinal Health is a current distributor of the Medline product (ZR Syring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Covidien relies on Medline manufacturing (OEM relationship )for a portion of their pre-filled flush syringes</a:t>
            </a:r>
          </a:p>
        </p:txBody>
      </p:sp>
      <p:cxnSp>
        <p:nvCxnSpPr>
          <p:cNvPr id="83" name="Straight Connector 82">
            <a:extLst>
              <a:ext uri="{FF2B5EF4-FFF2-40B4-BE49-F238E27FC236}">
                <a16:creationId xmlns="" xmlns:a16="http://schemas.microsoft.com/office/drawing/2014/main" id="{90132B36-FDAF-4775-BBB3-9EC4C3C86FFD}"/>
              </a:ext>
            </a:extLst>
          </p:cNvPr>
          <p:cNvCxnSpPr>
            <a:cxnSpLocks/>
          </p:cNvCxnSpPr>
          <p:nvPr/>
        </p:nvCxnSpPr>
        <p:spPr>
          <a:xfrm>
            <a:off x="4381893" y="6084081"/>
            <a:ext cx="6213835" cy="0"/>
          </a:xfrm>
          <a:prstGeom prst="line">
            <a:avLst/>
          </a:prstGeom>
          <a:ln w="3175">
            <a:solidFill>
              <a:srgbClr val="E4E5E6"/>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 xmlns:a16="http://schemas.microsoft.com/office/drawing/2014/main" id="{E464F5B2-6556-436A-86F0-C5C2DBDF302B}"/>
              </a:ext>
            </a:extLst>
          </p:cNvPr>
          <p:cNvCxnSpPr>
            <a:cxnSpLocks/>
          </p:cNvCxnSpPr>
          <p:nvPr/>
        </p:nvCxnSpPr>
        <p:spPr>
          <a:xfrm>
            <a:off x="4191000" y="2963978"/>
            <a:ext cx="0" cy="60964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 xmlns:a16="http://schemas.microsoft.com/office/drawing/2014/main" id="{6FFE6C01-5272-4739-8B21-5F3420BC33DB}"/>
              </a:ext>
            </a:extLst>
          </p:cNvPr>
          <p:cNvCxnSpPr>
            <a:cxnSpLocks/>
          </p:cNvCxnSpPr>
          <p:nvPr/>
        </p:nvCxnSpPr>
        <p:spPr>
          <a:xfrm>
            <a:off x="4381893" y="6263191"/>
            <a:ext cx="6213835" cy="0"/>
          </a:xfrm>
          <a:prstGeom prst="line">
            <a:avLst/>
          </a:prstGeom>
          <a:ln w="3175">
            <a:solidFill>
              <a:srgbClr val="E4E5E6"/>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 xmlns:a16="http://schemas.microsoft.com/office/drawing/2014/main" id="{C3DE8F42-3D1A-4B10-92B7-ADD31A7B02C2}"/>
              </a:ext>
            </a:extLst>
          </p:cNvPr>
          <p:cNvCxnSpPr>
            <a:cxnSpLocks/>
          </p:cNvCxnSpPr>
          <p:nvPr/>
        </p:nvCxnSpPr>
        <p:spPr>
          <a:xfrm>
            <a:off x="4191000" y="1963280"/>
            <a:ext cx="0" cy="60964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 xmlns:a16="http://schemas.microsoft.com/office/drawing/2014/main" id="{C80A5E70-D66B-4976-B682-63A2279ABDAC}"/>
              </a:ext>
            </a:extLst>
          </p:cNvPr>
          <p:cNvCxnSpPr>
            <a:cxnSpLocks/>
          </p:cNvCxnSpPr>
          <p:nvPr/>
        </p:nvCxnSpPr>
        <p:spPr>
          <a:xfrm>
            <a:off x="4191000" y="962582"/>
            <a:ext cx="0" cy="60964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 xmlns:a16="http://schemas.microsoft.com/office/drawing/2014/main" id="{F1BFC503-F8AB-47A7-AA96-288F5A201A55}"/>
              </a:ext>
            </a:extLst>
          </p:cNvPr>
          <p:cNvCxnSpPr>
            <a:cxnSpLocks/>
          </p:cNvCxnSpPr>
          <p:nvPr/>
        </p:nvCxnSpPr>
        <p:spPr>
          <a:xfrm>
            <a:off x="4191000" y="3964676"/>
            <a:ext cx="0" cy="60964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 xmlns:a16="http://schemas.microsoft.com/office/drawing/2014/main" id="{126983B0-7015-4827-B091-C8EC905BCDE8}"/>
              </a:ext>
            </a:extLst>
          </p:cNvPr>
          <p:cNvCxnSpPr>
            <a:cxnSpLocks/>
          </p:cNvCxnSpPr>
          <p:nvPr/>
        </p:nvCxnSpPr>
        <p:spPr>
          <a:xfrm>
            <a:off x="4191000" y="4965374"/>
            <a:ext cx="0" cy="60964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 xmlns:a16="http://schemas.microsoft.com/office/drawing/2014/main" id="{4D3D28C7-6DEE-4319-A7FD-AE9D7C3442A2}"/>
              </a:ext>
            </a:extLst>
          </p:cNvPr>
          <p:cNvCxnSpPr>
            <a:cxnSpLocks/>
          </p:cNvCxnSpPr>
          <p:nvPr/>
        </p:nvCxnSpPr>
        <p:spPr>
          <a:xfrm>
            <a:off x="4191000" y="5966074"/>
            <a:ext cx="0" cy="60964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9914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par>
                                <p:cTn id="10" presetID="53" presetClass="entr" presetSubtype="16" fill="hold" nodeType="withEffect">
                                  <p:stCondLst>
                                    <p:cond delay="0"/>
                                  </p:stCondLst>
                                  <p:childTnLst>
                                    <p:set>
                                      <p:cBhvr>
                                        <p:cTn id="11" dur="1" fill="hold">
                                          <p:stCondLst>
                                            <p:cond delay="0"/>
                                          </p:stCondLst>
                                        </p:cTn>
                                        <p:tgtEl>
                                          <p:spTgt spid="18"/>
                                        </p:tgtEl>
                                        <p:attrNameLst>
                                          <p:attrName>style.visibility</p:attrName>
                                        </p:attrNameLst>
                                      </p:cBhvr>
                                      <p:to>
                                        <p:strVal val="visible"/>
                                      </p:to>
                                    </p:set>
                                    <p:anim calcmode="lin" valueType="num">
                                      <p:cBhvr>
                                        <p:cTn id="12" dur="500" fill="hold"/>
                                        <p:tgtEl>
                                          <p:spTgt spid="18"/>
                                        </p:tgtEl>
                                        <p:attrNameLst>
                                          <p:attrName>ppt_w</p:attrName>
                                        </p:attrNameLst>
                                      </p:cBhvr>
                                      <p:tavLst>
                                        <p:tav tm="0">
                                          <p:val>
                                            <p:fltVal val="0"/>
                                          </p:val>
                                        </p:tav>
                                        <p:tav tm="100000">
                                          <p:val>
                                            <p:strVal val="#ppt_w"/>
                                          </p:val>
                                        </p:tav>
                                      </p:tavLst>
                                    </p:anim>
                                    <p:anim calcmode="lin" valueType="num">
                                      <p:cBhvr>
                                        <p:cTn id="13" dur="500" fill="hold"/>
                                        <p:tgtEl>
                                          <p:spTgt spid="18"/>
                                        </p:tgtEl>
                                        <p:attrNameLst>
                                          <p:attrName>ppt_h</p:attrName>
                                        </p:attrNameLst>
                                      </p:cBhvr>
                                      <p:tavLst>
                                        <p:tav tm="0">
                                          <p:val>
                                            <p:fltVal val="0"/>
                                          </p:val>
                                        </p:tav>
                                        <p:tav tm="100000">
                                          <p:val>
                                            <p:strVal val="#ppt_h"/>
                                          </p:val>
                                        </p:tav>
                                      </p:tavLst>
                                    </p:anim>
                                    <p:animEffect transition="in" filter="fade">
                                      <p:cBhvr>
                                        <p:cTn id="14" dur="500"/>
                                        <p:tgtEl>
                                          <p:spTgt spid="18"/>
                                        </p:tgtEl>
                                      </p:cBhvr>
                                    </p:animEffect>
                                  </p:childTnLst>
                                </p:cTn>
                              </p:par>
                              <p:par>
                                <p:cTn id="15" presetID="53" presetClass="entr" presetSubtype="16"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p:cTn id="17" dur="500" fill="hold"/>
                                        <p:tgtEl>
                                          <p:spTgt spid="21"/>
                                        </p:tgtEl>
                                        <p:attrNameLst>
                                          <p:attrName>ppt_w</p:attrName>
                                        </p:attrNameLst>
                                      </p:cBhvr>
                                      <p:tavLst>
                                        <p:tav tm="0">
                                          <p:val>
                                            <p:fltVal val="0"/>
                                          </p:val>
                                        </p:tav>
                                        <p:tav tm="100000">
                                          <p:val>
                                            <p:strVal val="#ppt_w"/>
                                          </p:val>
                                        </p:tav>
                                      </p:tavLst>
                                    </p:anim>
                                    <p:anim calcmode="lin" valueType="num">
                                      <p:cBhvr>
                                        <p:cTn id="18" dur="500" fill="hold"/>
                                        <p:tgtEl>
                                          <p:spTgt spid="21"/>
                                        </p:tgtEl>
                                        <p:attrNameLst>
                                          <p:attrName>ppt_h</p:attrName>
                                        </p:attrNameLst>
                                      </p:cBhvr>
                                      <p:tavLst>
                                        <p:tav tm="0">
                                          <p:val>
                                            <p:fltVal val="0"/>
                                          </p:val>
                                        </p:tav>
                                        <p:tav tm="100000">
                                          <p:val>
                                            <p:strVal val="#ppt_h"/>
                                          </p:val>
                                        </p:tav>
                                      </p:tavLst>
                                    </p:anim>
                                    <p:animEffect transition="in" filter="fade">
                                      <p:cBhvr>
                                        <p:cTn id="19" dur="500"/>
                                        <p:tgtEl>
                                          <p:spTgt spid="21"/>
                                        </p:tgtEl>
                                      </p:cBhvr>
                                    </p:animEffect>
                                  </p:childTnLst>
                                </p:cTn>
                              </p:par>
                              <p:par>
                                <p:cTn id="20" presetID="53" presetClass="entr" presetSubtype="16" fill="hold" nodeType="withEffect">
                                  <p:stCondLst>
                                    <p:cond delay="0"/>
                                  </p:stCondLst>
                                  <p:childTnLst>
                                    <p:set>
                                      <p:cBhvr>
                                        <p:cTn id="21" dur="1" fill="hold">
                                          <p:stCondLst>
                                            <p:cond delay="0"/>
                                          </p:stCondLst>
                                        </p:cTn>
                                        <p:tgtEl>
                                          <p:spTgt spid="27"/>
                                        </p:tgtEl>
                                        <p:attrNameLst>
                                          <p:attrName>style.visibility</p:attrName>
                                        </p:attrNameLst>
                                      </p:cBhvr>
                                      <p:to>
                                        <p:strVal val="visible"/>
                                      </p:to>
                                    </p:set>
                                    <p:anim calcmode="lin" valueType="num">
                                      <p:cBhvr>
                                        <p:cTn id="22" dur="500" fill="hold"/>
                                        <p:tgtEl>
                                          <p:spTgt spid="27"/>
                                        </p:tgtEl>
                                        <p:attrNameLst>
                                          <p:attrName>ppt_w</p:attrName>
                                        </p:attrNameLst>
                                      </p:cBhvr>
                                      <p:tavLst>
                                        <p:tav tm="0">
                                          <p:val>
                                            <p:fltVal val="0"/>
                                          </p:val>
                                        </p:tav>
                                        <p:tav tm="100000">
                                          <p:val>
                                            <p:strVal val="#ppt_w"/>
                                          </p:val>
                                        </p:tav>
                                      </p:tavLst>
                                    </p:anim>
                                    <p:anim calcmode="lin" valueType="num">
                                      <p:cBhvr>
                                        <p:cTn id="23" dur="500" fill="hold"/>
                                        <p:tgtEl>
                                          <p:spTgt spid="27"/>
                                        </p:tgtEl>
                                        <p:attrNameLst>
                                          <p:attrName>ppt_h</p:attrName>
                                        </p:attrNameLst>
                                      </p:cBhvr>
                                      <p:tavLst>
                                        <p:tav tm="0">
                                          <p:val>
                                            <p:fltVal val="0"/>
                                          </p:val>
                                        </p:tav>
                                        <p:tav tm="100000">
                                          <p:val>
                                            <p:strVal val="#ppt_h"/>
                                          </p:val>
                                        </p:tav>
                                      </p:tavLst>
                                    </p:anim>
                                    <p:animEffect transition="in" filter="fade">
                                      <p:cBhvr>
                                        <p:cTn id="24" dur="500"/>
                                        <p:tgtEl>
                                          <p:spTgt spid="27"/>
                                        </p:tgtEl>
                                      </p:cBhvr>
                                    </p:animEffect>
                                  </p:childTnLst>
                                </p:cTn>
                              </p:par>
                              <p:par>
                                <p:cTn id="25" presetID="53" presetClass="entr" presetSubtype="16" fill="hold" nodeType="withEffect">
                                  <p:stCondLst>
                                    <p:cond delay="0"/>
                                  </p:stCondLst>
                                  <p:childTnLst>
                                    <p:set>
                                      <p:cBhvr>
                                        <p:cTn id="26" dur="1" fill="hold">
                                          <p:stCondLst>
                                            <p:cond delay="0"/>
                                          </p:stCondLst>
                                        </p:cTn>
                                        <p:tgtEl>
                                          <p:spTgt spid="36"/>
                                        </p:tgtEl>
                                        <p:attrNameLst>
                                          <p:attrName>style.visibility</p:attrName>
                                        </p:attrNameLst>
                                      </p:cBhvr>
                                      <p:to>
                                        <p:strVal val="visible"/>
                                      </p:to>
                                    </p:set>
                                    <p:anim calcmode="lin" valueType="num">
                                      <p:cBhvr>
                                        <p:cTn id="27" dur="500" fill="hold"/>
                                        <p:tgtEl>
                                          <p:spTgt spid="36"/>
                                        </p:tgtEl>
                                        <p:attrNameLst>
                                          <p:attrName>ppt_w</p:attrName>
                                        </p:attrNameLst>
                                      </p:cBhvr>
                                      <p:tavLst>
                                        <p:tav tm="0">
                                          <p:val>
                                            <p:fltVal val="0"/>
                                          </p:val>
                                        </p:tav>
                                        <p:tav tm="100000">
                                          <p:val>
                                            <p:strVal val="#ppt_w"/>
                                          </p:val>
                                        </p:tav>
                                      </p:tavLst>
                                    </p:anim>
                                    <p:anim calcmode="lin" valueType="num">
                                      <p:cBhvr>
                                        <p:cTn id="28" dur="500" fill="hold"/>
                                        <p:tgtEl>
                                          <p:spTgt spid="36"/>
                                        </p:tgtEl>
                                        <p:attrNameLst>
                                          <p:attrName>ppt_h</p:attrName>
                                        </p:attrNameLst>
                                      </p:cBhvr>
                                      <p:tavLst>
                                        <p:tav tm="0">
                                          <p:val>
                                            <p:fltVal val="0"/>
                                          </p:val>
                                        </p:tav>
                                        <p:tav tm="100000">
                                          <p:val>
                                            <p:strVal val="#ppt_h"/>
                                          </p:val>
                                        </p:tav>
                                      </p:tavLst>
                                    </p:anim>
                                    <p:animEffect transition="in" filter="fade">
                                      <p:cBhvr>
                                        <p:cTn id="29" dur="500"/>
                                        <p:tgtEl>
                                          <p:spTgt spid="36"/>
                                        </p:tgtEl>
                                      </p:cBhvr>
                                    </p:animEffect>
                                  </p:childTnLst>
                                </p:cTn>
                              </p:par>
                              <p:par>
                                <p:cTn id="30" presetID="53" presetClass="entr" presetSubtype="16" fill="hold" nodeType="withEffect">
                                  <p:stCondLst>
                                    <p:cond delay="0"/>
                                  </p:stCondLst>
                                  <p:childTnLst>
                                    <p:set>
                                      <p:cBhvr>
                                        <p:cTn id="31" dur="1" fill="hold">
                                          <p:stCondLst>
                                            <p:cond delay="0"/>
                                          </p:stCondLst>
                                        </p:cTn>
                                        <p:tgtEl>
                                          <p:spTgt spid="54"/>
                                        </p:tgtEl>
                                        <p:attrNameLst>
                                          <p:attrName>style.visibility</p:attrName>
                                        </p:attrNameLst>
                                      </p:cBhvr>
                                      <p:to>
                                        <p:strVal val="visible"/>
                                      </p:to>
                                    </p:set>
                                    <p:anim calcmode="lin" valueType="num">
                                      <p:cBhvr>
                                        <p:cTn id="32" dur="500" fill="hold"/>
                                        <p:tgtEl>
                                          <p:spTgt spid="54"/>
                                        </p:tgtEl>
                                        <p:attrNameLst>
                                          <p:attrName>ppt_w</p:attrName>
                                        </p:attrNameLst>
                                      </p:cBhvr>
                                      <p:tavLst>
                                        <p:tav tm="0">
                                          <p:val>
                                            <p:fltVal val="0"/>
                                          </p:val>
                                        </p:tav>
                                        <p:tav tm="100000">
                                          <p:val>
                                            <p:strVal val="#ppt_w"/>
                                          </p:val>
                                        </p:tav>
                                      </p:tavLst>
                                    </p:anim>
                                    <p:anim calcmode="lin" valueType="num">
                                      <p:cBhvr>
                                        <p:cTn id="33" dur="500" fill="hold"/>
                                        <p:tgtEl>
                                          <p:spTgt spid="54"/>
                                        </p:tgtEl>
                                        <p:attrNameLst>
                                          <p:attrName>ppt_h</p:attrName>
                                        </p:attrNameLst>
                                      </p:cBhvr>
                                      <p:tavLst>
                                        <p:tav tm="0">
                                          <p:val>
                                            <p:fltVal val="0"/>
                                          </p:val>
                                        </p:tav>
                                        <p:tav tm="100000">
                                          <p:val>
                                            <p:strVal val="#ppt_h"/>
                                          </p:val>
                                        </p:tav>
                                      </p:tavLst>
                                    </p:anim>
                                    <p:animEffect transition="in" filter="fade">
                                      <p:cBhvr>
                                        <p:cTn id="34" dur="500"/>
                                        <p:tgtEl>
                                          <p:spTgt spid="54"/>
                                        </p:tgtEl>
                                      </p:cBhvr>
                                    </p:animEffect>
                                  </p:childTnLst>
                                </p:cTn>
                              </p:par>
                              <p:par>
                                <p:cTn id="35" presetID="22" presetClass="entr" presetSubtype="8" fill="hold" nodeType="withEffect">
                                  <p:stCondLst>
                                    <p:cond delay="250"/>
                                  </p:stCondLst>
                                  <p:childTnLst>
                                    <p:set>
                                      <p:cBhvr>
                                        <p:cTn id="36" dur="1" fill="hold">
                                          <p:stCondLst>
                                            <p:cond delay="0"/>
                                          </p:stCondLst>
                                        </p:cTn>
                                        <p:tgtEl>
                                          <p:spTgt spid="64"/>
                                        </p:tgtEl>
                                        <p:attrNameLst>
                                          <p:attrName>style.visibility</p:attrName>
                                        </p:attrNameLst>
                                      </p:cBhvr>
                                      <p:to>
                                        <p:strVal val="visible"/>
                                      </p:to>
                                    </p:set>
                                    <p:animEffect transition="in" filter="wipe(left)">
                                      <p:cBhvr>
                                        <p:cTn id="37" dur="500"/>
                                        <p:tgtEl>
                                          <p:spTgt spid="64"/>
                                        </p:tgtEl>
                                      </p:cBhvr>
                                    </p:animEffect>
                                  </p:childTnLst>
                                </p:cTn>
                              </p:par>
                              <p:par>
                                <p:cTn id="38" presetID="22" presetClass="entr" presetSubtype="8" fill="hold" nodeType="withEffect">
                                  <p:stCondLst>
                                    <p:cond delay="250"/>
                                  </p:stCondLst>
                                  <p:childTnLst>
                                    <p:set>
                                      <p:cBhvr>
                                        <p:cTn id="39" dur="1" fill="hold">
                                          <p:stCondLst>
                                            <p:cond delay="0"/>
                                          </p:stCondLst>
                                        </p:cTn>
                                        <p:tgtEl>
                                          <p:spTgt spid="65"/>
                                        </p:tgtEl>
                                        <p:attrNameLst>
                                          <p:attrName>style.visibility</p:attrName>
                                        </p:attrNameLst>
                                      </p:cBhvr>
                                      <p:to>
                                        <p:strVal val="visible"/>
                                      </p:to>
                                    </p:set>
                                    <p:animEffect transition="in" filter="wipe(left)">
                                      <p:cBhvr>
                                        <p:cTn id="40" dur="500"/>
                                        <p:tgtEl>
                                          <p:spTgt spid="65"/>
                                        </p:tgtEl>
                                      </p:cBhvr>
                                    </p:animEffect>
                                  </p:childTnLst>
                                </p:cTn>
                              </p:par>
                              <p:par>
                                <p:cTn id="41" presetID="22" presetClass="entr" presetSubtype="8" fill="hold" nodeType="withEffect">
                                  <p:stCondLst>
                                    <p:cond delay="250"/>
                                  </p:stCondLst>
                                  <p:childTnLst>
                                    <p:set>
                                      <p:cBhvr>
                                        <p:cTn id="42" dur="1" fill="hold">
                                          <p:stCondLst>
                                            <p:cond delay="0"/>
                                          </p:stCondLst>
                                        </p:cTn>
                                        <p:tgtEl>
                                          <p:spTgt spid="66"/>
                                        </p:tgtEl>
                                        <p:attrNameLst>
                                          <p:attrName>style.visibility</p:attrName>
                                        </p:attrNameLst>
                                      </p:cBhvr>
                                      <p:to>
                                        <p:strVal val="visible"/>
                                      </p:to>
                                    </p:set>
                                    <p:animEffect transition="in" filter="wipe(left)">
                                      <p:cBhvr>
                                        <p:cTn id="43" dur="500"/>
                                        <p:tgtEl>
                                          <p:spTgt spid="66"/>
                                        </p:tgtEl>
                                      </p:cBhvr>
                                    </p:animEffect>
                                  </p:childTnLst>
                                </p:cTn>
                              </p:par>
                              <p:par>
                                <p:cTn id="44" presetID="22" presetClass="entr" presetSubtype="8" fill="hold" nodeType="withEffect">
                                  <p:stCondLst>
                                    <p:cond delay="250"/>
                                  </p:stCondLst>
                                  <p:childTnLst>
                                    <p:set>
                                      <p:cBhvr>
                                        <p:cTn id="45" dur="1" fill="hold">
                                          <p:stCondLst>
                                            <p:cond delay="0"/>
                                          </p:stCondLst>
                                        </p:cTn>
                                        <p:tgtEl>
                                          <p:spTgt spid="71"/>
                                        </p:tgtEl>
                                        <p:attrNameLst>
                                          <p:attrName>style.visibility</p:attrName>
                                        </p:attrNameLst>
                                      </p:cBhvr>
                                      <p:to>
                                        <p:strVal val="visible"/>
                                      </p:to>
                                    </p:set>
                                    <p:animEffect transition="in" filter="wipe(left)">
                                      <p:cBhvr>
                                        <p:cTn id="46" dur="500"/>
                                        <p:tgtEl>
                                          <p:spTgt spid="71"/>
                                        </p:tgtEl>
                                      </p:cBhvr>
                                    </p:animEffect>
                                  </p:childTnLst>
                                </p:cTn>
                              </p:par>
                              <p:par>
                                <p:cTn id="47" presetID="22" presetClass="entr" presetSubtype="8" fill="hold" nodeType="withEffect">
                                  <p:stCondLst>
                                    <p:cond delay="250"/>
                                  </p:stCondLst>
                                  <p:childTnLst>
                                    <p:set>
                                      <p:cBhvr>
                                        <p:cTn id="48" dur="1" fill="hold">
                                          <p:stCondLst>
                                            <p:cond delay="0"/>
                                          </p:stCondLst>
                                        </p:cTn>
                                        <p:tgtEl>
                                          <p:spTgt spid="73"/>
                                        </p:tgtEl>
                                        <p:attrNameLst>
                                          <p:attrName>style.visibility</p:attrName>
                                        </p:attrNameLst>
                                      </p:cBhvr>
                                      <p:to>
                                        <p:strVal val="visible"/>
                                      </p:to>
                                    </p:set>
                                    <p:animEffect transition="in" filter="wipe(left)">
                                      <p:cBhvr>
                                        <p:cTn id="49" dur="500"/>
                                        <p:tgtEl>
                                          <p:spTgt spid="73"/>
                                        </p:tgtEl>
                                      </p:cBhvr>
                                    </p:animEffect>
                                  </p:childTnLst>
                                </p:cTn>
                              </p:par>
                              <p:par>
                                <p:cTn id="50" presetID="22" presetClass="entr" presetSubtype="8" fill="hold" nodeType="withEffect">
                                  <p:stCondLst>
                                    <p:cond delay="250"/>
                                  </p:stCondLst>
                                  <p:childTnLst>
                                    <p:set>
                                      <p:cBhvr>
                                        <p:cTn id="51" dur="1" fill="hold">
                                          <p:stCondLst>
                                            <p:cond delay="0"/>
                                          </p:stCondLst>
                                        </p:cTn>
                                        <p:tgtEl>
                                          <p:spTgt spid="75"/>
                                        </p:tgtEl>
                                        <p:attrNameLst>
                                          <p:attrName>style.visibility</p:attrName>
                                        </p:attrNameLst>
                                      </p:cBhvr>
                                      <p:to>
                                        <p:strVal val="visible"/>
                                      </p:to>
                                    </p:set>
                                    <p:animEffect transition="in" filter="wipe(left)">
                                      <p:cBhvr>
                                        <p:cTn id="52" dur="500"/>
                                        <p:tgtEl>
                                          <p:spTgt spid="75"/>
                                        </p:tgtEl>
                                      </p:cBhvr>
                                    </p:animEffect>
                                  </p:childTnLst>
                                </p:cTn>
                              </p:par>
                              <p:par>
                                <p:cTn id="53" presetID="53" presetClass="entr" presetSubtype="16" fill="hold" nodeType="withEffect">
                                  <p:stCondLst>
                                    <p:cond delay="500"/>
                                  </p:stCondLst>
                                  <p:childTnLst>
                                    <p:set>
                                      <p:cBhvr>
                                        <p:cTn id="54" dur="1" fill="hold">
                                          <p:stCondLst>
                                            <p:cond delay="0"/>
                                          </p:stCondLst>
                                        </p:cTn>
                                        <p:tgtEl>
                                          <p:spTgt spid="6"/>
                                        </p:tgtEl>
                                        <p:attrNameLst>
                                          <p:attrName>style.visibility</p:attrName>
                                        </p:attrNameLst>
                                      </p:cBhvr>
                                      <p:to>
                                        <p:strVal val="visible"/>
                                      </p:to>
                                    </p:set>
                                    <p:anim calcmode="lin" valueType="num">
                                      <p:cBhvr>
                                        <p:cTn id="55" dur="500" fill="hold"/>
                                        <p:tgtEl>
                                          <p:spTgt spid="6"/>
                                        </p:tgtEl>
                                        <p:attrNameLst>
                                          <p:attrName>ppt_w</p:attrName>
                                        </p:attrNameLst>
                                      </p:cBhvr>
                                      <p:tavLst>
                                        <p:tav tm="0">
                                          <p:val>
                                            <p:fltVal val="0"/>
                                          </p:val>
                                        </p:tav>
                                        <p:tav tm="100000">
                                          <p:val>
                                            <p:strVal val="#ppt_w"/>
                                          </p:val>
                                        </p:tav>
                                      </p:tavLst>
                                    </p:anim>
                                    <p:anim calcmode="lin" valueType="num">
                                      <p:cBhvr>
                                        <p:cTn id="56" dur="500" fill="hold"/>
                                        <p:tgtEl>
                                          <p:spTgt spid="6"/>
                                        </p:tgtEl>
                                        <p:attrNameLst>
                                          <p:attrName>ppt_h</p:attrName>
                                        </p:attrNameLst>
                                      </p:cBhvr>
                                      <p:tavLst>
                                        <p:tav tm="0">
                                          <p:val>
                                            <p:fltVal val="0"/>
                                          </p:val>
                                        </p:tav>
                                        <p:tav tm="100000">
                                          <p:val>
                                            <p:strVal val="#ppt_h"/>
                                          </p:val>
                                        </p:tav>
                                      </p:tavLst>
                                    </p:anim>
                                    <p:animEffect transition="in" filter="fade">
                                      <p:cBhvr>
                                        <p:cTn id="57" dur="500"/>
                                        <p:tgtEl>
                                          <p:spTgt spid="6"/>
                                        </p:tgtEl>
                                      </p:cBhvr>
                                    </p:animEffect>
                                  </p:childTnLst>
                                </p:cTn>
                              </p:par>
                              <p:par>
                                <p:cTn id="58" presetID="53" presetClass="entr" presetSubtype="16" fill="hold" nodeType="withEffect">
                                  <p:stCondLst>
                                    <p:cond delay="500"/>
                                  </p:stCondLst>
                                  <p:childTnLst>
                                    <p:set>
                                      <p:cBhvr>
                                        <p:cTn id="59" dur="1" fill="hold">
                                          <p:stCondLst>
                                            <p:cond delay="0"/>
                                          </p:stCondLst>
                                        </p:cTn>
                                        <p:tgtEl>
                                          <p:spTgt spid="15"/>
                                        </p:tgtEl>
                                        <p:attrNameLst>
                                          <p:attrName>style.visibility</p:attrName>
                                        </p:attrNameLst>
                                      </p:cBhvr>
                                      <p:to>
                                        <p:strVal val="visible"/>
                                      </p:to>
                                    </p:set>
                                    <p:anim calcmode="lin" valueType="num">
                                      <p:cBhvr>
                                        <p:cTn id="60" dur="500" fill="hold"/>
                                        <p:tgtEl>
                                          <p:spTgt spid="15"/>
                                        </p:tgtEl>
                                        <p:attrNameLst>
                                          <p:attrName>ppt_w</p:attrName>
                                        </p:attrNameLst>
                                      </p:cBhvr>
                                      <p:tavLst>
                                        <p:tav tm="0">
                                          <p:val>
                                            <p:fltVal val="0"/>
                                          </p:val>
                                        </p:tav>
                                        <p:tav tm="100000">
                                          <p:val>
                                            <p:strVal val="#ppt_w"/>
                                          </p:val>
                                        </p:tav>
                                      </p:tavLst>
                                    </p:anim>
                                    <p:anim calcmode="lin" valueType="num">
                                      <p:cBhvr>
                                        <p:cTn id="61" dur="500" fill="hold"/>
                                        <p:tgtEl>
                                          <p:spTgt spid="15"/>
                                        </p:tgtEl>
                                        <p:attrNameLst>
                                          <p:attrName>ppt_h</p:attrName>
                                        </p:attrNameLst>
                                      </p:cBhvr>
                                      <p:tavLst>
                                        <p:tav tm="0">
                                          <p:val>
                                            <p:fltVal val="0"/>
                                          </p:val>
                                        </p:tav>
                                        <p:tav tm="100000">
                                          <p:val>
                                            <p:strVal val="#ppt_h"/>
                                          </p:val>
                                        </p:tav>
                                      </p:tavLst>
                                    </p:anim>
                                    <p:animEffect transition="in" filter="fade">
                                      <p:cBhvr>
                                        <p:cTn id="62" dur="500"/>
                                        <p:tgtEl>
                                          <p:spTgt spid="15"/>
                                        </p:tgtEl>
                                      </p:cBhvr>
                                    </p:animEffect>
                                  </p:childTnLst>
                                </p:cTn>
                              </p:par>
                              <p:par>
                                <p:cTn id="63" presetID="53" presetClass="entr" presetSubtype="16" fill="hold" nodeType="withEffect">
                                  <p:stCondLst>
                                    <p:cond delay="500"/>
                                  </p:stCondLst>
                                  <p:childTnLst>
                                    <p:set>
                                      <p:cBhvr>
                                        <p:cTn id="64" dur="1" fill="hold">
                                          <p:stCondLst>
                                            <p:cond delay="0"/>
                                          </p:stCondLst>
                                        </p:cTn>
                                        <p:tgtEl>
                                          <p:spTgt spid="61"/>
                                        </p:tgtEl>
                                        <p:attrNameLst>
                                          <p:attrName>style.visibility</p:attrName>
                                        </p:attrNameLst>
                                      </p:cBhvr>
                                      <p:to>
                                        <p:strVal val="visible"/>
                                      </p:to>
                                    </p:set>
                                    <p:anim calcmode="lin" valueType="num">
                                      <p:cBhvr>
                                        <p:cTn id="65" dur="500" fill="hold"/>
                                        <p:tgtEl>
                                          <p:spTgt spid="61"/>
                                        </p:tgtEl>
                                        <p:attrNameLst>
                                          <p:attrName>ppt_w</p:attrName>
                                        </p:attrNameLst>
                                      </p:cBhvr>
                                      <p:tavLst>
                                        <p:tav tm="0">
                                          <p:val>
                                            <p:fltVal val="0"/>
                                          </p:val>
                                        </p:tav>
                                        <p:tav tm="100000">
                                          <p:val>
                                            <p:strVal val="#ppt_w"/>
                                          </p:val>
                                        </p:tav>
                                      </p:tavLst>
                                    </p:anim>
                                    <p:anim calcmode="lin" valueType="num">
                                      <p:cBhvr>
                                        <p:cTn id="66" dur="500" fill="hold"/>
                                        <p:tgtEl>
                                          <p:spTgt spid="61"/>
                                        </p:tgtEl>
                                        <p:attrNameLst>
                                          <p:attrName>ppt_h</p:attrName>
                                        </p:attrNameLst>
                                      </p:cBhvr>
                                      <p:tavLst>
                                        <p:tav tm="0">
                                          <p:val>
                                            <p:fltVal val="0"/>
                                          </p:val>
                                        </p:tav>
                                        <p:tav tm="100000">
                                          <p:val>
                                            <p:strVal val="#ppt_h"/>
                                          </p:val>
                                        </p:tav>
                                      </p:tavLst>
                                    </p:anim>
                                    <p:animEffect transition="in" filter="fade">
                                      <p:cBhvr>
                                        <p:cTn id="67" dur="500"/>
                                        <p:tgtEl>
                                          <p:spTgt spid="61"/>
                                        </p:tgtEl>
                                      </p:cBhvr>
                                    </p:animEffect>
                                  </p:childTnLst>
                                </p:cTn>
                              </p:par>
                              <p:par>
                                <p:cTn id="68" presetID="53" presetClass="entr" presetSubtype="16" fill="hold" nodeType="withEffect">
                                  <p:stCondLst>
                                    <p:cond delay="500"/>
                                  </p:stCondLst>
                                  <p:childTnLst>
                                    <p:set>
                                      <p:cBhvr>
                                        <p:cTn id="69" dur="1" fill="hold">
                                          <p:stCondLst>
                                            <p:cond delay="0"/>
                                          </p:stCondLst>
                                        </p:cTn>
                                        <p:tgtEl>
                                          <p:spTgt spid="30"/>
                                        </p:tgtEl>
                                        <p:attrNameLst>
                                          <p:attrName>style.visibility</p:attrName>
                                        </p:attrNameLst>
                                      </p:cBhvr>
                                      <p:to>
                                        <p:strVal val="visible"/>
                                      </p:to>
                                    </p:set>
                                    <p:anim calcmode="lin" valueType="num">
                                      <p:cBhvr>
                                        <p:cTn id="70" dur="500" fill="hold"/>
                                        <p:tgtEl>
                                          <p:spTgt spid="30"/>
                                        </p:tgtEl>
                                        <p:attrNameLst>
                                          <p:attrName>ppt_w</p:attrName>
                                        </p:attrNameLst>
                                      </p:cBhvr>
                                      <p:tavLst>
                                        <p:tav tm="0">
                                          <p:val>
                                            <p:fltVal val="0"/>
                                          </p:val>
                                        </p:tav>
                                        <p:tav tm="100000">
                                          <p:val>
                                            <p:strVal val="#ppt_w"/>
                                          </p:val>
                                        </p:tav>
                                      </p:tavLst>
                                    </p:anim>
                                    <p:anim calcmode="lin" valueType="num">
                                      <p:cBhvr>
                                        <p:cTn id="71" dur="500" fill="hold"/>
                                        <p:tgtEl>
                                          <p:spTgt spid="30"/>
                                        </p:tgtEl>
                                        <p:attrNameLst>
                                          <p:attrName>ppt_h</p:attrName>
                                        </p:attrNameLst>
                                      </p:cBhvr>
                                      <p:tavLst>
                                        <p:tav tm="0">
                                          <p:val>
                                            <p:fltVal val="0"/>
                                          </p:val>
                                        </p:tav>
                                        <p:tav tm="100000">
                                          <p:val>
                                            <p:strVal val="#ppt_h"/>
                                          </p:val>
                                        </p:tav>
                                      </p:tavLst>
                                    </p:anim>
                                    <p:animEffect transition="in" filter="fade">
                                      <p:cBhvr>
                                        <p:cTn id="72" dur="500"/>
                                        <p:tgtEl>
                                          <p:spTgt spid="30"/>
                                        </p:tgtEl>
                                      </p:cBhvr>
                                    </p:animEffect>
                                  </p:childTnLst>
                                </p:cTn>
                              </p:par>
                              <p:par>
                                <p:cTn id="73" presetID="53" presetClass="entr" presetSubtype="16" fill="hold" nodeType="withEffect">
                                  <p:stCondLst>
                                    <p:cond delay="500"/>
                                  </p:stCondLst>
                                  <p:childTnLst>
                                    <p:set>
                                      <p:cBhvr>
                                        <p:cTn id="74" dur="1" fill="hold">
                                          <p:stCondLst>
                                            <p:cond delay="0"/>
                                          </p:stCondLst>
                                        </p:cTn>
                                        <p:tgtEl>
                                          <p:spTgt spid="42"/>
                                        </p:tgtEl>
                                        <p:attrNameLst>
                                          <p:attrName>style.visibility</p:attrName>
                                        </p:attrNameLst>
                                      </p:cBhvr>
                                      <p:to>
                                        <p:strVal val="visible"/>
                                      </p:to>
                                    </p:set>
                                    <p:anim calcmode="lin" valueType="num">
                                      <p:cBhvr>
                                        <p:cTn id="75" dur="500" fill="hold"/>
                                        <p:tgtEl>
                                          <p:spTgt spid="42"/>
                                        </p:tgtEl>
                                        <p:attrNameLst>
                                          <p:attrName>ppt_w</p:attrName>
                                        </p:attrNameLst>
                                      </p:cBhvr>
                                      <p:tavLst>
                                        <p:tav tm="0">
                                          <p:val>
                                            <p:fltVal val="0"/>
                                          </p:val>
                                        </p:tav>
                                        <p:tav tm="100000">
                                          <p:val>
                                            <p:strVal val="#ppt_w"/>
                                          </p:val>
                                        </p:tav>
                                      </p:tavLst>
                                    </p:anim>
                                    <p:anim calcmode="lin" valueType="num">
                                      <p:cBhvr>
                                        <p:cTn id="76" dur="500" fill="hold"/>
                                        <p:tgtEl>
                                          <p:spTgt spid="42"/>
                                        </p:tgtEl>
                                        <p:attrNameLst>
                                          <p:attrName>ppt_h</p:attrName>
                                        </p:attrNameLst>
                                      </p:cBhvr>
                                      <p:tavLst>
                                        <p:tav tm="0">
                                          <p:val>
                                            <p:fltVal val="0"/>
                                          </p:val>
                                        </p:tav>
                                        <p:tav tm="100000">
                                          <p:val>
                                            <p:strVal val="#ppt_h"/>
                                          </p:val>
                                        </p:tav>
                                      </p:tavLst>
                                    </p:anim>
                                    <p:animEffect transition="in" filter="fade">
                                      <p:cBhvr>
                                        <p:cTn id="77" dur="500"/>
                                        <p:tgtEl>
                                          <p:spTgt spid="42"/>
                                        </p:tgtEl>
                                      </p:cBhvr>
                                    </p:animEffect>
                                  </p:childTnLst>
                                </p:cTn>
                              </p:par>
                              <p:par>
                                <p:cTn id="78" presetID="53" presetClass="entr" presetSubtype="16" fill="hold" nodeType="withEffect">
                                  <p:stCondLst>
                                    <p:cond delay="500"/>
                                  </p:stCondLst>
                                  <p:childTnLst>
                                    <p:set>
                                      <p:cBhvr>
                                        <p:cTn id="79" dur="1" fill="hold">
                                          <p:stCondLst>
                                            <p:cond delay="0"/>
                                          </p:stCondLst>
                                        </p:cTn>
                                        <p:tgtEl>
                                          <p:spTgt spid="48"/>
                                        </p:tgtEl>
                                        <p:attrNameLst>
                                          <p:attrName>style.visibility</p:attrName>
                                        </p:attrNameLst>
                                      </p:cBhvr>
                                      <p:to>
                                        <p:strVal val="visible"/>
                                      </p:to>
                                    </p:set>
                                    <p:anim calcmode="lin" valueType="num">
                                      <p:cBhvr>
                                        <p:cTn id="80" dur="500" fill="hold"/>
                                        <p:tgtEl>
                                          <p:spTgt spid="48"/>
                                        </p:tgtEl>
                                        <p:attrNameLst>
                                          <p:attrName>ppt_w</p:attrName>
                                        </p:attrNameLst>
                                      </p:cBhvr>
                                      <p:tavLst>
                                        <p:tav tm="0">
                                          <p:val>
                                            <p:fltVal val="0"/>
                                          </p:val>
                                        </p:tav>
                                        <p:tav tm="100000">
                                          <p:val>
                                            <p:strVal val="#ppt_w"/>
                                          </p:val>
                                        </p:tav>
                                      </p:tavLst>
                                    </p:anim>
                                    <p:anim calcmode="lin" valueType="num">
                                      <p:cBhvr>
                                        <p:cTn id="81" dur="500" fill="hold"/>
                                        <p:tgtEl>
                                          <p:spTgt spid="48"/>
                                        </p:tgtEl>
                                        <p:attrNameLst>
                                          <p:attrName>ppt_h</p:attrName>
                                        </p:attrNameLst>
                                      </p:cBhvr>
                                      <p:tavLst>
                                        <p:tav tm="0">
                                          <p:val>
                                            <p:fltVal val="0"/>
                                          </p:val>
                                        </p:tav>
                                        <p:tav tm="100000">
                                          <p:val>
                                            <p:strVal val="#ppt_h"/>
                                          </p:val>
                                        </p:tav>
                                      </p:tavLst>
                                    </p:anim>
                                    <p:animEffect transition="in" filter="fade">
                                      <p:cBhvr>
                                        <p:cTn id="82" dur="500"/>
                                        <p:tgtEl>
                                          <p:spTgt spid="48"/>
                                        </p:tgtEl>
                                      </p:cBhvr>
                                    </p:animEffect>
                                  </p:childTnLst>
                                </p:cTn>
                              </p:par>
                              <p:par>
                                <p:cTn id="83" presetID="53" presetClass="entr" presetSubtype="16" fill="hold" nodeType="withEffect">
                                  <p:stCondLst>
                                    <p:cond delay="500"/>
                                  </p:stCondLst>
                                  <p:childTnLst>
                                    <p:set>
                                      <p:cBhvr>
                                        <p:cTn id="84" dur="1" fill="hold">
                                          <p:stCondLst>
                                            <p:cond delay="0"/>
                                          </p:stCondLst>
                                        </p:cTn>
                                        <p:tgtEl>
                                          <p:spTgt spid="45"/>
                                        </p:tgtEl>
                                        <p:attrNameLst>
                                          <p:attrName>style.visibility</p:attrName>
                                        </p:attrNameLst>
                                      </p:cBhvr>
                                      <p:to>
                                        <p:strVal val="visible"/>
                                      </p:to>
                                    </p:set>
                                    <p:anim calcmode="lin" valueType="num">
                                      <p:cBhvr>
                                        <p:cTn id="85" dur="500" fill="hold"/>
                                        <p:tgtEl>
                                          <p:spTgt spid="45"/>
                                        </p:tgtEl>
                                        <p:attrNameLst>
                                          <p:attrName>ppt_w</p:attrName>
                                        </p:attrNameLst>
                                      </p:cBhvr>
                                      <p:tavLst>
                                        <p:tav tm="0">
                                          <p:val>
                                            <p:fltVal val="0"/>
                                          </p:val>
                                        </p:tav>
                                        <p:tav tm="100000">
                                          <p:val>
                                            <p:strVal val="#ppt_w"/>
                                          </p:val>
                                        </p:tav>
                                      </p:tavLst>
                                    </p:anim>
                                    <p:anim calcmode="lin" valueType="num">
                                      <p:cBhvr>
                                        <p:cTn id="86" dur="500" fill="hold"/>
                                        <p:tgtEl>
                                          <p:spTgt spid="45"/>
                                        </p:tgtEl>
                                        <p:attrNameLst>
                                          <p:attrName>ppt_h</p:attrName>
                                        </p:attrNameLst>
                                      </p:cBhvr>
                                      <p:tavLst>
                                        <p:tav tm="0">
                                          <p:val>
                                            <p:fltVal val="0"/>
                                          </p:val>
                                        </p:tav>
                                        <p:tav tm="100000">
                                          <p:val>
                                            <p:strVal val="#ppt_h"/>
                                          </p:val>
                                        </p:tav>
                                      </p:tavLst>
                                    </p:anim>
                                    <p:animEffect transition="in" filter="fade">
                                      <p:cBhvr>
                                        <p:cTn id="87" dur="500"/>
                                        <p:tgtEl>
                                          <p:spTgt spid="45"/>
                                        </p:tgtEl>
                                      </p:cBhvr>
                                    </p:animEffect>
                                  </p:childTnLst>
                                </p:cTn>
                              </p:par>
                              <p:par>
                                <p:cTn id="88" presetID="53" presetClass="entr" presetSubtype="16" fill="hold" nodeType="withEffect">
                                  <p:stCondLst>
                                    <p:cond delay="500"/>
                                  </p:stCondLst>
                                  <p:childTnLst>
                                    <p:set>
                                      <p:cBhvr>
                                        <p:cTn id="89" dur="1" fill="hold">
                                          <p:stCondLst>
                                            <p:cond delay="0"/>
                                          </p:stCondLst>
                                        </p:cTn>
                                        <p:tgtEl>
                                          <p:spTgt spid="51"/>
                                        </p:tgtEl>
                                        <p:attrNameLst>
                                          <p:attrName>style.visibility</p:attrName>
                                        </p:attrNameLst>
                                      </p:cBhvr>
                                      <p:to>
                                        <p:strVal val="visible"/>
                                      </p:to>
                                    </p:set>
                                    <p:anim calcmode="lin" valueType="num">
                                      <p:cBhvr>
                                        <p:cTn id="90" dur="500" fill="hold"/>
                                        <p:tgtEl>
                                          <p:spTgt spid="51"/>
                                        </p:tgtEl>
                                        <p:attrNameLst>
                                          <p:attrName>ppt_w</p:attrName>
                                        </p:attrNameLst>
                                      </p:cBhvr>
                                      <p:tavLst>
                                        <p:tav tm="0">
                                          <p:val>
                                            <p:fltVal val="0"/>
                                          </p:val>
                                        </p:tav>
                                        <p:tav tm="100000">
                                          <p:val>
                                            <p:strVal val="#ppt_w"/>
                                          </p:val>
                                        </p:tav>
                                      </p:tavLst>
                                    </p:anim>
                                    <p:anim calcmode="lin" valueType="num">
                                      <p:cBhvr>
                                        <p:cTn id="91" dur="500" fill="hold"/>
                                        <p:tgtEl>
                                          <p:spTgt spid="51"/>
                                        </p:tgtEl>
                                        <p:attrNameLst>
                                          <p:attrName>ppt_h</p:attrName>
                                        </p:attrNameLst>
                                      </p:cBhvr>
                                      <p:tavLst>
                                        <p:tav tm="0">
                                          <p:val>
                                            <p:fltVal val="0"/>
                                          </p:val>
                                        </p:tav>
                                        <p:tav tm="100000">
                                          <p:val>
                                            <p:strVal val="#ppt_h"/>
                                          </p:val>
                                        </p:tav>
                                      </p:tavLst>
                                    </p:anim>
                                    <p:animEffect transition="in" filter="fade">
                                      <p:cBhvr>
                                        <p:cTn id="92" dur="500"/>
                                        <p:tgtEl>
                                          <p:spTgt spid="51"/>
                                        </p:tgtEl>
                                      </p:cBhvr>
                                    </p:animEffect>
                                  </p:childTnLst>
                                </p:cTn>
                              </p:par>
                              <p:par>
                                <p:cTn id="93" presetID="22" presetClass="entr" presetSubtype="8" fill="hold" nodeType="withEffect">
                                  <p:stCondLst>
                                    <p:cond delay="750"/>
                                  </p:stCondLst>
                                  <p:childTnLst>
                                    <p:set>
                                      <p:cBhvr>
                                        <p:cTn id="94" dur="1" fill="hold">
                                          <p:stCondLst>
                                            <p:cond delay="0"/>
                                          </p:stCondLst>
                                        </p:cTn>
                                        <p:tgtEl>
                                          <p:spTgt spid="70"/>
                                        </p:tgtEl>
                                        <p:attrNameLst>
                                          <p:attrName>style.visibility</p:attrName>
                                        </p:attrNameLst>
                                      </p:cBhvr>
                                      <p:to>
                                        <p:strVal val="visible"/>
                                      </p:to>
                                    </p:set>
                                    <p:animEffect transition="in" filter="wipe(left)">
                                      <p:cBhvr>
                                        <p:cTn id="95" dur="500"/>
                                        <p:tgtEl>
                                          <p:spTgt spid="70"/>
                                        </p:tgtEl>
                                      </p:cBhvr>
                                    </p:animEffect>
                                  </p:childTnLst>
                                </p:cTn>
                              </p:par>
                              <p:par>
                                <p:cTn id="96" presetID="22" presetClass="entr" presetSubtype="8" fill="hold" nodeType="withEffect">
                                  <p:stCondLst>
                                    <p:cond delay="750"/>
                                  </p:stCondLst>
                                  <p:childTnLst>
                                    <p:set>
                                      <p:cBhvr>
                                        <p:cTn id="97" dur="1" fill="hold">
                                          <p:stCondLst>
                                            <p:cond delay="0"/>
                                          </p:stCondLst>
                                        </p:cTn>
                                        <p:tgtEl>
                                          <p:spTgt spid="72"/>
                                        </p:tgtEl>
                                        <p:attrNameLst>
                                          <p:attrName>style.visibility</p:attrName>
                                        </p:attrNameLst>
                                      </p:cBhvr>
                                      <p:to>
                                        <p:strVal val="visible"/>
                                      </p:to>
                                    </p:set>
                                    <p:animEffect transition="in" filter="wipe(left)">
                                      <p:cBhvr>
                                        <p:cTn id="98" dur="500"/>
                                        <p:tgtEl>
                                          <p:spTgt spid="72"/>
                                        </p:tgtEl>
                                      </p:cBhvr>
                                    </p:animEffect>
                                  </p:childTnLst>
                                </p:cTn>
                              </p:par>
                              <p:par>
                                <p:cTn id="99" presetID="22" presetClass="entr" presetSubtype="8" fill="hold" nodeType="withEffect">
                                  <p:stCondLst>
                                    <p:cond delay="750"/>
                                  </p:stCondLst>
                                  <p:childTnLst>
                                    <p:set>
                                      <p:cBhvr>
                                        <p:cTn id="100" dur="1" fill="hold">
                                          <p:stCondLst>
                                            <p:cond delay="0"/>
                                          </p:stCondLst>
                                        </p:cTn>
                                        <p:tgtEl>
                                          <p:spTgt spid="74"/>
                                        </p:tgtEl>
                                        <p:attrNameLst>
                                          <p:attrName>style.visibility</p:attrName>
                                        </p:attrNameLst>
                                      </p:cBhvr>
                                      <p:to>
                                        <p:strVal val="visible"/>
                                      </p:to>
                                    </p:set>
                                    <p:animEffect transition="in" filter="wipe(left)">
                                      <p:cBhvr>
                                        <p:cTn id="101" dur="500"/>
                                        <p:tgtEl>
                                          <p:spTgt spid="74"/>
                                        </p:tgtEl>
                                      </p:cBhvr>
                                    </p:animEffect>
                                  </p:childTnLst>
                                </p:cTn>
                              </p:par>
                              <p:par>
                                <p:cTn id="102" presetID="53" presetClass="entr" presetSubtype="16" fill="hold" nodeType="withEffect">
                                  <p:stCondLst>
                                    <p:cond delay="1000"/>
                                  </p:stCondLst>
                                  <p:childTnLst>
                                    <p:set>
                                      <p:cBhvr>
                                        <p:cTn id="103" dur="1" fill="hold">
                                          <p:stCondLst>
                                            <p:cond delay="0"/>
                                          </p:stCondLst>
                                        </p:cTn>
                                        <p:tgtEl>
                                          <p:spTgt spid="24"/>
                                        </p:tgtEl>
                                        <p:attrNameLst>
                                          <p:attrName>style.visibility</p:attrName>
                                        </p:attrNameLst>
                                      </p:cBhvr>
                                      <p:to>
                                        <p:strVal val="visible"/>
                                      </p:to>
                                    </p:set>
                                    <p:anim calcmode="lin" valueType="num">
                                      <p:cBhvr>
                                        <p:cTn id="104" dur="500" fill="hold"/>
                                        <p:tgtEl>
                                          <p:spTgt spid="24"/>
                                        </p:tgtEl>
                                        <p:attrNameLst>
                                          <p:attrName>ppt_w</p:attrName>
                                        </p:attrNameLst>
                                      </p:cBhvr>
                                      <p:tavLst>
                                        <p:tav tm="0">
                                          <p:val>
                                            <p:fltVal val="0"/>
                                          </p:val>
                                        </p:tav>
                                        <p:tav tm="100000">
                                          <p:val>
                                            <p:strVal val="#ppt_w"/>
                                          </p:val>
                                        </p:tav>
                                      </p:tavLst>
                                    </p:anim>
                                    <p:anim calcmode="lin" valueType="num">
                                      <p:cBhvr>
                                        <p:cTn id="105" dur="500" fill="hold"/>
                                        <p:tgtEl>
                                          <p:spTgt spid="24"/>
                                        </p:tgtEl>
                                        <p:attrNameLst>
                                          <p:attrName>ppt_h</p:attrName>
                                        </p:attrNameLst>
                                      </p:cBhvr>
                                      <p:tavLst>
                                        <p:tav tm="0">
                                          <p:val>
                                            <p:fltVal val="0"/>
                                          </p:val>
                                        </p:tav>
                                        <p:tav tm="100000">
                                          <p:val>
                                            <p:strVal val="#ppt_h"/>
                                          </p:val>
                                        </p:tav>
                                      </p:tavLst>
                                    </p:anim>
                                    <p:animEffect transition="in" filter="fade">
                                      <p:cBhvr>
                                        <p:cTn id="106" dur="500"/>
                                        <p:tgtEl>
                                          <p:spTgt spid="24"/>
                                        </p:tgtEl>
                                      </p:cBhvr>
                                    </p:animEffect>
                                  </p:childTnLst>
                                </p:cTn>
                              </p:par>
                              <p:par>
                                <p:cTn id="107" presetID="53" presetClass="entr" presetSubtype="16" fill="hold" nodeType="withEffect">
                                  <p:stCondLst>
                                    <p:cond delay="1000"/>
                                  </p:stCondLst>
                                  <p:childTnLst>
                                    <p:set>
                                      <p:cBhvr>
                                        <p:cTn id="108" dur="1" fill="hold">
                                          <p:stCondLst>
                                            <p:cond delay="0"/>
                                          </p:stCondLst>
                                        </p:cTn>
                                        <p:tgtEl>
                                          <p:spTgt spid="35"/>
                                        </p:tgtEl>
                                        <p:attrNameLst>
                                          <p:attrName>style.visibility</p:attrName>
                                        </p:attrNameLst>
                                      </p:cBhvr>
                                      <p:to>
                                        <p:strVal val="visible"/>
                                      </p:to>
                                    </p:set>
                                    <p:anim calcmode="lin" valueType="num">
                                      <p:cBhvr>
                                        <p:cTn id="109" dur="500" fill="hold"/>
                                        <p:tgtEl>
                                          <p:spTgt spid="35"/>
                                        </p:tgtEl>
                                        <p:attrNameLst>
                                          <p:attrName>ppt_w</p:attrName>
                                        </p:attrNameLst>
                                      </p:cBhvr>
                                      <p:tavLst>
                                        <p:tav tm="0">
                                          <p:val>
                                            <p:fltVal val="0"/>
                                          </p:val>
                                        </p:tav>
                                        <p:tav tm="100000">
                                          <p:val>
                                            <p:strVal val="#ppt_w"/>
                                          </p:val>
                                        </p:tav>
                                      </p:tavLst>
                                    </p:anim>
                                    <p:anim calcmode="lin" valueType="num">
                                      <p:cBhvr>
                                        <p:cTn id="110" dur="500" fill="hold"/>
                                        <p:tgtEl>
                                          <p:spTgt spid="35"/>
                                        </p:tgtEl>
                                        <p:attrNameLst>
                                          <p:attrName>ppt_h</p:attrName>
                                        </p:attrNameLst>
                                      </p:cBhvr>
                                      <p:tavLst>
                                        <p:tav tm="0">
                                          <p:val>
                                            <p:fltVal val="0"/>
                                          </p:val>
                                        </p:tav>
                                        <p:tav tm="100000">
                                          <p:val>
                                            <p:strVal val="#ppt_h"/>
                                          </p:val>
                                        </p:tav>
                                      </p:tavLst>
                                    </p:anim>
                                    <p:animEffect transition="in" filter="fade">
                                      <p:cBhvr>
                                        <p:cTn id="111" dur="500"/>
                                        <p:tgtEl>
                                          <p:spTgt spid="35"/>
                                        </p:tgtEl>
                                      </p:cBhvr>
                                    </p:animEffect>
                                  </p:childTnLst>
                                </p:cTn>
                              </p:par>
                              <p:par>
                                <p:cTn id="112" presetID="53" presetClass="entr" presetSubtype="16" fill="hold" nodeType="withEffect">
                                  <p:stCondLst>
                                    <p:cond delay="1000"/>
                                  </p:stCondLst>
                                  <p:childTnLst>
                                    <p:set>
                                      <p:cBhvr>
                                        <p:cTn id="113" dur="1" fill="hold">
                                          <p:stCondLst>
                                            <p:cond delay="0"/>
                                          </p:stCondLst>
                                        </p:cTn>
                                        <p:tgtEl>
                                          <p:spTgt spid="39"/>
                                        </p:tgtEl>
                                        <p:attrNameLst>
                                          <p:attrName>style.visibility</p:attrName>
                                        </p:attrNameLst>
                                      </p:cBhvr>
                                      <p:to>
                                        <p:strVal val="visible"/>
                                      </p:to>
                                    </p:set>
                                    <p:anim calcmode="lin" valueType="num">
                                      <p:cBhvr>
                                        <p:cTn id="114" dur="500" fill="hold"/>
                                        <p:tgtEl>
                                          <p:spTgt spid="39"/>
                                        </p:tgtEl>
                                        <p:attrNameLst>
                                          <p:attrName>ppt_w</p:attrName>
                                        </p:attrNameLst>
                                      </p:cBhvr>
                                      <p:tavLst>
                                        <p:tav tm="0">
                                          <p:val>
                                            <p:fltVal val="0"/>
                                          </p:val>
                                        </p:tav>
                                        <p:tav tm="100000">
                                          <p:val>
                                            <p:strVal val="#ppt_w"/>
                                          </p:val>
                                        </p:tav>
                                      </p:tavLst>
                                    </p:anim>
                                    <p:anim calcmode="lin" valueType="num">
                                      <p:cBhvr>
                                        <p:cTn id="115" dur="500" fill="hold"/>
                                        <p:tgtEl>
                                          <p:spTgt spid="39"/>
                                        </p:tgtEl>
                                        <p:attrNameLst>
                                          <p:attrName>ppt_h</p:attrName>
                                        </p:attrNameLst>
                                      </p:cBhvr>
                                      <p:tavLst>
                                        <p:tav tm="0">
                                          <p:val>
                                            <p:fltVal val="0"/>
                                          </p:val>
                                        </p:tav>
                                        <p:tav tm="100000">
                                          <p:val>
                                            <p:strVal val="#ppt_h"/>
                                          </p:val>
                                        </p:tav>
                                      </p:tavLst>
                                    </p:anim>
                                    <p:animEffect transition="in" filter="fade">
                                      <p:cBhvr>
                                        <p:cTn id="116" dur="500"/>
                                        <p:tgtEl>
                                          <p:spTgt spid="39"/>
                                        </p:tgtEl>
                                      </p:cBhvr>
                                    </p:animEffect>
                                  </p:childTnLst>
                                </p:cTn>
                              </p:par>
                              <p:par>
                                <p:cTn id="117" presetID="16" presetClass="entr" presetSubtype="42" fill="hold" nodeType="withEffect">
                                  <p:stCondLst>
                                    <p:cond delay="1000"/>
                                  </p:stCondLst>
                                  <p:childTnLst>
                                    <p:set>
                                      <p:cBhvr>
                                        <p:cTn id="118" dur="1" fill="hold">
                                          <p:stCondLst>
                                            <p:cond delay="0"/>
                                          </p:stCondLst>
                                        </p:cTn>
                                        <p:tgtEl>
                                          <p:spTgt spid="95"/>
                                        </p:tgtEl>
                                        <p:attrNameLst>
                                          <p:attrName>style.visibility</p:attrName>
                                        </p:attrNameLst>
                                      </p:cBhvr>
                                      <p:to>
                                        <p:strVal val="visible"/>
                                      </p:to>
                                    </p:set>
                                    <p:animEffect transition="in" filter="barn(outHorizontal)">
                                      <p:cBhvr>
                                        <p:cTn id="119" dur="500"/>
                                        <p:tgtEl>
                                          <p:spTgt spid="95"/>
                                        </p:tgtEl>
                                      </p:cBhvr>
                                    </p:animEffect>
                                  </p:childTnLst>
                                </p:cTn>
                              </p:par>
                              <p:par>
                                <p:cTn id="120" presetID="16" presetClass="entr" presetSubtype="42" fill="hold" nodeType="withEffect">
                                  <p:stCondLst>
                                    <p:cond delay="1000"/>
                                  </p:stCondLst>
                                  <p:childTnLst>
                                    <p:set>
                                      <p:cBhvr>
                                        <p:cTn id="121" dur="1" fill="hold">
                                          <p:stCondLst>
                                            <p:cond delay="0"/>
                                          </p:stCondLst>
                                        </p:cTn>
                                        <p:tgtEl>
                                          <p:spTgt spid="94"/>
                                        </p:tgtEl>
                                        <p:attrNameLst>
                                          <p:attrName>style.visibility</p:attrName>
                                        </p:attrNameLst>
                                      </p:cBhvr>
                                      <p:to>
                                        <p:strVal val="visible"/>
                                      </p:to>
                                    </p:set>
                                    <p:animEffect transition="in" filter="barn(outHorizontal)">
                                      <p:cBhvr>
                                        <p:cTn id="122" dur="500"/>
                                        <p:tgtEl>
                                          <p:spTgt spid="94"/>
                                        </p:tgtEl>
                                      </p:cBhvr>
                                    </p:animEffect>
                                  </p:childTnLst>
                                </p:cTn>
                              </p:par>
                              <p:par>
                                <p:cTn id="123" presetID="16" presetClass="entr" presetSubtype="42" fill="hold" nodeType="withEffect">
                                  <p:stCondLst>
                                    <p:cond delay="1000"/>
                                  </p:stCondLst>
                                  <p:childTnLst>
                                    <p:set>
                                      <p:cBhvr>
                                        <p:cTn id="124" dur="1" fill="hold">
                                          <p:stCondLst>
                                            <p:cond delay="0"/>
                                          </p:stCondLst>
                                        </p:cTn>
                                        <p:tgtEl>
                                          <p:spTgt spid="84"/>
                                        </p:tgtEl>
                                        <p:attrNameLst>
                                          <p:attrName>style.visibility</p:attrName>
                                        </p:attrNameLst>
                                      </p:cBhvr>
                                      <p:to>
                                        <p:strVal val="visible"/>
                                      </p:to>
                                    </p:set>
                                    <p:animEffect transition="in" filter="barn(outHorizontal)">
                                      <p:cBhvr>
                                        <p:cTn id="125" dur="500"/>
                                        <p:tgtEl>
                                          <p:spTgt spid="84"/>
                                        </p:tgtEl>
                                      </p:cBhvr>
                                    </p:animEffect>
                                  </p:childTnLst>
                                </p:cTn>
                              </p:par>
                              <p:par>
                                <p:cTn id="126" presetID="16" presetClass="entr" presetSubtype="42" fill="hold" nodeType="withEffect">
                                  <p:stCondLst>
                                    <p:cond delay="1000"/>
                                  </p:stCondLst>
                                  <p:childTnLst>
                                    <p:set>
                                      <p:cBhvr>
                                        <p:cTn id="127" dur="1" fill="hold">
                                          <p:stCondLst>
                                            <p:cond delay="0"/>
                                          </p:stCondLst>
                                        </p:cTn>
                                        <p:tgtEl>
                                          <p:spTgt spid="96"/>
                                        </p:tgtEl>
                                        <p:attrNameLst>
                                          <p:attrName>style.visibility</p:attrName>
                                        </p:attrNameLst>
                                      </p:cBhvr>
                                      <p:to>
                                        <p:strVal val="visible"/>
                                      </p:to>
                                    </p:set>
                                    <p:animEffect transition="in" filter="barn(outHorizontal)">
                                      <p:cBhvr>
                                        <p:cTn id="128" dur="500"/>
                                        <p:tgtEl>
                                          <p:spTgt spid="96"/>
                                        </p:tgtEl>
                                      </p:cBhvr>
                                    </p:animEffect>
                                  </p:childTnLst>
                                </p:cTn>
                              </p:par>
                              <p:par>
                                <p:cTn id="129" presetID="16" presetClass="entr" presetSubtype="42" fill="hold" nodeType="withEffect">
                                  <p:stCondLst>
                                    <p:cond delay="1000"/>
                                  </p:stCondLst>
                                  <p:childTnLst>
                                    <p:set>
                                      <p:cBhvr>
                                        <p:cTn id="130" dur="1" fill="hold">
                                          <p:stCondLst>
                                            <p:cond delay="0"/>
                                          </p:stCondLst>
                                        </p:cTn>
                                        <p:tgtEl>
                                          <p:spTgt spid="97"/>
                                        </p:tgtEl>
                                        <p:attrNameLst>
                                          <p:attrName>style.visibility</p:attrName>
                                        </p:attrNameLst>
                                      </p:cBhvr>
                                      <p:to>
                                        <p:strVal val="visible"/>
                                      </p:to>
                                    </p:set>
                                    <p:animEffect transition="in" filter="barn(outHorizontal)">
                                      <p:cBhvr>
                                        <p:cTn id="131" dur="500"/>
                                        <p:tgtEl>
                                          <p:spTgt spid="97"/>
                                        </p:tgtEl>
                                      </p:cBhvr>
                                    </p:animEffect>
                                  </p:childTnLst>
                                </p:cTn>
                              </p:par>
                              <p:par>
                                <p:cTn id="132" presetID="16" presetClass="entr" presetSubtype="42" fill="hold" nodeType="withEffect">
                                  <p:stCondLst>
                                    <p:cond delay="1000"/>
                                  </p:stCondLst>
                                  <p:childTnLst>
                                    <p:set>
                                      <p:cBhvr>
                                        <p:cTn id="133" dur="1" fill="hold">
                                          <p:stCondLst>
                                            <p:cond delay="0"/>
                                          </p:stCondLst>
                                        </p:cTn>
                                        <p:tgtEl>
                                          <p:spTgt spid="98"/>
                                        </p:tgtEl>
                                        <p:attrNameLst>
                                          <p:attrName>style.visibility</p:attrName>
                                        </p:attrNameLst>
                                      </p:cBhvr>
                                      <p:to>
                                        <p:strVal val="visible"/>
                                      </p:to>
                                    </p:set>
                                    <p:animEffect transition="in" filter="barn(outHorizontal)">
                                      <p:cBhvr>
                                        <p:cTn id="134" dur="500"/>
                                        <p:tgtEl>
                                          <p:spTgt spid="98"/>
                                        </p:tgtEl>
                                      </p:cBhvr>
                                    </p:animEffect>
                                  </p:childTnLst>
                                </p:cTn>
                              </p:par>
                              <p:par>
                                <p:cTn id="135" presetID="10" presetClass="entr" presetSubtype="0" fill="hold" grpId="0" nodeType="withEffect">
                                  <p:stCondLst>
                                    <p:cond delay="1000"/>
                                  </p:stCondLst>
                                  <p:childTnLst>
                                    <p:set>
                                      <p:cBhvr>
                                        <p:cTn id="136" dur="1" fill="hold">
                                          <p:stCondLst>
                                            <p:cond delay="0"/>
                                          </p:stCondLst>
                                        </p:cTn>
                                        <p:tgtEl>
                                          <p:spTgt spid="76"/>
                                        </p:tgtEl>
                                        <p:attrNameLst>
                                          <p:attrName>style.visibility</p:attrName>
                                        </p:attrNameLst>
                                      </p:cBhvr>
                                      <p:to>
                                        <p:strVal val="visible"/>
                                      </p:to>
                                    </p:set>
                                    <p:animEffect transition="in" filter="fade">
                                      <p:cBhvr>
                                        <p:cTn id="137" dur="500"/>
                                        <p:tgtEl>
                                          <p:spTgt spid="76"/>
                                        </p:tgtEl>
                                      </p:cBhvr>
                                    </p:animEffect>
                                  </p:childTnLst>
                                </p:cTn>
                              </p:par>
                              <p:par>
                                <p:cTn id="138" presetID="10" presetClass="entr" presetSubtype="0" fill="hold" grpId="0" nodeType="withEffect">
                                  <p:stCondLst>
                                    <p:cond delay="1000"/>
                                  </p:stCondLst>
                                  <p:childTnLst>
                                    <p:set>
                                      <p:cBhvr>
                                        <p:cTn id="139" dur="1" fill="hold">
                                          <p:stCondLst>
                                            <p:cond delay="0"/>
                                          </p:stCondLst>
                                        </p:cTn>
                                        <p:tgtEl>
                                          <p:spTgt spid="77"/>
                                        </p:tgtEl>
                                        <p:attrNameLst>
                                          <p:attrName>style.visibility</p:attrName>
                                        </p:attrNameLst>
                                      </p:cBhvr>
                                      <p:to>
                                        <p:strVal val="visible"/>
                                      </p:to>
                                    </p:set>
                                    <p:animEffect transition="in" filter="fade">
                                      <p:cBhvr>
                                        <p:cTn id="140" dur="500"/>
                                        <p:tgtEl>
                                          <p:spTgt spid="77"/>
                                        </p:tgtEl>
                                      </p:cBhvr>
                                    </p:animEffect>
                                  </p:childTnLst>
                                </p:cTn>
                              </p:par>
                              <p:par>
                                <p:cTn id="141" presetID="10" presetClass="entr" presetSubtype="0" fill="hold" grpId="0" nodeType="withEffect">
                                  <p:stCondLst>
                                    <p:cond delay="1000"/>
                                  </p:stCondLst>
                                  <p:childTnLst>
                                    <p:set>
                                      <p:cBhvr>
                                        <p:cTn id="142" dur="1" fill="hold">
                                          <p:stCondLst>
                                            <p:cond delay="0"/>
                                          </p:stCondLst>
                                        </p:cTn>
                                        <p:tgtEl>
                                          <p:spTgt spid="78"/>
                                        </p:tgtEl>
                                        <p:attrNameLst>
                                          <p:attrName>style.visibility</p:attrName>
                                        </p:attrNameLst>
                                      </p:cBhvr>
                                      <p:to>
                                        <p:strVal val="visible"/>
                                      </p:to>
                                    </p:set>
                                    <p:animEffect transition="in" filter="fade">
                                      <p:cBhvr>
                                        <p:cTn id="143" dur="500"/>
                                        <p:tgtEl>
                                          <p:spTgt spid="78"/>
                                        </p:tgtEl>
                                      </p:cBhvr>
                                    </p:animEffect>
                                  </p:childTnLst>
                                </p:cTn>
                              </p:par>
                              <p:par>
                                <p:cTn id="144" presetID="10" presetClass="entr" presetSubtype="0" fill="hold" grpId="0" nodeType="withEffect">
                                  <p:stCondLst>
                                    <p:cond delay="1000"/>
                                  </p:stCondLst>
                                  <p:childTnLst>
                                    <p:set>
                                      <p:cBhvr>
                                        <p:cTn id="145" dur="1" fill="hold">
                                          <p:stCondLst>
                                            <p:cond delay="0"/>
                                          </p:stCondLst>
                                        </p:cTn>
                                        <p:tgtEl>
                                          <p:spTgt spid="79"/>
                                        </p:tgtEl>
                                        <p:attrNameLst>
                                          <p:attrName>style.visibility</p:attrName>
                                        </p:attrNameLst>
                                      </p:cBhvr>
                                      <p:to>
                                        <p:strVal val="visible"/>
                                      </p:to>
                                    </p:set>
                                    <p:animEffect transition="in" filter="fade">
                                      <p:cBhvr>
                                        <p:cTn id="146" dur="500"/>
                                        <p:tgtEl>
                                          <p:spTgt spid="79"/>
                                        </p:tgtEl>
                                      </p:cBhvr>
                                    </p:animEffect>
                                  </p:childTnLst>
                                </p:cTn>
                              </p:par>
                              <p:par>
                                <p:cTn id="147" presetID="10" presetClass="entr" presetSubtype="0" fill="hold" grpId="0" nodeType="withEffect">
                                  <p:stCondLst>
                                    <p:cond delay="1000"/>
                                  </p:stCondLst>
                                  <p:childTnLst>
                                    <p:set>
                                      <p:cBhvr>
                                        <p:cTn id="148" dur="1" fill="hold">
                                          <p:stCondLst>
                                            <p:cond delay="0"/>
                                          </p:stCondLst>
                                        </p:cTn>
                                        <p:tgtEl>
                                          <p:spTgt spid="80"/>
                                        </p:tgtEl>
                                        <p:attrNameLst>
                                          <p:attrName>style.visibility</p:attrName>
                                        </p:attrNameLst>
                                      </p:cBhvr>
                                      <p:to>
                                        <p:strVal val="visible"/>
                                      </p:to>
                                    </p:set>
                                    <p:animEffect transition="in" filter="fade">
                                      <p:cBhvr>
                                        <p:cTn id="149" dur="500"/>
                                        <p:tgtEl>
                                          <p:spTgt spid="80"/>
                                        </p:tgtEl>
                                      </p:cBhvr>
                                    </p:animEffect>
                                  </p:childTnLst>
                                </p:cTn>
                              </p:par>
                              <p:par>
                                <p:cTn id="150" presetID="10" presetClass="entr" presetSubtype="0" fill="hold" grpId="0" nodeType="withEffect">
                                  <p:stCondLst>
                                    <p:cond delay="1000"/>
                                  </p:stCondLst>
                                  <p:childTnLst>
                                    <p:set>
                                      <p:cBhvr>
                                        <p:cTn id="151" dur="1" fill="hold">
                                          <p:stCondLst>
                                            <p:cond delay="0"/>
                                          </p:stCondLst>
                                        </p:cTn>
                                        <p:tgtEl>
                                          <p:spTgt spid="81"/>
                                        </p:tgtEl>
                                        <p:attrNameLst>
                                          <p:attrName>style.visibility</p:attrName>
                                        </p:attrNameLst>
                                      </p:cBhvr>
                                      <p:to>
                                        <p:strVal val="visible"/>
                                      </p:to>
                                    </p:set>
                                    <p:animEffect transition="in" filter="fade">
                                      <p:cBhvr>
                                        <p:cTn id="152" dur="500"/>
                                        <p:tgtEl>
                                          <p:spTgt spid="81"/>
                                        </p:tgtEl>
                                      </p:cBhvr>
                                    </p:animEffect>
                                  </p:childTnLst>
                                </p:cTn>
                              </p:par>
                              <p:par>
                                <p:cTn id="153" presetID="22" presetClass="entr" presetSubtype="8" fill="hold" nodeType="withEffect">
                                  <p:stCondLst>
                                    <p:cond delay="1000"/>
                                  </p:stCondLst>
                                  <p:childTnLst>
                                    <p:set>
                                      <p:cBhvr>
                                        <p:cTn id="154" dur="1" fill="hold">
                                          <p:stCondLst>
                                            <p:cond delay="0"/>
                                          </p:stCondLst>
                                        </p:cTn>
                                        <p:tgtEl>
                                          <p:spTgt spid="83"/>
                                        </p:tgtEl>
                                        <p:attrNameLst>
                                          <p:attrName>style.visibility</p:attrName>
                                        </p:attrNameLst>
                                      </p:cBhvr>
                                      <p:to>
                                        <p:strVal val="visible"/>
                                      </p:to>
                                    </p:set>
                                    <p:animEffect transition="in" filter="wipe(left)">
                                      <p:cBhvr>
                                        <p:cTn id="155" dur="500"/>
                                        <p:tgtEl>
                                          <p:spTgt spid="83"/>
                                        </p:tgtEl>
                                      </p:cBhvr>
                                    </p:animEffect>
                                  </p:childTnLst>
                                </p:cTn>
                              </p:par>
                              <p:par>
                                <p:cTn id="156" presetID="22" presetClass="entr" presetSubtype="8" fill="hold" nodeType="withEffect">
                                  <p:stCondLst>
                                    <p:cond delay="1000"/>
                                  </p:stCondLst>
                                  <p:childTnLst>
                                    <p:set>
                                      <p:cBhvr>
                                        <p:cTn id="157" dur="1" fill="hold">
                                          <p:stCondLst>
                                            <p:cond delay="0"/>
                                          </p:stCondLst>
                                        </p:cTn>
                                        <p:tgtEl>
                                          <p:spTgt spid="86"/>
                                        </p:tgtEl>
                                        <p:attrNameLst>
                                          <p:attrName>style.visibility</p:attrName>
                                        </p:attrNameLst>
                                      </p:cBhvr>
                                      <p:to>
                                        <p:strVal val="visible"/>
                                      </p:to>
                                    </p:set>
                                    <p:animEffect transition="in" filter="wipe(left)">
                                      <p:cBhvr>
                                        <p:cTn id="158" dur="500"/>
                                        <p:tgtEl>
                                          <p:spTgt spid="86"/>
                                        </p:tgtEl>
                                      </p:cBhvr>
                                    </p:animEffect>
                                  </p:childTnLst>
                                </p:cTn>
                              </p:par>
                              <p:par>
                                <p:cTn id="159" presetID="22" presetClass="entr" presetSubtype="8" fill="hold" grpId="0" nodeType="withEffect">
                                  <p:stCondLst>
                                    <p:cond delay="0"/>
                                  </p:stCondLst>
                                  <p:childTnLst>
                                    <p:set>
                                      <p:cBhvr>
                                        <p:cTn id="160" dur="1" fill="hold">
                                          <p:stCondLst>
                                            <p:cond delay="0"/>
                                          </p:stCondLst>
                                        </p:cTn>
                                        <p:tgtEl>
                                          <p:spTgt spid="82"/>
                                        </p:tgtEl>
                                        <p:attrNameLst>
                                          <p:attrName>style.visibility</p:attrName>
                                        </p:attrNameLst>
                                      </p:cBhvr>
                                      <p:to>
                                        <p:strVal val="visible"/>
                                      </p:to>
                                    </p:set>
                                    <p:animEffect transition="in" filter="wipe(left)">
                                      <p:cBhvr>
                                        <p:cTn id="161" dur="1000"/>
                                        <p:tgtEl>
                                          <p:spTgt spid="82"/>
                                        </p:tgtEl>
                                      </p:cBhvr>
                                    </p:animEffect>
                                  </p:childTnLst>
                                </p:cTn>
                              </p:par>
                              <p:par>
                                <p:cTn id="162" presetID="22" presetClass="entr" presetSubtype="8" fill="hold" grpId="0" nodeType="withEffect">
                                  <p:stCondLst>
                                    <p:cond delay="0"/>
                                  </p:stCondLst>
                                  <p:childTnLst>
                                    <p:set>
                                      <p:cBhvr>
                                        <p:cTn id="163" dur="1" fill="hold">
                                          <p:stCondLst>
                                            <p:cond delay="0"/>
                                          </p:stCondLst>
                                        </p:cTn>
                                        <p:tgtEl>
                                          <p:spTgt spid="88"/>
                                        </p:tgtEl>
                                        <p:attrNameLst>
                                          <p:attrName>style.visibility</p:attrName>
                                        </p:attrNameLst>
                                      </p:cBhvr>
                                      <p:to>
                                        <p:strVal val="visible"/>
                                      </p:to>
                                    </p:set>
                                    <p:animEffect transition="in" filter="wipe(left)">
                                      <p:cBhvr>
                                        <p:cTn id="164" dur="1000"/>
                                        <p:tgtEl>
                                          <p:spTgt spid="88"/>
                                        </p:tgtEl>
                                      </p:cBhvr>
                                    </p:animEffect>
                                  </p:childTnLst>
                                </p:cTn>
                              </p:par>
                              <p:par>
                                <p:cTn id="165" presetID="22" presetClass="entr" presetSubtype="8" fill="hold" grpId="0" nodeType="withEffect">
                                  <p:stCondLst>
                                    <p:cond delay="0"/>
                                  </p:stCondLst>
                                  <p:childTnLst>
                                    <p:set>
                                      <p:cBhvr>
                                        <p:cTn id="166" dur="1" fill="hold">
                                          <p:stCondLst>
                                            <p:cond delay="0"/>
                                          </p:stCondLst>
                                        </p:cTn>
                                        <p:tgtEl>
                                          <p:spTgt spid="89"/>
                                        </p:tgtEl>
                                        <p:attrNameLst>
                                          <p:attrName>style.visibility</p:attrName>
                                        </p:attrNameLst>
                                      </p:cBhvr>
                                      <p:to>
                                        <p:strVal val="visible"/>
                                      </p:to>
                                    </p:set>
                                    <p:animEffect transition="in" filter="wipe(left)">
                                      <p:cBhvr>
                                        <p:cTn id="167" dur="1000"/>
                                        <p:tgtEl>
                                          <p:spTgt spid="89"/>
                                        </p:tgtEl>
                                      </p:cBhvr>
                                    </p:animEffect>
                                  </p:childTnLst>
                                </p:cTn>
                              </p:par>
                              <p:par>
                                <p:cTn id="168" presetID="22" presetClass="entr" presetSubtype="8" fill="hold" grpId="0" nodeType="withEffect">
                                  <p:stCondLst>
                                    <p:cond delay="0"/>
                                  </p:stCondLst>
                                  <p:childTnLst>
                                    <p:set>
                                      <p:cBhvr>
                                        <p:cTn id="169" dur="1" fill="hold">
                                          <p:stCondLst>
                                            <p:cond delay="0"/>
                                          </p:stCondLst>
                                        </p:cTn>
                                        <p:tgtEl>
                                          <p:spTgt spid="90"/>
                                        </p:tgtEl>
                                        <p:attrNameLst>
                                          <p:attrName>style.visibility</p:attrName>
                                        </p:attrNameLst>
                                      </p:cBhvr>
                                      <p:to>
                                        <p:strVal val="visible"/>
                                      </p:to>
                                    </p:set>
                                    <p:animEffect transition="in" filter="wipe(left)">
                                      <p:cBhvr>
                                        <p:cTn id="170" dur="1000"/>
                                        <p:tgtEl>
                                          <p:spTgt spid="90"/>
                                        </p:tgtEl>
                                      </p:cBhvr>
                                    </p:animEffect>
                                  </p:childTnLst>
                                </p:cTn>
                              </p:par>
                              <p:par>
                                <p:cTn id="171" presetID="22" presetClass="entr" presetSubtype="8" fill="hold" grpId="0" nodeType="withEffect">
                                  <p:stCondLst>
                                    <p:cond delay="0"/>
                                  </p:stCondLst>
                                  <p:childTnLst>
                                    <p:set>
                                      <p:cBhvr>
                                        <p:cTn id="172" dur="1" fill="hold">
                                          <p:stCondLst>
                                            <p:cond delay="0"/>
                                          </p:stCondLst>
                                        </p:cTn>
                                        <p:tgtEl>
                                          <p:spTgt spid="91"/>
                                        </p:tgtEl>
                                        <p:attrNameLst>
                                          <p:attrName>style.visibility</p:attrName>
                                        </p:attrNameLst>
                                      </p:cBhvr>
                                      <p:to>
                                        <p:strVal val="visible"/>
                                      </p:to>
                                    </p:set>
                                    <p:animEffect transition="in" filter="wipe(left)">
                                      <p:cBhvr>
                                        <p:cTn id="173" dur="1000"/>
                                        <p:tgtEl>
                                          <p:spTgt spid="91"/>
                                        </p:tgtEl>
                                      </p:cBhvr>
                                    </p:animEffect>
                                  </p:childTnLst>
                                </p:cTn>
                              </p:par>
                              <p:par>
                                <p:cTn id="174" presetID="22" presetClass="entr" presetSubtype="8" fill="hold" grpId="0" nodeType="withEffect">
                                  <p:stCondLst>
                                    <p:cond delay="0"/>
                                  </p:stCondLst>
                                  <p:childTnLst>
                                    <p:set>
                                      <p:cBhvr>
                                        <p:cTn id="175" dur="1" fill="hold">
                                          <p:stCondLst>
                                            <p:cond delay="0"/>
                                          </p:stCondLst>
                                        </p:cTn>
                                        <p:tgtEl>
                                          <p:spTgt spid="92"/>
                                        </p:tgtEl>
                                        <p:attrNameLst>
                                          <p:attrName>style.visibility</p:attrName>
                                        </p:attrNameLst>
                                      </p:cBhvr>
                                      <p:to>
                                        <p:strVal val="visible"/>
                                      </p:to>
                                    </p:set>
                                    <p:animEffect transition="in" filter="wipe(left)">
                                      <p:cBhvr>
                                        <p:cTn id="176" dur="10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88" grpId="0" animBg="1"/>
      <p:bldP spid="89" grpId="0" animBg="1"/>
      <p:bldP spid="90" grpId="0" animBg="1"/>
      <p:bldP spid="91" grpId="0" animBg="1"/>
      <p:bldP spid="92" grpId="0" animBg="1"/>
      <p:bldP spid="76" grpId="0"/>
      <p:bldP spid="77" grpId="0"/>
      <p:bldP spid="78" grpId="0"/>
      <p:bldP spid="79" grpId="0"/>
      <p:bldP spid="80" grpId="0"/>
      <p:bldP spid="8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68559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p:nvPicPr>
        <p:blipFill>
          <a:blip r:embed="rId7"/>
          <a:stretch>
            <a:fillRect/>
          </a:stretch>
        </p:blipFill>
        <p:spPr>
          <a:xfrm>
            <a:off x="76200" y="6629400"/>
            <a:ext cx="4619050" cy="195171"/>
          </a:xfrm>
          <a:prstGeom prst="rect">
            <a:avLst/>
          </a:prstGeom>
        </p:spPr>
      </p:pic>
      <p:cxnSp>
        <p:nvCxnSpPr>
          <p:cNvPr id="6" name="Straight Connector 5">
            <a:extLst>
              <a:ext uri="{FF2B5EF4-FFF2-40B4-BE49-F238E27FC236}">
                <a16:creationId xmlns="" xmlns:a16="http://schemas.microsoft.com/office/drawing/2014/main" id="{1D6F8CB9-71C3-4857-88DF-CE8A92FC890D}"/>
              </a:ext>
            </a:extLst>
          </p:cNvPr>
          <p:cNvCxnSpPr/>
          <p:nvPr/>
        </p:nvCxnSpPr>
        <p:spPr>
          <a:xfrm>
            <a:off x="8686800" y="3926355"/>
            <a:ext cx="2743200" cy="0"/>
          </a:xfrm>
          <a:prstGeom prst="line">
            <a:avLst/>
          </a:prstGeom>
          <a:ln w="317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pic>
        <p:nvPicPr>
          <p:cNvPr id="52" name="Picture 51">
            <a:extLst>
              <a:ext uri="{FF2B5EF4-FFF2-40B4-BE49-F238E27FC236}">
                <a16:creationId xmlns="" xmlns:a16="http://schemas.microsoft.com/office/drawing/2014/main" id="{BE95C4FD-D3E3-4633-B77C-C9186F7E6D17}"/>
              </a:ext>
            </a:extLst>
          </p:cNvPr>
          <p:cNvPicPr>
            <a:picLocks noChangeAspect="1"/>
          </p:cNvPicPr>
          <p:nvPr/>
        </p:nvPicPr>
        <p:blipFill rotWithShape="1">
          <a:blip r:embed="rId8">
            <a:extLst>
              <a:ext uri="{BEBA8EAE-BF5A-486C-A8C5-ECC9F3942E4B}">
                <a14:imgProps xmlns:a14="http://schemas.microsoft.com/office/drawing/2010/main">
                  <a14:imgLayer r:embed="rId9">
                    <a14:imgEffect>
                      <a14:brightnessContrast bright="5000" contrast="10000"/>
                    </a14:imgEffect>
                  </a14:imgLayer>
                </a14:imgProps>
              </a:ext>
              <a:ext uri="{28A0092B-C50C-407E-A947-70E740481C1C}">
                <a14:useLocalDpi xmlns:a14="http://schemas.microsoft.com/office/drawing/2010/main" val="0"/>
              </a:ext>
            </a:extLst>
          </a:blip>
          <a:srcRect l="25433" t="-830" r="20767" b="-446"/>
          <a:stretch/>
        </p:blipFill>
        <p:spPr>
          <a:xfrm rot="10800000" flipH="1">
            <a:off x="5508990" y="2370884"/>
            <a:ext cx="3311247" cy="3301580"/>
          </a:xfrm>
          <a:prstGeom prst="triangle">
            <a:avLst>
              <a:gd name="adj" fmla="val 42581"/>
            </a:avLst>
          </a:prstGeom>
          <a:ln w="3175">
            <a:solidFill>
              <a:srgbClr val="F26926"/>
            </a:solidFill>
          </a:ln>
        </p:spPr>
      </p:pic>
      <p:sp>
        <p:nvSpPr>
          <p:cNvPr id="24" name="TextBox 23">
            <a:extLst>
              <a:ext uri="{FF2B5EF4-FFF2-40B4-BE49-F238E27FC236}">
                <a16:creationId xmlns="" xmlns:a16="http://schemas.microsoft.com/office/drawing/2014/main" id="{81658E90-A211-4C54-872E-DF96283F74BB}"/>
              </a:ext>
            </a:extLst>
          </p:cNvPr>
          <p:cNvSpPr txBox="1"/>
          <p:nvPr/>
        </p:nvSpPr>
        <p:spPr>
          <a:xfrm>
            <a:off x="3676650" y="731905"/>
            <a:ext cx="8159750" cy="1348061"/>
          </a:xfrm>
          <a:prstGeom prst="rect">
            <a:avLst/>
          </a:prstGeom>
          <a:noFill/>
        </p:spPr>
        <p:txBody>
          <a:bodyPr wrap="square" rtlCol="0">
            <a:spAutoFit/>
            <a:scene3d>
              <a:camera prst="orthographicFront"/>
              <a:lightRig rig="threePt" dir="t"/>
            </a:scene3d>
            <a:sp3d>
              <a:bevelT w="0" h="0" prst="artDeco"/>
            </a:sp3d>
          </a:bodyPr>
          <a:lstStyle>
            <a:defPPr>
              <a:defRPr lang="en-US"/>
            </a:defPPr>
            <a:lvl1pPr marR="0" lvl="0" indent="0" fontAlgn="auto">
              <a:lnSpc>
                <a:spcPct val="85000"/>
              </a:lnSpc>
              <a:spcBef>
                <a:spcPts val="0"/>
              </a:spcBef>
              <a:spcAft>
                <a:spcPts val="0"/>
              </a:spcAft>
              <a:buClrTx/>
              <a:buSzTx/>
              <a:buFontTx/>
              <a:buNone/>
              <a:tabLst/>
              <a:defRPr kumimoji="0" sz="4000" b="1" i="0" u="none" strike="noStrike" cap="none" spc="0" normalizeH="0" baseline="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COMPATIBLE PRE-FILLED </a:t>
            </a:r>
            <a:br>
              <a:rPr kumimoji="0" lang="en-US" sz="32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32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FLUSH SYRINGES FOR USE WITH </a:t>
            </a:r>
            <a:br>
              <a:rPr kumimoji="0" lang="en-US" sz="32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32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THE ALARIS SYRINGE MODULE</a:t>
            </a:r>
          </a:p>
        </p:txBody>
      </p:sp>
      <p:cxnSp>
        <p:nvCxnSpPr>
          <p:cNvPr id="55" name="Straight Connector 54">
            <a:extLst>
              <a:ext uri="{FF2B5EF4-FFF2-40B4-BE49-F238E27FC236}">
                <a16:creationId xmlns="" xmlns:a16="http://schemas.microsoft.com/office/drawing/2014/main" id="{2CDAFB1B-2B4E-4894-AFE0-5F331D54AFC7}"/>
              </a:ext>
            </a:extLst>
          </p:cNvPr>
          <p:cNvCxnSpPr>
            <a:cxnSpLocks/>
          </p:cNvCxnSpPr>
          <p:nvPr/>
        </p:nvCxnSpPr>
        <p:spPr>
          <a:xfrm>
            <a:off x="8542375" y="3926355"/>
            <a:ext cx="1857829" cy="0"/>
          </a:xfrm>
          <a:prstGeom prst="line">
            <a:avLst/>
          </a:prstGeom>
          <a:ln w="57150">
            <a:solidFill>
              <a:srgbClr val="8CC6EC"/>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 xmlns:a16="http://schemas.microsoft.com/office/drawing/2014/main" id="{01B0AC9F-697B-401C-8A80-67CB83965222}"/>
              </a:ext>
            </a:extLst>
          </p:cNvPr>
          <p:cNvSpPr txBox="1"/>
          <p:nvPr/>
        </p:nvSpPr>
        <p:spPr>
          <a:xfrm>
            <a:off x="8490811" y="4098336"/>
            <a:ext cx="3091589" cy="1792798"/>
          </a:xfrm>
          <a:prstGeom prst="rect">
            <a:avLst/>
          </a:prstGeom>
          <a:noFill/>
        </p:spPr>
        <p:txBody>
          <a:bodyPr wrap="square" rtlCol="0">
            <a:spAutoFit/>
          </a:bodyPr>
          <a:lstStyle/>
          <a:p>
            <a:pPr marL="0" marR="0" lvl="1" indent="0" algn="l" defTabSz="914400" rtl="0" eaLnBrk="1" fontAlgn="auto" latinLnBrk="0" hangingPunct="1">
              <a:lnSpc>
                <a:spcPct val="85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Only approved syringes that </a:t>
            </a:r>
            <a:b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have been </a:t>
            </a:r>
            <a:r>
              <a:rPr kumimoji="0" lang="en-US" sz="13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validated</a:t>
            </a:r>
            <a:r>
              <a:rPr kumimoji="0" lang="en-US" sz="13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 and </a:t>
            </a:r>
            <a:r>
              <a:rPr kumimoji="0" lang="en-US" sz="13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tested</a:t>
            </a:r>
            <a:r>
              <a:rPr kumimoji="0" lang="en-US" sz="13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by the pump manufacturer are considered </a:t>
            </a:r>
            <a:r>
              <a:rPr kumimoji="0" lang="en-US" sz="13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compatible</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3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BD 306500 and BD 306504 are approved for use with the Alaris System</a:t>
            </a:r>
            <a:r>
              <a:rPr kumimoji="0" lang="en-US" sz="13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 No other pre-filled flush competitive syringes have been validated or approved for use.</a:t>
            </a:r>
          </a:p>
        </p:txBody>
      </p:sp>
      <p:sp>
        <p:nvSpPr>
          <p:cNvPr id="53" name="Isosceles Triangle 52">
            <a:extLst>
              <a:ext uri="{FF2B5EF4-FFF2-40B4-BE49-F238E27FC236}">
                <a16:creationId xmlns="" xmlns:a16="http://schemas.microsoft.com/office/drawing/2014/main" id="{BC49895D-E516-42BD-A5E5-2952231EE59D}"/>
              </a:ext>
            </a:extLst>
          </p:cNvPr>
          <p:cNvSpPr/>
          <p:nvPr/>
        </p:nvSpPr>
        <p:spPr>
          <a:xfrm>
            <a:off x="3372904" y="2972152"/>
            <a:ext cx="4773459" cy="4115050"/>
          </a:xfrm>
          <a:prstGeom prst="triangle">
            <a:avLst>
              <a:gd name="adj" fmla="val 50000"/>
            </a:avLst>
          </a:prstGeom>
          <a:solidFill>
            <a:srgbClr val="F26926"/>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 xmlns:a16="http://schemas.microsoft.com/office/drawing/2014/main" id="{914FB401-7BBC-4830-A7A5-FB896A253E71}"/>
              </a:ext>
            </a:extLst>
          </p:cNvPr>
          <p:cNvSpPr/>
          <p:nvPr/>
        </p:nvSpPr>
        <p:spPr>
          <a:xfrm>
            <a:off x="4811615" y="5525833"/>
            <a:ext cx="2352999" cy="929485"/>
          </a:xfrm>
          <a:prstGeom prst="rect">
            <a:avLst/>
          </a:prstGeom>
          <a:noFill/>
          <a:ln>
            <a:noFill/>
          </a:ln>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FDA Communication submitted to </a:t>
            </a:r>
            <a:r>
              <a:rPr kumimoji="0" lang="en-US" sz="16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LL</a:t>
            </a:r>
            <a:r>
              <a:rPr kumimoji="0" lang="en-US" sz="16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syringe pump manufacturers</a:t>
            </a:r>
          </a:p>
        </p:txBody>
      </p:sp>
      <p:cxnSp>
        <p:nvCxnSpPr>
          <p:cNvPr id="28" name="Straight Connector 27">
            <a:extLst>
              <a:ext uri="{FF2B5EF4-FFF2-40B4-BE49-F238E27FC236}">
                <a16:creationId xmlns="" xmlns:a16="http://schemas.microsoft.com/office/drawing/2014/main" id="{E50C80C6-6780-41EC-942E-8B218E759F98}"/>
              </a:ext>
            </a:extLst>
          </p:cNvPr>
          <p:cNvCxnSpPr>
            <a:cxnSpLocks/>
          </p:cNvCxnSpPr>
          <p:nvPr/>
        </p:nvCxnSpPr>
        <p:spPr>
          <a:xfrm flipH="1">
            <a:off x="4736306" y="5581650"/>
            <a:ext cx="2382" cy="788194"/>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46" name="Picture 45">
            <a:extLst>
              <a:ext uri="{FF2B5EF4-FFF2-40B4-BE49-F238E27FC236}">
                <a16:creationId xmlns="" xmlns:a16="http://schemas.microsoft.com/office/drawing/2014/main" id="{8B70BA50-31EA-437C-B730-1DECD056F245}"/>
              </a:ext>
            </a:extLst>
          </p:cNvPr>
          <p:cNvPicPr>
            <a:picLocks noChangeAspect="1"/>
          </p:cNvPicPr>
          <p:nvPr/>
        </p:nvPicPr>
        <p:blipFill rotWithShape="1">
          <a:blip r:embed="rId10">
            <a:extLst>
              <a:ext uri="{28A0092B-C50C-407E-A947-70E740481C1C}">
                <a14:useLocalDpi xmlns:a14="http://schemas.microsoft.com/office/drawing/2010/main" val="0"/>
              </a:ext>
            </a:extLst>
          </a:blip>
          <a:srcRect l="-12" t="53333" r="63752" b="-3246"/>
          <a:stretch/>
        </p:blipFill>
        <p:spPr>
          <a:xfrm>
            <a:off x="116950" y="3703609"/>
            <a:ext cx="4419600" cy="3423033"/>
          </a:xfrm>
          <a:prstGeom prst="rect">
            <a:avLst/>
          </a:prstGeom>
        </p:spPr>
      </p:pic>
      <p:pic>
        <p:nvPicPr>
          <p:cNvPr id="42" name="Picture 41">
            <a:extLst>
              <a:ext uri="{FF2B5EF4-FFF2-40B4-BE49-F238E27FC236}">
                <a16:creationId xmlns="" xmlns:a16="http://schemas.microsoft.com/office/drawing/2014/main" id="{E91AF83C-9A46-4A34-AD4B-FD51C1FB184A}"/>
              </a:ext>
            </a:extLst>
          </p:cNvPr>
          <p:cNvPicPr>
            <a:picLocks noChangeAspect="1"/>
          </p:cNvPicPr>
          <p:nvPr/>
        </p:nvPicPr>
        <p:blipFill rotWithShape="1">
          <a:blip r:embed="rId11">
            <a:extLst>
              <a:ext uri="{28A0092B-C50C-407E-A947-70E740481C1C}">
                <a14:useLocalDpi xmlns:a14="http://schemas.microsoft.com/office/drawing/2010/main" val="0"/>
              </a:ext>
            </a:extLst>
          </a:blip>
          <a:srcRect l="26869" t="40000" r="42498" b="13789"/>
          <a:stretch/>
        </p:blipFill>
        <p:spPr>
          <a:xfrm>
            <a:off x="2462762" y="2177614"/>
            <a:ext cx="3733801" cy="3169176"/>
          </a:xfrm>
          <a:prstGeom prst="rect">
            <a:avLst/>
          </a:prstGeom>
        </p:spPr>
      </p:pic>
      <p:pic>
        <p:nvPicPr>
          <p:cNvPr id="44" name="Picture 43">
            <a:extLst>
              <a:ext uri="{FF2B5EF4-FFF2-40B4-BE49-F238E27FC236}">
                <a16:creationId xmlns="" xmlns:a16="http://schemas.microsoft.com/office/drawing/2014/main" id="{78325B82-C6F6-44AC-96C4-96AD6D2F77A2}"/>
              </a:ext>
            </a:extLst>
          </p:cNvPr>
          <p:cNvPicPr>
            <a:picLocks noChangeAspect="1"/>
          </p:cNvPicPr>
          <p:nvPr/>
        </p:nvPicPr>
        <p:blipFill rotWithShape="1">
          <a:blip r:embed="rId12">
            <a:extLst>
              <a:ext uri="{28A0092B-C50C-407E-A947-70E740481C1C}">
                <a14:useLocalDpi xmlns:a14="http://schemas.microsoft.com/office/drawing/2010/main" val="0"/>
              </a:ext>
            </a:extLst>
          </a:blip>
          <a:srcRect l="4211" r="61355" b="41111"/>
          <a:stretch/>
        </p:blipFill>
        <p:spPr>
          <a:xfrm>
            <a:off x="26200" y="140887"/>
            <a:ext cx="3676142" cy="3537322"/>
          </a:xfrm>
          <a:prstGeom prst="rect">
            <a:avLst/>
          </a:prstGeom>
        </p:spPr>
      </p:pic>
      <p:pic>
        <p:nvPicPr>
          <p:cNvPr id="14" name="Graphic 13">
            <a:extLst>
              <a:ext uri="{FF2B5EF4-FFF2-40B4-BE49-F238E27FC236}">
                <a16:creationId xmlns="" xmlns:a16="http://schemas.microsoft.com/office/drawing/2014/main" id="{A1D8D4E2-F0A5-46CC-A8D7-7EF91CE3EAB8}"/>
              </a:ext>
            </a:extLst>
          </p:cNvPr>
          <p:cNvPicPr>
            <a:picLocks noChangeAspect="1"/>
          </p:cNvPicPr>
          <p:nvPr/>
        </p:nvPicPr>
        <p:blipFill>
          <a:blip r:embed="rId13">
            <a:extLst>
              <a:ext uri="{96DAC541-7B7A-43D3-8B79-37D633B846F1}">
                <asvg:svgBlip xmlns="" xmlns:asvg="http://schemas.microsoft.com/office/drawing/2016/SVG/main" r:embed="rId14"/>
              </a:ext>
            </a:extLst>
          </a:blip>
          <a:stretch>
            <a:fillRect/>
          </a:stretch>
        </p:blipFill>
        <p:spPr>
          <a:xfrm>
            <a:off x="11345612" y="6490506"/>
            <a:ext cx="720740" cy="276876"/>
          </a:xfrm>
          <a:prstGeom prst="rect">
            <a:avLst/>
          </a:prstGeom>
        </p:spPr>
      </p:pic>
    </p:spTree>
    <p:extLst>
      <p:ext uri="{BB962C8B-B14F-4D97-AF65-F5344CB8AC3E}">
        <p14:creationId xmlns:p14="http://schemas.microsoft.com/office/powerpoint/2010/main" val="207416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750" fill="hold"/>
                                            <p:tgtEl>
                                              <p:spTgt spid="24"/>
                                            </p:tgtEl>
                                            <p:attrNameLst>
                                              <p:attrName>ppt_x</p:attrName>
                                            </p:attrNameLst>
                                          </p:cBhvr>
                                          <p:tavLst>
                                            <p:tav tm="0">
                                              <p:val>
                                                <p:strVal val="#ppt_x"/>
                                              </p:val>
                                            </p:tav>
                                            <p:tav tm="100000">
                                              <p:val>
                                                <p:strVal val="#ppt_x"/>
                                              </p:val>
                                            </p:tav>
                                          </p:tavLst>
                                        </p:anim>
                                        <p:anim calcmode="lin" valueType="num">
                                          <p:cBhvr additive="base">
                                            <p:cTn id="8" dur="750" fill="hold"/>
                                            <p:tgtEl>
                                              <p:spTgt spid="24"/>
                                            </p:tgtEl>
                                            <p:attrNameLst>
                                              <p:attrName>ppt_y</p:attrName>
                                            </p:attrNameLst>
                                          </p:cBhvr>
                                          <p:tavLst>
                                            <p:tav tm="0">
                                              <p:val>
                                                <p:strVal val="0-#ppt_h/2"/>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44"/>
                                            </p:tgtEl>
                                            <p:attrNameLst>
                                              <p:attrName>style.visibility</p:attrName>
                                            </p:attrNameLst>
                                          </p:cBhvr>
                                          <p:to>
                                            <p:strVal val="visible"/>
                                          </p:to>
                                        </p:set>
                                        <p:animEffect transition="in" filter="fade">
                                          <p:cBhvr>
                                            <p:cTn id="11" dur="500"/>
                                            <p:tgtEl>
                                              <p:spTgt spid="44"/>
                                            </p:tgtEl>
                                          </p:cBhvr>
                                        </p:animEffect>
                                      </p:childTnLst>
                                    </p:cTn>
                                  </p:par>
                                  <p:par>
                                    <p:cTn id="12" presetID="64" presetClass="path" presetSubtype="0" fill="hold" nodeType="withEffect" p14:presetBounceEnd="45000">
                                      <p:stCondLst>
                                        <p:cond delay="500"/>
                                      </p:stCondLst>
                                      <p:childTnLst>
                                        <p:animMotion origin="layout" path="M -4.58333E-6 0.26644 L -4.58333E-6 -2.22222E-6 " pathEditMode="relative" rAng="0" ptsTypes="AA" p14:bounceEnd="45000">
                                          <p:cBhvr>
                                            <p:cTn id="13" dur="1000" fill="hold"/>
                                            <p:tgtEl>
                                              <p:spTgt spid="44"/>
                                            </p:tgtEl>
                                            <p:attrNameLst>
                                              <p:attrName>ppt_x</p:attrName>
                                              <p:attrName>ppt_y</p:attrName>
                                            </p:attrNameLst>
                                          </p:cBhvr>
                                          <p:rCtr x="0" y="-13333"/>
                                        </p:animMotion>
                                      </p:childTnLst>
                                    </p:cTn>
                                  </p:par>
                                  <p:par>
                                    <p:cTn id="14" presetID="10" presetClass="entr" presetSubtype="0" fill="hold" nodeType="withEffect">
                                      <p:stCondLst>
                                        <p:cond delay="750"/>
                                      </p:stCondLst>
                                      <p:childTnLst>
                                        <p:set>
                                          <p:cBhvr>
                                            <p:cTn id="15" dur="1" fill="hold">
                                              <p:stCondLst>
                                                <p:cond delay="0"/>
                                              </p:stCondLst>
                                            </p:cTn>
                                            <p:tgtEl>
                                              <p:spTgt spid="42"/>
                                            </p:tgtEl>
                                            <p:attrNameLst>
                                              <p:attrName>style.visibility</p:attrName>
                                            </p:attrNameLst>
                                          </p:cBhvr>
                                          <p:to>
                                            <p:strVal val="visible"/>
                                          </p:to>
                                        </p:set>
                                        <p:animEffect transition="in" filter="fade">
                                          <p:cBhvr>
                                            <p:cTn id="16" dur="500"/>
                                            <p:tgtEl>
                                              <p:spTgt spid="42"/>
                                            </p:tgtEl>
                                          </p:cBhvr>
                                        </p:animEffect>
                                      </p:childTnLst>
                                    </p:cTn>
                                  </p:par>
                                  <p:par>
                                    <p:cTn id="17" presetID="64" presetClass="path" presetSubtype="0" fill="hold" nodeType="withEffect" p14:presetBounceEnd="45000">
                                      <p:stCondLst>
                                        <p:cond delay="750"/>
                                      </p:stCondLst>
                                      <p:childTnLst>
                                        <p:animMotion origin="layout" path="M 1.875E-6 0.26644 L 1.875E-6 -1.11111E-6 " pathEditMode="relative" rAng="0" ptsTypes="AA" p14:bounceEnd="45000">
                                          <p:cBhvr>
                                            <p:cTn id="18" dur="1000" fill="hold"/>
                                            <p:tgtEl>
                                              <p:spTgt spid="42"/>
                                            </p:tgtEl>
                                            <p:attrNameLst>
                                              <p:attrName>ppt_x</p:attrName>
                                              <p:attrName>ppt_y</p:attrName>
                                            </p:attrNameLst>
                                          </p:cBhvr>
                                          <p:rCtr x="0" y="-13333"/>
                                        </p:animMotion>
                                      </p:childTnLst>
                                    </p:cTn>
                                  </p:par>
                                  <p:par>
                                    <p:cTn id="19" presetID="10" presetClass="entr" presetSubtype="0" fill="hold" nodeType="withEffect">
                                      <p:stCondLst>
                                        <p:cond delay="1000"/>
                                      </p:stCondLst>
                                      <p:childTnLst>
                                        <p:set>
                                          <p:cBhvr>
                                            <p:cTn id="20" dur="1" fill="hold">
                                              <p:stCondLst>
                                                <p:cond delay="0"/>
                                              </p:stCondLst>
                                            </p:cTn>
                                            <p:tgtEl>
                                              <p:spTgt spid="46"/>
                                            </p:tgtEl>
                                            <p:attrNameLst>
                                              <p:attrName>style.visibility</p:attrName>
                                            </p:attrNameLst>
                                          </p:cBhvr>
                                          <p:to>
                                            <p:strVal val="visible"/>
                                          </p:to>
                                        </p:set>
                                        <p:animEffect transition="in" filter="fade">
                                          <p:cBhvr>
                                            <p:cTn id="21" dur="500"/>
                                            <p:tgtEl>
                                              <p:spTgt spid="46"/>
                                            </p:tgtEl>
                                          </p:cBhvr>
                                        </p:animEffect>
                                      </p:childTnLst>
                                    </p:cTn>
                                  </p:par>
                                  <p:par>
                                    <p:cTn id="22" presetID="64" presetClass="path" presetSubtype="0" fill="hold" nodeType="withEffect" p14:presetBounceEnd="45000">
                                      <p:stCondLst>
                                        <p:cond delay="1000"/>
                                      </p:stCondLst>
                                      <p:childTnLst>
                                        <p:animMotion origin="layout" path="M -4.58333E-6 0.26644 L -4.58333E-6 -2.22222E-6 " pathEditMode="relative" rAng="0" ptsTypes="AA" p14:bounceEnd="45000">
                                          <p:cBhvr>
                                            <p:cTn id="23" dur="1000" fill="hold"/>
                                            <p:tgtEl>
                                              <p:spTgt spid="46"/>
                                            </p:tgtEl>
                                            <p:attrNameLst>
                                              <p:attrName>ppt_x</p:attrName>
                                              <p:attrName>ppt_y</p:attrName>
                                            </p:attrNameLst>
                                          </p:cBhvr>
                                          <p:rCtr x="0" y="-13333"/>
                                        </p:animMotion>
                                      </p:childTnLst>
                                    </p:cTn>
                                  </p:par>
                                  <p:par>
                                    <p:cTn id="24" presetID="22" presetClass="entr" presetSubtype="1" fill="hold" grpId="0" nodeType="withEffect">
                                      <p:stCondLst>
                                        <p:cond delay="1750"/>
                                      </p:stCondLst>
                                      <p:childTnLst>
                                        <p:set>
                                          <p:cBhvr>
                                            <p:cTn id="25" dur="1" fill="hold">
                                              <p:stCondLst>
                                                <p:cond delay="0"/>
                                              </p:stCondLst>
                                            </p:cTn>
                                            <p:tgtEl>
                                              <p:spTgt spid="53"/>
                                            </p:tgtEl>
                                            <p:attrNameLst>
                                              <p:attrName>style.visibility</p:attrName>
                                            </p:attrNameLst>
                                          </p:cBhvr>
                                          <p:to>
                                            <p:strVal val="visible"/>
                                          </p:to>
                                        </p:set>
                                        <p:animEffect transition="in" filter="wipe(up)">
                                          <p:cBhvr>
                                            <p:cTn id="26" dur="500"/>
                                            <p:tgtEl>
                                              <p:spTgt spid="53"/>
                                            </p:tgtEl>
                                          </p:cBhvr>
                                        </p:animEffect>
                                      </p:childTnLst>
                                    </p:cTn>
                                  </p:par>
                                  <p:par>
                                    <p:cTn id="27" presetID="16" presetClass="entr" presetSubtype="42" fill="hold" nodeType="withEffect">
                                      <p:stCondLst>
                                        <p:cond delay="2000"/>
                                      </p:stCondLst>
                                      <p:childTnLst>
                                        <p:set>
                                          <p:cBhvr>
                                            <p:cTn id="28" dur="1" fill="hold">
                                              <p:stCondLst>
                                                <p:cond delay="0"/>
                                              </p:stCondLst>
                                            </p:cTn>
                                            <p:tgtEl>
                                              <p:spTgt spid="28"/>
                                            </p:tgtEl>
                                            <p:attrNameLst>
                                              <p:attrName>style.visibility</p:attrName>
                                            </p:attrNameLst>
                                          </p:cBhvr>
                                          <p:to>
                                            <p:strVal val="visible"/>
                                          </p:to>
                                        </p:set>
                                        <p:animEffect transition="in" filter="barn(outHorizontal)">
                                          <p:cBhvr>
                                            <p:cTn id="29" dur="500"/>
                                            <p:tgtEl>
                                              <p:spTgt spid="28"/>
                                            </p:tgtEl>
                                          </p:cBhvr>
                                        </p:animEffect>
                                      </p:childTnLst>
                                    </p:cTn>
                                  </p:par>
                                  <p:par>
                                    <p:cTn id="30" presetID="10" presetClass="entr" presetSubtype="0" fill="hold" grpId="0" nodeType="withEffect">
                                      <p:stCondLst>
                                        <p:cond delay="200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2" presetClass="entr" presetSubtype="2" decel="100000" fill="hold" nodeType="withEffect">
                                      <p:stCondLst>
                                        <p:cond delay="2250"/>
                                      </p:stCondLst>
                                      <p:childTnLst>
                                        <p:set>
                                          <p:cBhvr>
                                            <p:cTn id="34" dur="1" fill="hold">
                                              <p:stCondLst>
                                                <p:cond delay="0"/>
                                              </p:stCondLst>
                                            </p:cTn>
                                            <p:tgtEl>
                                              <p:spTgt spid="55"/>
                                            </p:tgtEl>
                                            <p:attrNameLst>
                                              <p:attrName>style.visibility</p:attrName>
                                            </p:attrNameLst>
                                          </p:cBhvr>
                                          <p:to>
                                            <p:strVal val="visible"/>
                                          </p:to>
                                        </p:set>
                                        <p:anim calcmode="lin" valueType="num">
                                          <p:cBhvr additive="base">
                                            <p:cTn id="35" dur="750" fill="hold"/>
                                            <p:tgtEl>
                                              <p:spTgt spid="55"/>
                                            </p:tgtEl>
                                            <p:attrNameLst>
                                              <p:attrName>ppt_x</p:attrName>
                                            </p:attrNameLst>
                                          </p:cBhvr>
                                          <p:tavLst>
                                            <p:tav tm="0">
                                              <p:val>
                                                <p:strVal val="1+#ppt_w/2"/>
                                              </p:val>
                                            </p:tav>
                                            <p:tav tm="100000">
                                              <p:val>
                                                <p:strVal val="#ppt_x"/>
                                              </p:val>
                                            </p:tav>
                                          </p:tavLst>
                                        </p:anim>
                                        <p:anim calcmode="lin" valueType="num">
                                          <p:cBhvr additive="base">
                                            <p:cTn id="36" dur="750" fill="hold"/>
                                            <p:tgtEl>
                                              <p:spTgt spid="55"/>
                                            </p:tgtEl>
                                            <p:attrNameLst>
                                              <p:attrName>ppt_y</p:attrName>
                                            </p:attrNameLst>
                                          </p:cBhvr>
                                          <p:tavLst>
                                            <p:tav tm="0">
                                              <p:val>
                                                <p:strVal val="#ppt_y"/>
                                              </p:val>
                                            </p:tav>
                                            <p:tav tm="100000">
                                              <p:val>
                                                <p:strVal val="#ppt_y"/>
                                              </p:val>
                                            </p:tav>
                                          </p:tavLst>
                                        </p:anim>
                                      </p:childTnLst>
                                    </p:cTn>
                                  </p:par>
                                  <p:par>
                                    <p:cTn id="37" presetID="22" presetClass="entr" presetSubtype="8" fill="hold" grpId="0" nodeType="withEffect">
                                      <p:stCondLst>
                                        <p:cond delay="2250"/>
                                      </p:stCondLst>
                                      <p:childTnLst>
                                        <p:set>
                                          <p:cBhvr>
                                            <p:cTn id="38" dur="1" fill="hold">
                                              <p:stCondLst>
                                                <p:cond delay="0"/>
                                              </p:stCondLst>
                                            </p:cTn>
                                            <p:tgtEl>
                                              <p:spTgt spid="57"/>
                                            </p:tgtEl>
                                            <p:attrNameLst>
                                              <p:attrName>style.visibility</p:attrName>
                                            </p:attrNameLst>
                                          </p:cBhvr>
                                          <p:to>
                                            <p:strVal val="visible"/>
                                          </p:to>
                                        </p:set>
                                        <p:animEffect transition="in" filter="wipe(left)">
                                          <p:cBhvr>
                                            <p:cTn id="39" dur="750"/>
                                            <p:tgtEl>
                                              <p:spTgt spid="57"/>
                                            </p:tgtEl>
                                          </p:cBhvr>
                                        </p:animEffect>
                                      </p:childTnLst>
                                    </p:cTn>
                                  </p:par>
                                  <p:par>
                                    <p:cTn id="40" presetID="22" presetClass="entr" presetSubtype="2" fill="hold" nodeType="withEffect">
                                      <p:stCondLst>
                                        <p:cond delay="2250"/>
                                      </p:stCondLst>
                                      <p:childTnLst>
                                        <p:set>
                                          <p:cBhvr>
                                            <p:cTn id="41" dur="1" fill="hold">
                                              <p:stCondLst>
                                                <p:cond delay="0"/>
                                              </p:stCondLst>
                                            </p:cTn>
                                            <p:tgtEl>
                                              <p:spTgt spid="6"/>
                                            </p:tgtEl>
                                            <p:attrNameLst>
                                              <p:attrName>style.visibility</p:attrName>
                                            </p:attrNameLst>
                                          </p:cBhvr>
                                          <p:to>
                                            <p:strVal val="visible"/>
                                          </p:to>
                                        </p:set>
                                        <p:animEffect transition="in" filter="wipe(right)">
                                          <p:cBhvr>
                                            <p:cTn id="42" dur="750"/>
                                            <p:tgtEl>
                                              <p:spTgt spid="6"/>
                                            </p:tgtEl>
                                          </p:cBhvr>
                                        </p:animEffect>
                                      </p:childTnLst>
                                    </p:cTn>
                                  </p:par>
                                  <p:par>
                                    <p:cTn id="43" presetID="22" presetClass="entr" presetSubtype="1" fill="hold" nodeType="withEffect">
                                      <p:stCondLst>
                                        <p:cond delay="2500"/>
                                      </p:stCondLst>
                                      <p:childTnLst>
                                        <p:set>
                                          <p:cBhvr>
                                            <p:cTn id="44" dur="1" fill="hold">
                                              <p:stCondLst>
                                                <p:cond delay="0"/>
                                              </p:stCondLst>
                                            </p:cTn>
                                            <p:tgtEl>
                                              <p:spTgt spid="52"/>
                                            </p:tgtEl>
                                            <p:attrNameLst>
                                              <p:attrName>style.visibility</p:attrName>
                                            </p:attrNameLst>
                                          </p:cBhvr>
                                          <p:to>
                                            <p:strVal val="visible"/>
                                          </p:to>
                                        </p:set>
                                        <p:animEffect transition="in" filter="wipe(up)">
                                          <p:cBhvr>
                                            <p:cTn id="45" dur="75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57" grpId="0"/>
          <p:bldP spid="53" grpId="0" animBg="1"/>
          <p:bldP spid="26"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750" fill="hold"/>
                                            <p:tgtEl>
                                              <p:spTgt spid="24"/>
                                            </p:tgtEl>
                                            <p:attrNameLst>
                                              <p:attrName>ppt_x</p:attrName>
                                            </p:attrNameLst>
                                          </p:cBhvr>
                                          <p:tavLst>
                                            <p:tav tm="0">
                                              <p:val>
                                                <p:strVal val="#ppt_x"/>
                                              </p:val>
                                            </p:tav>
                                            <p:tav tm="100000">
                                              <p:val>
                                                <p:strVal val="#ppt_x"/>
                                              </p:val>
                                            </p:tav>
                                          </p:tavLst>
                                        </p:anim>
                                        <p:anim calcmode="lin" valueType="num">
                                          <p:cBhvr additive="base">
                                            <p:cTn id="8" dur="750" fill="hold"/>
                                            <p:tgtEl>
                                              <p:spTgt spid="24"/>
                                            </p:tgtEl>
                                            <p:attrNameLst>
                                              <p:attrName>ppt_y</p:attrName>
                                            </p:attrNameLst>
                                          </p:cBhvr>
                                          <p:tavLst>
                                            <p:tav tm="0">
                                              <p:val>
                                                <p:strVal val="0-#ppt_h/2"/>
                                              </p:val>
                                            </p:tav>
                                            <p:tav tm="100000">
                                              <p:val>
                                                <p:strVal val="#ppt_y"/>
                                              </p:val>
                                            </p:tav>
                                          </p:tavLst>
                                        </p:anim>
                                      </p:childTnLst>
                                    </p:cTn>
                                  </p:par>
                                  <p:par>
                                    <p:cTn id="9" presetID="10" presetClass="entr" presetSubtype="0" fill="hold" nodeType="withEffect">
                                      <p:stCondLst>
                                        <p:cond delay="500"/>
                                      </p:stCondLst>
                                      <p:childTnLst>
                                        <p:set>
                                          <p:cBhvr>
                                            <p:cTn id="10" dur="1" fill="hold">
                                              <p:stCondLst>
                                                <p:cond delay="0"/>
                                              </p:stCondLst>
                                            </p:cTn>
                                            <p:tgtEl>
                                              <p:spTgt spid="44"/>
                                            </p:tgtEl>
                                            <p:attrNameLst>
                                              <p:attrName>style.visibility</p:attrName>
                                            </p:attrNameLst>
                                          </p:cBhvr>
                                          <p:to>
                                            <p:strVal val="visible"/>
                                          </p:to>
                                        </p:set>
                                        <p:animEffect transition="in" filter="fade">
                                          <p:cBhvr>
                                            <p:cTn id="11" dur="500"/>
                                            <p:tgtEl>
                                              <p:spTgt spid="44"/>
                                            </p:tgtEl>
                                          </p:cBhvr>
                                        </p:animEffect>
                                      </p:childTnLst>
                                    </p:cTn>
                                  </p:par>
                                  <p:par>
                                    <p:cTn id="12" presetID="64" presetClass="path" presetSubtype="0" fill="hold" nodeType="withEffect">
                                      <p:stCondLst>
                                        <p:cond delay="500"/>
                                      </p:stCondLst>
                                      <p:childTnLst>
                                        <p:animMotion origin="layout" path="M -4.58333E-6 0.26644 L -4.58333E-6 -2.22222E-6 " pathEditMode="relative" rAng="0" ptsTypes="AA">
                                          <p:cBhvr>
                                            <p:cTn id="13" dur="1000" fill="hold"/>
                                            <p:tgtEl>
                                              <p:spTgt spid="44"/>
                                            </p:tgtEl>
                                            <p:attrNameLst>
                                              <p:attrName>ppt_x</p:attrName>
                                              <p:attrName>ppt_y</p:attrName>
                                            </p:attrNameLst>
                                          </p:cBhvr>
                                          <p:rCtr x="0" y="-13333"/>
                                        </p:animMotion>
                                      </p:childTnLst>
                                    </p:cTn>
                                  </p:par>
                                  <p:par>
                                    <p:cTn id="14" presetID="10" presetClass="entr" presetSubtype="0" fill="hold" nodeType="withEffect">
                                      <p:stCondLst>
                                        <p:cond delay="750"/>
                                      </p:stCondLst>
                                      <p:childTnLst>
                                        <p:set>
                                          <p:cBhvr>
                                            <p:cTn id="15" dur="1" fill="hold">
                                              <p:stCondLst>
                                                <p:cond delay="0"/>
                                              </p:stCondLst>
                                            </p:cTn>
                                            <p:tgtEl>
                                              <p:spTgt spid="42"/>
                                            </p:tgtEl>
                                            <p:attrNameLst>
                                              <p:attrName>style.visibility</p:attrName>
                                            </p:attrNameLst>
                                          </p:cBhvr>
                                          <p:to>
                                            <p:strVal val="visible"/>
                                          </p:to>
                                        </p:set>
                                        <p:animEffect transition="in" filter="fade">
                                          <p:cBhvr>
                                            <p:cTn id="16" dur="500"/>
                                            <p:tgtEl>
                                              <p:spTgt spid="42"/>
                                            </p:tgtEl>
                                          </p:cBhvr>
                                        </p:animEffect>
                                      </p:childTnLst>
                                    </p:cTn>
                                  </p:par>
                                  <p:par>
                                    <p:cTn id="17" presetID="64" presetClass="path" presetSubtype="0" fill="hold" nodeType="withEffect">
                                      <p:stCondLst>
                                        <p:cond delay="750"/>
                                      </p:stCondLst>
                                      <p:childTnLst>
                                        <p:animMotion origin="layout" path="M 1.875E-6 0.26644 L 1.875E-6 -1.11111E-6 " pathEditMode="relative" rAng="0" ptsTypes="AA">
                                          <p:cBhvr>
                                            <p:cTn id="18" dur="1000" fill="hold"/>
                                            <p:tgtEl>
                                              <p:spTgt spid="42"/>
                                            </p:tgtEl>
                                            <p:attrNameLst>
                                              <p:attrName>ppt_x</p:attrName>
                                              <p:attrName>ppt_y</p:attrName>
                                            </p:attrNameLst>
                                          </p:cBhvr>
                                          <p:rCtr x="0" y="-13333"/>
                                        </p:animMotion>
                                      </p:childTnLst>
                                    </p:cTn>
                                  </p:par>
                                  <p:par>
                                    <p:cTn id="19" presetID="10" presetClass="entr" presetSubtype="0" fill="hold" nodeType="withEffect">
                                      <p:stCondLst>
                                        <p:cond delay="1000"/>
                                      </p:stCondLst>
                                      <p:childTnLst>
                                        <p:set>
                                          <p:cBhvr>
                                            <p:cTn id="20" dur="1" fill="hold">
                                              <p:stCondLst>
                                                <p:cond delay="0"/>
                                              </p:stCondLst>
                                            </p:cTn>
                                            <p:tgtEl>
                                              <p:spTgt spid="46"/>
                                            </p:tgtEl>
                                            <p:attrNameLst>
                                              <p:attrName>style.visibility</p:attrName>
                                            </p:attrNameLst>
                                          </p:cBhvr>
                                          <p:to>
                                            <p:strVal val="visible"/>
                                          </p:to>
                                        </p:set>
                                        <p:animEffect transition="in" filter="fade">
                                          <p:cBhvr>
                                            <p:cTn id="21" dur="500"/>
                                            <p:tgtEl>
                                              <p:spTgt spid="46"/>
                                            </p:tgtEl>
                                          </p:cBhvr>
                                        </p:animEffect>
                                      </p:childTnLst>
                                    </p:cTn>
                                  </p:par>
                                  <p:par>
                                    <p:cTn id="22" presetID="64" presetClass="path" presetSubtype="0" fill="hold" nodeType="withEffect">
                                      <p:stCondLst>
                                        <p:cond delay="1000"/>
                                      </p:stCondLst>
                                      <p:childTnLst>
                                        <p:animMotion origin="layout" path="M -4.58333E-6 0.26644 L -4.58333E-6 -2.22222E-6 " pathEditMode="relative" rAng="0" ptsTypes="AA">
                                          <p:cBhvr>
                                            <p:cTn id="23" dur="1000" fill="hold"/>
                                            <p:tgtEl>
                                              <p:spTgt spid="46"/>
                                            </p:tgtEl>
                                            <p:attrNameLst>
                                              <p:attrName>ppt_x</p:attrName>
                                              <p:attrName>ppt_y</p:attrName>
                                            </p:attrNameLst>
                                          </p:cBhvr>
                                          <p:rCtr x="0" y="-13333"/>
                                        </p:animMotion>
                                      </p:childTnLst>
                                    </p:cTn>
                                  </p:par>
                                  <p:par>
                                    <p:cTn id="24" presetID="22" presetClass="entr" presetSubtype="1" fill="hold" grpId="0" nodeType="withEffect">
                                      <p:stCondLst>
                                        <p:cond delay="1750"/>
                                      </p:stCondLst>
                                      <p:childTnLst>
                                        <p:set>
                                          <p:cBhvr>
                                            <p:cTn id="25" dur="1" fill="hold">
                                              <p:stCondLst>
                                                <p:cond delay="0"/>
                                              </p:stCondLst>
                                            </p:cTn>
                                            <p:tgtEl>
                                              <p:spTgt spid="53"/>
                                            </p:tgtEl>
                                            <p:attrNameLst>
                                              <p:attrName>style.visibility</p:attrName>
                                            </p:attrNameLst>
                                          </p:cBhvr>
                                          <p:to>
                                            <p:strVal val="visible"/>
                                          </p:to>
                                        </p:set>
                                        <p:animEffect transition="in" filter="wipe(up)">
                                          <p:cBhvr>
                                            <p:cTn id="26" dur="500"/>
                                            <p:tgtEl>
                                              <p:spTgt spid="53"/>
                                            </p:tgtEl>
                                          </p:cBhvr>
                                        </p:animEffect>
                                      </p:childTnLst>
                                    </p:cTn>
                                  </p:par>
                                  <p:par>
                                    <p:cTn id="27" presetID="16" presetClass="entr" presetSubtype="42" fill="hold" nodeType="withEffect">
                                      <p:stCondLst>
                                        <p:cond delay="2000"/>
                                      </p:stCondLst>
                                      <p:childTnLst>
                                        <p:set>
                                          <p:cBhvr>
                                            <p:cTn id="28" dur="1" fill="hold">
                                              <p:stCondLst>
                                                <p:cond delay="0"/>
                                              </p:stCondLst>
                                            </p:cTn>
                                            <p:tgtEl>
                                              <p:spTgt spid="28"/>
                                            </p:tgtEl>
                                            <p:attrNameLst>
                                              <p:attrName>style.visibility</p:attrName>
                                            </p:attrNameLst>
                                          </p:cBhvr>
                                          <p:to>
                                            <p:strVal val="visible"/>
                                          </p:to>
                                        </p:set>
                                        <p:animEffect transition="in" filter="barn(outHorizontal)">
                                          <p:cBhvr>
                                            <p:cTn id="29" dur="500"/>
                                            <p:tgtEl>
                                              <p:spTgt spid="28"/>
                                            </p:tgtEl>
                                          </p:cBhvr>
                                        </p:animEffect>
                                      </p:childTnLst>
                                    </p:cTn>
                                  </p:par>
                                  <p:par>
                                    <p:cTn id="30" presetID="10" presetClass="entr" presetSubtype="0" fill="hold" grpId="0" nodeType="withEffect">
                                      <p:stCondLst>
                                        <p:cond delay="200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2" presetClass="entr" presetSubtype="2" decel="100000" fill="hold" nodeType="withEffect">
                                      <p:stCondLst>
                                        <p:cond delay="2250"/>
                                      </p:stCondLst>
                                      <p:childTnLst>
                                        <p:set>
                                          <p:cBhvr>
                                            <p:cTn id="34" dur="1" fill="hold">
                                              <p:stCondLst>
                                                <p:cond delay="0"/>
                                              </p:stCondLst>
                                            </p:cTn>
                                            <p:tgtEl>
                                              <p:spTgt spid="55"/>
                                            </p:tgtEl>
                                            <p:attrNameLst>
                                              <p:attrName>style.visibility</p:attrName>
                                            </p:attrNameLst>
                                          </p:cBhvr>
                                          <p:to>
                                            <p:strVal val="visible"/>
                                          </p:to>
                                        </p:set>
                                        <p:anim calcmode="lin" valueType="num">
                                          <p:cBhvr additive="base">
                                            <p:cTn id="35" dur="750" fill="hold"/>
                                            <p:tgtEl>
                                              <p:spTgt spid="55"/>
                                            </p:tgtEl>
                                            <p:attrNameLst>
                                              <p:attrName>ppt_x</p:attrName>
                                            </p:attrNameLst>
                                          </p:cBhvr>
                                          <p:tavLst>
                                            <p:tav tm="0">
                                              <p:val>
                                                <p:strVal val="1+#ppt_w/2"/>
                                              </p:val>
                                            </p:tav>
                                            <p:tav tm="100000">
                                              <p:val>
                                                <p:strVal val="#ppt_x"/>
                                              </p:val>
                                            </p:tav>
                                          </p:tavLst>
                                        </p:anim>
                                        <p:anim calcmode="lin" valueType="num">
                                          <p:cBhvr additive="base">
                                            <p:cTn id="36" dur="750" fill="hold"/>
                                            <p:tgtEl>
                                              <p:spTgt spid="55"/>
                                            </p:tgtEl>
                                            <p:attrNameLst>
                                              <p:attrName>ppt_y</p:attrName>
                                            </p:attrNameLst>
                                          </p:cBhvr>
                                          <p:tavLst>
                                            <p:tav tm="0">
                                              <p:val>
                                                <p:strVal val="#ppt_y"/>
                                              </p:val>
                                            </p:tav>
                                            <p:tav tm="100000">
                                              <p:val>
                                                <p:strVal val="#ppt_y"/>
                                              </p:val>
                                            </p:tav>
                                          </p:tavLst>
                                        </p:anim>
                                      </p:childTnLst>
                                    </p:cTn>
                                  </p:par>
                                  <p:par>
                                    <p:cTn id="37" presetID="22" presetClass="entr" presetSubtype="8" fill="hold" grpId="0" nodeType="withEffect">
                                      <p:stCondLst>
                                        <p:cond delay="2250"/>
                                      </p:stCondLst>
                                      <p:childTnLst>
                                        <p:set>
                                          <p:cBhvr>
                                            <p:cTn id="38" dur="1" fill="hold">
                                              <p:stCondLst>
                                                <p:cond delay="0"/>
                                              </p:stCondLst>
                                            </p:cTn>
                                            <p:tgtEl>
                                              <p:spTgt spid="57"/>
                                            </p:tgtEl>
                                            <p:attrNameLst>
                                              <p:attrName>style.visibility</p:attrName>
                                            </p:attrNameLst>
                                          </p:cBhvr>
                                          <p:to>
                                            <p:strVal val="visible"/>
                                          </p:to>
                                        </p:set>
                                        <p:animEffect transition="in" filter="wipe(left)">
                                          <p:cBhvr>
                                            <p:cTn id="39" dur="750"/>
                                            <p:tgtEl>
                                              <p:spTgt spid="57"/>
                                            </p:tgtEl>
                                          </p:cBhvr>
                                        </p:animEffect>
                                      </p:childTnLst>
                                    </p:cTn>
                                  </p:par>
                                  <p:par>
                                    <p:cTn id="40" presetID="22" presetClass="entr" presetSubtype="2" fill="hold" nodeType="withEffect">
                                      <p:stCondLst>
                                        <p:cond delay="2250"/>
                                      </p:stCondLst>
                                      <p:childTnLst>
                                        <p:set>
                                          <p:cBhvr>
                                            <p:cTn id="41" dur="1" fill="hold">
                                              <p:stCondLst>
                                                <p:cond delay="0"/>
                                              </p:stCondLst>
                                            </p:cTn>
                                            <p:tgtEl>
                                              <p:spTgt spid="6"/>
                                            </p:tgtEl>
                                            <p:attrNameLst>
                                              <p:attrName>style.visibility</p:attrName>
                                            </p:attrNameLst>
                                          </p:cBhvr>
                                          <p:to>
                                            <p:strVal val="visible"/>
                                          </p:to>
                                        </p:set>
                                        <p:animEffect transition="in" filter="wipe(right)">
                                          <p:cBhvr>
                                            <p:cTn id="42" dur="750"/>
                                            <p:tgtEl>
                                              <p:spTgt spid="6"/>
                                            </p:tgtEl>
                                          </p:cBhvr>
                                        </p:animEffect>
                                      </p:childTnLst>
                                    </p:cTn>
                                  </p:par>
                                  <p:par>
                                    <p:cTn id="43" presetID="22" presetClass="entr" presetSubtype="1" fill="hold" nodeType="withEffect">
                                      <p:stCondLst>
                                        <p:cond delay="2500"/>
                                      </p:stCondLst>
                                      <p:childTnLst>
                                        <p:set>
                                          <p:cBhvr>
                                            <p:cTn id="44" dur="1" fill="hold">
                                              <p:stCondLst>
                                                <p:cond delay="0"/>
                                              </p:stCondLst>
                                            </p:cTn>
                                            <p:tgtEl>
                                              <p:spTgt spid="52"/>
                                            </p:tgtEl>
                                            <p:attrNameLst>
                                              <p:attrName>style.visibility</p:attrName>
                                            </p:attrNameLst>
                                          </p:cBhvr>
                                          <p:to>
                                            <p:strVal val="visible"/>
                                          </p:to>
                                        </p:set>
                                        <p:animEffect transition="in" filter="wipe(up)">
                                          <p:cBhvr>
                                            <p:cTn id="45" dur="75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57" grpId="0"/>
          <p:bldP spid="53" grpId="0" animBg="1"/>
          <p:bldP spid="26" grpId="0"/>
        </p:bldLst>
      </p:timing>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1">
            <a:extLst>
              <a:ext uri="{FF2B5EF4-FFF2-40B4-BE49-F238E27FC236}">
                <a16:creationId xmlns="" xmlns:a16="http://schemas.microsoft.com/office/drawing/2014/main" id="{C3DE0493-C96D-491F-97E2-9AC13BD73BF1}"/>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1345612" y="6490506"/>
            <a:ext cx="720740" cy="276876"/>
          </a:xfrm>
          <a:prstGeom prst="rect">
            <a:avLst/>
          </a:prstGeom>
        </p:spPr>
      </p:pic>
      <p:sp>
        <p:nvSpPr>
          <p:cNvPr id="7" name="Oval 6">
            <a:extLst>
              <a:ext uri="{FF2B5EF4-FFF2-40B4-BE49-F238E27FC236}">
                <a16:creationId xmlns="" xmlns:a16="http://schemas.microsoft.com/office/drawing/2014/main" id="{D8E8A9C7-EC53-40FC-9E26-AE66970E24FF}"/>
              </a:ext>
            </a:extLst>
          </p:cNvPr>
          <p:cNvSpPr/>
          <p:nvPr/>
        </p:nvSpPr>
        <p:spPr>
          <a:xfrm>
            <a:off x="4252686" y="2501406"/>
            <a:ext cx="3686628" cy="3686628"/>
          </a:xfrm>
          <a:prstGeom prst="ellipse">
            <a:avLst/>
          </a:prstGeom>
          <a:noFill/>
          <a:ln w="57150">
            <a:solidFill>
              <a:srgbClr val="E4E5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 xmlns:a16="http://schemas.microsoft.com/office/drawing/2014/main" id="{9623500D-D985-4F16-A39C-B6E5269C67B0}"/>
              </a:ext>
            </a:extLst>
          </p:cNvPr>
          <p:cNvPicPr>
            <a:picLocks noChangeAspect="1"/>
          </p:cNvPicPr>
          <p:nvPr/>
        </p:nvPicPr>
        <p:blipFill rotWithShape="1">
          <a:blip r:embed="rId4">
            <a:extLst>
              <a:ext uri="{28A0092B-C50C-407E-A947-70E740481C1C}">
                <a14:useLocalDpi xmlns:a14="http://schemas.microsoft.com/office/drawing/2010/main" val="0"/>
              </a:ext>
            </a:extLst>
          </a:blip>
          <a:srcRect l="46563" t="16953" r="46250" b="69995"/>
          <a:stretch/>
        </p:blipFill>
        <p:spPr>
          <a:xfrm>
            <a:off x="5676900" y="2077893"/>
            <a:ext cx="876300" cy="895350"/>
          </a:xfrm>
          <a:prstGeom prst="rect">
            <a:avLst/>
          </a:prstGeom>
        </p:spPr>
      </p:pic>
      <p:pic>
        <p:nvPicPr>
          <p:cNvPr id="11" name="Picture 10">
            <a:extLst>
              <a:ext uri="{FF2B5EF4-FFF2-40B4-BE49-F238E27FC236}">
                <a16:creationId xmlns="" xmlns:a16="http://schemas.microsoft.com/office/drawing/2014/main" id="{E490222A-1E01-4AA2-99E1-A17BDA125312}"/>
              </a:ext>
            </a:extLst>
          </p:cNvPr>
          <p:cNvPicPr>
            <a:picLocks noChangeAspect="1"/>
          </p:cNvPicPr>
          <p:nvPr/>
        </p:nvPicPr>
        <p:blipFill rotWithShape="1">
          <a:blip r:embed="rId4">
            <a:extLst>
              <a:ext uri="{28A0092B-C50C-407E-A947-70E740481C1C}">
                <a14:useLocalDpi xmlns:a14="http://schemas.microsoft.com/office/drawing/2010/main" val="0"/>
              </a:ext>
            </a:extLst>
          </a:blip>
          <a:srcRect l="55547" t="22785" r="37109" b="64579"/>
          <a:stretch/>
        </p:blipFill>
        <p:spPr>
          <a:xfrm>
            <a:off x="6772275" y="2486285"/>
            <a:ext cx="895350" cy="866775"/>
          </a:xfrm>
          <a:prstGeom prst="rect">
            <a:avLst/>
          </a:prstGeom>
        </p:spPr>
      </p:pic>
      <p:pic>
        <p:nvPicPr>
          <p:cNvPr id="13" name="Picture 12">
            <a:extLst>
              <a:ext uri="{FF2B5EF4-FFF2-40B4-BE49-F238E27FC236}">
                <a16:creationId xmlns="" xmlns:a16="http://schemas.microsoft.com/office/drawing/2014/main" id="{BF1F35EF-BB64-40A0-A461-C4B03695A04F}"/>
              </a:ext>
            </a:extLst>
          </p:cNvPr>
          <p:cNvPicPr>
            <a:picLocks noChangeAspect="1"/>
          </p:cNvPicPr>
          <p:nvPr/>
        </p:nvPicPr>
        <p:blipFill rotWithShape="1">
          <a:blip r:embed="rId4">
            <a:extLst>
              <a:ext uri="{28A0092B-C50C-407E-A947-70E740481C1C}">
                <a14:useLocalDpi xmlns:a14="http://schemas.microsoft.com/office/drawing/2010/main" val="0"/>
              </a:ext>
            </a:extLst>
          </a:blip>
          <a:srcRect l="61250" t="37503" r="31641" b="49583"/>
          <a:stretch/>
        </p:blipFill>
        <p:spPr>
          <a:xfrm>
            <a:off x="7467600" y="3488740"/>
            <a:ext cx="866775" cy="885825"/>
          </a:xfrm>
          <a:prstGeom prst="rect">
            <a:avLst/>
          </a:prstGeom>
        </p:spPr>
      </p:pic>
      <p:pic>
        <p:nvPicPr>
          <p:cNvPr id="15" name="Picture 14">
            <a:extLst>
              <a:ext uri="{FF2B5EF4-FFF2-40B4-BE49-F238E27FC236}">
                <a16:creationId xmlns="" xmlns:a16="http://schemas.microsoft.com/office/drawing/2014/main" id="{8CAD2568-2B2D-46C7-A8E4-056C949F7C69}"/>
              </a:ext>
            </a:extLst>
          </p:cNvPr>
          <p:cNvPicPr>
            <a:picLocks noChangeAspect="1"/>
          </p:cNvPicPr>
          <p:nvPr/>
        </p:nvPicPr>
        <p:blipFill rotWithShape="1">
          <a:blip r:embed="rId4">
            <a:extLst>
              <a:ext uri="{28A0092B-C50C-407E-A947-70E740481C1C}">
                <a14:useLocalDpi xmlns:a14="http://schemas.microsoft.com/office/drawing/2010/main" val="0"/>
              </a:ext>
            </a:extLst>
          </a:blip>
          <a:srcRect l="60937" t="54443" r="31876" b="33199"/>
          <a:stretch/>
        </p:blipFill>
        <p:spPr>
          <a:xfrm>
            <a:off x="7429499" y="4650840"/>
            <a:ext cx="876301" cy="847725"/>
          </a:xfrm>
          <a:prstGeom prst="rect">
            <a:avLst/>
          </a:prstGeom>
        </p:spPr>
      </p:pic>
      <p:pic>
        <p:nvPicPr>
          <p:cNvPr id="17" name="Picture 16">
            <a:extLst>
              <a:ext uri="{FF2B5EF4-FFF2-40B4-BE49-F238E27FC236}">
                <a16:creationId xmlns="" xmlns:a16="http://schemas.microsoft.com/office/drawing/2014/main" id="{FAED334D-7CAB-4B05-9F93-737D6BC08A38}"/>
              </a:ext>
            </a:extLst>
          </p:cNvPr>
          <p:cNvPicPr>
            <a:picLocks noChangeAspect="1"/>
          </p:cNvPicPr>
          <p:nvPr/>
        </p:nvPicPr>
        <p:blipFill rotWithShape="1">
          <a:blip r:embed="rId4">
            <a:extLst>
              <a:ext uri="{28A0092B-C50C-407E-A947-70E740481C1C}">
                <a14:useLocalDpi xmlns:a14="http://schemas.microsoft.com/office/drawing/2010/main" val="0"/>
              </a:ext>
            </a:extLst>
          </a:blip>
          <a:srcRect l="52265" t="67635" r="40469" b="19591"/>
          <a:stretch/>
        </p:blipFill>
        <p:spPr>
          <a:xfrm>
            <a:off x="6372225" y="5551143"/>
            <a:ext cx="885825" cy="876300"/>
          </a:xfrm>
          <a:prstGeom prst="rect">
            <a:avLst/>
          </a:prstGeom>
        </p:spPr>
      </p:pic>
      <p:pic>
        <p:nvPicPr>
          <p:cNvPr id="19" name="Picture 18">
            <a:extLst>
              <a:ext uri="{FF2B5EF4-FFF2-40B4-BE49-F238E27FC236}">
                <a16:creationId xmlns="" xmlns:a16="http://schemas.microsoft.com/office/drawing/2014/main" id="{E9F0CBDB-5EC5-4E57-9F3A-29AB3FE8F823}"/>
              </a:ext>
            </a:extLst>
          </p:cNvPr>
          <p:cNvPicPr>
            <a:picLocks noChangeAspect="1"/>
          </p:cNvPicPr>
          <p:nvPr/>
        </p:nvPicPr>
        <p:blipFill rotWithShape="1">
          <a:blip r:embed="rId4">
            <a:extLst>
              <a:ext uri="{28A0092B-C50C-407E-A947-70E740481C1C}">
                <a14:useLocalDpi xmlns:a14="http://schemas.microsoft.com/office/drawing/2010/main" val="0"/>
              </a:ext>
            </a:extLst>
          </a:blip>
          <a:srcRect l="39922" t="67496" r="52813" b="19591"/>
          <a:stretch/>
        </p:blipFill>
        <p:spPr>
          <a:xfrm>
            <a:off x="4867275" y="5541617"/>
            <a:ext cx="885825" cy="885825"/>
          </a:xfrm>
          <a:prstGeom prst="rect">
            <a:avLst/>
          </a:prstGeom>
        </p:spPr>
      </p:pic>
      <p:pic>
        <p:nvPicPr>
          <p:cNvPr id="21" name="Picture 20">
            <a:extLst>
              <a:ext uri="{FF2B5EF4-FFF2-40B4-BE49-F238E27FC236}">
                <a16:creationId xmlns="" xmlns:a16="http://schemas.microsoft.com/office/drawing/2014/main" id="{7CE089F2-3921-40C4-A3F2-67DE6152271A}"/>
              </a:ext>
            </a:extLst>
          </p:cNvPr>
          <p:cNvPicPr>
            <a:picLocks noChangeAspect="1"/>
          </p:cNvPicPr>
          <p:nvPr/>
        </p:nvPicPr>
        <p:blipFill rotWithShape="1">
          <a:blip r:embed="rId4">
            <a:extLst>
              <a:ext uri="{28A0092B-C50C-407E-A947-70E740481C1C}">
                <a14:useLocalDpi xmlns:a14="http://schemas.microsoft.com/office/drawing/2010/main" val="0"/>
              </a:ext>
            </a:extLst>
          </a:blip>
          <a:srcRect l="32500" t="54165" r="60312" b="33338"/>
          <a:stretch/>
        </p:blipFill>
        <p:spPr>
          <a:xfrm>
            <a:off x="3962399" y="4631790"/>
            <a:ext cx="876301" cy="857250"/>
          </a:xfrm>
          <a:prstGeom prst="rect">
            <a:avLst/>
          </a:prstGeom>
        </p:spPr>
      </p:pic>
      <p:pic>
        <p:nvPicPr>
          <p:cNvPr id="25" name="Picture 24">
            <a:extLst>
              <a:ext uri="{FF2B5EF4-FFF2-40B4-BE49-F238E27FC236}">
                <a16:creationId xmlns="" xmlns:a16="http://schemas.microsoft.com/office/drawing/2014/main" id="{3A674E34-D8B2-4DCA-9D61-AFCD5532FCC4}"/>
              </a:ext>
            </a:extLst>
          </p:cNvPr>
          <p:cNvPicPr>
            <a:picLocks noChangeAspect="1"/>
          </p:cNvPicPr>
          <p:nvPr/>
        </p:nvPicPr>
        <p:blipFill rotWithShape="1">
          <a:blip r:embed="rId4">
            <a:extLst>
              <a:ext uri="{28A0092B-C50C-407E-A947-70E740481C1C}">
                <a14:useLocalDpi xmlns:a14="http://schemas.microsoft.com/office/drawing/2010/main" val="0"/>
              </a:ext>
            </a:extLst>
          </a:blip>
          <a:srcRect l="31797" t="37642" r="60625" b="49445"/>
          <a:stretch/>
        </p:blipFill>
        <p:spPr>
          <a:xfrm>
            <a:off x="3876675" y="3498265"/>
            <a:ext cx="923925" cy="885825"/>
          </a:xfrm>
          <a:prstGeom prst="rect">
            <a:avLst/>
          </a:prstGeom>
        </p:spPr>
      </p:pic>
      <p:pic>
        <p:nvPicPr>
          <p:cNvPr id="27" name="Picture 26">
            <a:extLst>
              <a:ext uri="{FF2B5EF4-FFF2-40B4-BE49-F238E27FC236}">
                <a16:creationId xmlns="" xmlns:a16="http://schemas.microsoft.com/office/drawing/2014/main" id="{F289E9EA-1592-48A3-B71E-A05862B88ECF}"/>
              </a:ext>
            </a:extLst>
          </p:cNvPr>
          <p:cNvPicPr>
            <a:picLocks noChangeAspect="1"/>
          </p:cNvPicPr>
          <p:nvPr/>
        </p:nvPicPr>
        <p:blipFill rotWithShape="1">
          <a:blip r:embed="rId4">
            <a:extLst>
              <a:ext uri="{28A0092B-C50C-407E-A947-70E740481C1C}">
                <a14:useLocalDpi xmlns:a14="http://schemas.microsoft.com/office/drawing/2010/main" val="0"/>
              </a:ext>
            </a:extLst>
          </a:blip>
          <a:srcRect l="37109" t="22507" r="55547" b="64441"/>
          <a:stretch/>
        </p:blipFill>
        <p:spPr>
          <a:xfrm>
            <a:off x="4524375" y="2467235"/>
            <a:ext cx="895350" cy="895350"/>
          </a:xfrm>
          <a:prstGeom prst="rect">
            <a:avLst/>
          </a:prstGeom>
        </p:spPr>
      </p:pic>
      <p:sp>
        <p:nvSpPr>
          <p:cNvPr id="28" name="TextBox 50">
            <a:extLst>
              <a:ext uri="{FF2B5EF4-FFF2-40B4-BE49-F238E27FC236}">
                <a16:creationId xmlns="" xmlns:a16="http://schemas.microsoft.com/office/drawing/2014/main" id="{7EA88391-A28A-4E30-9863-DAD3B1B1C79D}"/>
              </a:ext>
            </a:extLst>
          </p:cNvPr>
          <p:cNvSpPr txBox="1"/>
          <p:nvPr/>
        </p:nvSpPr>
        <p:spPr>
          <a:xfrm>
            <a:off x="4972228" y="4181458"/>
            <a:ext cx="2305602" cy="563231"/>
          </a:xfrm>
          <a:prstGeom prst="rect">
            <a:avLst/>
          </a:prstGeom>
          <a:noFill/>
          <a:ln>
            <a:noFill/>
          </a:ln>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pt-PT" sz="18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Vascular Access</a:t>
            </a:r>
            <a:br>
              <a:rPr kumimoji="0" lang="pt-PT" sz="18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pt-PT" sz="18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Management</a:t>
            </a:r>
          </a:p>
        </p:txBody>
      </p:sp>
      <p:sp>
        <p:nvSpPr>
          <p:cNvPr id="29" name="TextBox 50">
            <a:extLst>
              <a:ext uri="{FF2B5EF4-FFF2-40B4-BE49-F238E27FC236}">
                <a16:creationId xmlns="" xmlns:a16="http://schemas.microsoft.com/office/drawing/2014/main" id="{564FAEF1-0B9E-49EA-8C0A-477E453A72F9}"/>
              </a:ext>
            </a:extLst>
          </p:cNvPr>
          <p:cNvSpPr txBox="1"/>
          <p:nvPr/>
        </p:nvSpPr>
        <p:spPr>
          <a:xfrm>
            <a:off x="4861013" y="1668685"/>
            <a:ext cx="2488114" cy="458587"/>
          </a:xfrm>
          <a:prstGeom prst="rect">
            <a:avLst/>
          </a:prstGeom>
          <a:noFill/>
          <a:ln>
            <a:noFill/>
          </a:ln>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pt-PT"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Evidence based practice &amp; continuing education</a:t>
            </a:r>
            <a:endParaRPr kumimoji="0" lang="pt-PT" sz="1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0" name="TextBox 50">
            <a:extLst>
              <a:ext uri="{FF2B5EF4-FFF2-40B4-BE49-F238E27FC236}">
                <a16:creationId xmlns="" xmlns:a16="http://schemas.microsoft.com/office/drawing/2014/main" id="{F962FA0B-9A20-4B27-8980-D792DFF1C87D}"/>
              </a:ext>
            </a:extLst>
          </p:cNvPr>
          <p:cNvSpPr txBox="1"/>
          <p:nvPr/>
        </p:nvSpPr>
        <p:spPr>
          <a:xfrm>
            <a:off x="7718959" y="2682140"/>
            <a:ext cx="2166257" cy="458587"/>
          </a:xfrm>
          <a:prstGeom prst="rect">
            <a:avLst/>
          </a:prstGeom>
          <a:noFill/>
          <a:ln>
            <a:noFill/>
          </a:ln>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pt-PT"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Infection prevention &amp; skin antisepsis</a:t>
            </a:r>
            <a:endParaRPr kumimoji="0" lang="pt-PT" sz="1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1" name="TextBox 50">
            <a:extLst>
              <a:ext uri="{FF2B5EF4-FFF2-40B4-BE49-F238E27FC236}">
                <a16:creationId xmlns="" xmlns:a16="http://schemas.microsoft.com/office/drawing/2014/main" id="{395AD903-6934-419E-A28B-6E2542C04D67}"/>
              </a:ext>
            </a:extLst>
          </p:cNvPr>
          <p:cNvSpPr txBox="1"/>
          <p:nvPr/>
        </p:nvSpPr>
        <p:spPr>
          <a:xfrm>
            <a:off x="8409378" y="3719911"/>
            <a:ext cx="1495537" cy="458587"/>
          </a:xfrm>
          <a:prstGeom prst="rect">
            <a:avLst/>
          </a:prstGeom>
          <a:noFill/>
          <a:ln>
            <a:noFill/>
          </a:ln>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pt-PT"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Insertion skill &amp; success</a:t>
            </a:r>
            <a:endParaRPr kumimoji="0" lang="pt-PT" sz="1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3" name="TextBox 50">
            <a:extLst>
              <a:ext uri="{FF2B5EF4-FFF2-40B4-BE49-F238E27FC236}">
                <a16:creationId xmlns="" xmlns:a16="http://schemas.microsoft.com/office/drawing/2014/main" id="{2F60DAE2-BAA2-4E33-B273-B1D1B088D3E1}"/>
              </a:ext>
            </a:extLst>
          </p:cNvPr>
          <p:cNvSpPr txBox="1"/>
          <p:nvPr/>
        </p:nvSpPr>
        <p:spPr>
          <a:xfrm>
            <a:off x="8409378" y="4741989"/>
            <a:ext cx="1495537" cy="641714"/>
          </a:xfrm>
          <a:prstGeom prst="rect">
            <a:avLst/>
          </a:prstGeom>
          <a:noFill/>
          <a:ln>
            <a:noFill/>
          </a:ln>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pt-PT"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Selecting the right vascular access device</a:t>
            </a:r>
            <a:endParaRPr kumimoji="0" lang="pt-PT" sz="1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4" name="TextBox 50">
            <a:extLst>
              <a:ext uri="{FF2B5EF4-FFF2-40B4-BE49-F238E27FC236}">
                <a16:creationId xmlns="" xmlns:a16="http://schemas.microsoft.com/office/drawing/2014/main" id="{E2990C01-33F0-4861-ADC0-799D8B757578}"/>
              </a:ext>
            </a:extLst>
          </p:cNvPr>
          <p:cNvSpPr txBox="1"/>
          <p:nvPr/>
        </p:nvSpPr>
        <p:spPr>
          <a:xfrm>
            <a:off x="7286502" y="5959331"/>
            <a:ext cx="1498600" cy="458587"/>
          </a:xfrm>
          <a:prstGeom prst="rect">
            <a:avLst/>
          </a:prstGeom>
          <a:noFill/>
          <a:ln>
            <a:noFill/>
          </a:ln>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pt-PT"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Securement</a:t>
            </a:r>
            <a:br>
              <a:rPr kumimoji="0" lang="pt-PT"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pt-PT"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amp; stabilisation</a:t>
            </a:r>
            <a:endParaRPr kumimoji="0" lang="pt-PT" sz="1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5" name="TextBox 50">
            <a:extLst>
              <a:ext uri="{FF2B5EF4-FFF2-40B4-BE49-F238E27FC236}">
                <a16:creationId xmlns="" xmlns:a16="http://schemas.microsoft.com/office/drawing/2014/main" id="{62D34B74-C51C-46CB-AA2B-085DFE255532}"/>
              </a:ext>
            </a:extLst>
          </p:cNvPr>
          <p:cNvSpPr txBox="1"/>
          <p:nvPr/>
        </p:nvSpPr>
        <p:spPr>
          <a:xfrm>
            <a:off x="2353129" y="2589184"/>
            <a:ext cx="2166257" cy="641714"/>
          </a:xfrm>
          <a:prstGeom prst="rect">
            <a:avLst/>
          </a:prstGeom>
          <a:noFill/>
          <a:ln>
            <a:noFill/>
          </a:ln>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pt-PT"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Compliance to guidelines, audit &amp; practice reviews</a:t>
            </a:r>
            <a:endParaRPr kumimoji="0" lang="pt-PT" sz="1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6" name="TextBox 50">
            <a:extLst>
              <a:ext uri="{FF2B5EF4-FFF2-40B4-BE49-F238E27FC236}">
                <a16:creationId xmlns="" xmlns:a16="http://schemas.microsoft.com/office/drawing/2014/main" id="{C5BCAF9B-498F-4975-9423-D28A119195FA}"/>
              </a:ext>
            </a:extLst>
          </p:cNvPr>
          <p:cNvSpPr txBox="1"/>
          <p:nvPr/>
        </p:nvSpPr>
        <p:spPr>
          <a:xfrm>
            <a:off x="2211617" y="3719911"/>
            <a:ext cx="1692398" cy="458587"/>
          </a:xfrm>
          <a:prstGeom prst="rect">
            <a:avLst/>
          </a:prstGeom>
          <a:noFill/>
          <a:ln>
            <a:noFill/>
          </a:ln>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pt-PT"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Intended indwell time for therapy</a:t>
            </a:r>
            <a:endParaRPr kumimoji="0" lang="pt-PT" sz="1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7" name="TextBox 50">
            <a:extLst>
              <a:ext uri="{FF2B5EF4-FFF2-40B4-BE49-F238E27FC236}">
                <a16:creationId xmlns="" xmlns:a16="http://schemas.microsoft.com/office/drawing/2014/main" id="{D438B4F1-EE6D-4B03-9118-06D1DC7EA421}"/>
              </a:ext>
            </a:extLst>
          </p:cNvPr>
          <p:cNvSpPr txBox="1"/>
          <p:nvPr/>
        </p:nvSpPr>
        <p:spPr>
          <a:xfrm>
            <a:off x="2353129" y="4650426"/>
            <a:ext cx="1550886" cy="824841"/>
          </a:xfrm>
          <a:prstGeom prst="rect">
            <a:avLst/>
          </a:prstGeom>
          <a:noFill/>
          <a:ln>
            <a:noFill/>
          </a:ln>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pt-PT"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Care &amp; maintenance: patency pre-filled flush</a:t>
            </a:r>
          </a:p>
        </p:txBody>
      </p:sp>
      <p:sp>
        <p:nvSpPr>
          <p:cNvPr id="38" name="TextBox 50">
            <a:extLst>
              <a:ext uri="{FF2B5EF4-FFF2-40B4-BE49-F238E27FC236}">
                <a16:creationId xmlns="" xmlns:a16="http://schemas.microsoft.com/office/drawing/2014/main" id="{7E493E8B-881B-4774-B97F-20F847FDC6FF}"/>
              </a:ext>
            </a:extLst>
          </p:cNvPr>
          <p:cNvSpPr txBox="1"/>
          <p:nvPr/>
        </p:nvSpPr>
        <p:spPr>
          <a:xfrm>
            <a:off x="2743200" y="5959331"/>
            <a:ext cx="2090056" cy="458587"/>
          </a:xfrm>
          <a:prstGeom prst="rect">
            <a:avLst/>
          </a:prstGeom>
          <a:noFill/>
          <a:ln>
            <a:noFill/>
          </a:ln>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pt-PT"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Needle-free connector utilisation</a:t>
            </a:r>
            <a:endParaRPr kumimoji="0" lang="pt-PT" sz="1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39" name="Straight Connector 38">
            <a:extLst>
              <a:ext uri="{FF2B5EF4-FFF2-40B4-BE49-F238E27FC236}">
                <a16:creationId xmlns="" xmlns:a16="http://schemas.microsoft.com/office/drawing/2014/main" id="{072CC765-5650-4092-BD75-C1D24486A5D3}"/>
              </a:ext>
            </a:extLst>
          </p:cNvPr>
          <p:cNvCxnSpPr>
            <a:cxnSpLocks/>
          </p:cNvCxnSpPr>
          <p:nvPr/>
        </p:nvCxnSpPr>
        <p:spPr>
          <a:xfrm>
            <a:off x="5803653" y="4101535"/>
            <a:ext cx="642753" cy="0"/>
          </a:xfrm>
          <a:prstGeom prst="line">
            <a:avLst/>
          </a:prstGeom>
          <a:ln w="57150">
            <a:solidFill>
              <a:srgbClr val="05589C"/>
            </a:solidFill>
          </a:ln>
        </p:spPr>
        <p:style>
          <a:lnRef idx="1">
            <a:schemeClr val="accent1"/>
          </a:lnRef>
          <a:fillRef idx="0">
            <a:schemeClr val="accent1"/>
          </a:fillRef>
          <a:effectRef idx="0">
            <a:schemeClr val="accent1"/>
          </a:effectRef>
          <a:fontRef idx="minor">
            <a:schemeClr val="tx1"/>
          </a:fontRef>
        </p:style>
      </p:cxnSp>
      <p:sp>
        <p:nvSpPr>
          <p:cNvPr id="40" name="TextBox 8">
            <a:extLst>
              <a:ext uri="{FF2B5EF4-FFF2-40B4-BE49-F238E27FC236}">
                <a16:creationId xmlns="" xmlns:a16="http://schemas.microsoft.com/office/drawing/2014/main" id="{19F703EF-6B17-4F81-A766-6B58641DBE8D}"/>
              </a:ext>
            </a:extLst>
          </p:cNvPr>
          <p:cNvSpPr txBox="1"/>
          <p:nvPr/>
        </p:nvSpPr>
        <p:spPr>
          <a:xfrm>
            <a:off x="531420" y="279400"/>
            <a:ext cx="11125200" cy="312073"/>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pt-PT" sz="1600" b="0" i="0" u="none" strike="noStrike" kern="1200" cap="none" spc="60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BD OFFERS COMPLETE VASCULAR ACCESS SOLUTIONS </a:t>
            </a:r>
            <a:r>
              <a:rPr lang="pt-PT" sz="1600" spc="600" dirty="0">
                <a:solidFill>
                  <a:srgbClr val="404041"/>
                </a:solidFill>
                <a:latin typeface="Verdana" panose="020B0604030504040204" pitchFamily="34" charset="0"/>
                <a:ea typeface="Verdana" panose="020B0604030504040204" pitchFamily="34" charset="0"/>
                <a:cs typeface="Verdana" panose="020B0604030504040204" pitchFamily="34" charset="0"/>
              </a:rPr>
              <a:t>TO</a:t>
            </a:r>
            <a:endParaRPr kumimoji="0" lang="pt-PT" sz="1600" b="0" i="0" u="none" strike="noStrike" kern="1200" cap="none" spc="60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1" name="TextBox 40">
            <a:extLst>
              <a:ext uri="{FF2B5EF4-FFF2-40B4-BE49-F238E27FC236}">
                <a16:creationId xmlns="" xmlns:a16="http://schemas.microsoft.com/office/drawing/2014/main" id="{522988F6-0FF2-4CDB-8D4E-4382607B6BDE}"/>
              </a:ext>
            </a:extLst>
          </p:cNvPr>
          <p:cNvSpPr txBox="1"/>
          <p:nvPr/>
        </p:nvSpPr>
        <p:spPr>
          <a:xfrm>
            <a:off x="-634746" y="576335"/>
            <a:ext cx="13461492" cy="393185"/>
          </a:xfrm>
          <a:prstGeom prst="rect">
            <a:avLst/>
          </a:prstGeom>
          <a:noFill/>
        </p:spPr>
        <p:txBody>
          <a:bodyPr wrap="square" rtlCol="0">
            <a:spAutoFit/>
            <a:scene3d>
              <a:camera prst="orthographicFront"/>
              <a:lightRig rig="threePt" dir="t"/>
            </a:scene3d>
            <a:sp3d>
              <a:bevelT w="0" h="0" prst="artDeco"/>
            </a:sp3d>
          </a:bodyPr>
          <a:lstStyle/>
          <a:p>
            <a:pPr lvl="0" algn="ctr">
              <a:lnSpc>
                <a:spcPct val="85000"/>
              </a:lnSpc>
              <a:defRPr/>
            </a:pPr>
            <a:r>
              <a:rPr lang="en-US" sz="2300" b="1" dirty="0">
                <a:solidFill>
                  <a:srgbClr val="F26926"/>
                </a:solidFill>
                <a:latin typeface="Verdana" panose="020B0604030504040204" pitchFamily="34" charset="0"/>
                <a:ea typeface="Verdana" panose="020B0604030504040204" pitchFamily="34" charset="0"/>
                <a:cs typeface="Verdana" panose="020B0604030504040204" pitchFamily="34" charset="0"/>
              </a:rPr>
              <a:t>HELP REDUCE COMPLICATIONS ASSOCIATED WITH VASCULAR ACCESS</a:t>
            </a:r>
          </a:p>
        </p:txBody>
      </p:sp>
      <p:cxnSp>
        <p:nvCxnSpPr>
          <p:cNvPr id="42" name="Straight Connector 41">
            <a:extLst>
              <a:ext uri="{FF2B5EF4-FFF2-40B4-BE49-F238E27FC236}">
                <a16:creationId xmlns="" xmlns:a16="http://schemas.microsoft.com/office/drawing/2014/main" id="{E4BFE47A-CE54-42BA-8DE3-8CEEC8938BDA}"/>
              </a:ext>
            </a:extLst>
          </p:cNvPr>
          <p:cNvCxnSpPr>
            <a:cxnSpLocks/>
          </p:cNvCxnSpPr>
          <p:nvPr/>
        </p:nvCxnSpPr>
        <p:spPr>
          <a:xfrm>
            <a:off x="7818585" y="2637270"/>
            <a:ext cx="357632" cy="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 xmlns:a16="http://schemas.microsoft.com/office/drawing/2014/main" id="{AD1200B2-F44A-4235-81C1-12A46CE33FE6}"/>
              </a:ext>
            </a:extLst>
          </p:cNvPr>
          <p:cNvCxnSpPr>
            <a:cxnSpLocks/>
          </p:cNvCxnSpPr>
          <p:nvPr/>
        </p:nvCxnSpPr>
        <p:spPr>
          <a:xfrm>
            <a:off x="8511313" y="3662506"/>
            <a:ext cx="357632" cy="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 xmlns:a16="http://schemas.microsoft.com/office/drawing/2014/main" id="{972BA932-22D2-40AE-9F5B-3E7FA39BD7F0}"/>
              </a:ext>
            </a:extLst>
          </p:cNvPr>
          <p:cNvCxnSpPr>
            <a:cxnSpLocks/>
          </p:cNvCxnSpPr>
          <p:nvPr/>
        </p:nvCxnSpPr>
        <p:spPr>
          <a:xfrm>
            <a:off x="8511313" y="4678506"/>
            <a:ext cx="357632" cy="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 xmlns:a16="http://schemas.microsoft.com/office/drawing/2014/main" id="{E6DF4D51-1431-45EF-AB5E-7F4CF4DAF348}"/>
              </a:ext>
            </a:extLst>
          </p:cNvPr>
          <p:cNvCxnSpPr>
            <a:cxnSpLocks/>
          </p:cNvCxnSpPr>
          <p:nvPr/>
        </p:nvCxnSpPr>
        <p:spPr>
          <a:xfrm>
            <a:off x="7406619" y="5934220"/>
            <a:ext cx="357632" cy="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 xmlns:a16="http://schemas.microsoft.com/office/drawing/2014/main" id="{7E1647A7-AC67-4832-84CA-AB98B76CC8BB}"/>
              </a:ext>
            </a:extLst>
          </p:cNvPr>
          <p:cNvCxnSpPr>
            <a:cxnSpLocks/>
          </p:cNvCxnSpPr>
          <p:nvPr/>
        </p:nvCxnSpPr>
        <p:spPr>
          <a:xfrm>
            <a:off x="4050149" y="2554143"/>
            <a:ext cx="357632" cy="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 xmlns:a16="http://schemas.microsoft.com/office/drawing/2014/main" id="{3A43DB99-1714-42DC-9BA9-40D34EA1BC25}"/>
              </a:ext>
            </a:extLst>
          </p:cNvPr>
          <p:cNvCxnSpPr>
            <a:cxnSpLocks/>
          </p:cNvCxnSpPr>
          <p:nvPr/>
        </p:nvCxnSpPr>
        <p:spPr>
          <a:xfrm>
            <a:off x="3431313" y="3662506"/>
            <a:ext cx="357632" cy="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 xmlns:a16="http://schemas.microsoft.com/office/drawing/2014/main" id="{29B90A28-D522-4539-A666-87C5FE4000E2}"/>
              </a:ext>
            </a:extLst>
          </p:cNvPr>
          <p:cNvCxnSpPr>
            <a:cxnSpLocks/>
          </p:cNvCxnSpPr>
          <p:nvPr/>
        </p:nvCxnSpPr>
        <p:spPr>
          <a:xfrm>
            <a:off x="3431313" y="4613851"/>
            <a:ext cx="357632" cy="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 xmlns:a16="http://schemas.microsoft.com/office/drawing/2014/main" id="{DC1C11FF-97B5-4ED2-B20B-3794FCDCF0FD}"/>
              </a:ext>
            </a:extLst>
          </p:cNvPr>
          <p:cNvCxnSpPr>
            <a:cxnSpLocks/>
          </p:cNvCxnSpPr>
          <p:nvPr/>
        </p:nvCxnSpPr>
        <p:spPr>
          <a:xfrm>
            <a:off x="4359196" y="5934220"/>
            <a:ext cx="357632" cy="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 xmlns:a16="http://schemas.microsoft.com/office/drawing/2014/main" id="{1C01734B-2EC6-4094-A859-F33EE81C26F6}"/>
              </a:ext>
            </a:extLst>
          </p:cNvPr>
          <p:cNvCxnSpPr>
            <a:cxnSpLocks/>
          </p:cNvCxnSpPr>
          <p:nvPr/>
        </p:nvCxnSpPr>
        <p:spPr>
          <a:xfrm>
            <a:off x="5926254" y="1639743"/>
            <a:ext cx="357632" cy="0"/>
          </a:xfrm>
          <a:prstGeom prst="line">
            <a:avLst/>
          </a:prstGeom>
          <a:ln w="57150">
            <a:solidFill>
              <a:srgbClr val="F26926"/>
            </a:solidFill>
          </a:ln>
        </p:spPr>
        <p:style>
          <a:lnRef idx="1">
            <a:schemeClr val="accent1"/>
          </a:lnRef>
          <a:fillRef idx="0">
            <a:schemeClr val="accent1"/>
          </a:fillRef>
          <a:effectRef idx="0">
            <a:schemeClr val="accent1"/>
          </a:effectRef>
          <a:fontRef idx="minor">
            <a:schemeClr val="tx1"/>
          </a:fontRef>
        </p:style>
      </p:cxnSp>
      <p:cxnSp>
        <p:nvCxnSpPr>
          <p:cNvPr id="148" name="Straight Arrow Connector 147">
            <a:extLst>
              <a:ext uri="{FF2B5EF4-FFF2-40B4-BE49-F238E27FC236}">
                <a16:creationId xmlns="" xmlns:a16="http://schemas.microsoft.com/office/drawing/2014/main" id="{BC569D69-95A7-4B7C-95B5-7DF7A1610F3E}"/>
              </a:ext>
            </a:extLst>
          </p:cNvPr>
          <p:cNvCxnSpPr>
            <a:cxnSpLocks/>
          </p:cNvCxnSpPr>
          <p:nvPr/>
        </p:nvCxnSpPr>
        <p:spPr>
          <a:xfrm>
            <a:off x="7912100" y="1639743"/>
            <a:ext cx="3552871" cy="0"/>
          </a:xfrm>
          <a:prstGeom prst="straightConnector1">
            <a:avLst/>
          </a:prstGeom>
          <a:ln>
            <a:solidFill>
              <a:srgbClr val="F2692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50" name="Straight Arrow Connector 149">
            <a:extLst>
              <a:ext uri="{FF2B5EF4-FFF2-40B4-BE49-F238E27FC236}">
                <a16:creationId xmlns="" xmlns:a16="http://schemas.microsoft.com/office/drawing/2014/main" id="{ED58F7FE-15CB-4078-BC0F-7ED9BBA72353}"/>
              </a:ext>
            </a:extLst>
          </p:cNvPr>
          <p:cNvCxnSpPr>
            <a:cxnSpLocks/>
          </p:cNvCxnSpPr>
          <p:nvPr/>
        </p:nvCxnSpPr>
        <p:spPr>
          <a:xfrm>
            <a:off x="778921" y="1639743"/>
            <a:ext cx="3552871" cy="0"/>
          </a:xfrm>
          <a:prstGeom prst="straightConnector1">
            <a:avLst/>
          </a:prstGeom>
          <a:ln>
            <a:solidFill>
              <a:srgbClr val="F26926"/>
            </a:solidFill>
            <a:tailEnd type="triangle"/>
          </a:ln>
          <a:effectLst/>
        </p:spPr>
        <p:style>
          <a:lnRef idx="2">
            <a:schemeClr val="accent1"/>
          </a:lnRef>
          <a:fillRef idx="0">
            <a:schemeClr val="accent1"/>
          </a:fillRef>
          <a:effectRef idx="1">
            <a:schemeClr val="accent1"/>
          </a:effectRef>
          <a:fontRef idx="minor">
            <a:schemeClr val="tx1"/>
          </a:fontRef>
        </p:style>
      </p:cxnSp>
      <p:sp>
        <p:nvSpPr>
          <p:cNvPr id="151" name="TextBox 50">
            <a:extLst>
              <a:ext uri="{FF2B5EF4-FFF2-40B4-BE49-F238E27FC236}">
                <a16:creationId xmlns="" xmlns:a16="http://schemas.microsoft.com/office/drawing/2014/main" id="{605CA5E4-6910-4CE3-BDE9-F4B49A7728A1}"/>
              </a:ext>
            </a:extLst>
          </p:cNvPr>
          <p:cNvSpPr txBox="1"/>
          <p:nvPr/>
        </p:nvSpPr>
        <p:spPr>
          <a:xfrm>
            <a:off x="2365069" y="1327360"/>
            <a:ext cx="1933738" cy="275460"/>
          </a:xfrm>
          <a:prstGeom prst="rect">
            <a:avLst/>
          </a:prstGeom>
          <a:noFill/>
          <a:ln>
            <a:noFill/>
          </a:ln>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From Insertion...</a:t>
            </a:r>
            <a:endParaRPr kumimoji="0" lang="pt-PT" sz="1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2" name="TextBox 50">
            <a:extLst>
              <a:ext uri="{FF2B5EF4-FFF2-40B4-BE49-F238E27FC236}">
                <a16:creationId xmlns="" xmlns:a16="http://schemas.microsoft.com/office/drawing/2014/main" id="{A89DAB4B-A7ED-4F8B-9F76-0B60325024F9}"/>
              </a:ext>
            </a:extLst>
          </p:cNvPr>
          <p:cNvSpPr txBox="1"/>
          <p:nvPr/>
        </p:nvSpPr>
        <p:spPr>
          <a:xfrm>
            <a:off x="7918016" y="1327360"/>
            <a:ext cx="1933738" cy="275460"/>
          </a:xfrm>
          <a:prstGeom prst="rect">
            <a:avLst/>
          </a:prstGeom>
          <a:noFill/>
          <a:ln>
            <a:noFill/>
          </a:ln>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pt-PT" sz="14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To removal...</a:t>
            </a:r>
            <a:endParaRPr kumimoji="0" lang="pt-PT" sz="1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155" name="Grupo 137">
            <a:extLst>
              <a:ext uri="{FF2B5EF4-FFF2-40B4-BE49-F238E27FC236}">
                <a16:creationId xmlns="" xmlns:a16="http://schemas.microsoft.com/office/drawing/2014/main" id="{10501BA1-AE95-4F24-ABA2-572EC3EF6C10}"/>
              </a:ext>
            </a:extLst>
          </p:cNvPr>
          <p:cNvGrpSpPr/>
          <p:nvPr/>
        </p:nvGrpSpPr>
        <p:grpSpPr>
          <a:xfrm>
            <a:off x="8566228" y="4254149"/>
            <a:ext cx="230691" cy="354382"/>
            <a:chOff x="17978437" y="10948198"/>
            <a:chExt cx="373062" cy="573088"/>
          </a:xfrm>
          <a:solidFill>
            <a:srgbClr val="F26926"/>
          </a:solidFill>
        </p:grpSpPr>
        <p:sp>
          <p:nvSpPr>
            <p:cNvPr id="156" name="Freeform 335">
              <a:extLst>
                <a:ext uri="{FF2B5EF4-FFF2-40B4-BE49-F238E27FC236}">
                  <a16:creationId xmlns="" xmlns:a16="http://schemas.microsoft.com/office/drawing/2014/main" id="{99076413-0DB8-4899-9B30-E8D82C2A9EEA}"/>
                </a:ext>
              </a:extLst>
            </p:cNvPr>
            <p:cNvSpPr>
              <a:spLocks noEditPoints="1"/>
            </p:cNvSpPr>
            <p:nvPr/>
          </p:nvSpPr>
          <p:spPr bwMode="auto">
            <a:xfrm>
              <a:off x="17978437" y="11000586"/>
              <a:ext cx="304800" cy="330200"/>
            </a:xfrm>
            <a:custGeom>
              <a:avLst/>
              <a:gdLst>
                <a:gd name="T0" fmla="*/ 15 w 192"/>
                <a:gd name="T1" fmla="*/ 14 h 208"/>
                <a:gd name="T2" fmla="*/ 15 w 192"/>
                <a:gd name="T3" fmla="*/ 194 h 208"/>
                <a:gd name="T4" fmla="*/ 175 w 192"/>
                <a:gd name="T5" fmla="*/ 194 h 208"/>
                <a:gd name="T6" fmla="*/ 175 w 192"/>
                <a:gd name="T7" fmla="*/ 14 h 208"/>
                <a:gd name="T8" fmla="*/ 15 w 192"/>
                <a:gd name="T9" fmla="*/ 14 h 208"/>
                <a:gd name="T10" fmla="*/ 8 w 192"/>
                <a:gd name="T11" fmla="*/ 0 h 208"/>
                <a:gd name="T12" fmla="*/ 183 w 192"/>
                <a:gd name="T13" fmla="*/ 0 h 208"/>
                <a:gd name="T14" fmla="*/ 188 w 192"/>
                <a:gd name="T15" fmla="*/ 2 h 208"/>
                <a:gd name="T16" fmla="*/ 190 w 192"/>
                <a:gd name="T17" fmla="*/ 4 h 208"/>
                <a:gd name="T18" fmla="*/ 192 w 192"/>
                <a:gd name="T19" fmla="*/ 8 h 208"/>
                <a:gd name="T20" fmla="*/ 192 w 192"/>
                <a:gd name="T21" fmla="*/ 202 h 208"/>
                <a:gd name="T22" fmla="*/ 190 w 192"/>
                <a:gd name="T23" fmla="*/ 206 h 208"/>
                <a:gd name="T24" fmla="*/ 188 w 192"/>
                <a:gd name="T25" fmla="*/ 208 h 208"/>
                <a:gd name="T26" fmla="*/ 183 w 192"/>
                <a:gd name="T27" fmla="*/ 208 h 208"/>
                <a:gd name="T28" fmla="*/ 8 w 192"/>
                <a:gd name="T29" fmla="*/ 208 h 208"/>
                <a:gd name="T30" fmla="*/ 4 w 192"/>
                <a:gd name="T31" fmla="*/ 208 h 208"/>
                <a:gd name="T32" fmla="*/ 2 w 192"/>
                <a:gd name="T33" fmla="*/ 206 h 208"/>
                <a:gd name="T34" fmla="*/ 0 w 192"/>
                <a:gd name="T35" fmla="*/ 202 h 208"/>
                <a:gd name="T36" fmla="*/ 0 w 192"/>
                <a:gd name="T37" fmla="*/ 8 h 208"/>
                <a:gd name="T38" fmla="*/ 2 w 192"/>
                <a:gd name="T39" fmla="*/ 4 h 208"/>
                <a:gd name="T40" fmla="*/ 4 w 192"/>
                <a:gd name="T41" fmla="*/ 2 h 208"/>
                <a:gd name="T42" fmla="*/ 8 w 192"/>
                <a:gd name="T43"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2" h="208">
                  <a:moveTo>
                    <a:pt x="15" y="14"/>
                  </a:moveTo>
                  <a:lnTo>
                    <a:pt x="15" y="194"/>
                  </a:lnTo>
                  <a:lnTo>
                    <a:pt x="175" y="194"/>
                  </a:lnTo>
                  <a:lnTo>
                    <a:pt x="175" y="14"/>
                  </a:lnTo>
                  <a:lnTo>
                    <a:pt x="15" y="14"/>
                  </a:lnTo>
                  <a:close/>
                  <a:moveTo>
                    <a:pt x="8" y="0"/>
                  </a:moveTo>
                  <a:lnTo>
                    <a:pt x="183" y="0"/>
                  </a:lnTo>
                  <a:lnTo>
                    <a:pt x="188" y="2"/>
                  </a:lnTo>
                  <a:lnTo>
                    <a:pt x="190" y="4"/>
                  </a:lnTo>
                  <a:lnTo>
                    <a:pt x="192" y="8"/>
                  </a:lnTo>
                  <a:lnTo>
                    <a:pt x="192" y="202"/>
                  </a:lnTo>
                  <a:lnTo>
                    <a:pt x="190" y="206"/>
                  </a:lnTo>
                  <a:lnTo>
                    <a:pt x="188" y="208"/>
                  </a:lnTo>
                  <a:lnTo>
                    <a:pt x="183" y="208"/>
                  </a:lnTo>
                  <a:lnTo>
                    <a:pt x="8" y="208"/>
                  </a:lnTo>
                  <a:lnTo>
                    <a:pt x="4" y="208"/>
                  </a:lnTo>
                  <a:lnTo>
                    <a:pt x="2" y="206"/>
                  </a:lnTo>
                  <a:lnTo>
                    <a:pt x="0" y="202"/>
                  </a:lnTo>
                  <a:lnTo>
                    <a:pt x="0" y="8"/>
                  </a:lnTo>
                  <a:lnTo>
                    <a:pt x="2" y="4"/>
                  </a:lnTo>
                  <a:lnTo>
                    <a:pt x="4" y="2"/>
                  </a:lnTo>
                  <a:lnTo>
                    <a:pt x="8" y="0"/>
                  </a:lnTo>
                  <a:close/>
                </a:path>
              </a:pathLst>
            </a:custGeom>
            <a:grpFill/>
            <a:ln w="1905">
              <a:noFill/>
              <a:prstDash val="solid"/>
              <a:round/>
              <a:headEnd/>
              <a:tailEnd/>
            </a:ln>
          </p:spPr>
          <p:txBody>
            <a:bodyPr vert="horz" wrap="square" lIns="91401" tIns="45701" rIns="91401" bIns="45701" numCol="1" anchor="t" anchorCtr="0" compatLnSpc="1">
              <a:prstTxWarp prst="textNoShape">
                <a:avLst/>
              </a:prstTxWarp>
            </a:bodyPr>
            <a:lstStyle/>
            <a:p>
              <a:pPr marL="0" marR="0" lvl="0" indent="0" algn="l" defTabSz="914034" rtl="0" eaLnBrk="0" fontAlgn="base" latinLnBrk="0" hangingPunct="0">
                <a:lnSpc>
                  <a:spcPct val="100000"/>
                </a:lnSpc>
                <a:spcBef>
                  <a:spcPct val="0"/>
                </a:spcBef>
                <a:spcAft>
                  <a:spcPct val="0"/>
                </a:spcAft>
                <a:buClrTx/>
                <a:buSzTx/>
                <a:buFontTx/>
                <a:buNone/>
                <a:tabLst/>
                <a:defRPr/>
              </a:pPr>
              <a:endParaRPr kumimoji="0" lang="pt-BR" sz="1799"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
          <p:nvSpPr>
            <p:cNvPr id="157" name="Freeform 336">
              <a:extLst>
                <a:ext uri="{FF2B5EF4-FFF2-40B4-BE49-F238E27FC236}">
                  <a16:creationId xmlns="" xmlns:a16="http://schemas.microsoft.com/office/drawing/2014/main" id="{FE65C0E2-78F6-4F75-A472-99DC00B196B1}"/>
                </a:ext>
              </a:extLst>
            </p:cNvPr>
            <p:cNvSpPr>
              <a:spLocks noEditPoints="1"/>
            </p:cNvSpPr>
            <p:nvPr/>
          </p:nvSpPr>
          <p:spPr bwMode="auto">
            <a:xfrm>
              <a:off x="18043524" y="10948198"/>
              <a:ext cx="174625" cy="71438"/>
            </a:xfrm>
            <a:custGeom>
              <a:avLst/>
              <a:gdLst>
                <a:gd name="T0" fmla="*/ 17 w 110"/>
                <a:gd name="T1" fmla="*/ 14 h 45"/>
                <a:gd name="T2" fmla="*/ 17 w 110"/>
                <a:gd name="T3" fmla="*/ 31 h 45"/>
                <a:gd name="T4" fmla="*/ 93 w 110"/>
                <a:gd name="T5" fmla="*/ 31 h 45"/>
                <a:gd name="T6" fmla="*/ 93 w 110"/>
                <a:gd name="T7" fmla="*/ 14 h 45"/>
                <a:gd name="T8" fmla="*/ 17 w 110"/>
                <a:gd name="T9" fmla="*/ 14 h 45"/>
                <a:gd name="T10" fmla="*/ 9 w 110"/>
                <a:gd name="T11" fmla="*/ 0 h 45"/>
                <a:gd name="T12" fmla="*/ 101 w 110"/>
                <a:gd name="T13" fmla="*/ 0 h 45"/>
                <a:gd name="T14" fmla="*/ 105 w 110"/>
                <a:gd name="T15" fmla="*/ 2 h 45"/>
                <a:gd name="T16" fmla="*/ 107 w 110"/>
                <a:gd name="T17" fmla="*/ 4 h 45"/>
                <a:gd name="T18" fmla="*/ 110 w 110"/>
                <a:gd name="T19" fmla="*/ 8 h 45"/>
                <a:gd name="T20" fmla="*/ 110 w 110"/>
                <a:gd name="T21" fmla="*/ 39 h 45"/>
                <a:gd name="T22" fmla="*/ 107 w 110"/>
                <a:gd name="T23" fmla="*/ 41 h 45"/>
                <a:gd name="T24" fmla="*/ 105 w 110"/>
                <a:gd name="T25" fmla="*/ 45 h 45"/>
                <a:gd name="T26" fmla="*/ 101 w 110"/>
                <a:gd name="T27" fmla="*/ 45 h 45"/>
                <a:gd name="T28" fmla="*/ 9 w 110"/>
                <a:gd name="T29" fmla="*/ 45 h 45"/>
                <a:gd name="T30" fmla="*/ 4 w 110"/>
                <a:gd name="T31" fmla="*/ 45 h 45"/>
                <a:gd name="T32" fmla="*/ 2 w 110"/>
                <a:gd name="T33" fmla="*/ 41 h 45"/>
                <a:gd name="T34" fmla="*/ 0 w 110"/>
                <a:gd name="T35" fmla="*/ 39 h 45"/>
                <a:gd name="T36" fmla="*/ 0 w 110"/>
                <a:gd name="T37" fmla="*/ 8 h 45"/>
                <a:gd name="T38" fmla="*/ 2 w 110"/>
                <a:gd name="T39" fmla="*/ 4 h 45"/>
                <a:gd name="T40" fmla="*/ 4 w 110"/>
                <a:gd name="T41" fmla="*/ 2 h 45"/>
                <a:gd name="T42" fmla="*/ 9 w 110"/>
                <a:gd name="T4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45">
                  <a:moveTo>
                    <a:pt x="17" y="14"/>
                  </a:moveTo>
                  <a:lnTo>
                    <a:pt x="17" y="31"/>
                  </a:lnTo>
                  <a:lnTo>
                    <a:pt x="93" y="31"/>
                  </a:lnTo>
                  <a:lnTo>
                    <a:pt x="93" y="14"/>
                  </a:lnTo>
                  <a:lnTo>
                    <a:pt x="17" y="14"/>
                  </a:lnTo>
                  <a:close/>
                  <a:moveTo>
                    <a:pt x="9" y="0"/>
                  </a:moveTo>
                  <a:lnTo>
                    <a:pt x="101" y="0"/>
                  </a:lnTo>
                  <a:lnTo>
                    <a:pt x="105" y="2"/>
                  </a:lnTo>
                  <a:lnTo>
                    <a:pt x="107" y="4"/>
                  </a:lnTo>
                  <a:lnTo>
                    <a:pt x="110" y="8"/>
                  </a:lnTo>
                  <a:lnTo>
                    <a:pt x="110" y="39"/>
                  </a:lnTo>
                  <a:lnTo>
                    <a:pt x="107" y="41"/>
                  </a:lnTo>
                  <a:lnTo>
                    <a:pt x="105" y="45"/>
                  </a:lnTo>
                  <a:lnTo>
                    <a:pt x="101" y="45"/>
                  </a:lnTo>
                  <a:lnTo>
                    <a:pt x="9" y="45"/>
                  </a:lnTo>
                  <a:lnTo>
                    <a:pt x="4" y="45"/>
                  </a:lnTo>
                  <a:lnTo>
                    <a:pt x="2" y="41"/>
                  </a:lnTo>
                  <a:lnTo>
                    <a:pt x="0" y="39"/>
                  </a:lnTo>
                  <a:lnTo>
                    <a:pt x="0" y="8"/>
                  </a:lnTo>
                  <a:lnTo>
                    <a:pt x="2" y="4"/>
                  </a:lnTo>
                  <a:lnTo>
                    <a:pt x="4" y="2"/>
                  </a:lnTo>
                  <a:lnTo>
                    <a:pt x="9" y="0"/>
                  </a:lnTo>
                  <a:close/>
                </a:path>
              </a:pathLst>
            </a:custGeom>
            <a:grpFill/>
            <a:ln w="1905">
              <a:noFill/>
              <a:prstDash val="solid"/>
              <a:round/>
              <a:headEnd/>
              <a:tailEnd/>
            </a:ln>
          </p:spPr>
          <p:txBody>
            <a:bodyPr vert="horz" wrap="square" lIns="91401" tIns="45701" rIns="91401" bIns="45701" numCol="1" anchor="t" anchorCtr="0" compatLnSpc="1">
              <a:prstTxWarp prst="textNoShape">
                <a:avLst/>
              </a:prstTxWarp>
            </a:bodyPr>
            <a:lstStyle/>
            <a:p>
              <a:pPr marL="0" marR="0" lvl="0" indent="0" algn="l" defTabSz="914034" rtl="0" eaLnBrk="0" fontAlgn="base" latinLnBrk="0" hangingPunct="0">
                <a:lnSpc>
                  <a:spcPct val="100000"/>
                </a:lnSpc>
                <a:spcBef>
                  <a:spcPct val="0"/>
                </a:spcBef>
                <a:spcAft>
                  <a:spcPct val="0"/>
                </a:spcAft>
                <a:buClrTx/>
                <a:buSzTx/>
                <a:buFontTx/>
                <a:buNone/>
                <a:tabLst/>
                <a:defRPr/>
              </a:pPr>
              <a:endParaRPr kumimoji="0" lang="pt-BR" sz="1799"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
          <p:nvSpPr>
            <p:cNvPr id="158" name="Freeform 337">
              <a:extLst>
                <a:ext uri="{FF2B5EF4-FFF2-40B4-BE49-F238E27FC236}">
                  <a16:creationId xmlns="" xmlns:a16="http://schemas.microsoft.com/office/drawing/2014/main" id="{43C9215A-2DDD-4CAC-9707-8F2A88884273}"/>
                </a:ext>
              </a:extLst>
            </p:cNvPr>
            <p:cNvSpPr>
              <a:spLocks noEditPoints="1"/>
            </p:cNvSpPr>
            <p:nvPr/>
          </p:nvSpPr>
          <p:spPr bwMode="auto">
            <a:xfrm>
              <a:off x="18070512" y="11308561"/>
              <a:ext cx="120650" cy="71438"/>
            </a:xfrm>
            <a:custGeom>
              <a:avLst/>
              <a:gdLst>
                <a:gd name="T0" fmla="*/ 14 w 76"/>
                <a:gd name="T1" fmla="*/ 14 h 45"/>
                <a:gd name="T2" fmla="*/ 14 w 76"/>
                <a:gd name="T3" fmla="*/ 31 h 45"/>
                <a:gd name="T4" fmla="*/ 62 w 76"/>
                <a:gd name="T5" fmla="*/ 31 h 45"/>
                <a:gd name="T6" fmla="*/ 62 w 76"/>
                <a:gd name="T7" fmla="*/ 14 h 45"/>
                <a:gd name="T8" fmla="*/ 14 w 76"/>
                <a:gd name="T9" fmla="*/ 14 h 45"/>
                <a:gd name="T10" fmla="*/ 6 w 76"/>
                <a:gd name="T11" fmla="*/ 0 h 45"/>
                <a:gd name="T12" fmla="*/ 70 w 76"/>
                <a:gd name="T13" fmla="*/ 0 h 45"/>
                <a:gd name="T14" fmla="*/ 72 w 76"/>
                <a:gd name="T15" fmla="*/ 2 h 45"/>
                <a:gd name="T16" fmla="*/ 76 w 76"/>
                <a:gd name="T17" fmla="*/ 4 h 45"/>
                <a:gd name="T18" fmla="*/ 76 w 76"/>
                <a:gd name="T19" fmla="*/ 8 h 45"/>
                <a:gd name="T20" fmla="*/ 76 w 76"/>
                <a:gd name="T21" fmla="*/ 39 h 45"/>
                <a:gd name="T22" fmla="*/ 76 w 76"/>
                <a:gd name="T23" fmla="*/ 41 h 45"/>
                <a:gd name="T24" fmla="*/ 72 w 76"/>
                <a:gd name="T25" fmla="*/ 45 h 45"/>
                <a:gd name="T26" fmla="*/ 70 w 76"/>
                <a:gd name="T27" fmla="*/ 45 h 45"/>
                <a:gd name="T28" fmla="*/ 6 w 76"/>
                <a:gd name="T29" fmla="*/ 45 h 45"/>
                <a:gd name="T30" fmla="*/ 2 w 76"/>
                <a:gd name="T31" fmla="*/ 45 h 45"/>
                <a:gd name="T32" fmla="*/ 0 w 76"/>
                <a:gd name="T33" fmla="*/ 41 h 45"/>
                <a:gd name="T34" fmla="*/ 0 w 76"/>
                <a:gd name="T35" fmla="*/ 39 h 45"/>
                <a:gd name="T36" fmla="*/ 0 w 76"/>
                <a:gd name="T37" fmla="*/ 8 h 45"/>
                <a:gd name="T38" fmla="*/ 0 w 76"/>
                <a:gd name="T39" fmla="*/ 4 h 45"/>
                <a:gd name="T40" fmla="*/ 2 w 76"/>
                <a:gd name="T41" fmla="*/ 2 h 45"/>
                <a:gd name="T42" fmla="*/ 6 w 76"/>
                <a:gd name="T4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6" h="45">
                  <a:moveTo>
                    <a:pt x="14" y="14"/>
                  </a:moveTo>
                  <a:lnTo>
                    <a:pt x="14" y="31"/>
                  </a:lnTo>
                  <a:lnTo>
                    <a:pt x="62" y="31"/>
                  </a:lnTo>
                  <a:lnTo>
                    <a:pt x="62" y="14"/>
                  </a:lnTo>
                  <a:lnTo>
                    <a:pt x="14" y="14"/>
                  </a:lnTo>
                  <a:close/>
                  <a:moveTo>
                    <a:pt x="6" y="0"/>
                  </a:moveTo>
                  <a:lnTo>
                    <a:pt x="70" y="0"/>
                  </a:lnTo>
                  <a:lnTo>
                    <a:pt x="72" y="2"/>
                  </a:lnTo>
                  <a:lnTo>
                    <a:pt x="76" y="4"/>
                  </a:lnTo>
                  <a:lnTo>
                    <a:pt x="76" y="8"/>
                  </a:lnTo>
                  <a:lnTo>
                    <a:pt x="76" y="39"/>
                  </a:lnTo>
                  <a:lnTo>
                    <a:pt x="76" y="41"/>
                  </a:lnTo>
                  <a:lnTo>
                    <a:pt x="72" y="45"/>
                  </a:lnTo>
                  <a:lnTo>
                    <a:pt x="70" y="45"/>
                  </a:lnTo>
                  <a:lnTo>
                    <a:pt x="6" y="45"/>
                  </a:lnTo>
                  <a:lnTo>
                    <a:pt x="2" y="45"/>
                  </a:lnTo>
                  <a:lnTo>
                    <a:pt x="0" y="41"/>
                  </a:lnTo>
                  <a:lnTo>
                    <a:pt x="0" y="39"/>
                  </a:lnTo>
                  <a:lnTo>
                    <a:pt x="0" y="8"/>
                  </a:lnTo>
                  <a:lnTo>
                    <a:pt x="0" y="4"/>
                  </a:lnTo>
                  <a:lnTo>
                    <a:pt x="2" y="2"/>
                  </a:lnTo>
                  <a:lnTo>
                    <a:pt x="6" y="0"/>
                  </a:lnTo>
                  <a:close/>
                </a:path>
              </a:pathLst>
            </a:custGeom>
            <a:grpFill/>
            <a:ln w="1905">
              <a:noFill/>
              <a:prstDash val="solid"/>
              <a:round/>
              <a:headEnd/>
              <a:tailEnd/>
            </a:ln>
          </p:spPr>
          <p:txBody>
            <a:bodyPr vert="horz" wrap="square" lIns="91401" tIns="45701" rIns="91401" bIns="45701" numCol="1" anchor="t" anchorCtr="0" compatLnSpc="1">
              <a:prstTxWarp prst="textNoShape">
                <a:avLst/>
              </a:prstTxWarp>
            </a:bodyPr>
            <a:lstStyle/>
            <a:p>
              <a:pPr marL="0" marR="0" lvl="0" indent="0" algn="l" defTabSz="914034" rtl="0" eaLnBrk="0" fontAlgn="base" latinLnBrk="0" hangingPunct="0">
                <a:lnSpc>
                  <a:spcPct val="100000"/>
                </a:lnSpc>
                <a:spcBef>
                  <a:spcPct val="0"/>
                </a:spcBef>
                <a:spcAft>
                  <a:spcPct val="0"/>
                </a:spcAft>
                <a:buClrTx/>
                <a:buSzTx/>
                <a:buFontTx/>
                <a:buNone/>
                <a:tabLst/>
                <a:defRPr/>
              </a:pPr>
              <a:endParaRPr kumimoji="0" lang="pt-BR" sz="1799"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
          <p:nvSpPr>
            <p:cNvPr id="159" name="Freeform 338">
              <a:extLst>
                <a:ext uri="{FF2B5EF4-FFF2-40B4-BE49-F238E27FC236}">
                  <a16:creationId xmlns="" xmlns:a16="http://schemas.microsoft.com/office/drawing/2014/main" id="{DBB77851-EDD5-4316-9504-D21A364CE9DC}"/>
                </a:ext>
              </a:extLst>
            </p:cNvPr>
            <p:cNvSpPr>
              <a:spLocks noEditPoints="1"/>
            </p:cNvSpPr>
            <p:nvPr/>
          </p:nvSpPr>
          <p:spPr bwMode="auto">
            <a:xfrm>
              <a:off x="18021299" y="11091073"/>
              <a:ext cx="215900" cy="200025"/>
            </a:xfrm>
            <a:custGeom>
              <a:avLst/>
              <a:gdLst>
                <a:gd name="T0" fmla="*/ 12 w 136"/>
                <a:gd name="T1" fmla="*/ 13 h 126"/>
                <a:gd name="T2" fmla="*/ 12 w 136"/>
                <a:gd name="T3" fmla="*/ 116 h 126"/>
                <a:gd name="T4" fmla="*/ 126 w 136"/>
                <a:gd name="T5" fmla="*/ 116 h 126"/>
                <a:gd name="T6" fmla="*/ 126 w 136"/>
                <a:gd name="T7" fmla="*/ 13 h 126"/>
                <a:gd name="T8" fmla="*/ 12 w 136"/>
                <a:gd name="T9" fmla="*/ 13 h 126"/>
                <a:gd name="T10" fmla="*/ 6 w 136"/>
                <a:gd name="T11" fmla="*/ 0 h 126"/>
                <a:gd name="T12" fmla="*/ 130 w 136"/>
                <a:gd name="T13" fmla="*/ 0 h 126"/>
                <a:gd name="T14" fmla="*/ 134 w 136"/>
                <a:gd name="T15" fmla="*/ 0 h 126"/>
                <a:gd name="T16" fmla="*/ 136 w 136"/>
                <a:gd name="T17" fmla="*/ 2 h 126"/>
                <a:gd name="T18" fmla="*/ 136 w 136"/>
                <a:gd name="T19" fmla="*/ 7 h 126"/>
                <a:gd name="T20" fmla="*/ 136 w 136"/>
                <a:gd name="T21" fmla="*/ 120 h 126"/>
                <a:gd name="T22" fmla="*/ 136 w 136"/>
                <a:gd name="T23" fmla="*/ 124 h 126"/>
                <a:gd name="T24" fmla="*/ 134 w 136"/>
                <a:gd name="T25" fmla="*/ 126 h 126"/>
                <a:gd name="T26" fmla="*/ 130 w 136"/>
                <a:gd name="T27" fmla="*/ 126 h 126"/>
                <a:gd name="T28" fmla="*/ 6 w 136"/>
                <a:gd name="T29" fmla="*/ 126 h 126"/>
                <a:gd name="T30" fmla="*/ 4 w 136"/>
                <a:gd name="T31" fmla="*/ 126 h 126"/>
                <a:gd name="T32" fmla="*/ 2 w 136"/>
                <a:gd name="T33" fmla="*/ 124 h 126"/>
                <a:gd name="T34" fmla="*/ 0 w 136"/>
                <a:gd name="T35" fmla="*/ 120 h 126"/>
                <a:gd name="T36" fmla="*/ 0 w 136"/>
                <a:gd name="T37" fmla="*/ 7 h 126"/>
                <a:gd name="T38" fmla="*/ 2 w 136"/>
                <a:gd name="T39" fmla="*/ 2 h 126"/>
                <a:gd name="T40" fmla="*/ 4 w 136"/>
                <a:gd name="T41" fmla="*/ 0 h 126"/>
                <a:gd name="T42" fmla="*/ 6 w 136"/>
                <a:gd name="T43"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126">
                  <a:moveTo>
                    <a:pt x="12" y="13"/>
                  </a:moveTo>
                  <a:lnTo>
                    <a:pt x="12" y="116"/>
                  </a:lnTo>
                  <a:lnTo>
                    <a:pt x="126" y="116"/>
                  </a:lnTo>
                  <a:lnTo>
                    <a:pt x="126" y="13"/>
                  </a:lnTo>
                  <a:lnTo>
                    <a:pt x="12" y="13"/>
                  </a:lnTo>
                  <a:close/>
                  <a:moveTo>
                    <a:pt x="6" y="0"/>
                  </a:moveTo>
                  <a:lnTo>
                    <a:pt x="130" y="0"/>
                  </a:lnTo>
                  <a:lnTo>
                    <a:pt x="134" y="0"/>
                  </a:lnTo>
                  <a:lnTo>
                    <a:pt x="136" y="2"/>
                  </a:lnTo>
                  <a:lnTo>
                    <a:pt x="136" y="7"/>
                  </a:lnTo>
                  <a:lnTo>
                    <a:pt x="136" y="120"/>
                  </a:lnTo>
                  <a:lnTo>
                    <a:pt x="136" y="124"/>
                  </a:lnTo>
                  <a:lnTo>
                    <a:pt x="134" y="126"/>
                  </a:lnTo>
                  <a:lnTo>
                    <a:pt x="130" y="126"/>
                  </a:lnTo>
                  <a:lnTo>
                    <a:pt x="6" y="126"/>
                  </a:lnTo>
                  <a:lnTo>
                    <a:pt x="4" y="126"/>
                  </a:lnTo>
                  <a:lnTo>
                    <a:pt x="2" y="124"/>
                  </a:lnTo>
                  <a:lnTo>
                    <a:pt x="0" y="120"/>
                  </a:lnTo>
                  <a:lnTo>
                    <a:pt x="0" y="7"/>
                  </a:lnTo>
                  <a:lnTo>
                    <a:pt x="2" y="2"/>
                  </a:lnTo>
                  <a:lnTo>
                    <a:pt x="4" y="0"/>
                  </a:lnTo>
                  <a:lnTo>
                    <a:pt x="6" y="0"/>
                  </a:lnTo>
                  <a:close/>
                </a:path>
              </a:pathLst>
            </a:custGeom>
            <a:grpFill/>
            <a:ln w="1905">
              <a:noFill/>
              <a:prstDash val="solid"/>
              <a:round/>
              <a:headEnd/>
              <a:tailEnd/>
            </a:ln>
          </p:spPr>
          <p:txBody>
            <a:bodyPr vert="horz" wrap="square" lIns="91401" tIns="45701" rIns="91401" bIns="45701" numCol="1" anchor="t" anchorCtr="0" compatLnSpc="1">
              <a:prstTxWarp prst="textNoShape">
                <a:avLst/>
              </a:prstTxWarp>
            </a:bodyPr>
            <a:lstStyle/>
            <a:p>
              <a:pPr marL="0" marR="0" lvl="0" indent="0" algn="l" defTabSz="914034" rtl="0" eaLnBrk="0" fontAlgn="base" latinLnBrk="0" hangingPunct="0">
                <a:lnSpc>
                  <a:spcPct val="100000"/>
                </a:lnSpc>
                <a:spcBef>
                  <a:spcPct val="0"/>
                </a:spcBef>
                <a:spcAft>
                  <a:spcPct val="0"/>
                </a:spcAft>
                <a:buClrTx/>
                <a:buSzTx/>
                <a:buFontTx/>
                <a:buNone/>
                <a:tabLst/>
                <a:defRPr/>
              </a:pPr>
              <a:endParaRPr kumimoji="0" lang="pt-BR" sz="1799"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
          <p:nvSpPr>
            <p:cNvPr id="160" name="Freeform 339">
              <a:extLst>
                <a:ext uri="{FF2B5EF4-FFF2-40B4-BE49-F238E27FC236}">
                  <a16:creationId xmlns="" xmlns:a16="http://schemas.microsoft.com/office/drawing/2014/main" id="{C951F16A-26F4-4B1D-A1CC-7F5476E2F80F}"/>
                </a:ext>
              </a:extLst>
            </p:cNvPr>
            <p:cNvSpPr>
              <a:spLocks/>
            </p:cNvSpPr>
            <p:nvPr/>
          </p:nvSpPr>
          <p:spPr bwMode="auto">
            <a:xfrm>
              <a:off x="18033999" y="11160923"/>
              <a:ext cx="46038" cy="12700"/>
            </a:xfrm>
            <a:custGeom>
              <a:avLst/>
              <a:gdLst>
                <a:gd name="T0" fmla="*/ 4 w 29"/>
                <a:gd name="T1" fmla="*/ 0 h 8"/>
                <a:gd name="T2" fmla="*/ 23 w 29"/>
                <a:gd name="T3" fmla="*/ 0 h 8"/>
                <a:gd name="T4" fmla="*/ 27 w 29"/>
                <a:gd name="T5" fmla="*/ 0 h 8"/>
                <a:gd name="T6" fmla="*/ 29 w 29"/>
                <a:gd name="T7" fmla="*/ 4 h 8"/>
                <a:gd name="T8" fmla="*/ 27 w 29"/>
                <a:gd name="T9" fmla="*/ 6 h 8"/>
                <a:gd name="T10" fmla="*/ 23 w 29"/>
                <a:gd name="T11" fmla="*/ 8 h 8"/>
                <a:gd name="T12" fmla="*/ 4 w 29"/>
                <a:gd name="T13" fmla="*/ 8 h 8"/>
                <a:gd name="T14" fmla="*/ 0 w 29"/>
                <a:gd name="T15" fmla="*/ 6 h 8"/>
                <a:gd name="T16" fmla="*/ 0 w 29"/>
                <a:gd name="T17" fmla="*/ 4 h 8"/>
                <a:gd name="T18" fmla="*/ 0 w 29"/>
                <a:gd name="T19" fmla="*/ 0 h 8"/>
                <a:gd name="T20" fmla="*/ 4 w 29"/>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8">
                  <a:moveTo>
                    <a:pt x="4" y="0"/>
                  </a:moveTo>
                  <a:lnTo>
                    <a:pt x="23" y="0"/>
                  </a:lnTo>
                  <a:lnTo>
                    <a:pt x="27" y="0"/>
                  </a:lnTo>
                  <a:lnTo>
                    <a:pt x="29" y="4"/>
                  </a:lnTo>
                  <a:lnTo>
                    <a:pt x="27" y="6"/>
                  </a:lnTo>
                  <a:lnTo>
                    <a:pt x="23" y="8"/>
                  </a:lnTo>
                  <a:lnTo>
                    <a:pt x="4" y="8"/>
                  </a:lnTo>
                  <a:lnTo>
                    <a:pt x="0" y="6"/>
                  </a:lnTo>
                  <a:lnTo>
                    <a:pt x="0" y="4"/>
                  </a:lnTo>
                  <a:lnTo>
                    <a:pt x="0" y="0"/>
                  </a:lnTo>
                  <a:lnTo>
                    <a:pt x="4" y="0"/>
                  </a:lnTo>
                  <a:close/>
                </a:path>
              </a:pathLst>
            </a:custGeom>
            <a:grpFill/>
            <a:ln w="1905">
              <a:noFill/>
              <a:prstDash val="solid"/>
              <a:round/>
              <a:headEnd/>
              <a:tailEnd/>
            </a:ln>
          </p:spPr>
          <p:txBody>
            <a:bodyPr vert="horz" wrap="square" lIns="91401" tIns="45701" rIns="91401" bIns="45701" numCol="1" anchor="t" anchorCtr="0" compatLnSpc="1">
              <a:prstTxWarp prst="textNoShape">
                <a:avLst/>
              </a:prstTxWarp>
            </a:bodyPr>
            <a:lstStyle/>
            <a:p>
              <a:pPr marL="0" marR="0" lvl="0" indent="0" algn="l" defTabSz="914034" rtl="0" eaLnBrk="0" fontAlgn="base" latinLnBrk="0" hangingPunct="0">
                <a:lnSpc>
                  <a:spcPct val="100000"/>
                </a:lnSpc>
                <a:spcBef>
                  <a:spcPct val="0"/>
                </a:spcBef>
                <a:spcAft>
                  <a:spcPct val="0"/>
                </a:spcAft>
                <a:buClrTx/>
                <a:buSzTx/>
                <a:buFontTx/>
                <a:buNone/>
                <a:tabLst/>
                <a:defRPr/>
              </a:pPr>
              <a:endParaRPr kumimoji="0" lang="pt-BR" sz="1799"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
          <p:nvSpPr>
            <p:cNvPr id="161" name="Freeform 340">
              <a:extLst>
                <a:ext uri="{FF2B5EF4-FFF2-40B4-BE49-F238E27FC236}">
                  <a16:creationId xmlns="" xmlns:a16="http://schemas.microsoft.com/office/drawing/2014/main" id="{13178DE2-AFA3-4D8A-B95B-852F5427CAED}"/>
                </a:ext>
              </a:extLst>
            </p:cNvPr>
            <p:cNvSpPr>
              <a:spLocks/>
            </p:cNvSpPr>
            <p:nvPr/>
          </p:nvSpPr>
          <p:spPr bwMode="auto">
            <a:xfrm>
              <a:off x="18024474" y="11213311"/>
              <a:ext cx="55563" cy="12700"/>
            </a:xfrm>
            <a:custGeom>
              <a:avLst/>
              <a:gdLst>
                <a:gd name="T0" fmla="*/ 4 w 35"/>
                <a:gd name="T1" fmla="*/ 0 h 8"/>
                <a:gd name="T2" fmla="*/ 29 w 35"/>
                <a:gd name="T3" fmla="*/ 0 h 8"/>
                <a:gd name="T4" fmla="*/ 33 w 35"/>
                <a:gd name="T5" fmla="*/ 2 h 8"/>
                <a:gd name="T6" fmla="*/ 35 w 35"/>
                <a:gd name="T7" fmla="*/ 4 h 8"/>
                <a:gd name="T8" fmla="*/ 33 w 35"/>
                <a:gd name="T9" fmla="*/ 8 h 8"/>
                <a:gd name="T10" fmla="*/ 29 w 35"/>
                <a:gd name="T11" fmla="*/ 8 h 8"/>
                <a:gd name="T12" fmla="*/ 4 w 35"/>
                <a:gd name="T13" fmla="*/ 8 h 8"/>
                <a:gd name="T14" fmla="*/ 2 w 35"/>
                <a:gd name="T15" fmla="*/ 8 h 8"/>
                <a:gd name="T16" fmla="*/ 0 w 35"/>
                <a:gd name="T17" fmla="*/ 4 h 8"/>
                <a:gd name="T18" fmla="*/ 2 w 35"/>
                <a:gd name="T19" fmla="*/ 2 h 8"/>
                <a:gd name="T20" fmla="*/ 4 w 35"/>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8">
                  <a:moveTo>
                    <a:pt x="4" y="0"/>
                  </a:moveTo>
                  <a:lnTo>
                    <a:pt x="29" y="0"/>
                  </a:lnTo>
                  <a:lnTo>
                    <a:pt x="33" y="2"/>
                  </a:lnTo>
                  <a:lnTo>
                    <a:pt x="35" y="4"/>
                  </a:lnTo>
                  <a:lnTo>
                    <a:pt x="33" y="8"/>
                  </a:lnTo>
                  <a:lnTo>
                    <a:pt x="29" y="8"/>
                  </a:lnTo>
                  <a:lnTo>
                    <a:pt x="4" y="8"/>
                  </a:lnTo>
                  <a:lnTo>
                    <a:pt x="2" y="8"/>
                  </a:lnTo>
                  <a:lnTo>
                    <a:pt x="0" y="4"/>
                  </a:lnTo>
                  <a:lnTo>
                    <a:pt x="2" y="2"/>
                  </a:lnTo>
                  <a:lnTo>
                    <a:pt x="4" y="0"/>
                  </a:lnTo>
                  <a:close/>
                </a:path>
              </a:pathLst>
            </a:custGeom>
            <a:grpFill/>
            <a:ln w="1905">
              <a:noFill/>
              <a:prstDash val="solid"/>
              <a:round/>
              <a:headEnd/>
              <a:tailEnd/>
            </a:ln>
          </p:spPr>
          <p:txBody>
            <a:bodyPr vert="horz" wrap="square" lIns="91401" tIns="45701" rIns="91401" bIns="45701" numCol="1" anchor="t" anchorCtr="0" compatLnSpc="1">
              <a:prstTxWarp prst="textNoShape">
                <a:avLst/>
              </a:prstTxWarp>
            </a:bodyPr>
            <a:lstStyle/>
            <a:p>
              <a:pPr marL="0" marR="0" lvl="0" indent="0" algn="l" defTabSz="914034" rtl="0" eaLnBrk="0" fontAlgn="base" latinLnBrk="0" hangingPunct="0">
                <a:lnSpc>
                  <a:spcPct val="100000"/>
                </a:lnSpc>
                <a:spcBef>
                  <a:spcPct val="0"/>
                </a:spcBef>
                <a:spcAft>
                  <a:spcPct val="0"/>
                </a:spcAft>
                <a:buClrTx/>
                <a:buSzTx/>
                <a:buFontTx/>
                <a:buNone/>
                <a:tabLst/>
                <a:defRPr/>
              </a:pPr>
              <a:endParaRPr kumimoji="0" lang="pt-BR" sz="1799"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
          <p:nvSpPr>
            <p:cNvPr id="162" name="Freeform 341">
              <a:extLst>
                <a:ext uri="{FF2B5EF4-FFF2-40B4-BE49-F238E27FC236}">
                  <a16:creationId xmlns="" xmlns:a16="http://schemas.microsoft.com/office/drawing/2014/main" id="{8B63E000-9671-4CAF-9830-EA6AF162386E}"/>
                </a:ext>
              </a:extLst>
            </p:cNvPr>
            <p:cNvSpPr>
              <a:spLocks/>
            </p:cNvSpPr>
            <p:nvPr/>
          </p:nvSpPr>
          <p:spPr bwMode="auto">
            <a:xfrm>
              <a:off x="18116549" y="11357773"/>
              <a:ext cx="234950" cy="163513"/>
            </a:xfrm>
            <a:custGeom>
              <a:avLst/>
              <a:gdLst>
                <a:gd name="T0" fmla="*/ 8 w 148"/>
                <a:gd name="T1" fmla="*/ 0 h 103"/>
                <a:gd name="T2" fmla="*/ 12 w 148"/>
                <a:gd name="T3" fmla="*/ 0 h 103"/>
                <a:gd name="T4" fmla="*/ 14 w 148"/>
                <a:gd name="T5" fmla="*/ 4 h 103"/>
                <a:gd name="T6" fmla="*/ 16 w 148"/>
                <a:gd name="T7" fmla="*/ 8 h 103"/>
                <a:gd name="T8" fmla="*/ 16 w 148"/>
                <a:gd name="T9" fmla="*/ 78 h 103"/>
                <a:gd name="T10" fmla="*/ 16 w 148"/>
                <a:gd name="T11" fmla="*/ 82 h 103"/>
                <a:gd name="T12" fmla="*/ 18 w 148"/>
                <a:gd name="T13" fmla="*/ 84 h 103"/>
                <a:gd name="T14" fmla="*/ 22 w 148"/>
                <a:gd name="T15" fmla="*/ 86 h 103"/>
                <a:gd name="T16" fmla="*/ 24 w 148"/>
                <a:gd name="T17" fmla="*/ 86 h 103"/>
                <a:gd name="T18" fmla="*/ 55 w 148"/>
                <a:gd name="T19" fmla="*/ 86 h 103"/>
                <a:gd name="T20" fmla="*/ 57 w 148"/>
                <a:gd name="T21" fmla="*/ 86 h 103"/>
                <a:gd name="T22" fmla="*/ 61 w 148"/>
                <a:gd name="T23" fmla="*/ 84 h 103"/>
                <a:gd name="T24" fmla="*/ 61 w 148"/>
                <a:gd name="T25" fmla="*/ 82 h 103"/>
                <a:gd name="T26" fmla="*/ 64 w 148"/>
                <a:gd name="T27" fmla="*/ 80 h 103"/>
                <a:gd name="T28" fmla="*/ 64 w 148"/>
                <a:gd name="T29" fmla="*/ 53 h 103"/>
                <a:gd name="T30" fmla="*/ 64 w 148"/>
                <a:gd name="T31" fmla="*/ 47 h 103"/>
                <a:gd name="T32" fmla="*/ 66 w 148"/>
                <a:gd name="T33" fmla="*/ 41 h 103"/>
                <a:gd name="T34" fmla="*/ 70 w 148"/>
                <a:gd name="T35" fmla="*/ 37 h 103"/>
                <a:gd name="T36" fmla="*/ 76 w 148"/>
                <a:gd name="T37" fmla="*/ 33 h 103"/>
                <a:gd name="T38" fmla="*/ 82 w 148"/>
                <a:gd name="T39" fmla="*/ 30 h 103"/>
                <a:gd name="T40" fmla="*/ 88 w 148"/>
                <a:gd name="T41" fmla="*/ 28 h 103"/>
                <a:gd name="T42" fmla="*/ 140 w 148"/>
                <a:gd name="T43" fmla="*/ 28 h 103"/>
                <a:gd name="T44" fmla="*/ 144 w 148"/>
                <a:gd name="T45" fmla="*/ 30 h 103"/>
                <a:gd name="T46" fmla="*/ 146 w 148"/>
                <a:gd name="T47" fmla="*/ 33 h 103"/>
                <a:gd name="T48" fmla="*/ 148 w 148"/>
                <a:gd name="T49" fmla="*/ 37 h 103"/>
                <a:gd name="T50" fmla="*/ 146 w 148"/>
                <a:gd name="T51" fmla="*/ 41 h 103"/>
                <a:gd name="T52" fmla="*/ 144 w 148"/>
                <a:gd name="T53" fmla="*/ 43 h 103"/>
                <a:gd name="T54" fmla="*/ 140 w 148"/>
                <a:gd name="T55" fmla="*/ 43 h 103"/>
                <a:gd name="T56" fmla="*/ 88 w 148"/>
                <a:gd name="T57" fmla="*/ 43 h 103"/>
                <a:gd name="T58" fmla="*/ 84 w 148"/>
                <a:gd name="T59" fmla="*/ 45 h 103"/>
                <a:gd name="T60" fmla="*/ 80 w 148"/>
                <a:gd name="T61" fmla="*/ 47 h 103"/>
                <a:gd name="T62" fmla="*/ 78 w 148"/>
                <a:gd name="T63" fmla="*/ 49 h 103"/>
                <a:gd name="T64" fmla="*/ 78 w 148"/>
                <a:gd name="T65" fmla="*/ 53 h 103"/>
                <a:gd name="T66" fmla="*/ 78 w 148"/>
                <a:gd name="T67" fmla="*/ 80 h 103"/>
                <a:gd name="T68" fmla="*/ 78 w 148"/>
                <a:gd name="T69" fmla="*/ 86 h 103"/>
                <a:gd name="T70" fmla="*/ 76 w 148"/>
                <a:gd name="T71" fmla="*/ 90 h 103"/>
                <a:gd name="T72" fmla="*/ 72 w 148"/>
                <a:gd name="T73" fmla="*/ 97 h 103"/>
                <a:gd name="T74" fmla="*/ 66 w 148"/>
                <a:gd name="T75" fmla="*/ 99 h 103"/>
                <a:gd name="T76" fmla="*/ 61 w 148"/>
                <a:gd name="T77" fmla="*/ 101 h 103"/>
                <a:gd name="T78" fmla="*/ 55 w 148"/>
                <a:gd name="T79" fmla="*/ 103 h 103"/>
                <a:gd name="T80" fmla="*/ 24 w 148"/>
                <a:gd name="T81" fmla="*/ 103 h 103"/>
                <a:gd name="T82" fmla="*/ 18 w 148"/>
                <a:gd name="T83" fmla="*/ 101 h 103"/>
                <a:gd name="T84" fmla="*/ 12 w 148"/>
                <a:gd name="T85" fmla="*/ 99 h 103"/>
                <a:gd name="T86" fmla="*/ 8 w 148"/>
                <a:gd name="T87" fmla="*/ 94 h 103"/>
                <a:gd name="T88" fmla="*/ 4 w 148"/>
                <a:gd name="T89" fmla="*/ 90 h 103"/>
                <a:gd name="T90" fmla="*/ 2 w 148"/>
                <a:gd name="T91" fmla="*/ 84 h 103"/>
                <a:gd name="T92" fmla="*/ 0 w 148"/>
                <a:gd name="T93" fmla="*/ 78 h 103"/>
                <a:gd name="T94" fmla="*/ 0 w 148"/>
                <a:gd name="T95" fmla="*/ 8 h 103"/>
                <a:gd name="T96" fmla="*/ 2 w 148"/>
                <a:gd name="T97" fmla="*/ 4 h 103"/>
                <a:gd name="T98" fmla="*/ 4 w 148"/>
                <a:gd name="T99" fmla="*/ 0 h 103"/>
                <a:gd name="T100" fmla="*/ 8 w 148"/>
                <a:gd name="T101"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 h="103">
                  <a:moveTo>
                    <a:pt x="8" y="0"/>
                  </a:moveTo>
                  <a:lnTo>
                    <a:pt x="12" y="0"/>
                  </a:lnTo>
                  <a:lnTo>
                    <a:pt x="14" y="4"/>
                  </a:lnTo>
                  <a:lnTo>
                    <a:pt x="16" y="8"/>
                  </a:lnTo>
                  <a:lnTo>
                    <a:pt x="16" y="78"/>
                  </a:lnTo>
                  <a:lnTo>
                    <a:pt x="16" y="82"/>
                  </a:lnTo>
                  <a:lnTo>
                    <a:pt x="18" y="84"/>
                  </a:lnTo>
                  <a:lnTo>
                    <a:pt x="22" y="86"/>
                  </a:lnTo>
                  <a:lnTo>
                    <a:pt x="24" y="86"/>
                  </a:lnTo>
                  <a:lnTo>
                    <a:pt x="55" y="86"/>
                  </a:lnTo>
                  <a:lnTo>
                    <a:pt x="57" y="86"/>
                  </a:lnTo>
                  <a:lnTo>
                    <a:pt x="61" y="84"/>
                  </a:lnTo>
                  <a:lnTo>
                    <a:pt x="61" y="82"/>
                  </a:lnTo>
                  <a:lnTo>
                    <a:pt x="64" y="80"/>
                  </a:lnTo>
                  <a:lnTo>
                    <a:pt x="64" y="53"/>
                  </a:lnTo>
                  <a:lnTo>
                    <a:pt x="64" y="47"/>
                  </a:lnTo>
                  <a:lnTo>
                    <a:pt x="66" y="41"/>
                  </a:lnTo>
                  <a:lnTo>
                    <a:pt x="70" y="37"/>
                  </a:lnTo>
                  <a:lnTo>
                    <a:pt x="76" y="33"/>
                  </a:lnTo>
                  <a:lnTo>
                    <a:pt x="82" y="30"/>
                  </a:lnTo>
                  <a:lnTo>
                    <a:pt x="88" y="28"/>
                  </a:lnTo>
                  <a:lnTo>
                    <a:pt x="140" y="28"/>
                  </a:lnTo>
                  <a:lnTo>
                    <a:pt x="144" y="30"/>
                  </a:lnTo>
                  <a:lnTo>
                    <a:pt x="146" y="33"/>
                  </a:lnTo>
                  <a:lnTo>
                    <a:pt x="148" y="37"/>
                  </a:lnTo>
                  <a:lnTo>
                    <a:pt x="146" y="41"/>
                  </a:lnTo>
                  <a:lnTo>
                    <a:pt x="144" y="43"/>
                  </a:lnTo>
                  <a:lnTo>
                    <a:pt x="140" y="43"/>
                  </a:lnTo>
                  <a:lnTo>
                    <a:pt x="88" y="43"/>
                  </a:lnTo>
                  <a:lnTo>
                    <a:pt x="84" y="45"/>
                  </a:lnTo>
                  <a:lnTo>
                    <a:pt x="80" y="47"/>
                  </a:lnTo>
                  <a:lnTo>
                    <a:pt x="78" y="49"/>
                  </a:lnTo>
                  <a:lnTo>
                    <a:pt x="78" y="53"/>
                  </a:lnTo>
                  <a:lnTo>
                    <a:pt x="78" y="80"/>
                  </a:lnTo>
                  <a:lnTo>
                    <a:pt x="78" y="86"/>
                  </a:lnTo>
                  <a:lnTo>
                    <a:pt x="76" y="90"/>
                  </a:lnTo>
                  <a:lnTo>
                    <a:pt x="72" y="97"/>
                  </a:lnTo>
                  <a:lnTo>
                    <a:pt x="66" y="99"/>
                  </a:lnTo>
                  <a:lnTo>
                    <a:pt x="61" y="101"/>
                  </a:lnTo>
                  <a:lnTo>
                    <a:pt x="55" y="103"/>
                  </a:lnTo>
                  <a:lnTo>
                    <a:pt x="24" y="103"/>
                  </a:lnTo>
                  <a:lnTo>
                    <a:pt x="18" y="101"/>
                  </a:lnTo>
                  <a:lnTo>
                    <a:pt x="12" y="99"/>
                  </a:lnTo>
                  <a:lnTo>
                    <a:pt x="8" y="94"/>
                  </a:lnTo>
                  <a:lnTo>
                    <a:pt x="4" y="90"/>
                  </a:lnTo>
                  <a:lnTo>
                    <a:pt x="2" y="84"/>
                  </a:lnTo>
                  <a:lnTo>
                    <a:pt x="0" y="78"/>
                  </a:lnTo>
                  <a:lnTo>
                    <a:pt x="0" y="8"/>
                  </a:lnTo>
                  <a:lnTo>
                    <a:pt x="2" y="4"/>
                  </a:lnTo>
                  <a:lnTo>
                    <a:pt x="4" y="0"/>
                  </a:lnTo>
                  <a:lnTo>
                    <a:pt x="8" y="0"/>
                  </a:lnTo>
                  <a:close/>
                </a:path>
              </a:pathLst>
            </a:custGeom>
            <a:grpFill/>
            <a:ln w="1905">
              <a:noFill/>
              <a:prstDash val="solid"/>
              <a:round/>
              <a:headEnd/>
              <a:tailEnd/>
            </a:ln>
          </p:spPr>
          <p:txBody>
            <a:bodyPr vert="horz" wrap="square" lIns="91401" tIns="45701" rIns="91401" bIns="45701" numCol="1" anchor="t" anchorCtr="0" compatLnSpc="1">
              <a:prstTxWarp prst="textNoShape">
                <a:avLst/>
              </a:prstTxWarp>
            </a:bodyPr>
            <a:lstStyle/>
            <a:p>
              <a:pPr marL="0" marR="0" lvl="0" indent="0" algn="l" defTabSz="914034" rtl="0" eaLnBrk="0" fontAlgn="base" latinLnBrk="0" hangingPunct="0">
                <a:lnSpc>
                  <a:spcPct val="100000"/>
                </a:lnSpc>
                <a:spcBef>
                  <a:spcPct val="0"/>
                </a:spcBef>
                <a:spcAft>
                  <a:spcPct val="0"/>
                </a:spcAft>
                <a:buClrTx/>
                <a:buSzTx/>
                <a:buFontTx/>
                <a:buNone/>
                <a:tabLst/>
                <a:defRPr/>
              </a:pPr>
              <a:endParaRPr kumimoji="0" lang="pt-BR" sz="1799"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grpSp>
      <p:grpSp>
        <p:nvGrpSpPr>
          <p:cNvPr id="163" name="Grupo 194">
            <a:extLst>
              <a:ext uri="{FF2B5EF4-FFF2-40B4-BE49-F238E27FC236}">
                <a16:creationId xmlns="" xmlns:a16="http://schemas.microsoft.com/office/drawing/2014/main" id="{FFFBE97D-58F4-4FB9-A0F3-AD38F96B16AE}"/>
              </a:ext>
            </a:extLst>
          </p:cNvPr>
          <p:cNvGrpSpPr/>
          <p:nvPr/>
        </p:nvGrpSpPr>
        <p:grpSpPr>
          <a:xfrm>
            <a:off x="7784123" y="2216207"/>
            <a:ext cx="386729" cy="321049"/>
            <a:chOff x="3995738" y="1739900"/>
            <a:chExt cx="1336675" cy="1109663"/>
          </a:xfrm>
          <a:solidFill>
            <a:srgbClr val="F26926"/>
          </a:solidFill>
        </p:grpSpPr>
        <p:sp>
          <p:nvSpPr>
            <p:cNvPr id="164" name="Freeform 169">
              <a:extLst>
                <a:ext uri="{FF2B5EF4-FFF2-40B4-BE49-F238E27FC236}">
                  <a16:creationId xmlns="" xmlns:a16="http://schemas.microsoft.com/office/drawing/2014/main" id="{A76F6AD6-0BF7-4548-B2DE-34ADFF8534F1}"/>
                </a:ext>
              </a:extLst>
            </p:cNvPr>
            <p:cNvSpPr>
              <a:spLocks noEditPoints="1"/>
            </p:cNvSpPr>
            <p:nvPr/>
          </p:nvSpPr>
          <p:spPr bwMode="auto">
            <a:xfrm>
              <a:off x="3995738" y="1739900"/>
              <a:ext cx="1336675" cy="1109663"/>
            </a:xfrm>
            <a:custGeom>
              <a:avLst/>
              <a:gdLst>
                <a:gd name="T0" fmla="*/ 389 w 842"/>
                <a:gd name="T1" fmla="*/ 654 h 699"/>
                <a:gd name="T2" fmla="*/ 426 w 842"/>
                <a:gd name="T3" fmla="*/ 617 h 699"/>
                <a:gd name="T4" fmla="*/ 553 w 842"/>
                <a:gd name="T5" fmla="*/ 609 h 699"/>
                <a:gd name="T6" fmla="*/ 594 w 842"/>
                <a:gd name="T7" fmla="*/ 615 h 699"/>
                <a:gd name="T8" fmla="*/ 154 w 842"/>
                <a:gd name="T9" fmla="*/ 529 h 699"/>
                <a:gd name="T10" fmla="*/ 178 w 842"/>
                <a:gd name="T11" fmla="*/ 562 h 699"/>
                <a:gd name="T12" fmla="*/ 168 w 842"/>
                <a:gd name="T13" fmla="*/ 523 h 699"/>
                <a:gd name="T14" fmla="*/ 736 w 842"/>
                <a:gd name="T15" fmla="*/ 509 h 699"/>
                <a:gd name="T16" fmla="*/ 66 w 842"/>
                <a:gd name="T17" fmla="*/ 341 h 699"/>
                <a:gd name="T18" fmla="*/ 57 w 842"/>
                <a:gd name="T19" fmla="*/ 392 h 699"/>
                <a:gd name="T20" fmla="*/ 80 w 842"/>
                <a:gd name="T21" fmla="*/ 347 h 699"/>
                <a:gd name="T22" fmla="*/ 301 w 842"/>
                <a:gd name="T23" fmla="*/ 294 h 699"/>
                <a:gd name="T24" fmla="*/ 443 w 842"/>
                <a:gd name="T25" fmla="*/ 496 h 699"/>
                <a:gd name="T26" fmla="*/ 547 w 842"/>
                <a:gd name="T27" fmla="*/ 281 h 699"/>
                <a:gd name="T28" fmla="*/ 752 w 842"/>
                <a:gd name="T29" fmla="*/ 251 h 699"/>
                <a:gd name="T30" fmla="*/ 801 w 842"/>
                <a:gd name="T31" fmla="*/ 259 h 699"/>
                <a:gd name="T32" fmla="*/ 203 w 842"/>
                <a:gd name="T33" fmla="*/ 148 h 699"/>
                <a:gd name="T34" fmla="*/ 223 w 842"/>
                <a:gd name="T35" fmla="*/ 187 h 699"/>
                <a:gd name="T36" fmla="*/ 215 w 842"/>
                <a:gd name="T37" fmla="*/ 144 h 699"/>
                <a:gd name="T38" fmla="*/ 590 w 842"/>
                <a:gd name="T39" fmla="*/ 93 h 699"/>
                <a:gd name="T40" fmla="*/ 346 w 842"/>
                <a:gd name="T41" fmla="*/ 41 h 699"/>
                <a:gd name="T42" fmla="*/ 336 w 842"/>
                <a:gd name="T43" fmla="*/ 99 h 699"/>
                <a:gd name="T44" fmla="*/ 363 w 842"/>
                <a:gd name="T45" fmla="*/ 48 h 699"/>
                <a:gd name="T46" fmla="*/ 402 w 842"/>
                <a:gd name="T47" fmla="*/ 113 h 699"/>
                <a:gd name="T48" fmla="*/ 463 w 842"/>
                <a:gd name="T49" fmla="*/ 115 h 699"/>
                <a:gd name="T50" fmla="*/ 479 w 842"/>
                <a:gd name="T51" fmla="*/ 205 h 699"/>
                <a:gd name="T52" fmla="*/ 590 w 842"/>
                <a:gd name="T53" fmla="*/ 27 h 699"/>
                <a:gd name="T54" fmla="*/ 580 w 842"/>
                <a:gd name="T55" fmla="*/ 132 h 699"/>
                <a:gd name="T56" fmla="*/ 623 w 842"/>
                <a:gd name="T57" fmla="*/ 189 h 699"/>
                <a:gd name="T58" fmla="*/ 619 w 842"/>
                <a:gd name="T59" fmla="*/ 236 h 699"/>
                <a:gd name="T60" fmla="*/ 777 w 842"/>
                <a:gd name="T61" fmla="*/ 185 h 699"/>
                <a:gd name="T62" fmla="*/ 756 w 842"/>
                <a:gd name="T63" fmla="*/ 312 h 699"/>
                <a:gd name="T64" fmla="*/ 748 w 842"/>
                <a:gd name="T65" fmla="*/ 351 h 699"/>
                <a:gd name="T66" fmla="*/ 699 w 842"/>
                <a:gd name="T67" fmla="*/ 388 h 699"/>
                <a:gd name="T68" fmla="*/ 789 w 842"/>
                <a:gd name="T69" fmla="*/ 468 h 699"/>
                <a:gd name="T70" fmla="*/ 678 w 842"/>
                <a:gd name="T71" fmla="*/ 490 h 699"/>
                <a:gd name="T72" fmla="*/ 617 w 842"/>
                <a:gd name="T73" fmla="*/ 503 h 699"/>
                <a:gd name="T74" fmla="*/ 596 w 842"/>
                <a:gd name="T75" fmla="*/ 537 h 699"/>
                <a:gd name="T76" fmla="*/ 635 w 842"/>
                <a:gd name="T77" fmla="*/ 609 h 699"/>
                <a:gd name="T78" fmla="*/ 518 w 842"/>
                <a:gd name="T79" fmla="*/ 587 h 699"/>
                <a:gd name="T80" fmla="*/ 492 w 842"/>
                <a:gd name="T81" fmla="*/ 578 h 699"/>
                <a:gd name="T82" fmla="*/ 443 w 842"/>
                <a:gd name="T83" fmla="*/ 537 h 699"/>
                <a:gd name="T84" fmla="*/ 430 w 842"/>
                <a:gd name="T85" fmla="*/ 695 h 699"/>
                <a:gd name="T86" fmla="*/ 391 w 842"/>
                <a:gd name="T87" fmla="*/ 568 h 699"/>
                <a:gd name="T88" fmla="*/ 316 w 842"/>
                <a:gd name="T89" fmla="*/ 570 h 699"/>
                <a:gd name="T90" fmla="*/ 277 w 842"/>
                <a:gd name="T91" fmla="*/ 564 h 699"/>
                <a:gd name="T92" fmla="*/ 227 w 842"/>
                <a:gd name="T93" fmla="*/ 537 h 699"/>
                <a:gd name="T94" fmla="*/ 111 w 842"/>
                <a:gd name="T95" fmla="*/ 562 h 699"/>
                <a:gd name="T96" fmla="*/ 258 w 842"/>
                <a:gd name="T97" fmla="*/ 449 h 699"/>
                <a:gd name="T98" fmla="*/ 178 w 842"/>
                <a:gd name="T99" fmla="*/ 455 h 699"/>
                <a:gd name="T100" fmla="*/ 232 w 842"/>
                <a:gd name="T101" fmla="*/ 400 h 699"/>
                <a:gd name="T102" fmla="*/ 18 w 842"/>
                <a:gd name="T103" fmla="*/ 412 h 699"/>
                <a:gd name="T104" fmla="*/ 125 w 842"/>
                <a:gd name="T105" fmla="*/ 343 h 699"/>
                <a:gd name="T106" fmla="*/ 172 w 842"/>
                <a:gd name="T107" fmla="*/ 294 h 699"/>
                <a:gd name="T108" fmla="*/ 240 w 842"/>
                <a:gd name="T109" fmla="*/ 279 h 699"/>
                <a:gd name="T110" fmla="*/ 158 w 842"/>
                <a:gd name="T111" fmla="*/ 189 h 699"/>
                <a:gd name="T112" fmla="*/ 279 w 842"/>
                <a:gd name="T113" fmla="*/ 164 h 699"/>
                <a:gd name="T114" fmla="*/ 297 w 842"/>
                <a:gd name="T115" fmla="*/ 119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42" h="699">
                  <a:moveTo>
                    <a:pt x="406" y="607"/>
                  </a:moveTo>
                  <a:lnTo>
                    <a:pt x="395" y="609"/>
                  </a:lnTo>
                  <a:lnTo>
                    <a:pt x="389" y="613"/>
                  </a:lnTo>
                  <a:lnTo>
                    <a:pt x="383" y="617"/>
                  </a:lnTo>
                  <a:lnTo>
                    <a:pt x="379" y="626"/>
                  </a:lnTo>
                  <a:lnTo>
                    <a:pt x="379" y="634"/>
                  </a:lnTo>
                  <a:lnTo>
                    <a:pt x="379" y="642"/>
                  </a:lnTo>
                  <a:lnTo>
                    <a:pt x="383" y="650"/>
                  </a:lnTo>
                  <a:lnTo>
                    <a:pt x="389" y="654"/>
                  </a:lnTo>
                  <a:lnTo>
                    <a:pt x="395" y="658"/>
                  </a:lnTo>
                  <a:lnTo>
                    <a:pt x="406" y="660"/>
                  </a:lnTo>
                  <a:lnTo>
                    <a:pt x="414" y="658"/>
                  </a:lnTo>
                  <a:lnTo>
                    <a:pt x="420" y="654"/>
                  </a:lnTo>
                  <a:lnTo>
                    <a:pt x="426" y="650"/>
                  </a:lnTo>
                  <a:lnTo>
                    <a:pt x="430" y="642"/>
                  </a:lnTo>
                  <a:lnTo>
                    <a:pt x="430" y="634"/>
                  </a:lnTo>
                  <a:lnTo>
                    <a:pt x="430" y="626"/>
                  </a:lnTo>
                  <a:lnTo>
                    <a:pt x="426" y="617"/>
                  </a:lnTo>
                  <a:lnTo>
                    <a:pt x="420" y="613"/>
                  </a:lnTo>
                  <a:lnTo>
                    <a:pt x="414" y="609"/>
                  </a:lnTo>
                  <a:lnTo>
                    <a:pt x="406" y="607"/>
                  </a:lnTo>
                  <a:close/>
                  <a:moveTo>
                    <a:pt x="574" y="589"/>
                  </a:moveTo>
                  <a:lnTo>
                    <a:pt x="568" y="591"/>
                  </a:lnTo>
                  <a:lnTo>
                    <a:pt x="561" y="593"/>
                  </a:lnTo>
                  <a:lnTo>
                    <a:pt x="557" y="597"/>
                  </a:lnTo>
                  <a:lnTo>
                    <a:pt x="555" y="603"/>
                  </a:lnTo>
                  <a:lnTo>
                    <a:pt x="553" y="609"/>
                  </a:lnTo>
                  <a:lnTo>
                    <a:pt x="555" y="615"/>
                  </a:lnTo>
                  <a:lnTo>
                    <a:pt x="557" y="621"/>
                  </a:lnTo>
                  <a:lnTo>
                    <a:pt x="561" y="626"/>
                  </a:lnTo>
                  <a:lnTo>
                    <a:pt x="568" y="630"/>
                  </a:lnTo>
                  <a:lnTo>
                    <a:pt x="574" y="630"/>
                  </a:lnTo>
                  <a:lnTo>
                    <a:pt x="580" y="630"/>
                  </a:lnTo>
                  <a:lnTo>
                    <a:pt x="586" y="626"/>
                  </a:lnTo>
                  <a:lnTo>
                    <a:pt x="590" y="621"/>
                  </a:lnTo>
                  <a:lnTo>
                    <a:pt x="594" y="615"/>
                  </a:lnTo>
                  <a:lnTo>
                    <a:pt x="594" y="609"/>
                  </a:lnTo>
                  <a:lnTo>
                    <a:pt x="594" y="603"/>
                  </a:lnTo>
                  <a:lnTo>
                    <a:pt x="590" y="597"/>
                  </a:lnTo>
                  <a:lnTo>
                    <a:pt x="586" y="593"/>
                  </a:lnTo>
                  <a:lnTo>
                    <a:pt x="580" y="591"/>
                  </a:lnTo>
                  <a:lnTo>
                    <a:pt x="574" y="589"/>
                  </a:lnTo>
                  <a:close/>
                  <a:moveTo>
                    <a:pt x="168" y="523"/>
                  </a:moveTo>
                  <a:lnTo>
                    <a:pt x="160" y="525"/>
                  </a:lnTo>
                  <a:lnTo>
                    <a:pt x="154" y="529"/>
                  </a:lnTo>
                  <a:lnTo>
                    <a:pt x="150" y="535"/>
                  </a:lnTo>
                  <a:lnTo>
                    <a:pt x="148" y="542"/>
                  </a:lnTo>
                  <a:lnTo>
                    <a:pt x="148" y="550"/>
                  </a:lnTo>
                  <a:lnTo>
                    <a:pt x="152" y="554"/>
                  </a:lnTo>
                  <a:lnTo>
                    <a:pt x="154" y="560"/>
                  </a:lnTo>
                  <a:lnTo>
                    <a:pt x="160" y="562"/>
                  </a:lnTo>
                  <a:lnTo>
                    <a:pt x="166" y="564"/>
                  </a:lnTo>
                  <a:lnTo>
                    <a:pt x="172" y="564"/>
                  </a:lnTo>
                  <a:lnTo>
                    <a:pt x="178" y="562"/>
                  </a:lnTo>
                  <a:lnTo>
                    <a:pt x="182" y="558"/>
                  </a:lnTo>
                  <a:lnTo>
                    <a:pt x="186" y="552"/>
                  </a:lnTo>
                  <a:lnTo>
                    <a:pt x="189" y="546"/>
                  </a:lnTo>
                  <a:lnTo>
                    <a:pt x="189" y="540"/>
                  </a:lnTo>
                  <a:lnTo>
                    <a:pt x="184" y="533"/>
                  </a:lnTo>
                  <a:lnTo>
                    <a:pt x="182" y="529"/>
                  </a:lnTo>
                  <a:lnTo>
                    <a:pt x="176" y="525"/>
                  </a:lnTo>
                  <a:lnTo>
                    <a:pt x="170" y="523"/>
                  </a:lnTo>
                  <a:lnTo>
                    <a:pt x="168" y="523"/>
                  </a:lnTo>
                  <a:close/>
                  <a:moveTo>
                    <a:pt x="736" y="472"/>
                  </a:moveTo>
                  <a:lnTo>
                    <a:pt x="729" y="474"/>
                  </a:lnTo>
                  <a:lnTo>
                    <a:pt x="723" y="478"/>
                  </a:lnTo>
                  <a:lnTo>
                    <a:pt x="719" y="484"/>
                  </a:lnTo>
                  <a:lnTo>
                    <a:pt x="717" y="490"/>
                  </a:lnTo>
                  <a:lnTo>
                    <a:pt x="719" y="499"/>
                  </a:lnTo>
                  <a:lnTo>
                    <a:pt x="723" y="505"/>
                  </a:lnTo>
                  <a:lnTo>
                    <a:pt x="729" y="507"/>
                  </a:lnTo>
                  <a:lnTo>
                    <a:pt x="736" y="509"/>
                  </a:lnTo>
                  <a:lnTo>
                    <a:pt x="744" y="507"/>
                  </a:lnTo>
                  <a:lnTo>
                    <a:pt x="750" y="505"/>
                  </a:lnTo>
                  <a:lnTo>
                    <a:pt x="754" y="499"/>
                  </a:lnTo>
                  <a:lnTo>
                    <a:pt x="754" y="490"/>
                  </a:lnTo>
                  <a:lnTo>
                    <a:pt x="754" y="484"/>
                  </a:lnTo>
                  <a:lnTo>
                    <a:pt x="750" y="478"/>
                  </a:lnTo>
                  <a:lnTo>
                    <a:pt x="744" y="474"/>
                  </a:lnTo>
                  <a:lnTo>
                    <a:pt x="736" y="472"/>
                  </a:lnTo>
                  <a:close/>
                  <a:moveTo>
                    <a:pt x="66" y="341"/>
                  </a:moveTo>
                  <a:lnTo>
                    <a:pt x="57" y="343"/>
                  </a:lnTo>
                  <a:lnTo>
                    <a:pt x="51" y="347"/>
                  </a:lnTo>
                  <a:lnTo>
                    <a:pt x="45" y="351"/>
                  </a:lnTo>
                  <a:lnTo>
                    <a:pt x="41" y="359"/>
                  </a:lnTo>
                  <a:lnTo>
                    <a:pt x="41" y="367"/>
                  </a:lnTo>
                  <a:lnTo>
                    <a:pt x="41" y="376"/>
                  </a:lnTo>
                  <a:lnTo>
                    <a:pt x="45" y="382"/>
                  </a:lnTo>
                  <a:lnTo>
                    <a:pt x="51" y="388"/>
                  </a:lnTo>
                  <a:lnTo>
                    <a:pt x="57" y="392"/>
                  </a:lnTo>
                  <a:lnTo>
                    <a:pt x="66" y="392"/>
                  </a:lnTo>
                  <a:lnTo>
                    <a:pt x="74" y="392"/>
                  </a:lnTo>
                  <a:lnTo>
                    <a:pt x="80" y="388"/>
                  </a:lnTo>
                  <a:lnTo>
                    <a:pt x="86" y="382"/>
                  </a:lnTo>
                  <a:lnTo>
                    <a:pt x="90" y="376"/>
                  </a:lnTo>
                  <a:lnTo>
                    <a:pt x="90" y="367"/>
                  </a:lnTo>
                  <a:lnTo>
                    <a:pt x="90" y="359"/>
                  </a:lnTo>
                  <a:lnTo>
                    <a:pt x="86" y="351"/>
                  </a:lnTo>
                  <a:lnTo>
                    <a:pt x="80" y="347"/>
                  </a:lnTo>
                  <a:lnTo>
                    <a:pt x="74" y="343"/>
                  </a:lnTo>
                  <a:lnTo>
                    <a:pt x="66" y="341"/>
                  </a:lnTo>
                  <a:close/>
                  <a:moveTo>
                    <a:pt x="434" y="242"/>
                  </a:moveTo>
                  <a:lnTo>
                    <a:pt x="402" y="244"/>
                  </a:lnTo>
                  <a:lnTo>
                    <a:pt x="371" y="253"/>
                  </a:lnTo>
                  <a:lnTo>
                    <a:pt x="342" y="265"/>
                  </a:lnTo>
                  <a:lnTo>
                    <a:pt x="334" y="269"/>
                  </a:lnTo>
                  <a:lnTo>
                    <a:pt x="332" y="271"/>
                  </a:lnTo>
                  <a:lnTo>
                    <a:pt x="301" y="294"/>
                  </a:lnTo>
                  <a:lnTo>
                    <a:pt x="281" y="318"/>
                  </a:lnTo>
                  <a:lnTo>
                    <a:pt x="270" y="345"/>
                  </a:lnTo>
                  <a:lnTo>
                    <a:pt x="268" y="373"/>
                  </a:lnTo>
                  <a:lnTo>
                    <a:pt x="281" y="410"/>
                  </a:lnTo>
                  <a:lnTo>
                    <a:pt x="305" y="443"/>
                  </a:lnTo>
                  <a:lnTo>
                    <a:pt x="342" y="472"/>
                  </a:lnTo>
                  <a:lnTo>
                    <a:pt x="383" y="490"/>
                  </a:lnTo>
                  <a:lnTo>
                    <a:pt x="414" y="494"/>
                  </a:lnTo>
                  <a:lnTo>
                    <a:pt x="443" y="496"/>
                  </a:lnTo>
                  <a:lnTo>
                    <a:pt x="484" y="494"/>
                  </a:lnTo>
                  <a:lnTo>
                    <a:pt x="520" y="482"/>
                  </a:lnTo>
                  <a:lnTo>
                    <a:pt x="553" y="466"/>
                  </a:lnTo>
                  <a:lnTo>
                    <a:pt x="576" y="443"/>
                  </a:lnTo>
                  <a:lnTo>
                    <a:pt x="590" y="414"/>
                  </a:lnTo>
                  <a:lnTo>
                    <a:pt x="594" y="382"/>
                  </a:lnTo>
                  <a:lnTo>
                    <a:pt x="588" y="345"/>
                  </a:lnTo>
                  <a:lnTo>
                    <a:pt x="574" y="310"/>
                  </a:lnTo>
                  <a:lnTo>
                    <a:pt x="547" y="281"/>
                  </a:lnTo>
                  <a:lnTo>
                    <a:pt x="514" y="261"/>
                  </a:lnTo>
                  <a:lnTo>
                    <a:pt x="475" y="246"/>
                  </a:lnTo>
                  <a:lnTo>
                    <a:pt x="434" y="242"/>
                  </a:lnTo>
                  <a:close/>
                  <a:moveTo>
                    <a:pt x="777" y="224"/>
                  </a:moveTo>
                  <a:lnTo>
                    <a:pt x="770" y="226"/>
                  </a:lnTo>
                  <a:lnTo>
                    <a:pt x="762" y="230"/>
                  </a:lnTo>
                  <a:lnTo>
                    <a:pt x="756" y="234"/>
                  </a:lnTo>
                  <a:lnTo>
                    <a:pt x="754" y="242"/>
                  </a:lnTo>
                  <a:lnTo>
                    <a:pt x="752" y="251"/>
                  </a:lnTo>
                  <a:lnTo>
                    <a:pt x="754" y="259"/>
                  </a:lnTo>
                  <a:lnTo>
                    <a:pt x="756" y="265"/>
                  </a:lnTo>
                  <a:lnTo>
                    <a:pt x="762" y="271"/>
                  </a:lnTo>
                  <a:lnTo>
                    <a:pt x="770" y="273"/>
                  </a:lnTo>
                  <a:lnTo>
                    <a:pt x="777" y="275"/>
                  </a:lnTo>
                  <a:lnTo>
                    <a:pt x="785" y="273"/>
                  </a:lnTo>
                  <a:lnTo>
                    <a:pt x="793" y="271"/>
                  </a:lnTo>
                  <a:lnTo>
                    <a:pt x="797" y="265"/>
                  </a:lnTo>
                  <a:lnTo>
                    <a:pt x="801" y="259"/>
                  </a:lnTo>
                  <a:lnTo>
                    <a:pt x="803" y="251"/>
                  </a:lnTo>
                  <a:lnTo>
                    <a:pt x="801" y="242"/>
                  </a:lnTo>
                  <a:lnTo>
                    <a:pt x="797" y="234"/>
                  </a:lnTo>
                  <a:lnTo>
                    <a:pt x="793" y="230"/>
                  </a:lnTo>
                  <a:lnTo>
                    <a:pt x="785" y="226"/>
                  </a:lnTo>
                  <a:lnTo>
                    <a:pt x="777" y="224"/>
                  </a:lnTo>
                  <a:close/>
                  <a:moveTo>
                    <a:pt x="215" y="144"/>
                  </a:moveTo>
                  <a:lnTo>
                    <a:pt x="209" y="144"/>
                  </a:lnTo>
                  <a:lnTo>
                    <a:pt x="203" y="148"/>
                  </a:lnTo>
                  <a:lnTo>
                    <a:pt x="197" y="152"/>
                  </a:lnTo>
                  <a:lnTo>
                    <a:pt x="195" y="158"/>
                  </a:lnTo>
                  <a:lnTo>
                    <a:pt x="193" y="164"/>
                  </a:lnTo>
                  <a:lnTo>
                    <a:pt x="195" y="173"/>
                  </a:lnTo>
                  <a:lnTo>
                    <a:pt x="197" y="179"/>
                  </a:lnTo>
                  <a:lnTo>
                    <a:pt x="203" y="183"/>
                  </a:lnTo>
                  <a:lnTo>
                    <a:pt x="209" y="187"/>
                  </a:lnTo>
                  <a:lnTo>
                    <a:pt x="215" y="187"/>
                  </a:lnTo>
                  <a:lnTo>
                    <a:pt x="223" y="187"/>
                  </a:lnTo>
                  <a:lnTo>
                    <a:pt x="229" y="183"/>
                  </a:lnTo>
                  <a:lnTo>
                    <a:pt x="234" y="179"/>
                  </a:lnTo>
                  <a:lnTo>
                    <a:pt x="236" y="173"/>
                  </a:lnTo>
                  <a:lnTo>
                    <a:pt x="238" y="164"/>
                  </a:lnTo>
                  <a:lnTo>
                    <a:pt x="236" y="158"/>
                  </a:lnTo>
                  <a:lnTo>
                    <a:pt x="234" y="152"/>
                  </a:lnTo>
                  <a:lnTo>
                    <a:pt x="229" y="148"/>
                  </a:lnTo>
                  <a:lnTo>
                    <a:pt x="223" y="144"/>
                  </a:lnTo>
                  <a:lnTo>
                    <a:pt x="215" y="144"/>
                  </a:lnTo>
                  <a:close/>
                  <a:moveTo>
                    <a:pt x="590" y="68"/>
                  </a:moveTo>
                  <a:lnTo>
                    <a:pt x="584" y="68"/>
                  </a:lnTo>
                  <a:lnTo>
                    <a:pt x="580" y="70"/>
                  </a:lnTo>
                  <a:lnTo>
                    <a:pt x="578" y="74"/>
                  </a:lnTo>
                  <a:lnTo>
                    <a:pt x="578" y="80"/>
                  </a:lnTo>
                  <a:lnTo>
                    <a:pt x="578" y="84"/>
                  </a:lnTo>
                  <a:lnTo>
                    <a:pt x="580" y="89"/>
                  </a:lnTo>
                  <a:lnTo>
                    <a:pt x="584" y="91"/>
                  </a:lnTo>
                  <a:lnTo>
                    <a:pt x="590" y="93"/>
                  </a:lnTo>
                  <a:lnTo>
                    <a:pt x="594" y="91"/>
                  </a:lnTo>
                  <a:lnTo>
                    <a:pt x="598" y="89"/>
                  </a:lnTo>
                  <a:lnTo>
                    <a:pt x="600" y="84"/>
                  </a:lnTo>
                  <a:lnTo>
                    <a:pt x="600" y="80"/>
                  </a:lnTo>
                  <a:lnTo>
                    <a:pt x="600" y="74"/>
                  </a:lnTo>
                  <a:lnTo>
                    <a:pt x="598" y="70"/>
                  </a:lnTo>
                  <a:lnTo>
                    <a:pt x="594" y="68"/>
                  </a:lnTo>
                  <a:lnTo>
                    <a:pt x="590" y="68"/>
                  </a:lnTo>
                  <a:close/>
                  <a:moveTo>
                    <a:pt x="346" y="41"/>
                  </a:moveTo>
                  <a:lnTo>
                    <a:pt x="336" y="43"/>
                  </a:lnTo>
                  <a:lnTo>
                    <a:pt x="328" y="48"/>
                  </a:lnTo>
                  <a:lnTo>
                    <a:pt x="322" y="54"/>
                  </a:lnTo>
                  <a:lnTo>
                    <a:pt x="318" y="62"/>
                  </a:lnTo>
                  <a:lnTo>
                    <a:pt x="316" y="70"/>
                  </a:lnTo>
                  <a:lnTo>
                    <a:pt x="318" y="80"/>
                  </a:lnTo>
                  <a:lnTo>
                    <a:pt x="322" y="89"/>
                  </a:lnTo>
                  <a:lnTo>
                    <a:pt x="328" y="95"/>
                  </a:lnTo>
                  <a:lnTo>
                    <a:pt x="336" y="99"/>
                  </a:lnTo>
                  <a:lnTo>
                    <a:pt x="346" y="101"/>
                  </a:lnTo>
                  <a:lnTo>
                    <a:pt x="354" y="99"/>
                  </a:lnTo>
                  <a:lnTo>
                    <a:pt x="363" y="95"/>
                  </a:lnTo>
                  <a:lnTo>
                    <a:pt x="369" y="89"/>
                  </a:lnTo>
                  <a:lnTo>
                    <a:pt x="373" y="80"/>
                  </a:lnTo>
                  <a:lnTo>
                    <a:pt x="375" y="70"/>
                  </a:lnTo>
                  <a:lnTo>
                    <a:pt x="373" y="62"/>
                  </a:lnTo>
                  <a:lnTo>
                    <a:pt x="369" y="54"/>
                  </a:lnTo>
                  <a:lnTo>
                    <a:pt x="363" y="48"/>
                  </a:lnTo>
                  <a:lnTo>
                    <a:pt x="354" y="43"/>
                  </a:lnTo>
                  <a:lnTo>
                    <a:pt x="346" y="41"/>
                  </a:lnTo>
                  <a:close/>
                  <a:moveTo>
                    <a:pt x="346" y="0"/>
                  </a:moveTo>
                  <a:lnTo>
                    <a:pt x="373" y="7"/>
                  </a:lnTo>
                  <a:lnTo>
                    <a:pt x="393" y="21"/>
                  </a:lnTo>
                  <a:lnTo>
                    <a:pt x="410" y="43"/>
                  </a:lnTo>
                  <a:lnTo>
                    <a:pt x="414" y="70"/>
                  </a:lnTo>
                  <a:lnTo>
                    <a:pt x="412" y="93"/>
                  </a:lnTo>
                  <a:lnTo>
                    <a:pt x="402" y="113"/>
                  </a:lnTo>
                  <a:lnTo>
                    <a:pt x="385" y="128"/>
                  </a:lnTo>
                  <a:lnTo>
                    <a:pt x="412" y="203"/>
                  </a:lnTo>
                  <a:lnTo>
                    <a:pt x="426" y="201"/>
                  </a:lnTo>
                  <a:lnTo>
                    <a:pt x="432" y="162"/>
                  </a:lnTo>
                  <a:lnTo>
                    <a:pt x="443" y="128"/>
                  </a:lnTo>
                  <a:lnTo>
                    <a:pt x="447" y="123"/>
                  </a:lnTo>
                  <a:lnTo>
                    <a:pt x="451" y="119"/>
                  </a:lnTo>
                  <a:lnTo>
                    <a:pt x="457" y="117"/>
                  </a:lnTo>
                  <a:lnTo>
                    <a:pt x="463" y="115"/>
                  </a:lnTo>
                  <a:lnTo>
                    <a:pt x="469" y="117"/>
                  </a:lnTo>
                  <a:lnTo>
                    <a:pt x="475" y="119"/>
                  </a:lnTo>
                  <a:lnTo>
                    <a:pt x="479" y="125"/>
                  </a:lnTo>
                  <a:lnTo>
                    <a:pt x="482" y="130"/>
                  </a:lnTo>
                  <a:lnTo>
                    <a:pt x="482" y="136"/>
                  </a:lnTo>
                  <a:lnTo>
                    <a:pt x="482" y="144"/>
                  </a:lnTo>
                  <a:lnTo>
                    <a:pt x="471" y="177"/>
                  </a:lnTo>
                  <a:lnTo>
                    <a:pt x="467" y="203"/>
                  </a:lnTo>
                  <a:lnTo>
                    <a:pt x="479" y="205"/>
                  </a:lnTo>
                  <a:lnTo>
                    <a:pt x="490" y="210"/>
                  </a:lnTo>
                  <a:lnTo>
                    <a:pt x="545" y="109"/>
                  </a:lnTo>
                  <a:lnTo>
                    <a:pt x="541" y="101"/>
                  </a:lnTo>
                  <a:lnTo>
                    <a:pt x="539" y="91"/>
                  </a:lnTo>
                  <a:lnTo>
                    <a:pt x="537" y="80"/>
                  </a:lnTo>
                  <a:lnTo>
                    <a:pt x="541" y="60"/>
                  </a:lnTo>
                  <a:lnTo>
                    <a:pt x="551" y="43"/>
                  </a:lnTo>
                  <a:lnTo>
                    <a:pt x="570" y="31"/>
                  </a:lnTo>
                  <a:lnTo>
                    <a:pt x="590" y="27"/>
                  </a:lnTo>
                  <a:lnTo>
                    <a:pt x="609" y="31"/>
                  </a:lnTo>
                  <a:lnTo>
                    <a:pt x="627" y="43"/>
                  </a:lnTo>
                  <a:lnTo>
                    <a:pt x="637" y="60"/>
                  </a:lnTo>
                  <a:lnTo>
                    <a:pt x="641" y="80"/>
                  </a:lnTo>
                  <a:lnTo>
                    <a:pt x="637" y="101"/>
                  </a:lnTo>
                  <a:lnTo>
                    <a:pt x="627" y="117"/>
                  </a:lnTo>
                  <a:lnTo>
                    <a:pt x="609" y="128"/>
                  </a:lnTo>
                  <a:lnTo>
                    <a:pt x="590" y="132"/>
                  </a:lnTo>
                  <a:lnTo>
                    <a:pt x="580" y="132"/>
                  </a:lnTo>
                  <a:lnTo>
                    <a:pt x="529" y="222"/>
                  </a:lnTo>
                  <a:lnTo>
                    <a:pt x="543" y="230"/>
                  </a:lnTo>
                  <a:lnTo>
                    <a:pt x="555" y="238"/>
                  </a:lnTo>
                  <a:lnTo>
                    <a:pt x="566" y="230"/>
                  </a:lnTo>
                  <a:lnTo>
                    <a:pt x="576" y="220"/>
                  </a:lnTo>
                  <a:lnTo>
                    <a:pt x="592" y="205"/>
                  </a:lnTo>
                  <a:lnTo>
                    <a:pt x="611" y="191"/>
                  </a:lnTo>
                  <a:lnTo>
                    <a:pt x="617" y="189"/>
                  </a:lnTo>
                  <a:lnTo>
                    <a:pt x="623" y="189"/>
                  </a:lnTo>
                  <a:lnTo>
                    <a:pt x="629" y="189"/>
                  </a:lnTo>
                  <a:lnTo>
                    <a:pt x="633" y="193"/>
                  </a:lnTo>
                  <a:lnTo>
                    <a:pt x="637" y="197"/>
                  </a:lnTo>
                  <a:lnTo>
                    <a:pt x="641" y="203"/>
                  </a:lnTo>
                  <a:lnTo>
                    <a:pt x="641" y="210"/>
                  </a:lnTo>
                  <a:lnTo>
                    <a:pt x="641" y="216"/>
                  </a:lnTo>
                  <a:lnTo>
                    <a:pt x="637" y="222"/>
                  </a:lnTo>
                  <a:lnTo>
                    <a:pt x="633" y="226"/>
                  </a:lnTo>
                  <a:lnTo>
                    <a:pt x="619" y="236"/>
                  </a:lnTo>
                  <a:lnTo>
                    <a:pt x="604" y="251"/>
                  </a:lnTo>
                  <a:lnTo>
                    <a:pt x="588" y="265"/>
                  </a:lnTo>
                  <a:lnTo>
                    <a:pt x="598" y="277"/>
                  </a:lnTo>
                  <a:lnTo>
                    <a:pt x="609" y="291"/>
                  </a:lnTo>
                  <a:lnTo>
                    <a:pt x="713" y="251"/>
                  </a:lnTo>
                  <a:lnTo>
                    <a:pt x="717" y="224"/>
                  </a:lnTo>
                  <a:lnTo>
                    <a:pt x="732" y="203"/>
                  </a:lnTo>
                  <a:lnTo>
                    <a:pt x="752" y="189"/>
                  </a:lnTo>
                  <a:lnTo>
                    <a:pt x="777" y="185"/>
                  </a:lnTo>
                  <a:lnTo>
                    <a:pt x="803" y="189"/>
                  </a:lnTo>
                  <a:lnTo>
                    <a:pt x="824" y="203"/>
                  </a:lnTo>
                  <a:lnTo>
                    <a:pt x="838" y="224"/>
                  </a:lnTo>
                  <a:lnTo>
                    <a:pt x="842" y="251"/>
                  </a:lnTo>
                  <a:lnTo>
                    <a:pt x="838" y="275"/>
                  </a:lnTo>
                  <a:lnTo>
                    <a:pt x="824" y="296"/>
                  </a:lnTo>
                  <a:lnTo>
                    <a:pt x="803" y="310"/>
                  </a:lnTo>
                  <a:lnTo>
                    <a:pt x="777" y="316"/>
                  </a:lnTo>
                  <a:lnTo>
                    <a:pt x="756" y="312"/>
                  </a:lnTo>
                  <a:lnTo>
                    <a:pt x="740" y="302"/>
                  </a:lnTo>
                  <a:lnTo>
                    <a:pt x="725" y="287"/>
                  </a:lnTo>
                  <a:lnTo>
                    <a:pt x="625" y="326"/>
                  </a:lnTo>
                  <a:lnTo>
                    <a:pt x="627" y="332"/>
                  </a:lnTo>
                  <a:lnTo>
                    <a:pt x="631" y="349"/>
                  </a:lnTo>
                  <a:lnTo>
                    <a:pt x="697" y="349"/>
                  </a:lnTo>
                  <a:lnTo>
                    <a:pt x="736" y="347"/>
                  </a:lnTo>
                  <a:lnTo>
                    <a:pt x="742" y="347"/>
                  </a:lnTo>
                  <a:lnTo>
                    <a:pt x="748" y="351"/>
                  </a:lnTo>
                  <a:lnTo>
                    <a:pt x="752" y="355"/>
                  </a:lnTo>
                  <a:lnTo>
                    <a:pt x="756" y="359"/>
                  </a:lnTo>
                  <a:lnTo>
                    <a:pt x="756" y="367"/>
                  </a:lnTo>
                  <a:lnTo>
                    <a:pt x="756" y="373"/>
                  </a:lnTo>
                  <a:lnTo>
                    <a:pt x="752" y="378"/>
                  </a:lnTo>
                  <a:lnTo>
                    <a:pt x="748" y="382"/>
                  </a:lnTo>
                  <a:lnTo>
                    <a:pt x="744" y="386"/>
                  </a:lnTo>
                  <a:lnTo>
                    <a:pt x="738" y="386"/>
                  </a:lnTo>
                  <a:lnTo>
                    <a:pt x="699" y="388"/>
                  </a:lnTo>
                  <a:lnTo>
                    <a:pt x="652" y="390"/>
                  </a:lnTo>
                  <a:lnTo>
                    <a:pt x="635" y="390"/>
                  </a:lnTo>
                  <a:lnTo>
                    <a:pt x="627" y="429"/>
                  </a:lnTo>
                  <a:lnTo>
                    <a:pt x="691" y="453"/>
                  </a:lnTo>
                  <a:lnTo>
                    <a:pt x="711" y="439"/>
                  </a:lnTo>
                  <a:lnTo>
                    <a:pt x="736" y="433"/>
                  </a:lnTo>
                  <a:lnTo>
                    <a:pt x="758" y="437"/>
                  </a:lnTo>
                  <a:lnTo>
                    <a:pt x="777" y="449"/>
                  </a:lnTo>
                  <a:lnTo>
                    <a:pt x="789" y="468"/>
                  </a:lnTo>
                  <a:lnTo>
                    <a:pt x="795" y="490"/>
                  </a:lnTo>
                  <a:lnTo>
                    <a:pt x="789" y="513"/>
                  </a:lnTo>
                  <a:lnTo>
                    <a:pt x="777" y="531"/>
                  </a:lnTo>
                  <a:lnTo>
                    <a:pt x="758" y="544"/>
                  </a:lnTo>
                  <a:lnTo>
                    <a:pt x="736" y="550"/>
                  </a:lnTo>
                  <a:lnTo>
                    <a:pt x="713" y="544"/>
                  </a:lnTo>
                  <a:lnTo>
                    <a:pt x="695" y="531"/>
                  </a:lnTo>
                  <a:lnTo>
                    <a:pt x="682" y="513"/>
                  </a:lnTo>
                  <a:lnTo>
                    <a:pt x="678" y="490"/>
                  </a:lnTo>
                  <a:lnTo>
                    <a:pt x="609" y="466"/>
                  </a:lnTo>
                  <a:lnTo>
                    <a:pt x="609" y="466"/>
                  </a:lnTo>
                  <a:lnTo>
                    <a:pt x="602" y="474"/>
                  </a:lnTo>
                  <a:lnTo>
                    <a:pt x="594" y="482"/>
                  </a:lnTo>
                  <a:lnTo>
                    <a:pt x="598" y="486"/>
                  </a:lnTo>
                  <a:lnTo>
                    <a:pt x="602" y="492"/>
                  </a:lnTo>
                  <a:lnTo>
                    <a:pt x="607" y="496"/>
                  </a:lnTo>
                  <a:lnTo>
                    <a:pt x="613" y="501"/>
                  </a:lnTo>
                  <a:lnTo>
                    <a:pt x="617" y="503"/>
                  </a:lnTo>
                  <a:lnTo>
                    <a:pt x="621" y="509"/>
                  </a:lnTo>
                  <a:lnTo>
                    <a:pt x="623" y="513"/>
                  </a:lnTo>
                  <a:lnTo>
                    <a:pt x="625" y="519"/>
                  </a:lnTo>
                  <a:lnTo>
                    <a:pt x="623" y="525"/>
                  </a:lnTo>
                  <a:lnTo>
                    <a:pt x="619" y="531"/>
                  </a:lnTo>
                  <a:lnTo>
                    <a:pt x="615" y="535"/>
                  </a:lnTo>
                  <a:lnTo>
                    <a:pt x="611" y="537"/>
                  </a:lnTo>
                  <a:lnTo>
                    <a:pt x="604" y="537"/>
                  </a:lnTo>
                  <a:lnTo>
                    <a:pt x="596" y="537"/>
                  </a:lnTo>
                  <a:lnTo>
                    <a:pt x="578" y="525"/>
                  </a:lnTo>
                  <a:lnTo>
                    <a:pt x="564" y="507"/>
                  </a:lnTo>
                  <a:lnTo>
                    <a:pt x="549" y="515"/>
                  </a:lnTo>
                  <a:lnTo>
                    <a:pt x="568" y="550"/>
                  </a:lnTo>
                  <a:lnTo>
                    <a:pt x="574" y="550"/>
                  </a:lnTo>
                  <a:lnTo>
                    <a:pt x="598" y="554"/>
                  </a:lnTo>
                  <a:lnTo>
                    <a:pt x="617" y="566"/>
                  </a:lnTo>
                  <a:lnTo>
                    <a:pt x="629" y="587"/>
                  </a:lnTo>
                  <a:lnTo>
                    <a:pt x="635" y="609"/>
                  </a:lnTo>
                  <a:lnTo>
                    <a:pt x="629" y="634"/>
                  </a:lnTo>
                  <a:lnTo>
                    <a:pt x="617" y="652"/>
                  </a:lnTo>
                  <a:lnTo>
                    <a:pt x="598" y="665"/>
                  </a:lnTo>
                  <a:lnTo>
                    <a:pt x="574" y="671"/>
                  </a:lnTo>
                  <a:lnTo>
                    <a:pt x="551" y="665"/>
                  </a:lnTo>
                  <a:lnTo>
                    <a:pt x="531" y="652"/>
                  </a:lnTo>
                  <a:lnTo>
                    <a:pt x="518" y="634"/>
                  </a:lnTo>
                  <a:lnTo>
                    <a:pt x="514" y="609"/>
                  </a:lnTo>
                  <a:lnTo>
                    <a:pt x="518" y="587"/>
                  </a:lnTo>
                  <a:lnTo>
                    <a:pt x="531" y="568"/>
                  </a:lnTo>
                  <a:lnTo>
                    <a:pt x="510" y="529"/>
                  </a:lnTo>
                  <a:lnTo>
                    <a:pt x="496" y="531"/>
                  </a:lnTo>
                  <a:lnTo>
                    <a:pt x="498" y="546"/>
                  </a:lnTo>
                  <a:lnTo>
                    <a:pt x="500" y="558"/>
                  </a:lnTo>
                  <a:lnTo>
                    <a:pt x="502" y="564"/>
                  </a:lnTo>
                  <a:lnTo>
                    <a:pt x="500" y="570"/>
                  </a:lnTo>
                  <a:lnTo>
                    <a:pt x="496" y="574"/>
                  </a:lnTo>
                  <a:lnTo>
                    <a:pt x="492" y="578"/>
                  </a:lnTo>
                  <a:lnTo>
                    <a:pt x="486" y="583"/>
                  </a:lnTo>
                  <a:lnTo>
                    <a:pt x="482" y="583"/>
                  </a:lnTo>
                  <a:lnTo>
                    <a:pt x="475" y="583"/>
                  </a:lnTo>
                  <a:lnTo>
                    <a:pt x="469" y="578"/>
                  </a:lnTo>
                  <a:lnTo>
                    <a:pt x="465" y="574"/>
                  </a:lnTo>
                  <a:lnTo>
                    <a:pt x="461" y="568"/>
                  </a:lnTo>
                  <a:lnTo>
                    <a:pt x="459" y="552"/>
                  </a:lnTo>
                  <a:lnTo>
                    <a:pt x="457" y="537"/>
                  </a:lnTo>
                  <a:lnTo>
                    <a:pt x="443" y="537"/>
                  </a:lnTo>
                  <a:lnTo>
                    <a:pt x="443" y="537"/>
                  </a:lnTo>
                  <a:lnTo>
                    <a:pt x="436" y="537"/>
                  </a:lnTo>
                  <a:lnTo>
                    <a:pt x="432" y="572"/>
                  </a:lnTo>
                  <a:lnTo>
                    <a:pt x="453" y="587"/>
                  </a:lnTo>
                  <a:lnTo>
                    <a:pt x="465" y="609"/>
                  </a:lnTo>
                  <a:lnTo>
                    <a:pt x="471" y="634"/>
                  </a:lnTo>
                  <a:lnTo>
                    <a:pt x="465" y="660"/>
                  </a:lnTo>
                  <a:lnTo>
                    <a:pt x="451" y="681"/>
                  </a:lnTo>
                  <a:lnTo>
                    <a:pt x="430" y="695"/>
                  </a:lnTo>
                  <a:lnTo>
                    <a:pt x="406" y="699"/>
                  </a:lnTo>
                  <a:lnTo>
                    <a:pt x="379" y="695"/>
                  </a:lnTo>
                  <a:lnTo>
                    <a:pt x="359" y="681"/>
                  </a:lnTo>
                  <a:lnTo>
                    <a:pt x="344" y="660"/>
                  </a:lnTo>
                  <a:lnTo>
                    <a:pt x="338" y="634"/>
                  </a:lnTo>
                  <a:lnTo>
                    <a:pt x="342" y="611"/>
                  </a:lnTo>
                  <a:lnTo>
                    <a:pt x="354" y="591"/>
                  </a:lnTo>
                  <a:lnTo>
                    <a:pt x="371" y="576"/>
                  </a:lnTo>
                  <a:lnTo>
                    <a:pt x="391" y="568"/>
                  </a:lnTo>
                  <a:lnTo>
                    <a:pt x="395" y="533"/>
                  </a:lnTo>
                  <a:lnTo>
                    <a:pt x="373" y="527"/>
                  </a:lnTo>
                  <a:lnTo>
                    <a:pt x="352" y="521"/>
                  </a:lnTo>
                  <a:lnTo>
                    <a:pt x="352" y="521"/>
                  </a:lnTo>
                  <a:lnTo>
                    <a:pt x="344" y="531"/>
                  </a:lnTo>
                  <a:lnTo>
                    <a:pt x="336" y="542"/>
                  </a:lnTo>
                  <a:lnTo>
                    <a:pt x="328" y="552"/>
                  </a:lnTo>
                  <a:lnTo>
                    <a:pt x="322" y="562"/>
                  </a:lnTo>
                  <a:lnTo>
                    <a:pt x="316" y="570"/>
                  </a:lnTo>
                  <a:lnTo>
                    <a:pt x="311" y="574"/>
                  </a:lnTo>
                  <a:lnTo>
                    <a:pt x="307" y="578"/>
                  </a:lnTo>
                  <a:lnTo>
                    <a:pt x="303" y="580"/>
                  </a:lnTo>
                  <a:lnTo>
                    <a:pt x="297" y="580"/>
                  </a:lnTo>
                  <a:lnTo>
                    <a:pt x="293" y="580"/>
                  </a:lnTo>
                  <a:lnTo>
                    <a:pt x="289" y="578"/>
                  </a:lnTo>
                  <a:lnTo>
                    <a:pt x="283" y="574"/>
                  </a:lnTo>
                  <a:lnTo>
                    <a:pt x="279" y="570"/>
                  </a:lnTo>
                  <a:lnTo>
                    <a:pt x="277" y="564"/>
                  </a:lnTo>
                  <a:lnTo>
                    <a:pt x="279" y="558"/>
                  </a:lnTo>
                  <a:lnTo>
                    <a:pt x="281" y="552"/>
                  </a:lnTo>
                  <a:lnTo>
                    <a:pt x="293" y="533"/>
                  </a:lnTo>
                  <a:lnTo>
                    <a:pt x="305" y="517"/>
                  </a:lnTo>
                  <a:lnTo>
                    <a:pt x="318" y="503"/>
                  </a:lnTo>
                  <a:lnTo>
                    <a:pt x="299" y="492"/>
                  </a:lnTo>
                  <a:lnTo>
                    <a:pt x="285" y="478"/>
                  </a:lnTo>
                  <a:lnTo>
                    <a:pt x="225" y="525"/>
                  </a:lnTo>
                  <a:lnTo>
                    <a:pt x="227" y="537"/>
                  </a:lnTo>
                  <a:lnTo>
                    <a:pt x="227" y="550"/>
                  </a:lnTo>
                  <a:lnTo>
                    <a:pt x="221" y="572"/>
                  </a:lnTo>
                  <a:lnTo>
                    <a:pt x="209" y="589"/>
                  </a:lnTo>
                  <a:lnTo>
                    <a:pt x="191" y="601"/>
                  </a:lnTo>
                  <a:lnTo>
                    <a:pt x="168" y="605"/>
                  </a:lnTo>
                  <a:lnTo>
                    <a:pt x="162" y="605"/>
                  </a:lnTo>
                  <a:lnTo>
                    <a:pt x="139" y="597"/>
                  </a:lnTo>
                  <a:lnTo>
                    <a:pt x="121" y="583"/>
                  </a:lnTo>
                  <a:lnTo>
                    <a:pt x="111" y="562"/>
                  </a:lnTo>
                  <a:lnTo>
                    <a:pt x="109" y="540"/>
                  </a:lnTo>
                  <a:lnTo>
                    <a:pt x="115" y="517"/>
                  </a:lnTo>
                  <a:lnTo>
                    <a:pt x="129" y="499"/>
                  </a:lnTo>
                  <a:lnTo>
                    <a:pt x="150" y="486"/>
                  </a:lnTo>
                  <a:lnTo>
                    <a:pt x="174" y="484"/>
                  </a:lnTo>
                  <a:lnTo>
                    <a:pt x="182" y="486"/>
                  </a:lnTo>
                  <a:lnTo>
                    <a:pt x="193" y="488"/>
                  </a:lnTo>
                  <a:lnTo>
                    <a:pt x="201" y="494"/>
                  </a:lnTo>
                  <a:lnTo>
                    <a:pt x="258" y="449"/>
                  </a:lnTo>
                  <a:lnTo>
                    <a:pt x="250" y="437"/>
                  </a:lnTo>
                  <a:lnTo>
                    <a:pt x="250" y="437"/>
                  </a:lnTo>
                  <a:lnTo>
                    <a:pt x="242" y="439"/>
                  </a:lnTo>
                  <a:lnTo>
                    <a:pt x="221" y="445"/>
                  </a:lnTo>
                  <a:lnTo>
                    <a:pt x="201" y="455"/>
                  </a:lnTo>
                  <a:lnTo>
                    <a:pt x="195" y="460"/>
                  </a:lnTo>
                  <a:lnTo>
                    <a:pt x="189" y="460"/>
                  </a:lnTo>
                  <a:lnTo>
                    <a:pt x="184" y="460"/>
                  </a:lnTo>
                  <a:lnTo>
                    <a:pt x="178" y="455"/>
                  </a:lnTo>
                  <a:lnTo>
                    <a:pt x="174" y="451"/>
                  </a:lnTo>
                  <a:lnTo>
                    <a:pt x="170" y="445"/>
                  </a:lnTo>
                  <a:lnTo>
                    <a:pt x="170" y="439"/>
                  </a:lnTo>
                  <a:lnTo>
                    <a:pt x="170" y="433"/>
                  </a:lnTo>
                  <a:lnTo>
                    <a:pt x="172" y="429"/>
                  </a:lnTo>
                  <a:lnTo>
                    <a:pt x="178" y="425"/>
                  </a:lnTo>
                  <a:lnTo>
                    <a:pt x="195" y="412"/>
                  </a:lnTo>
                  <a:lnTo>
                    <a:pt x="213" y="406"/>
                  </a:lnTo>
                  <a:lnTo>
                    <a:pt x="232" y="400"/>
                  </a:lnTo>
                  <a:lnTo>
                    <a:pt x="234" y="400"/>
                  </a:lnTo>
                  <a:lnTo>
                    <a:pt x="229" y="384"/>
                  </a:lnTo>
                  <a:lnTo>
                    <a:pt x="129" y="382"/>
                  </a:lnTo>
                  <a:lnTo>
                    <a:pt x="121" y="402"/>
                  </a:lnTo>
                  <a:lnTo>
                    <a:pt x="107" y="419"/>
                  </a:lnTo>
                  <a:lnTo>
                    <a:pt x="88" y="429"/>
                  </a:lnTo>
                  <a:lnTo>
                    <a:pt x="66" y="433"/>
                  </a:lnTo>
                  <a:lnTo>
                    <a:pt x="39" y="427"/>
                  </a:lnTo>
                  <a:lnTo>
                    <a:pt x="18" y="412"/>
                  </a:lnTo>
                  <a:lnTo>
                    <a:pt x="6" y="392"/>
                  </a:lnTo>
                  <a:lnTo>
                    <a:pt x="0" y="367"/>
                  </a:lnTo>
                  <a:lnTo>
                    <a:pt x="6" y="341"/>
                  </a:lnTo>
                  <a:lnTo>
                    <a:pt x="18" y="320"/>
                  </a:lnTo>
                  <a:lnTo>
                    <a:pt x="39" y="306"/>
                  </a:lnTo>
                  <a:lnTo>
                    <a:pt x="66" y="302"/>
                  </a:lnTo>
                  <a:lnTo>
                    <a:pt x="90" y="306"/>
                  </a:lnTo>
                  <a:lnTo>
                    <a:pt x="113" y="320"/>
                  </a:lnTo>
                  <a:lnTo>
                    <a:pt x="125" y="343"/>
                  </a:lnTo>
                  <a:lnTo>
                    <a:pt x="229" y="343"/>
                  </a:lnTo>
                  <a:lnTo>
                    <a:pt x="234" y="332"/>
                  </a:lnTo>
                  <a:lnTo>
                    <a:pt x="236" y="320"/>
                  </a:lnTo>
                  <a:lnTo>
                    <a:pt x="225" y="316"/>
                  </a:lnTo>
                  <a:lnTo>
                    <a:pt x="205" y="308"/>
                  </a:lnTo>
                  <a:lnTo>
                    <a:pt x="186" y="304"/>
                  </a:lnTo>
                  <a:lnTo>
                    <a:pt x="180" y="302"/>
                  </a:lnTo>
                  <a:lnTo>
                    <a:pt x="176" y="300"/>
                  </a:lnTo>
                  <a:lnTo>
                    <a:pt x="172" y="294"/>
                  </a:lnTo>
                  <a:lnTo>
                    <a:pt x="170" y="287"/>
                  </a:lnTo>
                  <a:lnTo>
                    <a:pt x="170" y="281"/>
                  </a:lnTo>
                  <a:lnTo>
                    <a:pt x="172" y="275"/>
                  </a:lnTo>
                  <a:lnTo>
                    <a:pt x="174" y="271"/>
                  </a:lnTo>
                  <a:lnTo>
                    <a:pt x="180" y="267"/>
                  </a:lnTo>
                  <a:lnTo>
                    <a:pt x="184" y="265"/>
                  </a:lnTo>
                  <a:lnTo>
                    <a:pt x="193" y="265"/>
                  </a:lnTo>
                  <a:lnTo>
                    <a:pt x="217" y="271"/>
                  </a:lnTo>
                  <a:lnTo>
                    <a:pt x="240" y="279"/>
                  </a:lnTo>
                  <a:lnTo>
                    <a:pt x="256" y="285"/>
                  </a:lnTo>
                  <a:lnTo>
                    <a:pt x="270" y="269"/>
                  </a:lnTo>
                  <a:lnTo>
                    <a:pt x="289" y="253"/>
                  </a:lnTo>
                  <a:lnTo>
                    <a:pt x="250" y="218"/>
                  </a:lnTo>
                  <a:lnTo>
                    <a:pt x="234" y="226"/>
                  </a:lnTo>
                  <a:lnTo>
                    <a:pt x="215" y="228"/>
                  </a:lnTo>
                  <a:lnTo>
                    <a:pt x="191" y="222"/>
                  </a:lnTo>
                  <a:lnTo>
                    <a:pt x="172" y="210"/>
                  </a:lnTo>
                  <a:lnTo>
                    <a:pt x="158" y="189"/>
                  </a:lnTo>
                  <a:lnTo>
                    <a:pt x="154" y="164"/>
                  </a:lnTo>
                  <a:lnTo>
                    <a:pt x="158" y="142"/>
                  </a:lnTo>
                  <a:lnTo>
                    <a:pt x="172" y="121"/>
                  </a:lnTo>
                  <a:lnTo>
                    <a:pt x="191" y="107"/>
                  </a:lnTo>
                  <a:lnTo>
                    <a:pt x="215" y="103"/>
                  </a:lnTo>
                  <a:lnTo>
                    <a:pt x="240" y="107"/>
                  </a:lnTo>
                  <a:lnTo>
                    <a:pt x="260" y="121"/>
                  </a:lnTo>
                  <a:lnTo>
                    <a:pt x="273" y="142"/>
                  </a:lnTo>
                  <a:lnTo>
                    <a:pt x="279" y="164"/>
                  </a:lnTo>
                  <a:lnTo>
                    <a:pt x="277" y="177"/>
                  </a:lnTo>
                  <a:lnTo>
                    <a:pt x="275" y="185"/>
                  </a:lnTo>
                  <a:lnTo>
                    <a:pt x="324" y="230"/>
                  </a:lnTo>
                  <a:lnTo>
                    <a:pt x="346" y="218"/>
                  </a:lnTo>
                  <a:lnTo>
                    <a:pt x="371" y="210"/>
                  </a:lnTo>
                  <a:lnTo>
                    <a:pt x="348" y="140"/>
                  </a:lnTo>
                  <a:lnTo>
                    <a:pt x="346" y="140"/>
                  </a:lnTo>
                  <a:lnTo>
                    <a:pt x="318" y="134"/>
                  </a:lnTo>
                  <a:lnTo>
                    <a:pt x="297" y="119"/>
                  </a:lnTo>
                  <a:lnTo>
                    <a:pt x="281" y="97"/>
                  </a:lnTo>
                  <a:lnTo>
                    <a:pt x="277" y="70"/>
                  </a:lnTo>
                  <a:lnTo>
                    <a:pt x="281" y="43"/>
                  </a:lnTo>
                  <a:lnTo>
                    <a:pt x="297" y="21"/>
                  </a:lnTo>
                  <a:lnTo>
                    <a:pt x="318" y="7"/>
                  </a:lnTo>
                  <a:lnTo>
                    <a:pt x="346" y="0"/>
                  </a:lnTo>
                  <a:close/>
                </a:path>
              </a:pathLst>
            </a:custGeom>
            <a:grpFill/>
            <a:ln w="0">
              <a:noFill/>
              <a:prstDash val="solid"/>
              <a:round/>
              <a:headEnd/>
              <a:tailEnd/>
            </a:ln>
          </p:spPr>
          <p:txBody>
            <a:bodyPr vert="horz" wrap="square" lIns="91401" tIns="45701" rIns="91401" bIns="45701" numCol="1" anchor="t" anchorCtr="0" compatLnSpc="1">
              <a:prstTxWarp prst="textNoShape">
                <a:avLst/>
              </a:prstTxWarp>
            </a:bodyPr>
            <a:lstStyle/>
            <a:p>
              <a:pPr marL="0" marR="0" lvl="0" indent="0" algn="l" defTabSz="914034" rtl="0" eaLnBrk="0" fontAlgn="base" latinLnBrk="0" hangingPunct="0">
                <a:lnSpc>
                  <a:spcPct val="100000"/>
                </a:lnSpc>
                <a:spcBef>
                  <a:spcPct val="0"/>
                </a:spcBef>
                <a:spcAft>
                  <a:spcPct val="0"/>
                </a:spcAft>
                <a:buClrTx/>
                <a:buSzTx/>
                <a:buFontTx/>
                <a:buNone/>
                <a:tabLst/>
                <a:defRPr/>
              </a:pPr>
              <a:endParaRPr kumimoji="0" lang="pt-BR" sz="1799"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
          <p:nvSpPr>
            <p:cNvPr id="165" name="Freeform 170">
              <a:extLst>
                <a:ext uri="{FF2B5EF4-FFF2-40B4-BE49-F238E27FC236}">
                  <a16:creationId xmlns="" xmlns:a16="http://schemas.microsoft.com/office/drawing/2014/main" id="{E16AA04F-A2A4-47AD-BC19-C4C93F7B4156}"/>
                </a:ext>
              </a:extLst>
            </p:cNvPr>
            <p:cNvSpPr>
              <a:spLocks noEditPoints="1"/>
            </p:cNvSpPr>
            <p:nvPr/>
          </p:nvSpPr>
          <p:spPr bwMode="auto">
            <a:xfrm>
              <a:off x="4575176" y="2163763"/>
              <a:ext cx="220663" cy="220663"/>
            </a:xfrm>
            <a:custGeom>
              <a:avLst/>
              <a:gdLst>
                <a:gd name="T0" fmla="*/ 69 w 139"/>
                <a:gd name="T1" fmla="*/ 41 h 139"/>
                <a:gd name="T2" fmla="*/ 61 w 139"/>
                <a:gd name="T3" fmla="*/ 41 h 139"/>
                <a:gd name="T4" fmla="*/ 53 w 139"/>
                <a:gd name="T5" fmla="*/ 45 h 139"/>
                <a:gd name="T6" fmla="*/ 47 w 139"/>
                <a:gd name="T7" fmla="*/ 53 h 139"/>
                <a:gd name="T8" fmla="*/ 43 w 139"/>
                <a:gd name="T9" fmla="*/ 61 h 139"/>
                <a:gd name="T10" fmla="*/ 41 w 139"/>
                <a:gd name="T11" fmla="*/ 70 h 139"/>
                <a:gd name="T12" fmla="*/ 43 w 139"/>
                <a:gd name="T13" fmla="*/ 80 h 139"/>
                <a:gd name="T14" fmla="*/ 47 w 139"/>
                <a:gd name="T15" fmla="*/ 88 h 139"/>
                <a:gd name="T16" fmla="*/ 53 w 139"/>
                <a:gd name="T17" fmla="*/ 94 h 139"/>
                <a:gd name="T18" fmla="*/ 61 w 139"/>
                <a:gd name="T19" fmla="*/ 98 h 139"/>
                <a:gd name="T20" fmla="*/ 69 w 139"/>
                <a:gd name="T21" fmla="*/ 100 h 139"/>
                <a:gd name="T22" fmla="*/ 80 w 139"/>
                <a:gd name="T23" fmla="*/ 98 h 139"/>
                <a:gd name="T24" fmla="*/ 88 w 139"/>
                <a:gd name="T25" fmla="*/ 94 h 139"/>
                <a:gd name="T26" fmla="*/ 94 w 139"/>
                <a:gd name="T27" fmla="*/ 88 h 139"/>
                <a:gd name="T28" fmla="*/ 98 w 139"/>
                <a:gd name="T29" fmla="*/ 80 h 139"/>
                <a:gd name="T30" fmla="*/ 100 w 139"/>
                <a:gd name="T31" fmla="*/ 70 h 139"/>
                <a:gd name="T32" fmla="*/ 98 w 139"/>
                <a:gd name="T33" fmla="*/ 61 h 139"/>
                <a:gd name="T34" fmla="*/ 94 w 139"/>
                <a:gd name="T35" fmla="*/ 53 h 139"/>
                <a:gd name="T36" fmla="*/ 88 w 139"/>
                <a:gd name="T37" fmla="*/ 45 h 139"/>
                <a:gd name="T38" fmla="*/ 80 w 139"/>
                <a:gd name="T39" fmla="*/ 41 h 139"/>
                <a:gd name="T40" fmla="*/ 69 w 139"/>
                <a:gd name="T41" fmla="*/ 41 h 139"/>
                <a:gd name="T42" fmla="*/ 69 w 139"/>
                <a:gd name="T43" fmla="*/ 0 h 139"/>
                <a:gd name="T44" fmla="*/ 98 w 139"/>
                <a:gd name="T45" fmla="*/ 6 h 139"/>
                <a:gd name="T46" fmla="*/ 119 w 139"/>
                <a:gd name="T47" fmla="*/ 20 h 139"/>
                <a:gd name="T48" fmla="*/ 135 w 139"/>
                <a:gd name="T49" fmla="*/ 43 h 139"/>
                <a:gd name="T50" fmla="*/ 139 w 139"/>
                <a:gd name="T51" fmla="*/ 70 h 139"/>
                <a:gd name="T52" fmla="*/ 135 w 139"/>
                <a:gd name="T53" fmla="*/ 96 h 139"/>
                <a:gd name="T54" fmla="*/ 119 w 139"/>
                <a:gd name="T55" fmla="*/ 119 h 139"/>
                <a:gd name="T56" fmla="*/ 98 w 139"/>
                <a:gd name="T57" fmla="*/ 135 h 139"/>
                <a:gd name="T58" fmla="*/ 69 w 139"/>
                <a:gd name="T59" fmla="*/ 139 h 139"/>
                <a:gd name="T60" fmla="*/ 43 w 139"/>
                <a:gd name="T61" fmla="*/ 135 h 139"/>
                <a:gd name="T62" fmla="*/ 20 w 139"/>
                <a:gd name="T63" fmla="*/ 119 h 139"/>
                <a:gd name="T64" fmla="*/ 6 w 139"/>
                <a:gd name="T65" fmla="*/ 96 h 139"/>
                <a:gd name="T66" fmla="*/ 0 w 139"/>
                <a:gd name="T67" fmla="*/ 70 h 139"/>
                <a:gd name="T68" fmla="*/ 6 w 139"/>
                <a:gd name="T69" fmla="*/ 43 h 139"/>
                <a:gd name="T70" fmla="*/ 20 w 139"/>
                <a:gd name="T71" fmla="*/ 20 h 139"/>
                <a:gd name="T72" fmla="*/ 43 w 139"/>
                <a:gd name="T73" fmla="*/ 6 h 139"/>
                <a:gd name="T74" fmla="*/ 69 w 139"/>
                <a:gd name="T75"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9" h="139">
                  <a:moveTo>
                    <a:pt x="69" y="41"/>
                  </a:moveTo>
                  <a:lnTo>
                    <a:pt x="61" y="41"/>
                  </a:lnTo>
                  <a:lnTo>
                    <a:pt x="53" y="45"/>
                  </a:lnTo>
                  <a:lnTo>
                    <a:pt x="47" y="53"/>
                  </a:lnTo>
                  <a:lnTo>
                    <a:pt x="43" y="61"/>
                  </a:lnTo>
                  <a:lnTo>
                    <a:pt x="41" y="70"/>
                  </a:lnTo>
                  <a:lnTo>
                    <a:pt x="43" y="80"/>
                  </a:lnTo>
                  <a:lnTo>
                    <a:pt x="47" y="88"/>
                  </a:lnTo>
                  <a:lnTo>
                    <a:pt x="53" y="94"/>
                  </a:lnTo>
                  <a:lnTo>
                    <a:pt x="61" y="98"/>
                  </a:lnTo>
                  <a:lnTo>
                    <a:pt x="69" y="100"/>
                  </a:lnTo>
                  <a:lnTo>
                    <a:pt x="80" y="98"/>
                  </a:lnTo>
                  <a:lnTo>
                    <a:pt x="88" y="94"/>
                  </a:lnTo>
                  <a:lnTo>
                    <a:pt x="94" y="88"/>
                  </a:lnTo>
                  <a:lnTo>
                    <a:pt x="98" y="80"/>
                  </a:lnTo>
                  <a:lnTo>
                    <a:pt x="100" y="70"/>
                  </a:lnTo>
                  <a:lnTo>
                    <a:pt x="98" y="61"/>
                  </a:lnTo>
                  <a:lnTo>
                    <a:pt x="94" y="53"/>
                  </a:lnTo>
                  <a:lnTo>
                    <a:pt x="88" y="45"/>
                  </a:lnTo>
                  <a:lnTo>
                    <a:pt x="80" y="41"/>
                  </a:lnTo>
                  <a:lnTo>
                    <a:pt x="69" y="41"/>
                  </a:lnTo>
                  <a:close/>
                  <a:moveTo>
                    <a:pt x="69" y="0"/>
                  </a:moveTo>
                  <a:lnTo>
                    <a:pt x="98" y="6"/>
                  </a:lnTo>
                  <a:lnTo>
                    <a:pt x="119" y="20"/>
                  </a:lnTo>
                  <a:lnTo>
                    <a:pt x="135" y="43"/>
                  </a:lnTo>
                  <a:lnTo>
                    <a:pt x="139" y="70"/>
                  </a:lnTo>
                  <a:lnTo>
                    <a:pt x="135" y="96"/>
                  </a:lnTo>
                  <a:lnTo>
                    <a:pt x="119" y="119"/>
                  </a:lnTo>
                  <a:lnTo>
                    <a:pt x="98" y="135"/>
                  </a:lnTo>
                  <a:lnTo>
                    <a:pt x="69" y="139"/>
                  </a:lnTo>
                  <a:lnTo>
                    <a:pt x="43" y="135"/>
                  </a:lnTo>
                  <a:lnTo>
                    <a:pt x="20" y="119"/>
                  </a:lnTo>
                  <a:lnTo>
                    <a:pt x="6" y="96"/>
                  </a:lnTo>
                  <a:lnTo>
                    <a:pt x="0" y="70"/>
                  </a:lnTo>
                  <a:lnTo>
                    <a:pt x="6" y="43"/>
                  </a:lnTo>
                  <a:lnTo>
                    <a:pt x="20" y="20"/>
                  </a:lnTo>
                  <a:lnTo>
                    <a:pt x="43" y="6"/>
                  </a:lnTo>
                  <a:lnTo>
                    <a:pt x="69" y="0"/>
                  </a:lnTo>
                  <a:close/>
                </a:path>
              </a:pathLst>
            </a:custGeom>
            <a:grpFill/>
            <a:ln w="0">
              <a:noFill/>
              <a:prstDash val="solid"/>
              <a:round/>
              <a:headEnd/>
              <a:tailEnd/>
            </a:ln>
          </p:spPr>
          <p:txBody>
            <a:bodyPr vert="horz" wrap="square" lIns="91401" tIns="45701" rIns="91401" bIns="45701" numCol="1" anchor="t" anchorCtr="0" compatLnSpc="1">
              <a:prstTxWarp prst="textNoShape">
                <a:avLst/>
              </a:prstTxWarp>
            </a:bodyPr>
            <a:lstStyle/>
            <a:p>
              <a:pPr marL="0" marR="0" lvl="0" indent="0" algn="l" defTabSz="914034" rtl="0" eaLnBrk="0" fontAlgn="base" latinLnBrk="0" hangingPunct="0">
                <a:lnSpc>
                  <a:spcPct val="100000"/>
                </a:lnSpc>
                <a:spcBef>
                  <a:spcPct val="0"/>
                </a:spcBef>
                <a:spcAft>
                  <a:spcPct val="0"/>
                </a:spcAft>
                <a:buClrTx/>
                <a:buSzTx/>
                <a:buFontTx/>
                <a:buNone/>
                <a:tabLst/>
                <a:defRPr/>
              </a:pPr>
              <a:endParaRPr kumimoji="0" lang="pt-BR" sz="1799"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
          <p:nvSpPr>
            <p:cNvPr id="166" name="Freeform 171">
              <a:extLst>
                <a:ext uri="{FF2B5EF4-FFF2-40B4-BE49-F238E27FC236}">
                  <a16:creationId xmlns="" xmlns:a16="http://schemas.microsoft.com/office/drawing/2014/main" id="{2E2D3BC2-FD30-4C96-B8CF-22F69C781ADC}"/>
                </a:ext>
              </a:extLst>
            </p:cNvPr>
            <p:cNvSpPr>
              <a:spLocks/>
            </p:cNvSpPr>
            <p:nvPr/>
          </p:nvSpPr>
          <p:spPr bwMode="auto">
            <a:xfrm>
              <a:off x="4727576" y="2384425"/>
              <a:ext cx="90488" cy="92075"/>
            </a:xfrm>
            <a:custGeom>
              <a:avLst/>
              <a:gdLst>
                <a:gd name="T0" fmla="*/ 29 w 57"/>
                <a:gd name="T1" fmla="*/ 0 h 58"/>
                <a:gd name="T2" fmla="*/ 39 w 57"/>
                <a:gd name="T3" fmla="*/ 0 h 58"/>
                <a:gd name="T4" fmla="*/ 47 w 57"/>
                <a:gd name="T5" fmla="*/ 4 h 58"/>
                <a:gd name="T6" fmla="*/ 53 w 57"/>
                <a:gd name="T7" fmla="*/ 13 h 58"/>
                <a:gd name="T8" fmla="*/ 57 w 57"/>
                <a:gd name="T9" fmla="*/ 19 h 58"/>
                <a:gd name="T10" fmla="*/ 57 w 57"/>
                <a:gd name="T11" fmla="*/ 29 h 58"/>
                <a:gd name="T12" fmla="*/ 57 w 57"/>
                <a:gd name="T13" fmla="*/ 37 h 58"/>
                <a:gd name="T14" fmla="*/ 53 w 57"/>
                <a:gd name="T15" fmla="*/ 45 h 58"/>
                <a:gd name="T16" fmla="*/ 47 w 57"/>
                <a:gd name="T17" fmla="*/ 52 h 58"/>
                <a:gd name="T18" fmla="*/ 39 w 57"/>
                <a:gd name="T19" fmla="*/ 56 h 58"/>
                <a:gd name="T20" fmla="*/ 29 w 57"/>
                <a:gd name="T21" fmla="*/ 58 h 58"/>
                <a:gd name="T22" fmla="*/ 21 w 57"/>
                <a:gd name="T23" fmla="*/ 56 h 58"/>
                <a:gd name="T24" fmla="*/ 12 w 57"/>
                <a:gd name="T25" fmla="*/ 52 h 58"/>
                <a:gd name="T26" fmla="*/ 6 w 57"/>
                <a:gd name="T27" fmla="*/ 45 h 58"/>
                <a:gd name="T28" fmla="*/ 2 w 57"/>
                <a:gd name="T29" fmla="*/ 37 h 58"/>
                <a:gd name="T30" fmla="*/ 0 w 57"/>
                <a:gd name="T31" fmla="*/ 29 h 58"/>
                <a:gd name="T32" fmla="*/ 2 w 57"/>
                <a:gd name="T33" fmla="*/ 19 h 58"/>
                <a:gd name="T34" fmla="*/ 6 w 57"/>
                <a:gd name="T35" fmla="*/ 13 h 58"/>
                <a:gd name="T36" fmla="*/ 12 w 57"/>
                <a:gd name="T37" fmla="*/ 4 h 58"/>
                <a:gd name="T38" fmla="*/ 21 w 57"/>
                <a:gd name="T39" fmla="*/ 0 h 58"/>
                <a:gd name="T40" fmla="*/ 29 w 57"/>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58">
                  <a:moveTo>
                    <a:pt x="29" y="0"/>
                  </a:moveTo>
                  <a:lnTo>
                    <a:pt x="39" y="0"/>
                  </a:lnTo>
                  <a:lnTo>
                    <a:pt x="47" y="4"/>
                  </a:lnTo>
                  <a:lnTo>
                    <a:pt x="53" y="13"/>
                  </a:lnTo>
                  <a:lnTo>
                    <a:pt x="57" y="19"/>
                  </a:lnTo>
                  <a:lnTo>
                    <a:pt x="57" y="29"/>
                  </a:lnTo>
                  <a:lnTo>
                    <a:pt x="57" y="37"/>
                  </a:lnTo>
                  <a:lnTo>
                    <a:pt x="53" y="45"/>
                  </a:lnTo>
                  <a:lnTo>
                    <a:pt x="47" y="52"/>
                  </a:lnTo>
                  <a:lnTo>
                    <a:pt x="39" y="56"/>
                  </a:lnTo>
                  <a:lnTo>
                    <a:pt x="29" y="58"/>
                  </a:lnTo>
                  <a:lnTo>
                    <a:pt x="21" y="56"/>
                  </a:lnTo>
                  <a:lnTo>
                    <a:pt x="12" y="52"/>
                  </a:lnTo>
                  <a:lnTo>
                    <a:pt x="6" y="45"/>
                  </a:lnTo>
                  <a:lnTo>
                    <a:pt x="2" y="37"/>
                  </a:lnTo>
                  <a:lnTo>
                    <a:pt x="0" y="29"/>
                  </a:lnTo>
                  <a:lnTo>
                    <a:pt x="2" y="19"/>
                  </a:lnTo>
                  <a:lnTo>
                    <a:pt x="6" y="13"/>
                  </a:lnTo>
                  <a:lnTo>
                    <a:pt x="12" y="4"/>
                  </a:lnTo>
                  <a:lnTo>
                    <a:pt x="21" y="0"/>
                  </a:lnTo>
                  <a:lnTo>
                    <a:pt x="29" y="0"/>
                  </a:lnTo>
                  <a:close/>
                </a:path>
              </a:pathLst>
            </a:custGeom>
            <a:grpFill/>
            <a:ln w="0">
              <a:noFill/>
              <a:prstDash val="solid"/>
              <a:round/>
              <a:headEnd/>
              <a:tailEnd/>
            </a:ln>
          </p:spPr>
          <p:txBody>
            <a:bodyPr vert="horz" wrap="square" lIns="91401" tIns="45701" rIns="91401" bIns="45701" numCol="1" anchor="t" anchorCtr="0" compatLnSpc="1">
              <a:prstTxWarp prst="textNoShape">
                <a:avLst/>
              </a:prstTxWarp>
            </a:bodyPr>
            <a:lstStyle/>
            <a:p>
              <a:pPr marL="0" marR="0" lvl="0" indent="0" algn="l" defTabSz="914034" rtl="0" eaLnBrk="0" fontAlgn="base" latinLnBrk="0" hangingPunct="0">
                <a:lnSpc>
                  <a:spcPct val="100000"/>
                </a:lnSpc>
                <a:spcBef>
                  <a:spcPct val="0"/>
                </a:spcBef>
                <a:spcAft>
                  <a:spcPct val="0"/>
                </a:spcAft>
                <a:buClrTx/>
                <a:buSzTx/>
                <a:buFontTx/>
                <a:buNone/>
                <a:tabLst/>
                <a:defRPr/>
              </a:pPr>
              <a:endParaRPr kumimoji="0" lang="pt-BR" sz="1799"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
          <p:nvSpPr>
            <p:cNvPr id="167" name="Freeform 172">
              <a:extLst>
                <a:ext uri="{FF2B5EF4-FFF2-40B4-BE49-F238E27FC236}">
                  <a16:creationId xmlns="" xmlns:a16="http://schemas.microsoft.com/office/drawing/2014/main" id="{15CFE9F1-D4E4-43FE-A0BA-16D6397ED336}"/>
                </a:ext>
              </a:extLst>
            </p:cNvPr>
            <p:cNvSpPr>
              <a:spLocks/>
            </p:cNvSpPr>
            <p:nvPr/>
          </p:nvSpPr>
          <p:spPr bwMode="auto">
            <a:xfrm>
              <a:off x="4467226" y="2284413"/>
              <a:ext cx="101600" cy="100013"/>
            </a:xfrm>
            <a:custGeom>
              <a:avLst/>
              <a:gdLst>
                <a:gd name="T0" fmla="*/ 31 w 64"/>
                <a:gd name="T1" fmla="*/ 0 h 63"/>
                <a:gd name="T2" fmla="*/ 41 w 64"/>
                <a:gd name="T3" fmla="*/ 0 h 63"/>
                <a:gd name="T4" fmla="*/ 47 w 64"/>
                <a:gd name="T5" fmla="*/ 4 h 63"/>
                <a:gd name="T6" fmla="*/ 55 w 64"/>
                <a:gd name="T7" fmla="*/ 8 h 63"/>
                <a:gd name="T8" fmla="*/ 60 w 64"/>
                <a:gd name="T9" fmla="*/ 14 h 63"/>
                <a:gd name="T10" fmla="*/ 64 w 64"/>
                <a:gd name="T11" fmla="*/ 22 h 63"/>
                <a:gd name="T12" fmla="*/ 64 w 64"/>
                <a:gd name="T13" fmla="*/ 30 h 63"/>
                <a:gd name="T14" fmla="*/ 64 w 64"/>
                <a:gd name="T15" fmla="*/ 41 h 63"/>
                <a:gd name="T16" fmla="*/ 60 w 64"/>
                <a:gd name="T17" fmla="*/ 47 h 63"/>
                <a:gd name="T18" fmla="*/ 55 w 64"/>
                <a:gd name="T19" fmla="*/ 55 h 63"/>
                <a:gd name="T20" fmla="*/ 47 w 64"/>
                <a:gd name="T21" fmla="*/ 59 h 63"/>
                <a:gd name="T22" fmla="*/ 41 w 64"/>
                <a:gd name="T23" fmla="*/ 63 h 63"/>
                <a:gd name="T24" fmla="*/ 31 w 64"/>
                <a:gd name="T25" fmla="*/ 63 h 63"/>
                <a:gd name="T26" fmla="*/ 23 w 64"/>
                <a:gd name="T27" fmla="*/ 63 h 63"/>
                <a:gd name="T28" fmla="*/ 14 w 64"/>
                <a:gd name="T29" fmla="*/ 59 h 63"/>
                <a:gd name="T30" fmla="*/ 8 w 64"/>
                <a:gd name="T31" fmla="*/ 55 h 63"/>
                <a:gd name="T32" fmla="*/ 4 w 64"/>
                <a:gd name="T33" fmla="*/ 47 h 63"/>
                <a:gd name="T34" fmla="*/ 0 w 64"/>
                <a:gd name="T35" fmla="*/ 41 h 63"/>
                <a:gd name="T36" fmla="*/ 0 w 64"/>
                <a:gd name="T37" fmla="*/ 30 h 63"/>
                <a:gd name="T38" fmla="*/ 0 w 64"/>
                <a:gd name="T39" fmla="*/ 22 h 63"/>
                <a:gd name="T40" fmla="*/ 4 w 64"/>
                <a:gd name="T41" fmla="*/ 14 h 63"/>
                <a:gd name="T42" fmla="*/ 8 w 64"/>
                <a:gd name="T43" fmla="*/ 8 h 63"/>
                <a:gd name="T44" fmla="*/ 14 w 64"/>
                <a:gd name="T45" fmla="*/ 4 h 63"/>
                <a:gd name="T46" fmla="*/ 23 w 64"/>
                <a:gd name="T47" fmla="*/ 0 h 63"/>
                <a:gd name="T48" fmla="*/ 31 w 64"/>
                <a:gd name="T4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3">
                  <a:moveTo>
                    <a:pt x="31" y="0"/>
                  </a:moveTo>
                  <a:lnTo>
                    <a:pt x="41" y="0"/>
                  </a:lnTo>
                  <a:lnTo>
                    <a:pt x="47" y="4"/>
                  </a:lnTo>
                  <a:lnTo>
                    <a:pt x="55" y="8"/>
                  </a:lnTo>
                  <a:lnTo>
                    <a:pt x="60" y="14"/>
                  </a:lnTo>
                  <a:lnTo>
                    <a:pt x="64" y="22"/>
                  </a:lnTo>
                  <a:lnTo>
                    <a:pt x="64" y="30"/>
                  </a:lnTo>
                  <a:lnTo>
                    <a:pt x="64" y="41"/>
                  </a:lnTo>
                  <a:lnTo>
                    <a:pt x="60" y="47"/>
                  </a:lnTo>
                  <a:lnTo>
                    <a:pt x="55" y="55"/>
                  </a:lnTo>
                  <a:lnTo>
                    <a:pt x="47" y="59"/>
                  </a:lnTo>
                  <a:lnTo>
                    <a:pt x="41" y="63"/>
                  </a:lnTo>
                  <a:lnTo>
                    <a:pt x="31" y="63"/>
                  </a:lnTo>
                  <a:lnTo>
                    <a:pt x="23" y="63"/>
                  </a:lnTo>
                  <a:lnTo>
                    <a:pt x="14" y="59"/>
                  </a:lnTo>
                  <a:lnTo>
                    <a:pt x="8" y="55"/>
                  </a:lnTo>
                  <a:lnTo>
                    <a:pt x="4" y="47"/>
                  </a:lnTo>
                  <a:lnTo>
                    <a:pt x="0" y="41"/>
                  </a:lnTo>
                  <a:lnTo>
                    <a:pt x="0" y="30"/>
                  </a:lnTo>
                  <a:lnTo>
                    <a:pt x="0" y="22"/>
                  </a:lnTo>
                  <a:lnTo>
                    <a:pt x="4" y="14"/>
                  </a:lnTo>
                  <a:lnTo>
                    <a:pt x="8" y="8"/>
                  </a:lnTo>
                  <a:lnTo>
                    <a:pt x="14" y="4"/>
                  </a:lnTo>
                  <a:lnTo>
                    <a:pt x="23" y="0"/>
                  </a:lnTo>
                  <a:lnTo>
                    <a:pt x="31" y="0"/>
                  </a:lnTo>
                  <a:close/>
                </a:path>
              </a:pathLst>
            </a:custGeom>
            <a:grpFill/>
            <a:ln w="0">
              <a:noFill/>
              <a:prstDash val="solid"/>
              <a:round/>
              <a:headEnd/>
              <a:tailEnd/>
            </a:ln>
          </p:spPr>
          <p:txBody>
            <a:bodyPr vert="horz" wrap="square" lIns="91401" tIns="45701" rIns="91401" bIns="45701" numCol="1" anchor="t" anchorCtr="0" compatLnSpc="1">
              <a:prstTxWarp prst="textNoShape">
                <a:avLst/>
              </a:prstTxWarp>
            </a:bodyPr>
            <a:lstStyle/>
            <a:p>
              <a:pPr marL="0" marR="0" lvl="0" indent="0" algn="l" defTabSz="914034" rtl="0" eaLnBrk="0" fontAlgn="base" latinLnBrk="0" hangingPunct="0">
                <a:lnSpc>
                  <a:spcPct val="100000"/>
                </a:lnSpc>
                <a:spcBef>
                  <a:spcPct val="0"/>
                </a:spcBef>
                <a:spcAft>
                  <a:spcPct val="0"/>
                </a:spcAft>
                <a:buClrTx/>
                <a:buSzTx/>
                <a:buFontTx/>
                <a:buNone/>
                <a:tabLst/>
                <a:defRPr/>
              </a:pPr>
              <a:endParaRPr kumimoji="0" lang="pt-BR" sz="1799"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grpSp>
      <p:grpSp>
        <p:nvGrpSpPr>
          <p:cNvPr id="168" name="Grupo 308">
            <a:extLst>
              <a:ext uri="{FF2B5EF4-FFF2-40B4-BE49-F238E27FC236}">
                <a16:creationId xmlns="" xmlns:a16="http://schemas.microsoft.com/office/drawing/2014/main" id="{530104A6-DE3F-43C7-8601-7C623382F8B8}"/>
              </a:ext>
            </a:extLst>
          </p:cNvPr>
          <p:cNvGrpSpPr/>
          <p:nvPr/>
        </p:nvGrpSpPr>
        <p:grpSpPr>
          <a:xfrm>
            <a:off x="8584332" y="3213105"/>
            <a:ext cx="192131" cy="383193"/>
            <a:chOff x="5803818" y="114199"/>
            <a:chExt cx="232478" cy="463663"/>
          </a:xfrm>
          <a:solidFill>
            <a:srgbClr val="F26926"/>
          </a:solidFill>
        </p:grpSpPr>
        <p:sp>
          <p:nvSpPr>
            <p:cNvPr id="169" name="Freeform 42">
              <a:extLst>
                <a:ext uri="{FF2B5EF4-FFF2-40B4-BE49-F238E27FC236}">
                  <a16:creationId xmlns="" xmlns:a16="http://schemas.microsoft.com/office/drawing/2014/main" id="{ED1ACB00-BDED-458F-8C91-A9B5EA42556C}"/>
                </a:ext>
              </a:extLst>
            </p:cNvPr>
            <p:cNvSpPr>
              <a:spLocks noEditPoints="1"/>
            </p:cNvSpPr>
            <p:nvPr/>
          </p:nvSpPr>
          <p:spPr bwMode="auto">
            <a:xfrm>
              <a:off x="5838976" y="218353"/>
              <a:ext cx="159484" cy="218956"/>
            </a:xfrm>
            <a:custGeom>
              <a:avLst/>
              <a:gdLst>
                <a:gd name="T0" fmla="*/ 727 w 6133"/>
                <a:gd name="T1" fmla="*/ 727 h 8420"/>
                <a:gd name="T2" fmla="*/ 727 w 6133"/>
                <a:gd name="T3" fmla="*/ 6341 h 8420"/>
                <a:gd name="T4" fmla="*/ 727 w 6133"/>
                <a:gd name="T5" fmla="*/ 6756 h 8420"/>
                <a:gd name="T6" fmla="*/ 935 w 6133"/>
                <a:gd name="T7" fmla="*/ 7172 h 8420"/>
                <a:gd name="T8" fmla="*/ 1143 w 6133"/>
                <a:gd name="T9" fmla="*/ 7484 h 8420"/>
                <a:gd name="T10" fmla="*/ 1559 w 6133"/>
                <a:gd name="T11" fmla="*/ 7692 h 8420"/>
                <a:gd name="T12" fmla="*/ 1871 w 6133"/>
                <a:gd name="T13" fmla="*/ 7796 h 8420"/>
                <a:gd name="T14" fmla="*/ 4262 w 6133"/>
                <a:gd name="T15" fmla="*/ 7796 h 8420"/>
                <a:gd name="T16" fmla="*/ 4677 w 6133"/>
                <a:gd name="T17" fmla="*/ 7692 h 8420"/>
                <a:gd name="T18" fmla="*/ 4989 w 6133"/>
                <a:gd name="T19" fmla="*/ 7484 h 8420"/>
                <a:gd name="T20" fmla="*/ 5197 w 6133"/>
                <a:gd name="T21" fmla="*/ 7172 h 8420"/>
                <a:gd name="T22" fmla="*/ 5405 w 6133"/>
                <a:gd name="T23" fmla="*/ 6756 h 8420"/>
                <a:gd name="T24" fmla="*/ 5509 w 6133"/>
                <a:gd name="T25" fmla="*/ 6341 h 8420"/>
                <a:gd name="T26" fmla="*/ 5509 w 6133"/>
                <a:gd name="T27" fmla="*/ 727 h 8420"/>
                <a:gd name="T28" fmla="*/ 727 w 6133"/>
                <a:gd name="T29" fmla="*/ 727 h 8420"/>
                <a:gd name="T30" fmla="*/ 415 w 6133"/>
                <a:gd name="T31" fmla="*/ 0 h 8420"/>
                <a:gd name="T32" fmla="*/ 5821 w 6133"/>
                <a:gd name="T33" fmla="*/ 0 h 8420"/>
                <a:gd name="T34" fmla="*/ 5925 w 6133"/>
                <a:gd name="T35" fmla="*/ 104 h 8420"/>
                <a:gd name="T36" fmla="*/ 6029 w 6133"/>
                <a:gd name="T37" fmla="*/ 207 h 8420"/>
                <a:gd name="T38" fmla="*/ 6133 w 6133"/>
                <a:gd name="T39" fmla="*/ 311 h 8420"/>
                <a:gd name="T40" fmla="*/ 6133 w 6133"/>
                <a:gd name="T41" fmla="*/ 415 h 8420"/>
                <a:gd name="T42" fmla="*/ 6133 w 6133"/>
                <a:gd name="T43" fmla="*/ 519 h 8420"/>
                <a:gd name="T44" fmla="*/ 6133 w 6133"/>
                <a:gd name="T45" fmla="*/ 6341 h 8420"/>
                <a:gd name="T46" fmla="*/ 5925 w 6133"/>
                <a:gd name="T47" fmla="*/ 7380 h 8420"/>
                <a:gd name="T48" fmla="*/ 5197 w 6133"/>
                <a:gd name="T49" fmla="*/ 8108 h 8420"/>
                <a:gd name="T50" fmla="*/ 4262 w 6133"/>
                <a:gd name="T51" fmla="*/ 8420 h 8420"/>
                <a:gd name="T52" fmla="*/ 1871 w 6133"/>
                <a:gd name="T53" fmla="*/ 8420 h 8420"/>
                <a:gd name="T54" fmla="*/ 935 w 6133"/>
                <a:gd name="T55" fmla="*/ 8108 h 8420"/>
                <a:gd name="T56" fmla="*/ 311 w 6133"/>
                <a:gd name="T57" fmla="*/ 7380 h 8420"/>
                <a:gd name="T58" fmla="*/ 0 w 6133"/>
                <a:gd name="T59" fmla="*/ 6341 h 8420"/>
                <a:gd name="T60" fmla="*/ 0 w 6133"/>
                <a:gd name="T61" fmla="*/ 519 h 8420"/>
                <a:gd name="T62" fmla="*/ 0 w 6133"/>
                <a:gd name="T63" fmla="*/ 415 h 8420"/>
                <a:gd name="T64" fmla="*/ 104 w 6133"/>
                <a:gd name="T65" fmla="*/ 311 h 8420"/>
                <a:gd name="T66" fmla="*/ 104 w 6133"/>
                <a:gd name="T67" fmla="*/ 207 h 8420"/>
                <a:gd name="T68" fmla="*/ 207 w 6133"/>
                <a:gd name="T69" fmla="*/ 104 h 8420"/>
                <a:gd name="T70" fmla="*/ 415 w 6133"/>
                <a:gd name="T71" fmla="*/ 0 h 8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133" h="8420">
                  <a:moveTo>
                    <a:pt x="727" y="727"/>
                  </a:moveTo>
                  <a:lnTo>
                    <a:pt x="727" y="6341"/>
                  </a:lnTo>
                  <a:lnTo>
                    <a:pt x="727" y="6756"/>
                  </a:lnTo>
                  <a:lnTo>
                    <a:pt x="935" y="7172"/>
                  </a:lnTo>
                  <a:lnTo>
                    <a:pt x="1143" y="7484"/>
                  </a:lnTo>
                  <a:lnTo>
                    <a:pt x="1559" y="7692"/>
                  </a:lnTo>
                  <a:lnTo>
                    <a:pt x="1871" y="7796"/>
                  </a:lnTo>
                  <a:lnTo>
                    <a:pt x="4262" y="7796"/>
                  </a:lnTo>
                  <a:lnTo>
                    <a:pt x="4677" y="7692"/>
                  </a:lnTo>
                  <a:lnTo>
                    <a:pt x="4989" y="7484"/>
                  </a:lnTo>
                  <a:lnTo>
                    <a:pt x="5197" y="7172"/>
                  </a:lnTo>
                  <a:lnTo>
                    <a:pt x="5405" y="6756"/>
                  </a:lnTo>
                  <a:lnTo>
                    <a:pt x="5509" y="6341"/>
                  </a:lnTo>
                  <a:lnTo>
                    <a:pt x="5509" y="727"/>
                  </a:lnTo>
                  <a:lnTo>
                    <a:pt x="727" y="727"/>
                  </a:lnTo>
                  <a:close/>
                  <a:moveTo>
                    <a:pt x="415" y="0"/>
                  </a:moveTo>
                  <a:lnTo>
                    <a:pt x="5821" y="0"/>
                  </a:lnTo>
                  <a:lnTo>
                    <a:pt x="5925" y="104"/>
                  </a:lnTo>
                  <a:lnTo>
                    <a:pt x="6029" y="207"/>
                  </a:lnTo>
                  <a:lnTo>
                    <a:pt x="6133" y="311"/>
                  </a:lnTo>
                  <a:lnTo>
                    <a:pt x="6133" y="415"/>
                  </a:lnTo>
                  <a:lnTo>
                    <a:pt x="6133" y="519"/>
                  </a:lnTo>
                  <a:lnTo>
                    <a:pt x="6133" y="6341"/>
                  </a:lnTo>
                  <a:lnTo>
                    <a:pt x="5925" y="7380"/>
                  </a:lnTo>
                  <a:lnTo>
                    <a:pt x="5197" y="8108"/>
                  </a:lnTo>
                  <a:lnTo>
                    <a:pt x="4262" y="8420"/>
                  </a:lnTo>
                  <a:lnTo>
                    <a:pt x="1871" y="8420"/>
                  </a:lnTo>
                  <a:lnTo>
                    <a:pt x="935" y="8108"/>
                  </a:lnTo>
                  <a:lnTo>
                    <a:pt x="311" y="7380"/>
                  </a:lnTo>
                  <a:lnTo>
                    <a:pt x="0" y="6341"/>
                  </a:lnTo>
                  <a:lnTo>
                    <a:pt x="0" y="519"/>
                  </a:lnTo>
                  <a:lnTo>
                    <a:pt x="0" y="415"/>
                  </a:lnTo>
                  <a:lnTo>
                    <a:pt x="104" y="311"/>
                  </a:lnTo>
                  <a:lnTo>
                    <a:pt x="104" y="207"/>
                  </a:lnTo>
                  <a:lnTo>
                    <a:pt x="207" y="104"/>
                  </a:lnTo>
                  <a:lnTo>
                    <a:pt x="4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a:ea typeface="+mn-ea"/>
                <a:cs typeface="+mn-cs"/>
              </a:endParaRPr>
            </a:p>
          </p:txBody>
        </p:sp>
        <p:sp>
          <p:nvSpPr>
            <p:cNvPr id="170" name="Freeform 44">
              <a:extLst>
                <a:ext uri="{FF2B5EF4-FFF2-40B4-BE49-F238E27FC236}">
                  <a16:creationId xmlns="" xmlns:a16="http://schemas.microsoft.com/office/drawing/2014/main" id="{59E3FEFF-6D17-432A-A2F7-C6FD89F6EBDB}"/>
                </a:ext>
              </a:extLst>
            </p:cNvPr>
            <p:cNvSpPr>
              <a:spLocks noEditPoints="1"/>
            </p:cNvSpPr>
            <p:nvPr/>
          </p:nvSpPr>
          <p:spPr bwMode="auto">
            <a:xfrm>
              <a:off x="5803818" y="181785"/>
              <a:ext cx="232478" cy="56767"/>
            </a:xfrm>
            <a:custGeom>
              <a:avLst/>
              <a:gdLst>
                <a:gd name="T0" fmla="*/ 728 w 8940"/>
                <a:gd name="T1" fmla="*/ 728 h 2183"/>
                <a:gd name="T2" fmla="*/ 728 w 8940"/>
                <a:gd name="T3" fmla="*/ 1455 h 2183"/>
                <a:gd name="T4" fmla="*/ 8212 w 8940"/>
                <a:gd name="T5" fmla="*/ 1455 h 2183"/>
                <a:gd name="T6" fmla="*/ 8212 w 8940"/>
                <a:gd name="T7" fmla="*/ 728 h 2183"/>
                <a:gd name="T8" fmla="*/ 728 w 8940"/>
                <a:gd name="T9" fmla="*/ 728 h 2183"/>
                <a:gd name="T10" fmla="*/ 312 w 8940"/>
                <a:gd name="T11" fmla="*/ 0 h 2183"/>
                <a:gd name="T12" fmla="*/ 8524 w 8940"/>
                <a:gd name="T13" fmla="*/ 0 h 2183"/>
                <a:gd name="T14" fmla="*/ 8732 w 8940"/>
                <a:gd name="T15" fmla="*/ 0 h 2183"/>
                <a:gd name="T16" fmla="*/ 8836 w 8940"/>
                <a:gd name="T17" fmla="*/ 208 h 2183"/>
                <a:gd name="T18" fmla="*/ 8940 w 8940"/>
                <a:gd name="T19" fmla="*/ 312 h 2183"/>
                <a:gd name="T20" fmla="*/ 8940 w 8940"/>
                <a:gd name="T21" fmla="*/ 1767 h 2183"/>
                <a:gd name="T22" fmla="*/ 8836 w 8940"/>
                <a:gd name="T23" fmla="*/ 1975 h 2183"/>
                <a:gd name="T24" fmla="*/ 8732 w 8940"/>
                <a:gd name="T25" fmla="*/ 2079 h 2183"/>
                <a:gd name="T26" fmla="*/ 8524 w 8940"/>
                <a:gd name="T27" fmla="*/ 2183 h 2183"/>
                <a:gd name="T28" fmla="*/ 312 w 8940"/>
                <a:gd name="T29" fmla="*/ 2183 h 2183"/>
                <a:gd name="T30" fmla="*/ 208 w 8940"/>
                <a:gd name="T31" fmla="*/ 2079 h 2183"/>
                <a:gd name="T32" fmla="*/ 0 w 8940"/>
                <a:gd name="T33" fmla="*/ 1975 h 2183"/>
                <a:gd name="T34" fmla="*/ 0 w 8940"/>
                <a:gd name="T35" fmla="*/ 1767 h 2183"/>
                <a:gd name="T36" fmla="*/ 0 w 8940"/>
                <a:gd name="T37" fmla="*/ 312 h 2183"/>
                <a:gd name="T38" fmla="*/ 0 w 8940"/>
                <a:gd name="T39" fmla="*/ 208 h 2183"/>
                <a:gd name="T40" fmla="*/ 208 w 8940"/>
                <a:gd name="T41" fmla="*/ 0 h 2183"/>
                <a:gd name="T42" fmla="*/ 312 w 8940"/>
                <a:gd name="T43" fmla="*/ 0 h 2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40" h="2183">
                  <a:moveTo>
                    <a:pt x="728" y="728"/>
                  </a:moveTo>
                  <a:lnTo>
                    <a:pt x="728" y="1455"/>
                  </a:lnTo>
                  <a:lnTo>
                    <a:pt x="8212" y="1455"/>
                  </a:lnTo>
                  <a:lnTo>
                    <a:pt x="8212" y="728"/>
                  </a:lnTo>
                  <a:lnTo>
                    <a:pt x="728" y="728"/>
                  </a:lnTo>
                  <a:close/>
                  <a:moveTo>
                    <a:pt x="312" y="0"/>
                  </a:moveTo>
                  <a:lnTo>
                    <a:pt x="8524" y="0"/>
                  </a:lnTo>
                  <a:lnTo>
                    <a:pt x="8732" y="0"/>
                  </a:lnTo>
                  <a:lnTo>
                    <a:pt x="8836" y="208"/>
                  </a:lnTo>
                  <a:lnTo>
                    <a:pt x="8940" y="312"/>
                  </a:lnTo>
                  <a:lnTo>
                    <a:pt x="8940" y="1767"/>
                  </a:lnTo>
                  <a:lnTo>
                    <a:pt x="8836" y="1975"/>
                  </a:lnTo>
                  <a:lnTo>
                    <a:pt x="8732" y="2079"/>
                  </a:lnTo>
                  <a:lnTo>
                    <a:pt x="8524" y="2183"/>
                  </a:lnTo>
                  <a:lnTo>
                    <a:pt x="312" y="2183"/>
                  </a:lnTo>
                  <a:lnTo>
                    <a:pt x="208" y="2079"/>
                  </a:lnTo>
                  <a:lnTo>
                    <a:pt x="0" y="1975"/>
                  </a:lnTo>
                  <a:lnTo>
                    <a:pt x="0" y="1767"/>
                  </a:lnTo>
                  <a:lnTo>
                    <a:pt x="0" y="312"/>
                  </a:lnTo>
                  <a:lnTo>
                    <a:pt x="0" y="208"/>
                  </a:lnTo>
                  <a:lnTo>
                    <a:pt x="208" y="0"/>
                  </a:lnTo>
                  <a:lnTo>
                    <a:pt x="3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a:ea typeface="+mn-ea"/>
                <a:cs typeface="+mn-cs"/>
              </a:endParaRPr>
            </a:p>
          </p:txBody>
        </p:sp>
        <p:sp>
          <p:nvSpPr>
            <p:cNvPr id="171" name="Freeform 46">
              <a:extLst>
                <a:ext uri="{FF2B5EF4-FFF2-40B4-BE49-F238E27FC236}">
                  <a16:creationId xmlns="" xmlns:a16="http://schemas.microsoft.com/office/drawing/2014/main" id="{31FDFFE3-0623-4330-AB0E-44C1E29FDB76}"/>
                </a:ext>
              </a:extLst>
            </p:cNvPr>
            <p:cNvSpPr>
              <a:spLocks noEditPoints="1"/>
            </p:cNvSpPr>
            <p:nvPr/>
          </p:nvSpPr>
          <p:spPr bwMode="auto">
            <a:xfrm>
              <a:off x="5844359" y="114199"/>
              <a:ext cx="151398" cy="43245"/>
            </a:xfrm>
            <a:custGeom>
              <a:avLst/>
              <a:gdLst>
                <a:gd name="T0" fmla="*/ 520 w 5822"/>
                <a:gd name="T1" fmla="*/ 520 h 1663"/>
                <a:gd name="T2" fmla="*/ 520 w 5822"/>
                <a:gd name="T3" fmla="*/ 1040 h 1663"/>
                <a:gd name="T4" fmla="*/ 5198 w 5822"/>
                <a:gd name="T5" fmla="*/ 1040 h 1663"/>
                <a:gd name="T6" fmla="*/ 5198 w 5822"/>
                <a:gd name="T7" fmla="*/ 520 h 1663"/>
                <a:gd name="T8" fmla="*/ 520 w 5822"/>
                <a:gd name="T9" fmla="*/ 520 h 1663"/>
                <a:gd name="T10" fmla="*/ 312 w 5822"/>
                <a:gd name="T11" fmla="*/ 0 h 1663"/>
                <a:gd name="T12" fmla="*/ 5510 w 5822"/>
                <a:gd name="T13" fmla="*/ 0 h 1663"/>
                <a:gd name="T14" fmla="*/ 5614 w 5822"/>
                <a:gd name="T15" fmla="*/ 0 h 1663"/>
                <a:gd name="T16" fmla="*/ 5718 w 5822"/>
                <a:gd name="T17" fmla="*/ 104 h 1663"/>
                <a:gd name="T18" fmla="*/ 5822 w 5822"/>
                <a:gd name="T19" fmla="*/ 208 h 1663"/>
                <a:gd name="T20" fmla="*/ 5822 w 5822"/>
                <a:gd name="T21" fmla="*/ 1352 h 1663"/>
                <a:gd name="T22" fmla="*/ 5718 w 5822"/>
                <a:gd name="T23" fmla="*/ 1456 h 1663"/>
                <a:gd name="T24" fmla="*/ 5614 w 5822"/>
                <a:gd name="T25" fmla="*/ 1560 h 1663"/>
                <a:gd name="T26" fmla="*/ 5510 w 5822"/>
                <a:gd name="T27" fmla="*/ 1663 h 1663"/>
                <a:gd name="T28" fmla="*/ 312 w 5822"/>
                <a:gd name="T29" fmla="*/ 1663 h 1663"/>
                <a:gd name="T30" fmla="*/ 104 w 5822"/>
                <a:gd name="T31" fmla="*/ 1560 h 1663"/>
                <a:gd name="T32" fmla="*/ 0 w 5822"/>
                <a:gd name="T33" fmla="*/ 1456 h 1663"/>
                <a:gd name="T34" fmla="*/ 0 w 5822"/>
                <a:gd name="T35" fmla="*/ 1352 h 1663"/>
                <a:gd name="T36" fmla="*/ 0 w 5822"/>
                <a:gd name="T37" fmla="*/ 208 h 1663"/>
                <a:gd name="T38" fmla="*/ 0 w 5822"/>
                <a:gd name="T39" fmla="*/ 104 h 1663"/>
                <a:gd name="T40" fmla="*/ 104 w 5822"/>
                <a:gd name="T41" fmla="*/ 0 h 1663"/>
                <a:gd name="T42" fmla="*/ 312 w 5822"/>
                <a:gd name="T43" fmla="*/ 0 h 1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22" h="1663">
                  <a:moveTo>
                    <a:pt x="520" y="520"/>
                  </a:moveTo>
                  <a:lnTo>
                    <a:pt x="520" y="1040"/>
                  </a:lnTo>
                  <a:lnTo>
                    <a:pt x="5198" y="1040"/>
                  </a:lnTo>
                  <a:lnTo>
                    <a:pt x="5198" y="520"/>
                  </a:lnTo>
                  <a:lnTo>
                    <a:pt x="520" y="520"/>
                  </a:lnTo>
                  <a:close/>
                  <a:moveTo>
                    <a:pt x="312" y="0"/>
                  </a:moveTo>
                  <a:lnTo>
                    <a:pt x="5510" y="0"/>
                  </a:lnTo>
                  <a:lnTo>
                    <a:pt x="5614" y="0"/>
                  </a:lnTo>
                  <a:lnTo>
                    <a:pt x="5718" y="104"/>
                  </a:lnTo>
                  <a:lnTo>
                    <a:pt x="5822" y="208"/>
                  </a:lnTo>
                  <a:lnTo>
                    <a:pt x="5822" y="1352"/>
                  </a:lnTo>
                  <a:lnTo>
                    <a:pt x="5718" y="1456"/>
                  </a:lnTo>
                  <a:lnTo>
                    <a:pt x="5614" y="1560"/>
                  </a:lnTo>
                  <a:lnTo>
                    <a:pt x="5510" y="1663"/>
                  </a:lnTo>
                  <a:lnTo>
                    <a:pt x="312" y="1663"/>
                  </a:lnTo>
                  <a:lnTo>
                    <a:pt x="104" y="1560"/>
                  </a:lnTo>
                  <a:lnTo>
                    <a:pt x="0" y="1456"/>
                  </a:lnTo>
                  <a:lnTo>
                    <a:pt x="0" y="1352"/>
                  </a:lnTo>
                  <a:lnTo>
                    <a:pt x="0" y="208"/>
                  </a:lnTo>
                  <a:lnTo>
                    <a:pt x="0" y="104"/>
                  </a:lnTo>
                  <a:lnTo>
                    <a:pt x="104" y="0"/>
                  </a:lnTo>
                  <a:lnTo>
                    <a:pt x="3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a:ea typeface="+mn-ea"/>
                <a:cs typeface="+mn-cs"/>
              </a:endParaRPr>
            </a:p>
          </p:txBody>
        </p:sp>
        <p:sp>
          <p:nvSpPr>
            <p:cNvPr id="172" name="Freeform 48">
              <a:extLst>
                <a:ext uri="{FF2B5EF4-FFF2-40B4-BE49-F238E27FC236}">
                  <a16:creationId xmlns="" xmlns:a16="http://schemas.microsoft.com/office/drawing/2014/main" id="{CD024B21-5801-49FF-86E1-4DD4C59FEC63}"/>
                </a:ext>
              </a:extLst>
            </p:cNvPr>
            <p:cNvSpPr>
              <a:spLocks noEditPoints="1"/>
            </p:cNvSpPr>
            <p:nvPr/>
          </p:nvSpPr>
          <p:spPr bwMode="auto">
            <a:xfrm>
              <a:off x="5876813" y="143949"/>
              <a:ext cx="83785" cy="51359"/>
            </a:xfrm>
            <a:custGeom>
              <a:avLst/>
              <a:gdLst>
                <a:gd name="T0" fmla="*/ 624 w 3222"/>
                <a:gd name="T1" fmla="*/ 623 h 1975"/>
                <a:gd name="T2" fmla="*/ 624 w 3222"/>
                <a:gd name="T3" fmla="*/ 1351 h 1975"/>
                <a:gd name="T4" fmla="*/ 2599 w 3222"/>
                <a:gd name="T5" fmla="*/ 1351 h 1975"/>
                <a:gd name="T6" fmla="*/ 2599 w 3222"/>
                <a:gd name="T7" fmla="*/ 623 h 1975"/>
                <a:gd name="T8" fmla="*/ 624 w 3222"/>
                <a:gd name="T9" fmla="*/ 623 h 1975"/>
                <a:gd name="T10" fmla="*/ 312 w 3222"/>
                <a:gd name="T11" fmla="*/ 0 h 1975"/>
                <a:gd name="T12" fmla="*/ 2911 w 3222"/>
                <a:gd name="T13" fmla="*/ 0 h 1975"/>
                <a:gd name="T14" fmla="*/ 3118 w 3222"/>
                <a:gd name="T15" fmla="*/ 104 h 1975"/>
                <a:gd name="T16" fmla="*/ 3222 w 3222"/>
                <a:gd name="T17" fmla="*/ 208 h 1975"/>
                <a:gd name="T18" fmla="*/ 3222 w 3222"/>
                <a:gd name="T19" fmla="*/ 312 h 1975"/>
                <a:gd name="T20" fmla="*/ 3222 w 3222"/>
                <a:gd name="T21" fmla="*/ 1663 h 1975"/>
                <a:gd name="T22" fmla="*/ 3222 w 3222"/>
                <a:gd name="T23" fmla="*/ 1871 h 1975"/>
                <a:gd name="T24" fmla="*/ 3118 w 3222"/>
                <a:gd name="T25" fmla="*/ 1975 h 1975"/>
                <a:gd name="T26" fmla="*/ 2911 w 3222"/>
                <a:gd name="T27" fmla="*/ 1975 h 1975"/>
                <a:gd name="T28" fmla="*/ 312 w 3222"/>
                <a:gd name="T29" fmla="*/ 1975 h 1975"/>
                <a:gd name="T30" fmla="*/ 104 w 3222"/>
                <a:gd name="T31" fmla="*/ 1975 h 1975"/>
                <a:gd name="T32" fmla="*/ 0 w 3222"/>
                <a:gd name="T33" fmla="*/ 1871 h 1975"/>
                <a:gd name="T34" fmla="*/ 0 w 3222"/>
                <a:gd name="T35" fmla="*/ 1663 h 1975"/>
                <a:gd name="T36" fmla="*/ 0 w 3222"/>
                <a:gd name="T37" fmla="*/ 312 h 1975"/>
                <a:gd name="T38" fmla="*/ 0 w 3222"/>
                <a:gd name="T39" fmla="*/ 208 h 1975"/>
                <a:gd name="T40" fmla="*/ 104 w 3222"/>
                <a:gd name="T41" fmla="*/ 104 h 1975"/>
                <a:gd name="T42" fmla="*/ 312 w 3222"/>
                <a:gd name="T43" fmla="*/ 0 h 1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22" h="1975">
                  <a:moveTo>
                    <a:pt x="624" y="623"/>
                  </a:moveTo>
                  <a:lnTo>
                    <a:pt x="624" y="1351"/>
                  </a:lnTo>
                  <a:lnTo>
                    <a:pt x="2599" y="1351"/>
                  </a:lnTo>
                  <a:lnTo>
                    <a:pt x="2599" y="623"/>
                  </a:lnTo>
                  <a:lnTo>
                    <a:pt x="624" y="623"/>
                  </a:lnTo>
                  <a:close/>
                  <a:moveTo>
                    <a:pt x="312" y="0"/>
                  </a:moveTo>
                  <a:lnTo>
                    <a:pt x="2911" y="0"/>
                  </a:lnTo>
                  <a:lnTo>
                    <a:pt x="3118" y="104"/>
                  </a:lnTo>
                  <a:lnTo>
                    <a:pt x="3222" y="208"/>
                  </a:lnTo>
                  <a:lnTo>
                    <a:pt x="3222" y="312"/>
                  </a:lnTo>
                  <a:lnTo>
                    <a:pt x="3222" y="1663"/>
                  </a:lnTo>
                  <a:lnTo>
                    <a:pt x="3222" y="1871"/>
                  </a:lnTo>
                  <a:lnTo>
                    <a:pt x="3118" y="1975"/>
                  </a:lnTo>
                  <a:lnTo>
                    <a:pt x="2911" y="1975"/>
                  </a:lnTo>
                  <a:lnTo>
                    <a:pt x="312" y="1975"/>
                  </a:lnTo>
                  <a:lnTo>
                    <a:pt x="104" y="1975"/>
                  </a:lnTo>
                  <a:lnTo>
                    <a:pt x="0" y="1871"/>
                  </a:lnTo>
                  <a:lnTo>
                    <a:pt x="0" y="1663"/>
                  </a:lnTo>
                  <a:lnTo>
                    <a:pt x="0" y="312"/>
                  </a:lnTo>
                  <a:lnTo>
                    <a:pt x="0" y="208"/>
                  </a:lnTo>
                  <a:lnTo>
                    <a:pt x="104" y="104"/>
                  </a:lnTo>
                  <a:lnTo>
                    <a:pt x="3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a:ea typeface="+mn-ea"/>
                <a:cs typeface="+mn-cs"/>
              </a:endParaRPr>
            </a:p>
          </p:txBody>
        </p:sp>
        <p:sp>
          <p:nvSpPr>
            <p:cNvPr id="173" name="Freeform 50">
              <a:extLst>
                <a:ext uri="{FF2B5EF4-FFF2-40B4-BE49-F238E27FC236}">
                  <a16:creationId xmlns="" xmlns:a16="http://schemas.microsoft.com/office/drawing/2014/main" id="{47B6D9EE-58F8-4F75-AC1D-D46649391430}"/>
                </a:ext>
              </a:extLst>
            </p:cNvPr>
            <p:cNvSpPr>
              <a:spLocks noEditPoints="1"/>
            </p:cNvSpPr>
            <p:nvPr/>
          </p:nvSpPr>
          <p:spPr bwMode="auto">
            <a:xfrm>
              <a:off x="5876813" y="421083"/>
              <a:ext cx="83785" cy="51359"/>
            </a:xfrm>
            <a:custGeom>
              <a:avLst/>
              <a:gdLst>
                <a:gd name="T0" fmla="*/ 624 w 3222"/>
                <a:gd name="T1" fmla="*/ 624 h 1975"/>
                <a:gd name="T2" fmla="*/ 624 w 3222"/>
                <a:gd name="T3" fmla="*/ 1351 h 1975"/>
                <a:gd name="T4" fmla="*/ 2599 w 3222"/>
                <a:gd name="T5" fmla="*/ 1351 h 1975"/>
                <a:gd name="T6" fmla="*/ 2599 w 3222"/>
                <a:gd name="T7" fmla="*/ 624 h 1975"/>
                <a:gd name="T8" fmla="*/ 624 w 3222"/>
                <a:gd name="T9" fmla="*/ 624 h 1975"/>
                <a:gd name="T10" fmla="*/ 312 w 3222"/>
                <a:gd name="T11" fmla="*/ 0 h 1975"/>
                <a:gd name="T12" fmla="*/ 2911 w 3222"/>
                <a:gd name="T13" fmla="*/ 0 h 1975"/>
                <a:gd name="T14" fmla="*/ 3118 w 3222"/>
                <a:gd name="T15" fmla="*/ 0 h 1975"/>
                <a:gd name="T16" fmla="*/ 3222 w 3222"/>
                <a:gd name="T17" fmla="*/ 104 h 1975"/>
                <a:gd name="T18" fmla="*/ 3222 w 3222"/>
                <a:gd name="T19" fmla="*/ 312 h 1975"/>
                <a:gd name="T20" fmla="*/ 3222 w 3222"/>
                <a:gd name="T21" fmla="*/ 1663 h 1975"/>
                <a:gd name="T22" fmla="*/ 3222 w 3222"/>
                <a:gd name="T23" fmla="*/ 1871 h 1975"/>
                <a:gd name="T24" fmla="*/ 3118 w 3222"/>
                <a:gd name="T25" fmla="*/ 1975 h 1975"/>
                <a:gd name="T26" fmla="*/ 2911 w 3222"/>
                <a:gd name="T27" fmla="*/ 1975 h 1975"/>
                <a:gd name="T28" fmla="*/ 312 w 3222"/>
                <a:gd name="T29" fmla="*/ 1975 h 1975"/>
                <a:gd name="T30" fmla="*/ 104 w 3222"/>
                <a:gd name="T31" fmla="*/ 1975 h 1975"/>
                <a:gd name="T32" fmla="*/ 0 w 3222"/>
                <a:gd name="T33" fmla="*/ 1871 h 1975"/>
                <a:gd name="T34" fmla="*/ 0 w 3222"/>
                <a:gd name="T35" fmla="*/ 1663 h 1975"/>
                <a:gd name="T36" fmla="*/ 0 w 3222"/>
                <a:gd name="T37" fmla="*/ 312 h 1975"/>
                <a:gd name="T38" fmla="*/ 0 w 3222"/>
                <a:gd name="T39" fmla="*/ 104 h 1975"/>
                <a:gd name="T40" fmla="*/ 104 w 3222"/>
                <a:gd name="T41" fmla="*/ 0 h 1975"/>
                <a:gd name="T42" fmla="*/ 312 w 3222"/>
                <a:gd name="T43" fmla="*/ 0 h 1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22" h="1975">
                  <a:moveTo>
                    <a:pt x="624" y="624"/>
                  </a:moveTo>
                  <a:lnTo>
                    <a:pt x="624" y="1351"/>
                  </a:lnTo>
                  <a:lnTo>
                    <a:pt x="2599" y="1351"/>
                  </a:lnTo>
                  <a:lnTo>
                    <a:pt x="2599" y="624"/>
                  </a:lnTo>
                  <a:lnTo>
                    <a:pt x="624" y="624"/>
                  </a:lnTo>
                  <a:close/>
                  <a:moveTo>
                    <a:pt x="312" y="0"/>
                  </a:moveTo>
                  <a:lnTo>
                    <a:pt x="2911" y="0"/>
                  </a:lnTo>
                  <a:lnTo>
                    <a:pt x="3118" y="0"/>
                  </a:lnTo>
                  <a:lnTo>
                    <a:pt x="3222" y="104"/>
                  </a:lnTo>
                  <a:lnTo>
                    <a:pt x="3222" y="312"/>
                  </a:lnTo>
                  <a:lnTo>
                    <a:pt x="3222" y="1663"/>
                  </a:lnTo>
                  <a:lnTo>
                    <a:pt x="3222" y="1871"/>
                  </a:lnTo>
                  <a:lnTo>
                    <a:pt x="3118" y="1975"/>
                  </a:lnTo>
                  <a:lnTo>
                    <a:pt x="2911" y="1975"/>
                  </a:lnTo>
                  <a:lnTo>
                    <a:pt x="312" y="1975"/>
                  </a:lnTo>
                  <a:lnTo>
                    <a:pt x="104" y="1975"/>
                  </a:lnTo>
                  <a:lnTo>
                    <a:pt x="0" y="1871"/>
                  </a:lnTo>
                  <a:lnTo>
                    <a:pt x="0" y="1663"/>
                  </a:lnTo>
                  <a:lnTo>
                    <a:pt x="0" y="312"/>
                  </a:lnTo>
                  <a:lnTo>
                    <a:pt x="0" y="104"/>
                  </a:lnTo>
                  <a:lnTo>
                    <a:pt x="104" y="0"/>
                  </a:lnTo>
                  <a:lnTo>
                    <a:pt x="3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a:ea typeface="+mn-ea"/>
                <a:cs typeface="+mn-cs"/>
              </a:endParaRPr>
            </a:p>
          </p:txBody>
        </p:sp>
        <p:sp>
          <p:nvSpPr>
            <p:cNvPr id="174" name="Freeform 52">
              <a:extLst>
                <a:ext uri="{FF2B5EF4-FFF2-40B4-BE49-F238E27FC236}">
                  <a16:creationId xmlns="" xmlns:a16="http://schemas.microsoft.com/office/drawing/2014/main" id="{4035E133-A782-4524-B9D5-1BD1C2E1BD62}"/>
                </a:ext>
              </a:extLst>
            </p:cNvPr>
            <p:cNvSpPr>
              <a:spLocks noEditPoints="1"/>
            </p:cNvSpPr>
            <p:nvPr/>
          </p:nvSpPr>
          <p:spPr bwMode="auto">
            <a:xfrm>
              <a:off x="5903830" y="458919"/>
              <a:ext cx="29748" cy="118943"/>
            </a:xfrm>
            <a:custGeom>
              <a:avLst/>
              <a:gdLst>
                <a:gd name="T0" fmla="*/ 624 w 1144"/>
                <a:gd name="T1" fmla="*/ 416 h 4574"/>
                <a:gd name="T2" fmla="*/ 520 w 1144"/>
                <a:gd name="T3" fmla="*/ 520 h 4574"/>
                <a:gd name="T4" fmla="*/ 520 w 1144"/>
                <a:gd name="T5" fmla="*/ 624 h 4574"/>
                <a:gd name="T6" fmla="*/ 520 w 1144"/>
                <a:gd name="T7" fmla="*/ 3950 h 4574"/>
                <a:gd name="T8" fmla="*/ 520 w 1144"/>
                <a:gd name="T9" fmla="*/ 4054 h 4574"/>
                <a:gd name="T10" fmla="*/ 624 w 1144"/>
                <a:gd name="T11" fmla="*/ 4054 h 4574"/>
                <a:gd name="T12" fmla="*/ 624 w 1144"/>
                <a:gd name="T13" fmla="*/ 4054 h 4574"/>
                <a:gd name="T14" fmla="*/ 728 w 1144"/>
                <a:gd name="T15" fmla="*/ 3950 h 4574"/>
                <a:gd name="T16" fmla="*/ 728 w 1144"/>
                <a:gd name="T17" fmla="*/ 624 h 4574"/>
                <a:gd name="T18" fmla="*/ 728 w 1144"/>
                <a:gd name="T19" fmla="*/ 520 h 4574"/>
                <a:gd name="T20" fmla="*/ 624 w 1144"/>
                <a:gd name="T21" fmla="*/ 416 h 4574"/>
                <a:gd name="T22" fmla="*/ 624 w 1144"/>
                <a:gd name="T23" fmla="*/ 0 h 4574"/>
                <a:gd name="T24" fmla="*/ 832 w 1144"/>
                <a:gd name="T25" fmla="*/ 0 h 4574"/>
                <a:gd name="T26" fmla="*/ 1040 w 1144"/>
                <a:gd name="T27" fmla="*/ 208 h 4574"/>
                <a:gd name="T28" fmla="*/ 1144 w 1144"/>
                <a:gd name="T29" fmla="*/ 312 h 4574"/>
                <a:gd name="T30" fmla="*/ 1144 w 1144"/>
                <a:gd name="T31" fmla="*/ 624 h 4574"/>
                <a:gd name="T32" fmla="*/ 1144 w 1144"/>
                <a:gd name="T33" fmla="*/ 3950 h 4574"/>
                <a:gd name="T34" fmla="*/ 1144 w 1144"/>
                <a:gd name="T35" fmla="*/ 4158 h 4574"/>
                <a:gd name="T36" fmla="*/ 1040 w 1144"/>
                <a:gd name="T37" fmla="*/ 4366 h 4574"/>
                <a:gd name="T38" fmla="*/ 832 w 1144"/>
                <a:gd name="T39" fmla="*/ 4470 h 4574"/>
                <a:gd name="T40" fmla="*/ 624 w 1144"/>
                <a:gd name="T41" fmla="*/ 4574 h 4574"/>
                <a:gd name="T42" fmla="*/ 416 w 1144"/>
                <a:gd name="T43" fmla="*/ 4470 h 4574"/>
                <a:gd name="T44" fmla="*/ 208 w 1144"/>
                <a:gd name="T45" fmla="*/ 4366 h 4574"/>
                <a:gd name="T46" fmla="*/ 104 w 1144"/>
                <a:gd name="T47" fmla="*/ 4158 h 4574"/>
                <a:gd name="T48" fmla="*/ 0 w 1144"/>
                <a:gd name="T49" fmla="*/ 3950 h 4574"/>
                <a:gd name="T50" fmla="*/ 0 w 1144"/>
                <a:gd name="T51" fmla="*/ 624 h 4574"/>
                <a:gd name="T52" fmla="*/ 104 w 1144"/>
                <a:gd name="T53" fmla="*/ 312 h 4574"/>
                <a:gd name="T54" fmla="*/ 208 w 1144"/>
                <a:gd name="T55" fmla="*/ 208 h 4574"/>
                <a:gd name="T56" fmla="*/ 416 w 1144"/>
                <a:gd name="T57" fmla="*/ 0 h 4574"/>
                <a:gd name="T58" fmla="*/ 624 w 1144"/>
                <a:gd name="T59" fmla="*/ 0 h 4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44" h="4574">
                  <a:moveTo>
                    <a:pt x="624" y="416"/>
                  </a:moveTo>
                  <a:lnTo>
                    <a:pt x="520" y="520"/>
                  </a:lnTo>
                  <a:lnTo>
                    <a:pt x="520" y="624"/>
                  </a:lnTo>
                  <a:lnTo>
                    <a:pt x="520" y="3950"/>
                  </a:lnTo>
                  <a:lnTo>
                    <a:pt x="520" y="4054"/>
                  </a:lnTo>
                  <a:lnTo>
                    <a:pt x="624" y="4054"/>
                  </a:lnTo>
                  <a:lnTo>
                    <a:pt x="624" y="4054"/>
                  </a:lnTo>
                  <a:lnTo>
                    <a:pt x="728" y="3950"/>
                  </a:lnTo>
                  <a:lnTo>
                    <a:pt x="728" y="624"/>
                  </a:lnTo>
                  <a:lnTo>
                    <a:pt x="728" y="520"/>
                  </a:lnTo>
                  <a:lnTo>
                    <a:pt x="624" y="416"/>
                  </a:lnTo>
                  <a:close/>
                  <a:moveTo>
                    <a:pt x="624" y="0"/>
                  </a:moveTo>
                  <a:lnTo>
                    <a:pt x="832" y="0"/>
                  </a:lnTo>
                  <a:lnTo>
                    <a:pt x="1040" y="208"/>
                  </a:lnTo>
                  <a:lnTo>
                    <a:pt x="1144" y="312"/>
                  </a:lnTo>
                  <a:lnTo>
                    <a:pt x="1144" y="624"/>
                  </a:lnTo>
                  <a:lnTo>
                    <a:pt x="1144" y="3950"/>
                  </a:lnTo>
                  <a:lnTo>
                    <a:pt x="1144" y="4158"/>
                  </a:lnTo>
                  <a:lnTo>
                    <a:pt x="1040" y="4366"/>
                  </a:lnTo>
                  <a:lnTo>
                    <a:pt x="832" y="4470"/>
                  </a:lnTo>
                  <a:lnTo>
                    <a:pt x="624" y="4574"/>
                  </a:lnTo>
                  <a:lnTo>
                    <a:pt x="416" y="4470"/>
                  </a:lnTo>
                  <a:lnTo>
                    <a:pt x="208" y="4366"/>
                  </a:lnTo>
                  <a:lnTo>
                    <a:pt x="104" y="4158"/>
                  </a:lnTo>
                  <a:lnTo>
                    <a:pt x="0" y="3950"/>
                  </a:lnTo>
                  <a:lnTo>
                    <a:pt x="0" y="624"/>
                  </a:lnTo>
                  <a:lnTo>
                    <a:pt x="104" y="312"/>
                  </a:lnTo>
                  <a:lnTo>
                    <a:pt x="208" y="208"/>
                  </a:lnTo>
                  <a:lnTo>
                    <a:pt x="416" y="0"/>
                  </a:lnTo>
                  <a:lnTo>
                    <a:pt x="6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a:ea typeface="+mn-ea"/>
                <a:cs typeface="+mn-cs"/>
              </a:endParaRPr>
            </a:p>
          </p:txBody>
        </p:sp>
        <p:sp>
          <p:nvSpPr>
            <p:cNvPr id="175" name="Freeform 53">
              <a:extLst>
                <a:ext uri="{FF2B5EF4-FFF2-40B4-BE49-F238E27FC236}">
                  <a16:creationId xmlns="" xmlns:a16="http://schemas.microsoft.com/office/drawing/2014/main" id="{37B77A65-DF2E-49C6-B61F-B66C02E43A7A}"/>
                </a:ext>
              </a:extLst>
            </p:cNvPr>
            <p:cNvSpPr>
              <a:spLocks/>
            </p:cNvSpPr>
            <p:nvPr/>
          </p:nvSpPr>
          <p:spPr bwMode="auto">
            <a:xfrm>
              <a:off x="5841681" y="272416"/>
              <a:ext cx="62150" cy="13496"/>
            </a:xfrm>
            <a:custGeom>
              <a:avLst/>
              <a:gdLst>
                <a:gd name="T0" fmla="*/ 311 w 2390"/>
                <a:gd name="T1" fmla="*/ 0 h 519"/>
                <a:gd name="T2" fmla="*/ 2079 w 2390"/>
                <a:gd name="T3" fmla="*/ 0 h 519"/>
                <a:gd name="T4" fmla="*/ 2286 w 2390"/>
                <a:gd name="T5" fmla="*/ 104 h 519"/>
                <a:gd name="T6" fmla="*/ 2390 w 2390"/>
                <a:gd name="T7" fmla="*/ 207 h 519"/>
                <a:gd name="T8" fmla="*/ 2286 w 2390"/>
                <a:gd name="T9" fmla="*/ 415 h 519"/>
                <a:gd name="T10" fmla="*/ 2079 w 2390"/>
                <a:gd name="T11" fmla="*/ 519 h 519"/>
                <a:gd name="T12" fmla="*/ 311 w 2390"/>
                <a:gd name="T13" fmla="*/ 519 h 519"/>
                <a:gd name="T14" fmla="*/ 103 w 2390"/>
                <a:gd name="T15" fmla="*/ 415 h 519"/>
                <a:gd name="T16" fmla="*/ 0 w 2390"/>
                <a:gd name="T17" fmla="*/ 207 h 519"/>
                <a:gd name="T18" fmla="*/ 103 w 2390"/>
                <a:gd name="T19" fmla="*/ 104 h 519"/>
                <a:gd name="T20" fmla="*/ 311 w 2390"/>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0" h="519">
                  <a:moveTo>
                    <a:pt x="311" y="0"/>
                  </a:moveTo>
                  <a:lnTo>
                    <a:pt x="2079" y="0"/>
                  </a:lnTo>
                  <a:lnTo>
                    <a:pt x="2286" y="104"/>
                  </a:lnTo>
                  <a:lnTo>
                    <a:pt x="2390" y="207"/>
                  </a:lnTo>
                  <a:lnTo>
                    <a:pt x="2286" y="415"/>
                  </a:lnTo>
                  <a:lnTo>
                    <a:pt x="2079" y="519"/>
                  </a:lnTo>
                  <a:lnTo>
                    <a:pt x="311" y="519"/>
                  </a:lnTo>
                  <a:lnTo>
                    <a:pt x="103" y="415"/>
                  </a:lnTo>
                  <a:lnTo>
                    <a:pt x="0" y="207"/>
                  </a:lnTo>
                  <a:lnTo>
                    <a:pt x="103" y="104"/>
                  </a:lnTo>
                  <a:lnTo>
                    <a:pt x="3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a:ea typeface="+mn-ea"/>
                <a:cs typeface="+mn-cs"/>
              </a:endParaRPr>
            </a:p>
          </p:txBody>
        </p:sp>
        <p:sp>
          <p:nvSpPr>
            <p:cNvPr id="176" name="Freeform 54">
              <a:extLst>
                <a:ext uri="{FF2B5EF4-FFF2-40B4-BE49-F238E27FC236}">
                  <a16:creationId xmlns="" xmlns:a16="http://schemas.microsoft.com/office/drawing/2014/main" id="{691F75C5-E14D-49BD-9749-EC41ECB8348F}"/>
                </a:ext>
              </a:extLst>
            </p:cNvPr>
            <p:cNvSpPr>
              <a:spLocks/>
            </p:cNvSpPr>
            <p:nvPr/>
          </p:nvSpPr>
          <p:spPr bwMode="auto">
            <a:xfrm>
              <a:off x="5841681" y="307548"/>
              <a:ext cx="62150" cy="13523"/>
            </a:xfrm>
            <a:custGeom>
              <a:avLst/>
              <a:gdLst>
                <a:gd name="T0" fmla="*/ 311 w 2390"/>
                <a:gd name="T1" fmla="*/ 0 h 520"/>
                <a:gd name="T2" fmla="*/ 2079 w 2390"/>
                <a:gd name="T3" fmla="*/ 0 h 520"/>
                <a:gd name="T4" fmla="*/ 2286 w 2390"/>
                <a:gd name="T5" fmla="*/ 104 h 520"/>
                <a:gd name="T6" fmla="*/ 2390 w 2390"/>
                <a:gd name="T7" fmla="*/ 312 h 520"/>
                <a:gd name="T8" fmla="*/ 2286 w 2390"/>
                <a:gd name="T9" fmla="*/ 416 h 520"/>
                <a:gd name="T10" fmla="*/ 2079 w 2390"/>
                <a:gd name="T11" fmla="*/ 520 h 520"/>
                <a:gd name="T12" fmla="*/ 311 w 2390"/>
                <a:gd name="T13" fmla="*/ 520 h 520"/>
                <a:gd name="T14" fmla="*/ 103 w 2390"/>
                <a:gd name="T15" fmla="*/ 416 h 520"/>
                <a:gd name="T16" fmla="*/ 0 w 2390"/>
                <a:gd name="T17" fmla="*/ 312 h 520"/>
                <a:gd name="T18" fmla="*/ 103 w 2390"/>
                <a:gd name="T19" fmla="*/ 104 h 520"/>
                <a:gd name="T20" fmla="*/ 311 w 2390"/>
                <a:gd name="T21" fmla="*/ 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0" h="520">
                  <a:moveTo>
                    <a:pt x="311" y="0"/>
                  </a:moveTo>
                  <a:lnTo>
                    <a:pt x="2079" y="0"/>
                  </a:lnTo>
                  <a:lnTo>
                    <a:pt x="2286" y="104"/>
                  </a:lnTo>
                  <a:lnTo>
                    <a:pt x="2390" y="312"/>
                  </a:lnTo>
                  <a:lnTo>
                    <a:pt x="2286" y="416"/>
                  </a:lnTo>
                  <a:lnTo>
                    <a:pt x="2079" y="520"/>
                  </a:lnTo>
                  <a:lnTo>
                    <a:pt x="311" y="520"/>
                  </a:lnTo>
                  <a:lnTo>
                    <a:pt x="103" y="416"/>
                  </a:lnTo>
                  <a:lnTo>
                    <a:pt x="0" y="312"/>
                  </a:lnTo>
                  <a:lnTo>
                    <a:pt x="103" y="104"/>
                  </a:lnTo>
                  <a:lnTo>
                    <a:pt x="3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a:ea typeface="+mn-ea"/>
                <a:cs typeface="+mn-cs"/>
              </a:endParaRPr>
            </a:p>
          </p:txBody>
        </p:sp>
        <p:sp>
          <p:nvSpPr>
            <p:cNvPr id="177" name="Freeform 55">
              <a:extLst>
                <a:ext uri="{FF2B5EF4-FFF2-40B4-BE49-F238E27FC236}">
                  <a16:creationId xmlns="" xmlns:a16="http://schemas.microsoft.com/office/drawing/2014/main" id="{260B9BEE-A301-4040-B2FE-927E91B5C1C9}"/>
                </a:ext>
              </a:extLst>
            </p:cNvPr>
            <p:cNvSpPr>
              <a:spLocks/>
            </p:cNvSpPr>
            <p:nvPr/>
          </p:nvSpPr>
          <p:spPr bwMode="auto">
            <a:xfrm>
              <a:off x="5841681" y="345384"/>
              <a:ext cx="62150" cy="10819"/>
            </a:xfrm>
            <a:custGeom>
              <a:avLst/>
              <a:gdLst>
                <a:gd name="T0" fmla="*/ 311 w 2390"/>
                <a:gd name="T1" fmla="*/ 0 h 416"/>
                <a:gd name="T2" fmla="*/ 2079 w 2390"/>
                <a:gd name="T3" fmla="*/ 0 h 416"/>
                <a:gd name="T4" fmla="*/ 2286 w 2390"/>
                <a:gd name="T5" fmla="*/ 0 h 416"/>
                <a:gd name="T6" fmla="*/ 2390 w 2390"/>
                <a:gd name="T7" fmla="*/ 208 h 416"/>
                <a:gd name="T8" fmla="*/ 2286 w 2390"/>
                <a:gd name="T9" fmla="*/ 312 h 416"/>
                <a:gd name="T10" fmla="*/ 2079 w 2390"/>
                <a:gd name="T11" fmla="*/ 416 h 416"/>
                <a:gd name="T12" fmla="*/ 311 w 2390"/>
                <a:gd name="T13" fmla="*/ 416 h 416"/>
                <a:gd name="T14" fmla="*/ 103 w 2390"/>
                <a:gd name="T15" fmla="*/ 312 h 416"/>
                <a:gd name="T16" fmla="*/ 0 w 2390"/>
                <a:gd name="T17" fmla="*/ 208 h 416"/>
                <a:gd name="T18" fmla="*/ 103 w 2390"/>
                <a:gd name="T19" fmla="*/ 0 h 416"/>
                <a:gd name="T20" fmla="*/ 311 w 2390"/>
                <a:gd name="T21" fmla="*/ 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0" h="416">
                  <a:moveTo>
                    <a:pt x="311" y="0"/>
                  </a:moveTo>
                  <a:lnTo>
                    <a:pt x="2079" y="0"/>
                  </a:lnTo>
                  <a:lnTo>
                    <a:pt x="2286" y="0"/>
                  </a:lnTo>
                  <a:lnTo>
                    <a:pt x="2390" y="208"/>
                  </a:lnTo>
                  <a:lnTo>
                    <a:pt x="2286" y="312"/>
                  </a:lnTo>
                  <a:lnTo>
                    <a:pt x="2079" y="416"/>
                  </a:lnTo>
                  <a:lnTo>
                    <a:pt x="311" y="416"/>
                  </a:lnTo>
                  <a:lnTo>
                    <a:pt x="103" y="312"/>
                  </a:lnTo>
                  <a:lnTo>
                    <a:pt x="0" y="208"/>
                  </a:lnTo>
                  <a:lnTo>
                    <a:pt x="103" y="0"/>
                  </a:lnTo>
                  <a:lnTo>
                    <a:pt x="3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78" name="Grupo 308">
            <a:extLst>
              <a:ext uri="{FF2B5EF4-FFF2-40B4-BE49-F238E27FC236}">
                <a16:creationId xmlns="" xmlns:a16="http://schemas.microsoft.com/office/drawing/2014/main" id="{91DEFD36-AF90-4025-A085-05AB96E9F59A}"/>
              </a:ext>
            </a:extLst>
          </p:cNvPr>
          <p:cNvGrpSpPr/>
          <p:nvPr/>
        </p:nvGrpSpPr>
        <p:grpSpPr>
          <a:xfrm>
            <a:off x="4443606" y="5555633"/>
            <a:ext cx="192131" cy="296069"/>
            <a:chOff x="5803818" y="114199"/>
            <a:chExt cx="232478" cy="358243"/>
          </a:xfrm>
          <a:solidFill>
            <a:srgbClr val="F26926"/>
          </a:solidFill>
        </p:grpSpPr>
        <p:sp>
          <p:nvSpPr>
            <p:cNvPr id="179" name="Freeform 42">
              <a:extLst>
                <a:ext uri="{FF2B5EF4-FFF2-40B4-BE49-F238E27FC236}">
                  <a16:creationId xmlns="" xmlns:a16="http://schemas.microsoft.com/office/drawing/2014/main" id="{EF84EEA7-2E21-4B17-9283-73A127796AC1}"/>
                </a:ext>
              </a:extLst>
            </p:cNvPr>
            <p:cNvSpPr>
              <a:spLocks noEditPoints="1"/>
            </p:cNvSpPr>
            <p:nvPr/>
          </p:nvSpPr>
          <p:spPr bwMode="auto">
            <a:xfrm>
              <a:off x="5838976" y="218353"/>
              <a:ext cx="159484" cy="218956"/>
            </a:xfrm>
            <a:custGeom>
              <a:avLst/>
              <a:gdLst>
                <a:gd name="T0" fmla="*/ 727 w 6133"/>
                <a:gd name="T1" fmla="*/ 727 h 8420"/>
                <a:gd name="T2" fmla="*/ 727 w 6133"/>
                <a:gd name="T3" fmla="*/ 6341 h 8420"/>
                <a:gd name="T4" fmla="*/ 727 w 6133"/>
                <a:gd name="T5" fmla="*/ 6756 h 8420"/>
                <a:gd name="T6" fmla="*/ 935 w 6133"/>
                <a:gd name="T7" fmla="*/ 7172 h 8420"/>
                <a:gd name="T8" fmla="*/ 1143 w 6133"/>
                <a:gd name="T9" fmla="*/ 7484 h 8420"/>
                <a:gd name="T10" fmla="*/ 1559 w 6133"/>
                <a:gd name="T11" fmla="*/ 7692 h 8420"/>
                <a:gd name="T12" fmla="*/ 1871 w 6133"/>
                <a:gd name="T13" fmla="*/ 7796 h 8420"/>
                <a:gd name="T14" fmla="*/ 4262 w 6133"/>
                <a:gd name="T15" fmla="*/ 7796 h 8420"/>
                <a:gd name="T16" fmla="*/ 4677 w 6133"/>
                <a:gd name="T17" fmla="*/ 7692 h 8420"/>
                <a:gd name="T18" fmla="*/ 4989 w 6133"/>
                <a:gd name="T19" fmla="*/ 7484 h 8420"/>
                <a:gd name="T20" fmla="*/ 5197 w 6133"/>
                <a:gd name="T21" fmla="*/ 7172 h 8420"/>
                <a:gd name="T22" fmla="*/ 5405 w 6133"/>
                <a:gd name="T23" fmla="*/ 6756 h 8420"/>
                <a:gd name="T24" fmla="*/ 5509 w 6133"/>
                <a:gd name="T25" fmla="*/ 6341 h 8420"/>
                <a:gd name="T26" fmla="*/ 5509 w 6133"/>
                <a:gd name="T27" fmla="*/ 727 h 8420"/>
                <a:gd name="T28" fmla="*/ 727 w 6133"/>
                <a:gd name="T29" fmla="*/ 727 h 8420"/>
                <a:gd name="T30" fmla="*/ 415 w 6133"/>
                <a:gd name="T31" fmla="*/ 0 h 8420"/>
                <a:gd name="T32" fmla="*/ 5821 w 6133"/>
                <a:gd name="T33" fmla="*/ 0 h 8420"/>
                <a:gd name="T34" fmla="*/ 5925 w 6133"/>
                <a:gd name="T35" fmla="*/ 104 h 8420"/>
                <a:gd name="T36" fmla="*/ 6029 w 6133"/>
                <a:gd name="T37" fmla="*/ 207 h 8420"/>
                <a:gd name="T38" fmla="*/ 6133 w 6133"/>
                <a:gd name="T39" fmla="*/ 311 h 8420"/>
                <a:gd name="T40" fmla="*/ 6133 w 6133"/>
                <a:gd name="T41" fmla="*/ 415 h 8420"/>
                <a:gd name="T42" fmla="*/ 6133 w 6133"/>
                <a:gd name="T43" fmla="*/ 519 h 8420"/>
                <a:gd name="T44" fmla="*/ 6133 w 6133"/>
                <a:gd name="T45" fmla="*/ 6341 h 8420"/>
                <a:gd name="T46" fmla="*/ 5925 w 6133"/>
                <a:gd name="T47" fmla="*/ 7380 h 8420"/>
                <a:gd name="T48" fmla="*/ 5197 w 6133"/>
                <a:gd name="T49" fmla="*/ 8108 h 8420"/>
                <a:gd name="T50" fmla="*/ 4262 w 6133"/>
                <a:gd name="T51" fmla="*/ 8420 h 8420"/>
                <a:gd name="T52" fmla="*/ 1871 w 6133"/>
                <a:gd name="T53" fmla="*/ 8420 h 8420"/>
                <a:gd name="T54" fmla="*/ 935 w 6133"/>
                <a:gd name="T55" fmla="*/ 8108 h 8420"/>
                <a:gd name="T56" fmla="*/ 311 w 6133"/>
                <a:gd name="T57" fmla="*/ 7380 h 8420"/>
                <a:gd name="T58" fmla="*/ 0 w 6133"/>
                <a:gd name="T59" fmla="*/ 6341 h 8420"/>
                <a:gd name="T60" fmla="*/ 0 w 6133"/>
                <a:gd name="T61" fmla="*/ 519 h 8420"/>
                <a:gd name="T62" fmla="*/ 0 w 6133"/>
                <a:gd name="T63" fmla="*/ 415 h 8420"/>
                <a:gd name="T64" fmla="*/ 104 w 6133"/>
                <a:gd name="T65" fmla="*/ 311 h 8420"/>
                <a:gd name="T66" fmla="*/ 104 w 6133"/>
                <a:gd name="T67" fmla="*/ 207 h 8420"/>
                <a:gd name="T68" fmla="*/ 207 w 6133"/>
                <a:gd name="T69" fmla="*/ 104 h 8420"/>
                <a:gd name="T70" fmla="*/ 415 w 6133"/>
                <a:gd name="T71" fmla="*/ 0 h 8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133" h="8420">
                  <a:moveTo>
                    <a:pt x="727" y="727"/>
                  </a:moveTo>
                  <a:lnTo>
                    <a:pt x="727" y="6341"/>
                  </a:lnTo>
                  <a:lnTo>
                    <a:pt x="727" y="6756"/>
                  </a:lnTo>
                  <a:lnTo>
                    <a:pt x="935" y="7172"/>
                  </a:lnTo>
                  <a:lnTo>
                    <a:pt x="1143" y="7484"/>
                  </a:lnTo>
                  <a:lnTo>
                    <a:pt x="1559" y="7692"/>
                  </a:lnTo>
                  <a:lnTo>
                    <a:pt x="1871" y="7796"/>
                  </a:lnTo>
                  <a:lnTo>
                    <a:pt x="4262" y="7796"/>
                  </a:lnTo>
                  <a:lnTo>
                    <a:pt x="4677" y="7692"/>
                  </a:lnTo>
                  <a:lnTo>
                    <a:pt x="4989" y="7484"/>
                  </a:lnTo>
                  <a:lnTo>
                    <a:pt x="5197" y="7172"/>
                  </a:lnTo>
                  <a:lnTo>
                    <a:pt x="5405" y="6756"/>
                  </a:lnTo>
                  <a:lnTo>
                    <a:pt x="5509" y="6341"/>
                  </a:lnTo>
                  <a:lnTo>
                    <a:pt x="5509" y="727"/>
                  </a:lnTo>
                  <a:lnTo>
                    <a:pt x="727" y="727"/>
                  </a:lnTo>
                  <a:close/>
                  <a:moveTo>
                    <a:pt x="415" y="0"/>
                  </a:moveTo>
                  <a:lnTo>
                    <a:pt x="5821" y="0"/>
                  </a:lnTo>
                  <a:lnTo>
                    <a:pt x="5925" y="104"/>
                  </a:lnTo>
                  <a:lnTo>
                    <a:pt x="6029" y="207"/>
                  </a:lnTo>
                  <a:lnTo>
                    <a:pt x="6133" y="311"/>
                  </a:lnTo>
                  <a:lnTo>
                    <a:pt x="6133" y="415"/>
                  </a:lnTo>
                  <a:lnTo>
                    <a:pt x="6133" y="519"/>
                  </a:lnTo>
                  <a:lnTo>
                    <a:pt x="6133" y="6341"/>
                  </a:lnTo>
                  <a:lnTo>
                    <a:pt x="5925" y="7380"/>
                  </a:lnTo>
                  <a:lnTo>
                    <a:pt x="5197" y="8108"/>
                  </a:lnTo>
                  <a:lnTo>
                    <a:pt x="4262" y="8420"/>
                  </a:lnTo>
                  <a:lnTo>
                    <a:pt x="1871" y="8420"/>
                  </a:lnTo>
                  <a:lnTo>
                    <a:pt x="935" y="8108"/>
                  </a:lnTo>
                  <a:lnTo>
                    <a:pt x="311" y="7380"/>
                  </a:lnTo>
                  <a:lnTo>
                    <a:pt x="0" y="6341"/>
                  </a:lnTo>
                  <a:lnTo>
                    <a:pt x="0" y="519"/>
                  </a:lnTo>
                  <a:lnTo>
                    <a:pt x="0" y="415"/>
                  </a:lnTo>
                  <a:lnTo>
                    <a:pt x="104" y="311"/>
                  </a:lnTo>
                  <a:lnTo>
                    <a:pt x="104" y="207"/>
                  </a:lnTo>
                  <a:lnTo>
                    <a:pt x="207" y="104"/>
                  </a:lnTo>
                  <a:lnTo>
                    <a:pt x="4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a:ea typeface="+mn-ea"/>
                <a:cs typeface="+mn-cs"/>
              </a:endParaRPr>
            </a:p>
          </p:txBody>
        </p:sp>
        <p:sp>
          <p:nvSpPr>
            <p:cNvPr id="180" name="Freeform 44">
              <a:extLst>
                <a:ext uri="{FF2B5EF4-FFF2-40B4-BE49-F238E27FC236}">
                  <a16:creationId xmlns="" xmlns:a16="http://schemas.microsoft.com/office/drawing/2014/main" id="{DF78432A-EBEE-440C-83FE-4631ECA5026A}"/>
                </a:ext>
              </a:extLst>
            </p:cNvPr>
            <p:cNvSpPr>
              <a:spLocks noEditPoints="1"/>
            </p:cNvSpPr>
            <p:nvPr/>
          </p:nvSpPr>
          <p:spPr bwMode="auto">
            <a:xfrm>
              <a:off x="5803818" y="181785"/>
              <a:ext cx="232478" cy="56767"/>
            </a:xfrm>
            <a:custGeom>
              <a:avLst/>
              <a:gdLst>
                <a:gd name="T0" fmla="*/ 728 w 8940"/>
                <a:gd name="T1" fmla="*/ 728 h 2183"/>
                <a:gd name="T2" fmla="*/ 728 w 8940"/>
                <a:gd name="T3" fmla="*/ 1455 h 2183"/>
                <a:gd name="T4" fmla="*/ 8212 w 8940"/>
                <a:gd name="T5" fmla="*/ 1455 h 2183"/>
                <a:gd name="T6" fmla="*/ 8212 w 8940"/>
                <a:gd name="T7" fmla="*/ 728 h 2183"/>
                <a:gd name="T8" fmla="*/ 728 w 8940"/>
                <a:gd name="T9" fmla="*/ 728 h 2183"/>
                <a:gd name="T10" fmla="*/ 312 w 8940"/>
                <a:gd name="T11" fmla="*/ 0 h 2183"/>
                <a:gd name="T12" fmla="*/ 8524 w 8940"/>
                <a:gd name="T13" fmla="*/ 0 h 2183"/>
                <a:gd name="T14" fmla="*/ 8732 w 8940"/>
                <a:gd name="T15" fmla="*/ 0 h 2183"/>
                <a:gd name="T16" fmla="*/ 8836 w 8940"/>
                <a:gd name="T17" fmla="*/ 208 h 2183"/>
                <a:gd name="T18" fmla="*/ 8940 w 8940"/>
                <a:gd name="T19" fmla="*/ 312 h 2183"/>
                <a:gd name="T20" fmla="*/ 8940 w 8940"/>
                <a:gd name="T21" fmla="*/ 1767 h 2183"/>
                <a:gd name="T22" fmla="*/ 8836 w 8940"/>
                <a:gd name="T23" fmla="*/ 1975 h 2183"/>
                <a:gd name="T24" fmla="*/ 8732 w 8940"/>
                <a:gd name="T25" fmla="*/ 2079 h 2183"/>
                <a:gd name="T26" fmla="*/ 8524 w 8940"/>
                <a:gd name="T27" fmla="*/ 2183 h 2183"/>
                <a:gd name="T28" fmla="*/ 312 w 8940"/>
                <a:gd name="T29" fmla="*/ 2183 h 2183"/>
                <a:gd name="T30" fmla="*/ 208 w 8940"/>
                <a:gd name="T31" fmla="*/ 2079 h 2183"/>
                <a:gd name="T32" fmla="*/ 0 w 8940"/>
                <a:gd name="T33" fmla="*/ 1975 h 2183"/>
                <a:gd name="T34" fmla="*/ 0 w 8940"/>
                <a:gd name="T35" fmla="*/ 1767 h 2183"/>
                <a:gd name="T36" fmla="*/ 0 w 8940"/>
                <a:gd name="T37" fmla="*/ 312 h 2183"/>
                <a:gd name="T38" fmla="*/ 0 w 8940"/>
                <a:gd name="T39" fmla="*/ 208 h 2183"/>
                <a:gd name="T40" fmla="*/ 208 w 8940"/>
                <a:gd name="T41" fmla="*/ 0 h 2183"/>
                <a:gd name="T42" fmla="*/ 312 w 8940"/>
                <a:gd name="T43" fmla="*/ 0 h 2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40" h="2183">
                  <a:moveTo>
                    <a:pt x="728" y="728"/>
                  </a:moveTo>
                  <a:lnTo>
                    <a:pt x="728" y="1455"/>
                  </a:lnTo>
                  <a:lnTo>
                    <a:pt x="8212" y="1455"/>
                  </a:lnTo>
                  <a:lnTo>
                    <a:pt x="8212" y="728"/>
                  </a:lnTo>
                  <a:lnTo>
                    <a:pt x="728" y="728"/>
                  </a:lnTo>
                  <a:close/>
                  <a:moveTo>
                    <a:pt x="312" y="0"/>
                  </a:moveTo>
                  <a:lnTo>
                    <a:pt x="8524" y="0"/>
                  </a:lnTo>
                  <a:lnTo>
                    <a:pt x="8732" y="0"/>
                  </a:lnTo>
                  <a:lnTo>
                    <a:pt x="8836" y="208"/>
                  </a:lnTo>
                  <a:lnTo>
                    <a:pt x="8940" y="312"/>
                  </a:lnTo>
                  <a:lnTo>
                    <a:pt x="8940" y="1767"/>
                  </a:lnTo>
                  <a:lnTo>
                    <a:pt x="8836" y="1975"/>
                  </a:lnTo>
                  <a:lnTo>
                    <a:pt x="8732" y="2079"/>
                  </a:lnTo>
                  <a:lnTo>
                    <a:pt x="8524" y="2183"/>
                  </a:lnTo>
                  <a:lnTo>
                    <a:pt x="312" y="2183"/>
                  </a:lnTo>
                  <a:lnTo>
                    <a:pt x="208" y="2079"/>
                  </a:lnTo>
                  <a:lnTo>
                    <a:pt x="0" y="1975"/>
                  </a:lnTo>
                  <a:lnTo>
                    <a:pt x="0" y="1767"/>
                  </a:lnTo>
                  <a:lnTo>
                    <a:pt x="0" y="312"/>
                  </a:lnTo>
                  <a:lnTo>
                    <a:pt x="0" y="208"/>
                  </a:lnTo>
                  <a:lnTo>
                    <a:pt x="208" y="0"/>
                  </a:lnTo>
                  <a:lnTo>
                    <a:pt x="3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a:ea typeface="+mn-ea"/>
                <a:cs typeface="+mn-cs"/>
              </a:endParaRPr>
            </a:p>
          </p:txBody>
        </p:sp>
        <p:sp>
          <p:nvSpPr>
            <p:cNvPr id="181" name="Freeform 46">
              <a:extLst>
                <a:ext uri="{FF2B5EF4-FFF2-40B4-BE49-F238E27FC236}">
                  <a16:creationId xmlns="" xmlns:a16="http://schemas.microsoft.com/office/drawing/2014/main" id="{F264CDB4-132B-48CB-954B-A6CD971B01B9}"/>
                </a:ext>
              </a:extLst>
            </p:cNvPr>
            <p:cNvSpPr>
              <a:spLocks noEditPoints="1"/>
            </p:cNvSpPr>
            <p:nvPr/>
          </p:nvSpPr>
          <p:spPr bwMode="auto">
            <a:xfrm>
              <a:off x="5844359" y="114199"/>
              <a:ext cx="151398" cy="43245"/>
            </a:xfrm>
            <a:custGeom>
              <a:avLst/>
              <a:gdLst>
                <a:gd name="T0" fmla="*/ 520 w 5822"/>
                <a:gd name="T1" fmla="*/ 520 h 1663"/>
                <a:gd name="T2" fmla="*/ 520 w 5822"/>
                <a:gd name="T3" fmla="*/ 1040 h 1663"/>
                <a:gd name="T4" fmla="*/ 5198 w 5822"/>
                <a:gd name="T5" fmla="*/ 1040 h 1663"/>
                <a:gd name="T6" fmla="*/ 5198 w 5822"/>
                <a:gd name="T7" fmla="*/ 520 h 1663"/>
                <a:gd name="T8" fmla="*/ 520 w 5822"/>
                <a:gd name="T9" fmla="*/ 520 h 1663"/>
                <a:gd name="T10" fmla="*/ 312 w 5822"/>
                <a:gd name="T11" fmla="*/ 0 h 1663"/>
                <a:gd name="T12" fmla="*/ 5510 w 5822"/>
                <a:gd name="T13" fmla="*/ 0 h 1663"/>
                <a:gd name="T14" fmla="*/ 5614 w 5822"/>
                <a:gd name="T15" fmla="*/ 0 h 1663"/>
                <a:gd name="T16" fmla="*/ 5718 w 5822"/>
                <a:gd name="T17" fmla="*/ 104 h 1663"/>
                <a:gd name="T18" fmla="*/ 5822 w 5822"/>
                <a:gd name="T19" fmla="*/ 208 h 1663"/>
                <a:gd name="T20" fmla="*/ 5822 w 5822"/>
                <a:gd name="T21" fmla="*/ 1352 h 1663"/>
                <a:gd name="T22" fmla="*/ 5718 w 5822"/>
                <a:gd name="T23" fmla="*/ 1456 h 1663"/>
                <a:gd name="T24" fmla="*/ 5614 w 5822"/>
                <a:gd name="T25" fmla="*/ 1560 h 1663"/>
                <a:gd name="T26" fmla="*/ 5510 w 5822"/>
                <a:gd name="T27" fmla="*/ 1663 h 1663"/>
                <a:gd name="T28" fmla="*/ 312 w 5822"/>
                <a:gd name="T29" fmla="*/ 1663 h 1663"/>
                <a:gd name="T30" fmla="*/ 104 w 5822"/>
                <a:gd name="T31" fmla="*/ 1560 h 1663"/>
                <a:gd name="T32" fmla="*/ 0 w 5822"/>
                <a:gd name="T33" fmla="*/ 1456 h 1663"/>
                <a:gd name="T34" fmla="*/ 0 w 5822"/>
                <a:gd name="T35" fmla="*/ 1352 h 1663"/>
                <a:gd name="T36" fmla="*/ 0 w 5822"/>
                <a:gd name="T37" fmla="*/ 208 h 1663"/>
                <a:gd name="T38" fmla="*/ 0 w 5822"/>
                <a:gd name="T39" fmla="*/ 104 h 1663"/>
                <a:gd name="T40" fmla="*/ 104 w 5822"/>
                <a:gd name="T41" fmla="*/ 0 h 1663"/>
                <a:gd name="T42" fmla="*/ 312 w 5822"/>
                <a:gd name="T43" fmla="*/ 0 h 1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22" h="1663">
                  <a:moveTo>
                    <a:pt x="520" y="520"/>
                  </a:moveTo>
                  <a:lnTo>
                    <a:pt x="520" y="1040"/>
                  </a:lnTo>
                  <a:lnTo>
                    <a:pt x="5198" y="1040"/>
                  </a:lnTo>
                  <a:lnTo>
                    <a:pt x="5198" y="520"/>
                  </a:lnTo>
                  <a:lnTo>
                    <a:pt x="520" y="520"/>
                  </a:lnTo>
                  <a:close/>
                  <a:moveTo>
                    <a:pt x="312" y="0"/>
                  </a:moveTo>
                  <a:lnTo>
                    <a:pt x="5510" y="0"/>
                  </a:lnTo>
                  <a:lnTo>
                    <a:pt x="5614" y="0"/>
                  </a:lnTo>
                  <a:lnTo>
                    <a:pt x="5718" y="104"/>
                  </a:lnTo>
                  <a:lnTo>
                    <a:pt x="5822" y="208"/>
                  </a:lnTo>
                  <a:lnTo>
                    <a:pt x="5822" y="1352"/>
                  </a:lnTo>
                  <a:lnTo>
                    <a:pt x="5718" y="1456"/>
                  </a:lnTo>
                  <a:lnTo>
                    <a:pt x="5614" y="1560"/>
                  </a:lnTo>
                  <a:lnTo>
                    <a:pt x="5510" y="1663"/>
                  </a:lnTo>
                  <a:lnTo>
                    <a:pt x="312" y="1663"/>
                  </a:lnTo>
                  <a:lnTo>
                    <a:pt x="104" y="1560"/>
                  </a:lnTo>
                  <a:lnTo>
                    <a:pt x="0" y="1456"/>
                  </a:lnTo>
                  <a:lnTo>
                    <a:pt x="0" y="1352"/>
                  </a:lnTo>
                  <a:lnTo>
                    <a:pt x="0" y="208"/>
                  </a:lnTo>
                  <a:lnTo>
                    <a:pt x="0" y="104"/>
                  </a:lnTo>
                  <a:lnTo>
                    <a:pt x="104" y="0"/>
                  </a:lnTo>
                  <a:lnTo>
                    <a:pt x="3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a:ea typeface="+mn-ea"/>
                <a:cs typeface="+mn-cs"/>
              </a:endParaRPr>
            </a:p>
          </p:txBody>
        </p:sp>
        <p:sp>
          <p:nvSpPr>
            <p:cNvPr id="182" name="Freeform 48">
              <a:extLst>
                <a:ext uri="{FF2B5EF4-FFF2-40B4-BE49-F238E27FC236}">
                  <a16:creationId xmlns="" xmlns:a16="http://schemas.microsoft.com/office/drawing/2014/main" id="{8F3576DC-3D2A-4D82-B63E-9177388A8AA7}"/>
                </a:ext>
              </a:extLst>
            </p:cNvPr>
            <p:cNvSpPr>
              <a:spLocks noEditPoints="1"/>
            </p:cNvSpPr>
            <p:nvPr/>
          </p:nvSpPr>
          <p:spPr bwMode="auto">
            <a:xfrm>
              <a:off x="5876813" y="143949"/>
              <a:ext cx="83785" cy="51359"/>
            </a:xfrm>
            <a:custGeom>
              <a:avLst/>
              <a:gdLst>
                <a:gd name="T0" fmla="*/ 624 w 3222"/>
                <a:gd name="T1" fmla="*/ 623 h 1975"/>
                <a:gd name="T2" fmla="*/ 624 w 3222"/>
                <a:gd name="T3" fmla="*/ 1351 h 1975"/>
                <a:gd name="T4" fmla="*/ 2599 w 3222"/>
                <a:gd name="T5" fmla="*/ 1351 h 1975"/>
                <a:gd name="T6" fmla="*/ 2599 w 3222"/>
                <a:gd name="T7" fmla="*/ 623 h 1975"/>
                <a:gd name="T8" fmla="*/ 624 w 3222"/>
                <a:gd name="T9" fmla="*/ 623 h 1975"/>
                <a:gd name="T10" fmla="*/ 312 w 3222"/>
                <a:gd name="T11" fmla="*/ 0 h 1975"/>
                <a:gd name="T12" fmla="*/ 2911 w 3222"/>
                <a:gd name="T13" fmla="*/ 0 h 1975"/>
                <a:gd name="T14" fmla="*/ 3118 w 3222"/>
                <a:gd name="T15" fmla="*/ 104 h 1975"/>
                <a:gd name="T16" fmla="*/ 3222 w 3222"/>
                <a:gd name="T17" fmla="*/ 208 h 1975"/>
                <a:gd name="T18" fmla="*/ 3222 w 3222"/>
                <a:gd name="T19" fmla="*/ 312 h 1975"/>
                <a:gd name="T20" fmla="*/ 3222 w 3222"/>
                <a:gd name="T21" fmla="*/ 1663 h 1975"/>
                <a:gd name="T22" fmla="*/ 3222 w 3222"/>
                <a:gd name="T23" fmla="*/ 1871 h 1975"/>
                <a:gd name="T24" fmla="*/ 3118 w 3222"/>
                <a:gd name="T25" fmla="*/ 1975 h 1975"/>
                <a:gd name="T26" fmla="*/ 2911 w 3222"/>
                <a:gd name="T27" fmla="*/ 1975 h 1975"/>
                <a:gd name="T28" fmla="*/ 312 w 3222"/>
                <a:gd name="T29" fmla="*/ 1975 h 1975"/>
                <a:gd name="T30" fmla="*/ 104 w 3222"/>
                <a:gd name="T31" fmla="*/ 1975 h 1975"/>
                <a:gd name="T32" fmla="*/ 0 w 3222"/>
                <a:gd name="T33" fmla="*/ 1871 h 1975"/>
                <a:gd name="T34" fmla="*/ 0 w 3222"/>
                <a:gd name="T35" fmla="*/ 1663 h 1975"/>
                <a:gd name="T36" fmla="*/ 0 w 3222"/>
                <a:gd name="T37" fmla="*/ 312 h 1975"/>
                <a:gd name="T38" fmla="*/ 0 w 3222"/>
                <a:gd name="T39" fmla="*/ 208 h 1975"/>
                <a:gd name="T40" fmla="*/ 104 w 3222"/>
                <a:gd name="T41" fmla="*/ 104 h 1975"/>
                <a:gd name="T42" fmla="*/ 312 w 3222"/>
                <a:gd name="T43" fmla="*/ 0 h 1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22" h="1975">
                  <a:moveTo>
                    <a:pt x="624" y="623"/>
                  </a:moveTo>
                  <a:lnTo>
                    <a:pt x="624" y="1351"/>
                  </a:lnTo>
                  <a:lnTo>
                    <a:pt x="2599" y="1351"/>
                  </a:lnTo>
                  <a:lnTo>
                    <a:pt x="2599" y="623"/>
                  </a:lnTo>
                  <a:lnTo>
                    <a:pt x="624" y="623"/>
                  </a:lnTo>
                  <a:close/>
                  <a:moveTo>
                    <a:pt x="312" y="0"/>
                  </a:moveTo>
                  <a:lnTo>
                    <a:pt x="2911" y="0"/>
                  </a:lnTo>
                  <a:lnTo>
                    <a:pt x="3118" y="104"/>
                  </a:lnTo>
                  <a:lnTo>
                    <a:pt x="3222" y="208"/>
                  </a:lnTo>
                  <a:lnTo>
                    <a:pt x="3222" y="312"/>
                  </a:lnTo>
                  <a:lnTo>
                    <a:pt x="3222" y="1663"/>
                  </a:lnTo>
                  <a:lnTo>
                    <a:pt x="3222" y="1871"/>
                  </a:lnTo>
                  <a:lnTo>
                    <a:pt x="3118" y="1975"/>
                  </a:lnTo>
                  <a:lnTo>
                    <a:pt x="2911" y="1975"/>
                  </a:lnTo>
                  <a:lnTo>
                    <a:pt x="312" y="1975"/>
                  </a:lnTo>
                  <a:lnTo>
                    <a:pt x="104" y="1975"/>
                  </a:lnTo>
                  <a:lnTo>
                    <a:pt x="0" y="1871"/>
                  </a:lnTo>
                  <a:lnTo>
                    <a:pt x="0" y="1663"/>
                  </a:lnTo>
                  <a:lnTo>
                    <a:pt x="0" y="312"/>
                  </a:lnTo>
                  <a:lnTo>
                    <a:pt x="0" y="208"/>
                  </a:lnTo>
                  <a:lnTo>
                    <a:pt x="104" y="104"/>
                  </a:lnTo>
                  <a:lnTo>
                    <a:pt x="3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a:ea typeface="+mn-ea"/>
                <a:cs typeface="+mn-cs"/>
              </a:endParaRPr>
            </a:p>
          </p:txBody>
        </p:sp>
        <p:sp>
          <p:nvSpPr>
            <p:cNvPr id="183" name="Freeform 50">
              <a:extLst>
                <a:ext uri="{FF2B5EF4-FFF2-40B4-BE49-F238E27FC236}">
                  <a16:creationId xmlns="" xmlns:a16="http://schemas.microsoft.com/office/drawing/2014/main" id="{E96348A0-62D4-4316-AA16-14FF09547CAB}"/>
                </a:ext>
              </a:extLst>
            </p:cNvPr>
            <p:cNvSpPr>
              <a:spLocks noEditPoints="1"/>
            </p:cNvSpPr>
            <p:nvPr/>
          </p:nvSpPr>
          <p:spPr bwMode="auto">
            <a:xfrm>
              <a:off x="5876813" y="421083"/>
              <a:ext cx="83785" cy="51359"/>
            </a:xfrm>
            <a:custGeom>
              <a:avLst/>
              <a:gdLst>
                <a:gd name="T0" fmla="*/ 624 w 3222"/>
                <a:gd name="T1" fmla="*/ 624 h 1975"/>
                <a:gd name="T2" fmla="*/ 624 w 3222"/>
                <a:gd name="T3" fmla="*/ 1351 h 1975"/>
                <a:gd name="T4" fmla="*/ 2599 w 3222"/>
                <a:gd name="T5" fmla="*/ 1351 h 1975"/>
                <a:gd name="T6" fmla="*/ 2599 w 3222"/>
                <a:gd name="T7" fmla="*/ 624 h 1975"/>
                <a:gd name="T8" fmla="*/ 624 w 3222"/>
                <a:gd name="T9" fmla="*/ 624 h 1975"/>
                <a:gd name="T10" fmla="*/ 312 w 3222"/>
                <a:gd name="T11" fmla="*/ 0 h 1975"/>
                <a:gd name="T12" fmla="*/ 2911 w 3222"/>
                <a:gd name="T13" fmla="*/ 0 h 1975"/>
                <a:gd name="T14" fmla="*/ 3118 w 3222"/>
                <a:gd name="T15" fmla="*/ 0 h 1975"/>
                <a:gd name="T16" fmla="*/ 3222 w 3222"/>
                <a:gd name="T17" fmla="*/ 104 h 1975"/>
                <a:gd name="T18" fmla="*/ 3222 w 3222"/>
                <a:gd name="T19" fmla="*/ 312 h 1975"/>
                <a:gd name="T20" fmla="*/ 3222 w 3222"/>
                <a:gd name="T21" fmla="*/ 1663 h 1975"/>
                <a:gd name="T22" fmla="*/ 3222 w 3222"/>
                <a:gd name="T23" fmla="*/ 1871 h 1975"/>
                <a:gd name="T24" fmla="*/ 3118 w 3222"/>
                <a:gd name="T25" fmla="*/ 1975 h 1975"/>
                <a:gd name="T26" fmla="*/ 2911 w 3222"/>
                <a:gd name="T27" fmla="*/ 1975 h 1975"/>
                <a:gd name="T28" fmla="*/ 312 w 3222"/>
                <a:gd name="T29" fmla="*/ 1975 h 1975"/>
                <a:gd name="T30" fmla="*/ 104 w 3222"/>
                <a:gd name="T31" fmla="*/ 1975 h 1975"/>
                <a:gd name="T32" fmla="*/ 0 w 3222"/>
                <a:gd name="T33" fmla="*/ 1871 h 1975"/>
                <a:gd name="T34" fmla="*/ 0 w 3222"/>
                <a:gd name="T35" fmla="*/ 1663 h 1975"/>
                <a:gd name="T36" fmla="*/ 0 w 3222"/>
                <a:gd name="T37" fmla="*/ 312 h 1975"/>
                <a:gd name="T38" fmla="*/ 0 w 3222"/>
                <a:gd name="T39" fmla="*/ 104 h 1975"/>
                <a:gd name="T40" fmla="*/ 104 w 3222"/>
                <a:gd name="T41" fmla="*/ 0 h 1975"/>
                <a:gd name="T42" fmla="*/ 312 w 3222"/>
                <a:gd name="T43" fmla="*/ 0 h 1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22" h="1975">
                  <a:moveTo>
                    <a:pt x="624" y="624"/>
                  </a:moveTo>
                  <a:lnTo>
                    <a:pt x="624" y="1351"/>
                  </a:lnTo>
                  <a:lnTo>
                    <a:pt x="2599" y="1351"/>
                  </a:lnTo>
                  <a:lnTo>
                    <a:pt x="2599" y="624"/>
                  </a:lnTo>
                  <a:lnTo>
                    <a:pt x="624" y="624"/>
                  </a:lnTo>
                  <a:close/>
                  <a:moveTo>
                    <a:pt x="312" y="0"/>
                  </a:moveTo>
                  <a:lnTo>
                    <a:pt x="2911" y="0"/>
                  </a:lnTo>
                  <a:lnTo>
                    <a:pt x="3118" y="0"/>
                  </a:lnTo>
                  <a:lnTo>
                    <a:pt x="3222" y="104"/>
                  </a:lnTo>
                  <a:lnTo>
                    <a:pt x="3222" y="312"/>
                  </a:lnTo>
                  <a:lnTo>
                    <a:pt x="3222" y="1663"/>
                  </a:lnTo>
                  <a:lnTo>
                    <a:pt x="3222" y="1871"/>
                  </a:lnTo>
                  <a:lnTo>
                    <a:pt x="3118" y="1975"/>
                  </a:lnTo>
                  <a:lnTo>
                    <a:pt x="2911" y="1975"/>
                  </a:lnTo>
                  <a:lnTo>
                    <a:pt x="312" y="1975"/>
                  </a:lnTo>
                  <a:lnTo>
                    <a:pt x="104" y="1975"/>
                  </a:lnTo>
                  <a:lnTo>
                    <a:pt x="0" y="1871"/>
                  </a:lnTo>
                  <a:lnTo>
                    <a:pt x="0" y="1663"/>
                  </a:lnTo>
                  <a:lnTo>
                    <a:pt x="0" y="312"/>
                  </a:lnTo>
                  <a:lnTo>
                    <a:pt x="0" y="104"/>
                  </a:lnTo>
                  <a:lnTo>
                    <a:pt x="104" y="0"/>
                  </a:lnTo>
                  <a:lnTo>
                    <a:pt x="3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a:ea typeface="+mn-ea"/>
                <a:cs typeface="+mn-cs"/>
              </a:endParaRPr>
            </a:p>
          </p:txBody>
        </p:sp>
        <p:sp>
          <p:nvSpPr>
            <p:cNvPr id="185" name="Freeform 53">
              <a:extLst>
                <a:ext uri="{FF2B5EF4-FFF2-40B4-BE49-F238E27FC236}">
                  <a16:creationId xmlns="" xmlns:a16="http://schemas.microsoft.com/office/drawing/2014/main" id="{846DD41E-436C-4389-9524-58827C553DF0}"/>
                </a:ext>
              </a:extLst>
            </p:cNvPr>
            <p:cNvSpPr>
              <a:spLocks/>
            </p:cNvSpPr>
            <p:nvPr/>
          </p:nvSpPr>
          <p:spPr bwMode="auto">
            <a:xfrm>
              <a:off x="5841681" y="272416"/>
              <a:ext cx="62150" cy="13496"/>
            </a:xfrm>
            <a:custGeom>
              <a:avLst/>
              <a:gdLst>
                <a:gd name="T0" fmla="*/ 311 w 2390"/>
                <a:gd name="T1" fmla="*/ 0 h 519"/>
                <a:gd name="T2" fmla="*/ 2079 w 2390"/>
                <a:gd name="T3" fmla="*/ 0 h 519"/>
                <a:gd name="T4" fmla="*/ 2286 w 2390"/>
                <a:gd name="T5" fmla="*/ 104 h 519"/>
                <a:gd name="T6" fmla="*/ 2390 w 2390"/>
                <a:gd name="T7" fmla="*/ 207 h 519"/>
                <a:gd name="T8" fmla="*/ 2286 w 2390"/>
                <a:gd name="T9" fmla="*/ 415 h 519"/>
                <a:gd name="T10" fmla="*/ 2079 w 2390"/>
                <a:gd name="T11" fmla="*/ 519 h 519"/>
                <a:gd name="T12" fmla="*/ 311 w 2390"/>
                <a:gd name="T13" fmla="*/ 519 h 519"/>
                <a:gd name="T14" fmla="*/ 103 w 2390"/>
                <a:gd name="T15" fmla="*/ 415 h 519"/>
                <a:gd name="T16" fmla="*/ 0 w 2390"/>
                <a:gd name="T17" fmla="*/ 207 h 519"/>
                <a:gd name="T18" fmla="*/ 103 w 2390"/>
                <a:gd name="T19" fmla="*/ 104 h 519"/>
                <a:gd name="T20" fmla="*/ 311 w 2390"/>
                <a:gd name="T21"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0" h="519">
                  <a:moveTo>
                    <a:pt x="311" y="0"/>
                  </a:moveTo>
                  <a:lnTo>
                    <a:pt x="2079" y="0"/>
                  </a:lnTo>
                  <a:lnTo>
                    <a:pt x="2286" y="104"/>
                  </a:lnTo>
                  <a:lnTo>
                    <a:pt x="2390" y="207"/>
                  </a:lnTo>
                  <a:lnTo>
                    <a:pt x="2286" y="415"/>
                  </a:lnTo>
                  <a:lnTo>
                    <a:pt x="2079" y="519"/>
                  </a:lnTo>
                  <a:lnTo>
                    <a:pt x="311" y="519"/>
                  </a:lnTo>
                  <a:lnTo>
                    <a:pt x="103" y="415"/>
                  </a:lnTo>
                  <a:lnTo>
                    <a:pt x="0" y="207"/>
                  </a:lnTo>
                  <a:lnTo>
                    <a:pt x="103" y="104"/>
                  </a:lnTo>
                  <a:lnTo>
                    <a:pt x="3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a:ea typeface="+mn-ea"/>
                <a:cs typeface="+mn-cs"/>
              </a:endParaRPr>
            </a:p>
          </p:txBody>
        </p:sp>
        <p:sp>
          <p:nvSpPr>
            <p:cNvPr id="186" name="Freeform 54">
              <a:extLst>
                <a:ext uri="{FF2B5EF4-FFF2-40B4-BE49-F238E27FC236}">
                  <a16:creationId xmlns="" xmlns:a16="http://schemas.microsoft.com/office/drawing/2014/main" id="{F2D7A4ED-0EFD-4332-8EF5-52AAF2960914}"/>
                </a:ext>
              </a:extLst>
            </p:cNvPr>
            <p:cNvSpPr>
              <a:spLocks/>
            </p:cNvSpPr>
            <p:nvPr/>
          </p:nvSpPr>
          <p:spPr bwMode="auto">
            <a:xfrm>
              <a:off x="5841681" y="307548"/>
              <a:ext cx="62150" cy="13523"/>
            </a:xfrm>
            <a:custGeom>
              <a:avLst/>
              <a:gdLst>
                <a:gd name="T0" fmla="*/ 311 w 2390"/>
                <a:gd name="T1" fmla="*/ 0 h 520"/>
                <a:gd name="T2" fmla="*/ 2079 w 2390"/>
                <a:gd name="T3" fmla="*/ 0 h 520"/>
                <a:gd name="T4" fmla="*/ 2286 w 2390"/>
                <a:gd name="T5" fmla="*/ 104 h 520"/>
                <a:gd name="T6" fmla="*/ 2390 w 2390"/>
                <a:gd name="T7" fmla="*/ 312 h 520"/>
                <a:gd name="T8" fmla="*/ 2286 w 2390"/>
                <a:gd name="T9" fmla="*/ 416 h 520"/>
                <a:gd name="T10" fmla="*/ 2079 w 2390"/>
                <a:gd name="T11" fmla="*/ 520 h 520"/>
                <a:gd name="T12" fmla="*/ 311 w 2390"/>
                <a:gd name="T13" fmla="*/ 520 h 520"/>
                <a:gd name="T14" fmla="*/ 103 w 2390"/>
                <a:gd name="T15" fmla="*/ 416 h 520"/>
                <a:gd name="T16" fmla="*/ 0 w 2390"/>
                <a:gd name="T17" fmla="*/ 312 h 520"/>
                <a:gd name="T18" fmla="*/ 103 w 2390"/>
                <a:gd name="T19" fmla="*/ 104 h 520"/>
                <a:gd name="T20" fmla="*/ 311 w 2390"/>
                <a:gd name="T21" fmla="*/ 0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0" h="520">
                  <a:moveTo>
                    <a:pt x="311" y="0"/>
                  </a:moveTo>
                  <a:lnTo>
                    <a:pt x="2079" y="0"/>
                  </a:lnTo>
                  <a:lnTo>
                    <a:pt x="2286" y="104"/>
                  </a:lnTo>
                  <a:lnTo>
                    <a:pt x="2390" y="312"/>
                  </a:lnTo>
                  <a:lnTo>
                    <a:pt x="2286" y="416"/>
                  </a:lnTo>
                  <a:lnTo>
                    <a:pt x="2079" y="520"/>
                  </a:lnTo>
                  <a:lnTo>
                    <a:pt x="311" y="520"/>
                  </a:lnTo>
                  <a:lnTo>
                    <a:pt x="103" y="416"/>
                  </a:lnTo>
                  <a:lnTo>
                    <a:pt x="0" y="312"/>
                  </a:lnTo>
                  <a:lnTo>
                    <a:pt x="103" y="104"/>
                  </a:lnTo>
                  <a:lnTo>
                    <a:pt x="3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a:ea typeface="+mn-ea"/>
                <a:cs typeface="+mn-cs"/>
              </a:endParaRPr>
            </a:p>
          </p:txBody>
        </p:sp>
        <p:sp>
          <p:nvSpPr>
            <p:cNvPr id="187" name="Freeform 55">
              <a:extLst>
                <a:ext uri="{FF2B5EF4-FFF2-40B4-BE49-F238E27FC236}">
                  <a16:creationId xmlns="" xmlns:a16="http://schemas.microsoft.com/office/drawing/2014/main" id="{CD91977E-E542-4C43-8255-753E1806EED0}"/>
                </a:ext>
              </a:extLst>
            </p:cNvPr>
            <p:cNvSpPr>
              <a:spLocks/>
            </p:cNvSpPr>
            <p:nvPr/>
          </p:nvSpPr>
          <p:spPr bwMode="auto">
            <a:xfrm>
              <a:off x="5841681" y="345384"/>
              <a:ext cx="62150" cy="10819"/>
            </a:xfrm>
            <a:custGeom>
              <a:avLst/>
              <a:gdLst>
                <a:gd name="T0" fmla="*/ 311 w 2390"/>
                <a:gd name="T1" fmla="*/ 0 h 416"/>
                <a:gd name="T2" fmla="*/ 2079 w 2390"/>
                <a:gd name="T3" fmla="*/ 0 h 416"/>
                <a:gd name="T4" fmla="*/ 2286 w 2390"/>
                <a:gd name="T5" fmla="*/ 0 h 416"/>
                <a:gd name="T6" fmla="*/ 2390 w 2390"/>
                <a:gd name="T7" fmla="*/ 208 h 416"/>
                <a:gd name="T8" fmla="*/ 2286 w 2390"/>
                <a:gd name="T9" fmla="*/ 312 h 416"/>
                <a:gd name="T10" fmla="*/ 2079 w 2390"/>
                <a:gd name="T11" fmla="*/ 416 h 416"/>
                <a:gd name="T12" fmla="*/ 311 w 2390"/>
                <a:gd name="T13" fmla="*/ 416 h 416"/>
                <a:gd name="T14" fmla="*/ 103 w 2390"/>
                <a:gd name="T15" fmla="*/ 312 h 416"/>
                <a:gd name="T16" fmla="*/ 0 w 2390"/>
                <a:gd name="T17" fmla="*/ 208 h 416"/>
                <a:gd name="T18" fmla="*/ 103 w 2390"/>
                <a:gd name="T19" fmla="*/ 0 h 416"/>
                <a:gd name="T20" fmla="*/ 311 w 2390"/>
                <a:gd name="T21" fmla="*/ 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90" h="416">
                  <a:moveTo>
                    <a:pt x="311" y="0"/>
                  </a:moveTo>
                  <a:lnTo>
                    <a:pt x="2079" y="0"/>
                  </a:lnTo>
                  <a:lnTo>
                    <a:pt x="2286" y="0"/>
                  </a:lnTo>
                  <a:lnTo>
                    <a:pt x="2390" y="208"/>
                  </a:lnTo>
                  <a:lnTo>
                    <a:pt x="2286" y="312"/>
                  </a:lnTo>
                  <a:lnTo>
                    <a:pt x="2079" y="416"/>
                  </a:lnTo>
                  <a:lnTo>
                    <a:pt x="311" y="416"/>
                  </a:lnTo>
                  <a:lnTo>
                    <a:pt x="103" y="312"/>
                  </a:lnTo>
                  <a:lnTo>
                    <a:pt x="0" y="208"/>
                  </a:lnTo>
                  <a:lnTo>
                    <a:pt x="103" y="0"/>
                  </a:lnTo>
                  <a:lnTo>
                    <a:pt x="3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88" name="Grupo 431">
            <a:extLst>
              <a:ext uri="{FF2B5EF4-FFF2-40B4-BE49-F238E27FC236}">
                <a16:creationId xmlns="" xmlns:a16="http://schemas.microsoft.com/office/drawing/2014/main" id="{F65A683E-7993-49F0-A2F4-2C178D2D4235}"/>
              </a:ext>
            </a:extLst>
          </p:cNvPr>
          <p:cNvGrpSpPr/>
          <p:nvPr/>
        </p:nvGrpSpPr>
        <p:grpSpPr>
          <a:xfrm>
            <a:off x="5951732" y="1357312"/>
            <a:ext cx="290016" cy="191229"/>
            <a:chOff x="4123638" y="6214167"/>
            <a:chExt cx="474197" cy="312673"/>
          </a:xfrm>
          <a:solidFill>
            <a:srgbClr val="F26926"/>
          </a:solidFill>
        </p:grpSpPr>
        <p:sp>
          <p:nvSpPr>
            <p:cNvPr id="189" name="Freeform 7959">
              <a:extLst>
                <a:ext uri="{FF2B5EF4-FFF2-40B4-BE49-F238E27FC236}">
                  <a16:creationId xmlns="" xmlns:a16="http://schemas.microsoft.com/office/drawing/2014/main" id="{32513381-4A7B-4AB3-84AD-F622569DC4F0}"/>
                </a:ext>
              </a:extLst>
            </p:cNvPr>
            <p:cNvSpPr>
              <a:spLocks noEditPoints="1"/>
            </p:cNvSpPr>
            <p:nvPr/>
          </p:nvSpPr>
          <p:spPr bwMode="auto">
            <a:xfrm>
              <a:off x="4123638" y="6214167"/>
              <a:ext cx="465306" cy="223762"/>
            </a:xfrm>
            <a:custGeom>
              <a:avLst/>
              <a:gdLst>
                <a:gd name="T0" fmla="*/ 156 w 314"/>
                <a:gd name="T1" fmla="*/ 27 h 151"/>
                <a:gd name="T2" fmla="*/ 45 w 314"/>
                <a:gd name="T3" fmla="*/ 76 h 151"/>
                <a:gd name="T4" fmla="*/ 156 w 314"/>
                <a:gd name="T5" fmla="*/ 124 h 151"/>
                <a:gd name="T6" fmla="*/ 269 w 314"/>
                <a:gd name="T7" fmla="*/ 76 h 151"/>
                <a:gd name="T8" fmla="*/ 156 w 314"/>
                <a:gd name="T9" fmla="*/ 27 h 151"/>
                <a:gd name="T10" fmla="*/ 156 w 314"/>
                <a:gd name="T11" fmla="*/ 0 h 151"/>
                <a:gd name="T12" fmla="*/ 162 w 314"/>
                <a:gd name="T13" fmla="*/ 0 h 151"/>
                <a:gd name="T14" fmla="*/ 305 w 314"/>
                <a:gd name="T15" fmla="*/ 63 h 151"/>
                <a:gd name="T16" fmla="*/ 309 w 314"/>
                <a:gd name="T17" fmla="*/ 66 h 151"/>
                <a:gd name="T18" fmla="*/ 312 w 314"/>
                <a:gd name="T19" fmla="*/ 71 h 151"/>
                <a:gd name="T20" fmla="*/ 314 w 314"/>
                <a:gd name="T21" fmla="*/ 76 h 151"/>
                <a:gd name="T22" fmla="*/ 312 w 314"/>
                <a:gd name="T23" fmla="*/ 80 h 151"/>
                <a:gd name="T24" fmla="*/ 309 w 314"/>
                <a:gd name="T25" fmla="*/ 85 h 151"/>
                <a:gd name="T26" fmla="*/ 305 w 314"/>
                <a:gd name="T27" fmla="*/ 88 h 151"/>
                <a:gd name="T28" fmla="*/ 162 w 314"/>
                <a:gd name="T29" fmla="*/ 149 h 151"/>
                <a:gd name="T30" fmla="*/ 159 w 314"/>
                <a:gd name="T31" fmla="*/ 151 h 151"/>
                <a:gd name="T32" fmla="*/ 156 w 314"/>
                <a:gd name="T33" fmla="*/ 151 h 151"/>
                <a:gd name="T34" fmla="*/ 155 w 314"/>
                <a:gd name="T35" fmla="*/ 151 h 151"/>
                <a:gd name="T36" fmla="*/ 152 w 314"/>
                <a:gd name="T37" fmla="*/ 149 h 151"/>
                <a:gd name="T38" fmla="*/ 8 w 314"/>
                <a:gd name="T39" fmla="*/ 88 h 151"/>
                <a:gd name="T40" fmla="*/ 3 w 314"/>
                <a:gd name="T41" fmla="*/ 85 h 151"/>
                <a:gd name="T42" fmla="*/ 2 w 314"/>
                <a:gd name="T43" fmla="*/ 80 h 151"/>
                <a:gd name="T44" fmla="*/ 0 w 314"/>
                <a:gd name="T45" fmla="*/ 76 h 151"/>
                <a:gd name="T46" fmla="*/ 2 w 314"/>
                <a:gd name="T47" fmla="*/ 71 h 151"/>
                <a:gd name="T48" fmla="*/ 3 w 314"/>
                <a:gd name="T49" fmla="*/ 66 h 151"/>
                <a:gd name="T50" fmla="*/ 8 w 314"/>
                <a:gd name="T51" fmla="*/ 63 h 151"/>
                <a:gd name="T52" fmla="*/ 152 w 314"/>
                <a:gd name="T53" fmla="*/ 0 h 151"/>
                <a:gd name="T54" fmla="*/ 156 w 314"/>
                <a:gd name="T5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4" h="151">
                  <a:moveTo>
                    <a:pt x="156" y="27"/>
                  </a:moveTo>
                  <a:lnTo>
                    <a:pt x="45" y="76"/>
                  </a:lnTo>
                  <a:lnTo>
                    <a:pt x="156" y="124"/>
                  </a:lnTo>
                  <a:lnTo>
                    <a:pt x="269" y="76"/>
                  </a:lnTo>
                  <a:lnTo>
                    <a:pt x="156" y="27"/>
                  </a:lnTo>
                  <a:close/>
                  <a:moveTo>
                    <a:pt x="156" y="0"/>
                  </a:moveTo>
                  <a:lnTo>
                    <a:pt x="162" y="0"/>
                  </a:lnTo>
                  <a:lnTo>
                    <a:pt x="305" y="63"/>
                  </a:lnTo>
                  <a:lnTo>
                    <a:pt x="309" y="66"/>
                  </a:lnTo>
                  <a:lnTo>
                    <a:pt x="312" y="71"/>
                  </a:lnTo>
                  <a:lnTo>
                    <a:pt x="314" y="76"/>
                  </a:lnTo>
                  <a:lnTo>
                    <a:pt x="312" y="80"/>
                  </a:lnTo>
                  <a:lnTo>
                    <a:pt x="309" y="85"/>
                  </a:lnTo>
                  <a:lnTo>
                    <a:pt x="305" y="88"/>
                  </a:lnTo>
                  <a:lnTo>
                    <a:pt x="162" y="149"/>
                  </a:lnTo>
                  <a:lnTo>
                    <a:pt x="159" y="151"/>
                  </a:lnTo>
                  <a:lnTo>
                    <a:pt x="156" y="151"/>
                  </a:lnTo>
                  <a:lnTo>
                    <a:pt x="155" y="151"/>
                  </a:lnTo>
                  <a:lnTo>
                    <a:pt x="152" y="149"/>
                  </a:lnTo>
                  <a:lnTo>
                    <a:pt x="8" y="88"/>
                  </a:lnTo>
                  <a:lnTo>
                    <a:pt x="3" y="85"/>
                  </a:lnTo>
                  <a:lnTo>
                    <a:pt x="2" y="80"/>
                  </a:lnTo>
                  <a:lnTo>
                    <a:pt x="0" y="76"/>
                  </a:lnTo>
                  <a:lnTo>
                    <a:pt x="2" y="71"/>
                  </a:lnTo>
                  <a:lnTo>
                    <a:pt x="3" y="66"/>
                  </a:lnTo>
                  <a:lnTo>
                    <a:pt x="8" y="63"/>
                  </a:lnTo>
                  <a:lnTo>
                    <a:pt x="152" y="0"/>
                  </a:lnTo>
                  <a:lnTo>
                    <a:pt x="1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190" name="Freeform 7960">
              <a:extLst>
                <a:ext uri="{FF2B5EF4-FFF2-40B4-BE49-F238E27FC236}">
                  <a16:creationId xmlns="" xmlns:a16="http://schemas.microsoft.com/office/drawing/2014/main" id="{DAE28C4A-C8B8-43B3-BB7D-F4272BCBF812}"/>
                </a:ext>
              </a:extLst>
            </p:cNvPr>
            <p:cNvSpPr>
              <a:spLocks/>
            </p:cNvSpPr>
            <p:nvPr/>
          </p:nvSpPr>
          <p:spPr bwMode="auto">
            <a:xfrm>
              <a:off x="4181430" y="6337161"/>
              <a:ext cx="349720" cy="189679"/>
            </a:xfrm>
            <a:custGeom>
              <a:avLst/>
              <a:gdLst>
                <a:gd name="T0" fmla="*/ 12 w 236"/>
                <a:gd name="T1" fmla="*/ 0 h 128"/>
                <a:gd name="T2" fmla="*/ 17 w 236"/>
                <a:gd name="T3" fmla="*/ 2 h 128"/>
                <a:gd name="T4" fmla="*/ 21 w 236"/>
                <a:gd name="T5" fmla="*/ 5 h 128"/>
                <a:gd name="T6" fmla="*/ 24 w 236"/>
                <a:gd name="T7" fmla="*/ 8 h 128"/>
                <a:gd name="T8" fmla="*/ 26 w 236"/>
                <a:gd name="T9" fmla="*/ 14 h 128"/>
                <a:gd name="T10" fmla="*/ 26 w 236"/>
                <a:gd name="T11" fmla="*/ 75 h 128"/>
                <a:gd name="T12" fmla="*/ 62 w 236"/>
                <a:gd name="T13" fmla="*/ 92 h 128"/>
                <a:gd name="T14" fmla="*/ 99 w 236"/>
                <a:gd name="T15" fmla="*/ 101 h 128"/>
                <a:gd name="T16" fmla="*/ 137 w 236"/>
                <a:gd name="T17" fmla="*/ 101 h 128"/>
                <a:gd name="T18" fmla="*/ 174 w 236"/>
                <a:gd name="T19" fmla="*/ 92 h 128"/>
                <a:gd name="T20" fmla="*/ 210 w 236"/>
                <a:gd name="T21" fmla="*/ 75 h 128"/>
                <a:gd name="T22" fmla="*/ 210 w 236"/>
                <a:gd name="T23" fmla="*/ 14 h 128"/>
                <a:gd name="T24" fmla="*/ 212 w 236"/>
                <a:gd name="T25" fmla="*/ 8 h 128"/>
                <a:gd name="T26" fmla="*/ 213 w 236"/>
                <a:gd name="T27" fmla="*/ 5 h 128"/>
                <a:gd name="T28" fmla="*/ 218 w 236"/>
                <a:gd name="T29" fmla="*/ 2 h 128"/>
                <a:gd name="T30" fmla="*/ 222 w 236"/>
                <a:gd name="T31" fmla="*/ 0 h 128"/>
                <a:gd name="T32" fmla="*/ 228 w 236"/>
                <a:gd name="T33" fmla="*/ 2 h 128"/>
                <a:gd name="T34" fmla="*/ 231 w 236"/>
                <a:gd name="T35" fmla="*/ 5 h 128"/>
                <a:gd name="T36" fmla="*/ 234 w 236"/>
                <a:gd name="T37" fmla="*/ 8 h 128"/>
                <a:gd name="T38" fmla="*/ 236 w 236"/>
                <a:gd name="T39" fmla="*/ 14 h 128"/>
                <a:gd name="T40" fmla="*/ 236 w 236"/>
                <a:gd name="T41" fmla="*/ 81 h 128"/>
                <a:gd name="T42" fmla="*/ 234 w 236"/>
                <a:gd name="T43" fmla="*/ 86 h 128"/>
                <a:gd name="T44" fmla="*/ 233 w 236"/>
                <a:gd name="T45" fmla="*/ 90 h 128"/>
                <a:gd name="T46" fmla="*/ 230 w 236"/>
                <a:gd name="T47" fmla="*/ 92 h 128"/>
                <a:gd name="T48" fmla="*/ 194 w 236"/>
                <a:gd name="T49" fmla="*/ 111 h 128"/>
                <a:gd name="T50" fmla="*/ 156 w 236"/>
                <a:gd name="T51" fmla="*/ 123 h 128"/>
                <a:gd name="T52" fmla="*/ 117 w 236"/>
                <a:gd name="T53" fmla="*/ 128 h 128"/>
                <a:gd name="T54" fmla="*/ 78 w 236"/>
                <a:gd name="T55" fmla="*/ 123 h 128"/>
                <a:gd name="T56" fmla="*/ 41 w 236"/>
                <a:gd name="T57" fmla="*/ 111 h 128"/>
                <a:gd name="T58" fmla="*/ 5 w 236"/>
                <a:gd name="T59" fmla="*/ 92 h 128"/>
                <a:gd name="T60" fmla="*/ 2 w 236"/>
                <a:gd name="T61" fmla="*/ 90 h 128"/>
                <a:gd name="T62" fmla="*/ 0 w 236"/>
                <a:gd name="T63" fmla="*/ 86 h 128"/>
                <a:gd name="T64" fmla="*/ 0 w 236"/>
                <a:gd name="T65" fmla="*/ 81 h 128"/>
                <a:gd name="T66" fmla="*/ 0 w 236"/>
                <a:gd name="T67" fmla="*/ 14 h 128"/>
                <a:gd name="T68" fmla="*/ 0 w 236"/>
                <a:gd name="T69" fmla="*/ 8 h 128"/>
                <a:gd name="T70" fmla="*/ 3 w 236"/>
                <a:gd name="T71" fmla="*/ 5 h 128"/>
                <a:gd name="T72" fmla="*/ 8 w 236"/>
                <a:gd name="T73" fmla="*/ 2 h 128"/>
                <a:gd name="T74" fmla="*/ 12 w 236"/>
                <a:gd name="T75"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6" h="128">
                  <a:moveTo>
                    <a:pt x="12" y="0"/>
                  </a:moveTo>
                  <a:lnTo>
                    <a:pt x="17" y="2"/>
                  </a:lnTo>
                  <a:lnTo>
                    <a:pt x="21" y="5"/>
                  </a:lnTo>
                  <a:lnTo>
                    <a:pt x="24" y="8"/>
                  </a:lnTo>
                  <a:lnTo>
                    <a:pt x="26" y="14"/>
                  </a:lnTo>
                  <a:lnTo>
                    <a:pt x="26" y="75"/>
                  </a:lnTo>
                  <a:lnTo>
                    <a:pt x="62" y="92"/>
                  </a:lnTo>
                  <a:lnTo>
                    <a:pt x="99" y="101"/>
                  </a:lnTo>
                  <a:lnTo>
                    <a:pt x="137" y="101"/>
                  </a:lnTo>
                  <a:lnTo>
                    <a:pt x="174" y="92"/>
                  </a:lnTo>
                  <a:lnTo>
                    <a:pt x="210" y="75"/>
                  </a:lnTo>
                  <a:lnTo>
                    <a:pt x="210" y="14"/>
                  </a:lnTo>
                  <a:lnTo>
                    <a:pt x="212" y="8"/>
                  </a:lnTo>
                  <a:lnTo>
                    <a:pt x="213" y="5"/>
                  </a:lnTo>
                  <a:lnTo>
                    <a:pt x="218" y="2"/>
                  </a:lnTo>
                  <a:lnTo>
                    <a:pt x="222" y="0"/>
                  </a:lnTo>
                  <a:lnTo>
                    <a:pt x="228" y="2"/>
                  </a:lnTo>
                  <a:lnTo>
                    <a:pt x="231" y="5"/>
                  </a:lnTo>
                  <a:lnTo>
                    <a:pt x="234" y="8"/>
                  </a:lnTo>
                  <a:lnTo>
                    <a:pt x="236" y="14"/>
                  </a:lnTo>
                  <a:lnTo>
                    <a:pt x="236" y="81"/>
                  </a:lnTo>
                  <a:lnTo>
                    <a:pt x="234" y="86"/>
                  </a:lnTo>
                  <a:lnTo>
                    <a:pt x="233" y="90"/>
                  </a:lnTo>
                  <a:lnTo>
                    <a:pt x="230" y="92"/>
                  </a:lnTo>
                  <a:lnTo>
                    <a:pt x="194" y="111"/>
                  </a:lnTo>
                  <a:lnTo>
                    <a:pt x="156" y="123"/>
                  </a:lnTo>
                  <a:lnTo>
                    <a:pt x="117" y="128"/>
                  </a:lnTo>
                  <a:lnTo>
                    <a:pt x="78" y="123"/>
                  </a:lnTo>
                  <a:lnTo>
                    <a:pt x="41" y="111"/>
                  </a:lnTo>
                  <a:lnTo>
                    <a:pt x="5" y="92"/>
                  </a:lnTo>
                  <a:lnTo>
                    <a:pt x="2" y="90"/>
                  </a:lnTo>
                  <a:lnTo>
                    <a:pt x="0" y="86"/>
                  </a:lnTo>
                  <a:lnTo>
                    <a:pt x="0" y="81"/>
                  </a:lnTo>
                  <a:lnTo>
                    <a:pt x="0" y="14"/>
                  </a:lnTo>
                  <a:lnTo>
                    <a:pt x="0" y="8"/>
                  </a:lnTo>
                  <a:lnTo>
                    <a:pt x="3" y="5"/>
                  </a:lnTo>
                  <a:lnTo>
                    <a:pt x="8" y="2"/>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191" name="Freeform 7961">
              <a:extLst>
                <a:ext uri="{FF2B5EF4-FFF2-40B4-BE49-F238E27FC236}">
                  <a16:creationId xmlns="" xmlns:a16="http://schemas.microsoft.com/office/drawing/2014/main" id="{6185246D-689D-43CF-9B9F-B73B68BD6A1A}"/>
                </a:ext>
              </a:extLst>
            </p:cNvPr>
            <p:cNvSpPr>
              <a:spLocks/>
            </p:cNvSpPr>
            <p:nvPr/>
          </p:nvSpPr>
          <p:spPr bwMode="auto">
            <a:xfrm>
              <a:off x="4568197" y="6314934"/>
              <a:ext cx="20746" cy="158560"/>
            </a:xfrm>
            <a:custGeom>
              <a:avLst/>
              <a:gdLst>
                <a:gd name="T0" fmla="*/ 8 w 14"/>
                <a:gd name="T1" fmla="*/ 0 h 107"/>
                <a:gd name="T2" fmla="*/ 11 w 14"/>
                <a:gd name="T3" fmla="*/ 2 h 107"/>
                <a:gd name="T4" fmla="*/ 12 w 14"/>
                <a:gd name="T5" fmla="*/ 3 h 107"/>
                <a:gd name="T6" fmla="*/ 14 w 14"/>
                <a:gd name="T7" fmla="*/ 8 h 107"/>
                <a:gd name="T8" fmla="*/ 14 w 14"/>
                <a:gd name="T9" fmla="*/ 101 h 107"/>
                <a:gd name="T10" fmla="*/ 12 w 14"/>
                <a:gd name="T11" fmla="*/ 104 h 107"/>
                <a:gd name="T12" fmla="*/ 11 w 14"/>
                <a:gd name="T13" fmla="*/ 107 h 107"/>
                <a:gd name="T14" fmla="*/ 8 w 14"/>
                <a:gd name="T15" fmla="*/ 107 h 107"/>
                <a:gd name="T16" fmla="*/ 3 w 14"/>
                <a:gd name="T17" fmla="*/ 107 h 107"/>
                <a:gd name="T18" fmla="*/ 2 w 14"/>
                <a:gd name="T19" fmla="*/ 104 h 107"/>
                <a:gd name="T20" fmla="*/ 0 w 14"/>
                <a:gd name="T21" fmla="*/ 101 h 107"/>
                <a:gd name="T22" fmla="*/ 0 w 14"/>
                <a:gd name="T23" fmla="*/ 8 h 107"/>
                <a:gd name="T24" fmla="*/ 2 w 14"/>
                <a:gd name="T25" fmla="*/ 3 h 107"/>
                <a:gd name="T26" fmla="*/ 3 w 14"/>
                <a:gd name="T27" fmla="*/ 2 h 107"/>
                <a:gd name="T28" fmla="*/ 8 w 14"/>
                <a:gd name="T2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07">
                  <a:moveTo>
                    <a:pt x="8" y="0"/>
                  </a:moveTo>
                  <a:lnTo>
                    <a:pt x="11" y="2"/>
                  </a:lnTo>
                  <a:lnTo>
                    <a:pt x="12" y="3"/>
                  </a:lnTo>
                  <a:lnTo>
                    <a:pt x="14" y="8"/>
                  </a:lnTo>
                  <a:lnTo>
                    <a:pt x="14" y="101"/>
                  </a:lnTo>
                  <a:lnTo>
                    <a:pt x="12" y="104"/>
                  </a:lnTo>
                  <a:lnTo>
                    <a:pt x="11" y="107"/>
                  </a:lnTo>
                  <a:lnTo>
                    <a:pt x="8" y="107"/>
                  </a:lnTo>
                  <a:lnTo>
                    <a:pt x="3" y="107"/>
                  </a:lnTo>
                  <a:lnTo>
                    <a:pt x="2" y="104"/>
                  </a:lnTo>
                  <a:lnTo>
                    <a:pt x="0" y="101"/>
                  </a:lnTo>
                  <a:lnTo>
                    <a:pt x="0" y="8"/>
                  </a:lnTo>
                  <a:lnTo>
                    <a:pt x="2" y="3"/>
                  </a:lnTo>
                  <a:lnTo>
                    <a:pt x="3" y="2"/>
                  </a:lnTo>
                  <a:lnTo>
                    <a:pt x="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192" name="Freeform 7962">
              <a:extLst>
                <a:ext uri="{FF2B5EF4-FFF2-40B4-BE49-F238E27FC236}">
                  <a16:creationId xmlns="" xmlns:a16="http://schemas.microsoft.com/office/drawing/2014/main" id="{06BFD7B6-6745-49BB-AD4F-31AC0BB9EAA8}"/>
                </a:ext>
              </a:extLst>
            </p:cNvPr>
            <p:cNvSpPr>
              <a:spLocks/>
            </p:cNvSpPr>
            <p:nvPr/>
          </p:nvSpPr>
          <p:spPr bwMode="auto">
            <a:xfrm>
              <a:off x="4559306" y="6380136"/>
              <a:ext cx="38529" cy="103731"/>
            </a:xfrm>
            <a:custGeom>
              <a:avLst/>
              <a:gdLst>
                <a:gd name="T0" fmla="*/ 14 w 26"/>
                <a:gd name="T1" fmla="*/ 0 h 70"/>
                <a:gd name="T2" fmla="*/ 18 w 26"/>
                <a:gd name="T3" fmla="*/ 0 h 70"/>
                <a:gd name="T4" fmla="*/ 23 w 26"/>
                <a:gd name="T5" fmla="*/ 3 h 70"/>
                <a:gd name="T6" fmla="*/ 24 w 26"/>
                <a:gd name="T7" fmla="*/ 7 h 70"/>
                <a:gd name="T8" fmla="*/ 26 w 26"/>
                <a:gd name="T9" fmla="*/ 12 h 70"/>
                <a:gd name="T10" fmla="*/ 26 w 26"/>
                <a:gd name="T11" fmla="*/ 57 h 70"/>
                <a:gd name="T12" fmla="*/ 24 w 26"/>
                <a:gd name="T13" fmla="*/ 63 h 70"/>
                <a:gd name="T14" fmla="*/ 23 w 26"/>
                <a:gd name="T15" fmla="*/ 66 h 70"/>
                <a:gd name="T16" fmla="*/ 18 w 26"/>
                <a:gd name="T17" fmla="*/ 69 h 70"/>
                <a:gd name="T18" fmla="*/ 14 w 26"/>
                <a:gd name="T19" fmla="*/ 70 h 70"/>
                <a:gd name="T20" fmla="*/ 8 w 26"/>
                <a:gd name="T21" fmla="*/ 69 h 70"/>
                <a:gd name="T22" fmla="*/ 5 w 26"/>
                <a:gd name="T23" fmla="*/ 66 h 70"/>
                <a:gd name="T24" fmla="*/ 2 w 26"/>
                <a:gd name="T25" fmla="*/ 63 h 70"/>
                <a:gd name="T26" fmla="*/ 0 w 26"/>
                <a:gd name="T27" fmla="*/ 57 h 70"/>
                <a:gd name="T28" fmla="*/ 0 w 26"/>
                <a:gd name="T29" fmla="*/ 12 h 70"/>
                <a:gd name="T30" fmla="*/ 2 w 26"/>
                <a:gd name="T31" fmla="*/ 7 h 70"/>
                <a:gd name="T32" fmla="*/ 5 w 26"/>
                <a:gd name="T33" fmla="*/ 3 h 70"/>
                <a:gd name="T34" fmla="*/ 8 w 26"/>
                <a:gd name="T35" fmla="*/ 0 h 70"/>
                <a:gd name="T36" fmla="*/ 14 w 26"/>
                <a:gd name="T3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70">
                  <a:moveTo>
                    <a:pt x="14" y="0"/>
                  </a:moveTo>
                  <a:lnTo>
                    <a:pt x="18" y="0"/>
                  </a:lnTo>
                  <a:lnTo>
                    <a:pt x="23" y="3"/>
                  </a:lnTo>
                  <a:lnTo>
                    <a:pt x="24" y="7"/>
                  </a:lnTo>
                  <a:lnTo>
                    <a:pt x="26" y="12"/>
                  </a:lnTo>
                  <a:lnTo>
                    <a:pt x="26" y="57"/>
                  </a:lnTo>
                  <a:lnTo>
                    <a:pt x="24" y="63"/>
                  </a:lnTo>
                  <a:lnTo>
                    <a:pt x="23" y="66"/>
                  </a:lnTo>
                  <a:lnTo>
                    <a:pt x="18" y="69"/>
                  </a:lnTo>
                  <a:lnTo>
                    <a:pt x="14" y="70"/>
                  </a:lnTo>
                  <a:lnTo>
                    <a:pt x="8" y="69"/>
                  </a:lnTo>
                  <a:lnTo>
                    <a:pt x="5" y="66"/>
                  </a:lnTo>
                  <a:lnTo>
                    <a:pt x="2" y="63"/>
                  </a:lnTo>
                  <a:lnTo>
                    <a:pt x="0" y="57"/>
                  </a:lnTo>
                  <a:lnTo>
                    <a:pt x="0" y="12"/>
                  </a:lnTo>
                  <a:lnTo>
                    <a:pt x="2" y="7"/>
                  </a:lnTo>
                  <a:lnTo>
                    <a:pt x="5" y="3"/>
                  </a:lnTo>
                  <a:lnTo>
                    <a:pt x="8" y="0"/>
                  </a:lnTo>
                  <a:lnTo>
                    <a:pt x="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grpSp>
      <p:grpSp>
        <p:nvGrpSpPr>
          <p:cNvPr id="193" name="Grupo 385">
            <a:extLst>
              <a:ext uri="{FF2B5EF4-FFF2-40B4-BE49-F238E27FC236}">
                <a16:creationId xmlns="" xmlns:a16="http://schemas.microsoft.com/office/drawing/2014/main" id="{43FB31E3-505D-4DF5-A347-EE5290B6A46A}"/>
              </a:ext>
            </a:extLst>
          </p:cNvPr>
          <p:cNvGrpSpPr/>
          <p:nvPr/>
        </p:nvGrpSpPr>
        <p:grpSpPr>
          <a:xfrm>
            <a:off x="3473054" y="3306751"/>
            <a:ext cx="276037" cy="276957"/>
            <a:chOff x="5289865" y="261513"/>
            <a:chExt cx="444561" cy="446042"/>
          </a:xfrm>
          <a:solidFill>
            <a:srgbClr val="F26926"/>
          </a:solidFill>
        </p:grpSpPr>
        <p:sp>
          <p:nvSpPr>
            <p:cNvPr id="194" name="Freeform 6859">
              <a:extLst>
                <a:ext uri="{FF2B5EF4-FFF2-40B4-BE49-F238E27FC236}">
                  <a16:creationId xmlns="" xmlns:a16="http://schemas.microsoft.com/office/drawing/2014/main" id="{7134652B-AFE1-402D-B183-E219968FFD33}"/>
                </a:ext>
              </a:extLst>
            </p:cNvPr>
            <p:cNvSpPr>
              <a:spLocks noEditPoints="1"/>
            </p:cNvSpPr>
            <p:nvPr/>
          </p:nvSpPr>
          <p:spPr bwMode="auto">
            <a:xfrm>
              <a:off x="5289865" y="261513"/>
              <a:ext cx="444560" cy="446042"/>
            </a:xfrm>
            <a:custGeom>
              <a:avLst/>
              <a:gdLst>
                <a:gd name="T0" fmla="*/ 150 w 300"/>
                <a:gd name="T1" fmla="*/ 26 h 301"/>
                <a:gd name="T2" fmla="*/ 117 w 300"/>
                <a:gd name="T3" fmla="*/ 31 h 301"/>
                <a:gd name="T4" fmla="*/ 87 w 300"/>
                <a:gd name="T5" fmla="*/ 44 h 301"/>
                <a:gd name="T6" fmla="*/ 63 w 300"/>
                <a:gd name="T7" fmla="*/ 64 h 301"/>
                <a:gd name="T8" fmla="*/ 43 w 300"/>
                <a:gd name="T9" fmla="*/ 88 h 301"/>
                <a:gd name="T10" fmla="*/ 30 w 300"/>
                <a:gd name="T11" fmla="*/ 118 h 301"/>
                <a:gd name="T12" fmla="*/ 25 w 300"/>
                <a:gd name="T13" fmla="*/ 151 h 301"/>
                <a:gd name="T14" fmla="*/ 30 w 300"/>
                <a:gd name="T15" fmla="*/ 184 h 301"/>
                <a:gd name="T16" fmla="*/ 43 w 300"/>
                <a:gd name="T17" fmla="*/ 214 h 301"/>
                <a:gd name="T18" fmla="*/ 63 w 300"/>
                <a:gd name="T19" fmla="*/ 238 h 301"/>
                <a:gd name="T20" fmla="*/ 87 w 300"/>
                <a:gd name="T21" fmla="*/ 257 h 301"/>
                <a:gd name="T22" fmla="*/ 117 w 300"/>
                <a:gd name="T23" fmla="*/ 271 h 301"/>
                <a:gd name="T24" fmla="*/ 150 w 300"/>
                <a:gd name="T25" fmla="*/ 275 h 301"/>
                <a:gd name="T26" fmla="*/ 183 w 300"/>
                <a:gd name="T27" fmla="*/ 271 h 301"/>
                <a:gd name="T28" fmla="*/ 213 w 300"/>
                <a:gd name="T29" fmla="*/ 257 h 301"/>
                <a:gd name="T30" fmla="*/ 237 w 300"/>
                <a:gd name="T31" fmla="*/ 238 h 301"/>
                <a:gd name="T32" fmla="*/ 256 w 300"/>
                <a:gd name="T33" fmla="*/ 214 h 301"/>
                <a:gd name="T34" fmla="*/ 270 w 300"/>
                <a:gd name="T35" fmla="*/ 184 h 301"/>
                <a:gd name="T36" fmla="*/ 274 w 300"/>
                <a:gd name="T37" fmla="*/ 151 h 301"/>
                <a:gd name="T38" fmla="*/ 270 w 300"/>
                <a:gd name="T39" fmla="*/ 118 h 301"/>
                <a:gd name="T40" fmla="*/ 256 w 300"/>
                <a:gd name="T41" fmla="*/ 88 h 301"/>
                <a:gd name="T42" fmla="*/ 237 w 300"/>
                <a:gd name="T43" fmla="*/ 64 h 301"/>
                <a:gd name="T44" fmla="*/ 213 w 300"/>
                <a:gd name="T45" fmla="*/ 44 h 301"/>
                <a:gd name="T46" fmla="*/ 183 w 300"/>
                <a:gd name="T47" fmla="*/ 31 h 301"/>
                <a:gd name="T48" fmla="*/ 150 w 300"/>
                <a:gd name="T49" fmla="*/ 26 h 301"/>
                <a:gd name="T50" fmla="*/ 150 w 300"/>
                <a:gd name="T51" fmla="*/ 0 h 301"/>
                <a:gd name="T52" fmla="*/ 184 w 300"/>
                <a:gd name="T53" fmla="*/ 5 h 301"/>
                <a:gd name="T54" fmla="*/ 216 w 300"/>
                <a:gd name="T55" fmla="*/ 15 h 301"/>
                <a:gd name="T56" fmla="*/ 243 w 300"/>
                <a:gd name="T57" fmla="*/ 34 h 301"/>
                <a:gd name="T58" fmla="*/ 267 w 300"/>
                <a:gd name="T59" fmla="*/ 58 h 301"/>
                <a:gd name="T60" fmla="*/ 285 w 300"/>
                <a:gd name="T61" fmla="*/ 85 h 301"/>
                <a:gd name="T62" fmla="*/ 295 w 300"/>
                <a:gd name="T63" fmla="*/ 116 h 301"/>
                <a:gd name="T64" fmla="*/ 300 w 300"/>
                <a:gd name="T65" fmla="*/ 151 h 301"/>
                <a:gd name="T66" fmla="*/ 295 w 300"/>
                <a:gd name="T67" fmla="*/ 185 h 301"/>
                <a:gd name="T68" fmla="*/ 285 w 300"/>
                <a:gd name="T69" fmla="*/ 217 h 301"/>
                <a:gd name="T70" fmla="*/ 267 w 300"/>
                <a:gd name="T71" fmla="*/ 244 h 301"/>
                <a:gd name="T72" fmla="*/ 243 w 300"/>
                <a:gd name="T73" fmla="*/ 268 h 301"/>
                <a:gd name="T74" fmla="*/ 216 w 300"/>
                <a:gd name="T75" fmla="*/ 284 h 301"/>
                <a:gd name="T76" fmla="*/ 184 w 300"/>
                <a:gd name="T77" fmla="*/ 296 h 301"/>
                <a:gd name="T78" fmla="*/ 150 w 300"/>
                <a:gd name="T79" fmla="*/ 301 h 301"/>
                <a:gd name="T80" fmla="*/ 115 w 300"/>
                <a:gd name="T81" fmla="*/ 296 h 301"/>
                <a:gd name="T82" fmla="*/ 84 w 300"/>
                <a:gd name="T83" fmla="*/ 284 h 301"/>
                <a:gd name="T84" fmla="*/ 57 w 300"/>
                <a:gd name="T85" fmla="*/ 268 h 301"/>
                <a:gd name="T86" fmla="*/ 33 w 300"/>
                <a:gd name="T87" fmla="*/ 244 h 301"/>
                <a:gd name="T88" fmla="*/ 16 w 300"/>
                <a:gd name="T89" fmla="*/ 217 h 301"/>
                <a:gd name="T90" fmla="*/ 4 w 300"/>
                <a:gd name="T91" fmla="*/ 185 h 301"/>
                <a:gd name="T92" fmla="*/ 0 w 300"/>
                <a:gd name="T93" fmla="*/ 151 h 301"/>
                <a:gd name="T94" fmla="*/ 4 w 300"/>
                <a:gd name="T95" fmla="*/ 116 h 301"/>
                <a:gd name="T96" fmla="*/ 16 w 300"/>
                <a:gd name="T97" fmla="*/ 85 h 301"/>
                <a:gd name="T98" fmla="*/ 33 w 300"/>
                <a:gd name="T99" fmla="*/ 58 h 301"/>
                <a:gd name="T100" fmla="*/ 57 w 300"/>
                <a:gd name="T101" fmla="*/ 34 h 301"/>
                <a:gd name="T102" fmla="*/ 84 w 300"/>
                <a:gd name="T103" fmla="*/ 15 h 301"/>
                <a:gd name="T104" fmla="*/ 115 w 300"/>
                <a:gd name="T105" fmla="*/ 5 h 301"/>
                <a:gd name="T106" fmla="*/ 150 w 300"/>
                <a:gd name="T107"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0" h="301">
                  <a:moveTo>
                    <a:pt x="150" y="26"/>
                  </a:moveTo>
                  <a:lnTo>
                    <a:pt x="117" y="31"/>
                  </a:lnTo>
                  <a:lnTo>
                    <a:pt x="87" y="44"/>
                  </a:lnTo>
                  <a:lnTo>
                    <a:pt x="63" y="64"/>
                  </a:lnTo>
                  <a:lnTo>
                    <a:pt x="43" y="88"/>
                  </a:lnTo>
                  <a:lnTo>
                    <a:pt x="30" y="118"/>
                  </a:lnTo>
                  <a:lnTo>
                    <a:pt x="25" y="151"/>
                  </a:lnTo>
                  <a:lnTo>
                    <a:pt x="30" y="184"/>
                  </a:lnTo>
                  <a:lnTo>
                    <a:pt x="43" y="214"/>
                  </a:lnTo>
                  <a:lnTo>
                    <a:pt x="63" y="238"/>
                  </a:lnTo>
                  <a:lnTo>
                    <a:pt x="87" y="257"/>
                  </a:lnTo>
                  <a:lnTo>
                    <a:pt x="117" y="271"/>
                  </a:lnTo>
                  <a:lnTo>
                    <a:pt x="150" y="275"/>
                  </a:lnTo>
                  <a:lnTo>
                    <a:pt x="183" y="271"/>
                  </a:lnTo>
                  <a:lnTo>
                    <a:pt x="213" y="257"/>
                  </a:lnTo>
                  <a:lnTo>
                    <a:pt x="237" y="238"/>
                  </a:lnTo>
                  <a:lnTo>
                    <a:pt x="256" y="214"/>
                  </a:lnTo>
                  <a:lnTo>
                    <a:pt x="270" y="184"/>
                  </a:lnTo>
                  <a:lnTo>
                    <a:pt x="274" y="151"/>
                  </a:lnTo>
                  <a:lnTo>
                    <a:pt x="270" y="118"/>
                  </a:lnTo>
                  <a:lnTo>
                    <a:pt x="256" y="88"/>
                  </a:lnTo>
                  <a:lnTo>
                    <a:pt x="237" y="64"/>
                  </a:lnTo>
                  <a:lnTo>
                    <a:pt x="213" y="44"/>
                  </a:lnTo>
                  <a:lnTo>
                    <a:pt x="183" y="31"/>
                  </a:lnTo>
                  <a:lnTo>
                    <a:pt x="150" y="26"/>
                  </a:lnTo>
                  <a:close/>
                  <a:moveTo>
                    <a:pt x="150" y="0"/>
                  </a:moveTo>
                  <a:lnTo>
                    <a:pt x="184" y="5"/>
                  </a:lnTo>
                  <a:lnTo>
                    <a:pt x="216" y="15"/>
                  </a:lnTo>
                  <a:lnTo>
                    <a:pt x="243" y="34"/>
                  </a:lnTo>
                  <a:lnTo>
                    <a:pt x="267" y="58"/>
                  </a:lnTo>
                  <a:lnTo>
                    <a:pt x="285" y="85"/>
                  </a:lnTo>
                  <a:lnTo>
                    <a:pt x="295" y="116"/>
                  </a:lnTo>
                  <a:lnTo>
                    <a:pt x="300" y="151"/>
                  </a:lnTo>
                  <a:lnTo>
                    <a:pt x="295" y="185"/>
                  </a:lnTo>
                  <a:lnTo>
                    <a:pt x="285" y="217"/>
                  </a:lnTo>
                  <a:lnTo>
                    <a:pt x="267" y="244"/>
                  </a:lnTo>
                  <a:lnTo>
                    <a:pt x="243" y="268"/>
                  </a:lnTo>
                  <a:lnTo>
                    <a:pt x="216" y="284"/>
                  </a:lnTo>
                  <a:lnTo>
                    <a:pt x="184" y="296"/>
                  </a:lnTo>
                  <a:lnTo>
                    <a:pt x="150" y="301"/>
                  </a:lnTo>
                  <a:lnTo>
                    <a:pt x="115" y="296"/>
                  </a:lnTo>
                  <a:lnTo>
                    <a:pt x="84" y="284"/>
                  </a:lnTo>
                  <a:lnTo>
                    <a:pt x="57" y="268"/>
                  </a:lnTo>
                  <a:lnTo>
                    <a:pt x="33" y="244"/>
                  </a:lnTo>
                  <a:lnTo>
                    <a:pt x="16" y="217"/>
                  </a:lnTo>
                  <a:lnTo>
                    <a:pt x="4" y="185"/>
                  </a:lnTo>
                  <a:lnTo>
                    <a:pt x="0" y="151"/>
                  </a:lnTo>
                  <a:lnTo>
                    <a:pt x="4" y="116"/>
                  </a:lnTo>
                  <a:lnTo>
                    <a:pt x="16" y="85"/>
                  </a:lnTo>
                  <a:lnTo>
                    <a:pt x="33" y="58"/>
                  </a:lnTo>
                  <a:lnTo>
                    <a:pt x="57" y="34"/>
                  </a:lnTo>
                  <a:lnTo>
                    <a:pt x="84" y="15"/>
                  </a:lnTo>
                  <a:lnTo>
                    <a:pt x="115" y="5"/>
                  </a:lnTo>
                  <a:lnTo>
                    <a:pt x="1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195" name="Freeform 6860">
              <a:extLst>
                <a:ext uri="{FF2B5EF4-FFF2-40B4-BE49-F238E27FC236}">
                  <a16:creationId xmlns="" xmlns:a16="http://schemas.microsoft.com/office/drawing/2014/main" id="{F8E12E77-0E80-449B-B417-BB1477ECCBA7}"/>
                </a:ext>
              </a:extLst>
            </p:cNvPr>
            <p:cNvSpPr>
              <a:spLocks/>
            </p:cNvSpPr>
            <p:nvPr/>
          </p:nvSpPr>
          <p:spPr bwMode="auto">
            <a:xfrm>
              <a:off x="5494362" y="329679"/>
              <a:ext cx="37047" cy="174860"/>
            </a:xfrm>
            <a:custGeom>
              <a:avLst/>
              <a:gdLst>
                <a:gd name="T0" fmla="*/ 12 w 25"/>
                <a:gd name="T1" fmla="*/ 0 h 118"/>
                <a:gd name="T2" fmla="*/ 16 w 25"/>
                <a:gd name="T3" fmla="*/ 0 h 118"/>
                <a:gd name="T4" fmla="*/ 21 w 25"/>
                <a:gd name="T5" fmla="*/ 3 h 118"/>
                <a:gd name="T6" fmla="*/ 24 w 25"/>
                <a:gd name="T7" fmla="*/ 7 h 118"/>
                <a:gd name="T8" fmla="*/ 25 w 25"/>
                <a:gd name="T9" fmla="*/ 12 h 118"/>
                <a:gd name="T10" fmla="*/ 25 w 25"/>
                <a:gd name="T11" fmla="*/ 105 h 118"/>
                <a:gd name="T12" fmla="*/ 24 w 25"/>
                <a:gd name="T13" fmla="*/ 109 h 118"/>
                <a:gd name="T14" fmla="*/ 21 w 25"/>
                <a:gd name="T15" fmla="*/ 114 h 118"/>
                <a:gd name="T16" fmla="*/ 16 w 25"/>
                <a:gd name="T17" fmla="*/ 117 h 118"/>
                <a:gd name="T18" fmla="*/ 12 w 25"/>
                <a:gd name="T19" fmla="*/ 118 h 118"/>
                <a:gd name="T20" fmla="*/ 7 w 25"/>
                <a:gd name="T21" fmla="*/ 117 h 118"/>
                <a:gd name="T22" fmla="*/ 3 w 25"/>
                <a:gd name="T23" fmla="*/ 114 h 118"/>
                <a:gd name="T24" fmla="*/ 0 w 25"/>
                <a:gd name="T25" fmla="*/ 109 h 118"/>
                <a:gd name="T26" fmla="*/ 0 w 25"/>
                <a:gd name="T27" fmla="*/ 105 h 118"/>
                <a:gd name="T28" fmla="*/ 0 w 25"/>
                <a:gd name="T29" fmla="*/ 12 h 118"/>
                <a:gd name="T30" fmla="*/ 0 w 25"/>
                <a:gd name="T31" fmla="*/ 7 h 118"/>
                <a:gd name="T32" fmla="*/ 3 w 25"/>
                <a:gd name="T33" fmla="*/ 3 h 118"/>
                <a:gd name="T34" fmla="*/ 7 w 25"/>
                <a:gd name="T35" fmla="*/ 0 h 118"/>
                <a:gd name="T36" fmla="*/ 12 w 25"/>
                <a:gd name="T3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118">
                  <a:moveTo>
                    <a:pt x="12" y="0"/>
                  </a:moveTo>
                  <a:lnTo>
                    <a:pt x="16" y="0"/>
                  </a:lnTo>
                  <a:lnTo>
                    <a:pt x="21" y="3"/>
                  </a:lnTo>
                  <a:lnTo>
                    <a:pt x="24" y="7"/>
                  </a:lnTo>
                  <a:lnTo>
                    <a:pt x="25" y="12"/>
                  </a:lnTo>
                  <a:lnTo>
                    <a:pt x="25" y="105"/>
                  </a:lnTo>
                  <a:lnTo>
                    <a:pt x="24" y="109"/>
                  </a:lnTo>
                  <a:lnTo>
                    <a:pt x="21" y="114"/>
                  </a:lnTo>
                  <a:lnTo>
                    <a:pt x="16" y="117"/>
                  </a:lnTo>
                  <a:lnTo>
                    <a:pt x="12" y="118"/>
                  </a:lnTo>
                  <a:lnTo>
                    <a:pt x="7" y="117"/>
                  </a:lnTo>
                  <a:lnTo>
                    <a:pt x="3" y="114"/>
                  </a:lnTo>
                  <a:lnTo>
                    <a:pt x="0" y="109"/>
                  </a:lnTo>
                  <a:lnTo>
                    <a:pt x="0" y="105"/>
                  </a:lnTo>
                  <a:lnTo>
                    <a:pt x="0" y="12"/>
                  </a:lnTo>
                  <a:lnTo>
                    <a:pt x="0" y="7"/>
                  </a:lnTo>
                  <a:lnTo>
                    <a:pt x="3" y="3"/>
                  </a:lnTo>
                  <a:lnTo>
                    <a:pt x="7" y="0"/>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196" name="Freeform 6861">
              <a:extLst>
                <a:ext uri="{FF2B5EF4-FFF2-40B4-BE49-F238E27FC236}">
                  <a16:creationId xmlns="" xmlns:a16="http://schemas.microsoft.com/office/drawing/2014/main" id="{021CB145-51BD-43A8-B935-D40B72B5AF6C}"/>
                </a:ext>
              </a:extLst>
            </p:cNvPr>
            <p:cNvSpPr>
              <a:spLocks/>
            </p:cNvSpPr>
            <p:nvPr/>
          </p:nvSpPr>
          <p:spPr bwMode="auto">
            <a:xfrm>
              <a:off x="5494362" y="261513"/>
              <a:ext cx="37047" cy="51866"/>
            </a:xfrm>
            <a:custGeom>
              <a:avLst/>
              <a:gdLst>
                <a:gd name="T0" fmla="*/ 12 w 25"/>
                <a:gd name="T1" fmla="*/ 0 h 35"/>
                <a:gd name="T2" fmla="*/ 16 w 25"/>
                <a:gd name="T3" fmla="*/ 2 h 35"/>
                <a:gd name="T4" fmla="*/ 21 w 25"/>
                <a:gd name="T5" fmla="*/ 5 h 35"/>
                <a:gd name="T6" fmla="*/ 24 w 25"/>
                <a:gd name="T7" fmla="*/ 9 h 35"/>
                <a:gd name="T8" fmla="*/ 25 w 25"/>
                <a:gd name="T9" fmla="*/ 14 h 35"/>
                <a:gd name="T10" fmla="*/ 25 w 25"/>
                <a:gd name="T11" fmla="*/ 21 h 35"/>
                <a:gd name="T12" fmla="*/ 24 w 25"/>
                <a:gd name="T13" fmla="*/ 27 h 35"/>
                <a:gd name="T14" fmla="*/ 21 w 25"/>
                <a:gd name="T15" fmla="*/ 31 h 35"/>
                <a:gd name="T16" fmla="*/ 16 w 25"/>
                <a:gd name="T17" fmla="*/ 34 h 35"/>
                <a:gd name="T18" fmla="*/ 12 w 25"/>
                <a:gd name="T19" fmla="*/ 35 h 35"/>
                <a:gd name="T20" fmla="*/ 7 w 25"/>
                <a:gd name="T21" fmla="*/ 34 h 35"/>
                <a:gd name="T22" fmla="*/ 3 w 25"/>
                <a:gd name="T23" fmla="*/ 31 h 35"/>
                <a:gd name="T24" fmla="*/ 0 w 25"/>
                <a:gd name="T25" fmla="*/ 27 h 35"/>
                <a:gd name="T26" fmla="*/ 0 w 25"/>
                <a:gd name="T27" fmla="*/ 21 h 35"/>
                <a:gd name="T28" fmla="*/ 0 w 25"/>
                <a:gd name="T29" fmla="*/ 14 h 35"/>
                <a:gd name="T30" fmla="*/ 0 w 25"/>
                <a:gd name="T31" fmla="*/ 9 h 35"/>
                <a:gd name="T32" fmla="*/ 3 w 25"/>
                <a:gd name="T33" fmla="*/ 5 h 35"/>
                <a:gd name="T34" fmla="*/ 7 w 25"/>
                <a:gd name="T35" fmla="*/ 2 h 35"/>
                <a:gd name="T36" fmla="*/ 12 w 25"/>
                <a:gd name="T3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35">
                  <a:moveTo>
                    <a:pt x="12" y="0"/>
                  </a:moveTo>
                  <a:lnTo>
                    <a:pt x="16" y="2"/>
                  </a:lnTo>
                  <a:lnTo>
                    <a:pt x="21" y="5"/>
                  </a:lnTo>
                  <a:lnTo>
                    <a:pt x="24" y="9"/>
                  </a:lnTo>
                  <a:lnTo>
                    <a:pt x="25" y="14"/>
                  </a:lnTo>
                  <a:lnTo>
                    <a:pt x="25" y="21"/>
                  </a:lnTo>
                  <a:lnTo>
                    <a:pt x="24" y="27"/>
                  </a:lnTo>
                  <a:lnTo>
                    <a:pt x="21" y="31"/>
                  </a:lnTo>
                  <a:lnTo>
                    <a:pt x="16" y="34"/>
                  </a:lnTo>
                  <a:lnTo>
                    <a:pt x="12" y="35"/>
                  </a:lnTo>
                  <a:lnTo>
                    <a:pt x="7" y="34"/>
                  </a:lnTo>
                  <a:lnTo>
                    <a:pt x="3" y="31"/>
                  </a:lnTo>
                  <a:lnTo>
                    <a:pt x="0" y="27"/>
                  </a:lnTo>
                  <a:lnTo>
                    <a:pt x="0" y="21"/>
                  </a:lnTo>
                  <a:lnTo>
                    <a:pt x="0" y="14"/>
                  </a:lnTo>
                  <a:lnTo>
                    <a:pt x="0" y="9"/>
                  </a:lnTo>
                  <a:lnTo>
                    <a:pt x="3" y="5"/>
                  </a:lnTo>
                  <a:lnTo>
                    <a:pt x="7" y="2"/>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197" name="Freeform 6862">
              <a:extLst>
                <a:ext uri="{FF2B5EF4-FFF2-40B4-BE49-F238E27FC236}">
                  <a16:creationId xmlns="" xmlns:a16="http://schemas.microsoft.com/office/drawing/2014/main" id="{DE8007F3-5A88-4E2A-96B3-746899FF8BFF}"/>
                </a:ext>
              </a:extLst>
            </p:cNvPr>
            <p:cNvSpPr>
              <a:spLocks/>
            </p:cNvSpPr>
            <p:nvPr/>
          </p:nvSpPr>
          <p:spPr bwMode="auto">
            <a:xfrm>
              <a:off x="5494362" y="655689"/>
              <a:ext cx="37047" cy="51866"/>
            </a:xfrm>
            <a:custGeom>
              <a:avLst/>
              <a:gdLst>
                <a:gd name="T0" fmla="*/ 12 w 25"/>
                <a:gd name="T1" fmla="*/ 0 h 35"/>
                <a:gd name="T2" fmla="*/ 16 w 25"/>
                <a:gd name="T3" fmla="*/ 2 h 35"/>
                <a:gd name="T4" fmla="*/ 21 w 25"/>
                <a:gd name="T5" fmla="*/ 3 h 35"/>
                <a:gd name="T6" fmla="*/ 24 w 25"/>
                <a:gd name="T7" fmla="*/ 8 h 35"/>
                <a:gd name="T8" fmla="*/ 25 w 25"/>
                <a:gd name="T9" fmla="*/ 14 h 35"/>
                <a:gd name="T10" fmla="*/ 25 w 25"/>
                <a:gd name="T11" fmla="*/ 21 h 35"/>
                <a:gd name="T12" fmla="*/ 24 w 25"/>
                <a:gd name="T13" fmla="*/ 26 h 35"/>
                <a:gd name="T14" fmla="*/ 21 w 25"/>
                <a:gd name="T15" fmla="*/ 30 h 35"/>
                <a:gd name="T16" fmla="*/ 16 w 25"/>
                <a:gd name="T17" fmla="*/ 33 h 35"/>
                <a:gd name="T18" fmla="*/ 12 w 25"/>
                <a:gd name="T19" fmla="*/ 35 h 35"/>
                <a:gd name="T20" fmla="*/ 7 w 25"/>
                <a:gd name="T21" fmla="*/ 33 h 35"/>
                <a:gd name="T22" fmla="*/ 3 w 25"/>
                <a:gd name="T23" fmla="*/ 30 h 35"/>
                <a:gd name="T24" fmla="*/ 0 w 25"/>
                <a:gd name="T25" fmla="*/ 26 h 35"/>
                <a:gd name="T26" fmla="*/ 0 w 25"/>
                <a:gd name="T27" fmla="*/ 21 h 35"/>
                <a:gd name="T28" fmla="*/ 0 w 25"/>
                <a:gd name="T29" fmla="*/ 14 h 35"/>
                <a:gd name="T30" fmla="*/ 0 w 25"/>
                <a:gd name="T31" fmla="*/ 8 h 35"/>
                <a:gd name="T32" fmla="*/ 3 w 25"/>
                <a:gd name="T33" fmla="*/ 3 h 35"/>
                <a:gd name="T34" fmla="*/ 7 w 25"/>
                <a:gd name="T35" fmla="*/ 2 h 35"/>
                <a:gd name="T36" fmla="*/ 12 w 25"/>
                <a:gd name="T3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35">
                  <a:moveTo>
                    <a:pt x="12" y="0"/>
                  </a:moveTo>
                  <a:lnTo>
                    <a:pt x="16" y="2"/>
                  </a:lnTo>
                  <a:lnTo>
                    <a:pt x="21" y="3"/>
                  </a:lnTo>
                  <a:lnTo>
                    <a:pt x="24" y="8"/>
                  </a:lnTo>
                  <a:lnTo>
                    <a:pt x="25" y="14"/>
                  </a:lnTo>
                  <a:lnTo>
                    <a:pt x="25" y="21"/>
                  </a:lnTo>
                  <a:lnTo>
                    <a:pt x="24" y="26"/>
                  </a:lnTo>
                  <a:lnTo>
                    <a:pt x="21" y="30"/>
                  </a:lnTo>
                  <a:lnTo>
                    <a:pt x="16" y="33"/>
                  </a:lnTo>
                  <a:lnTo>
                    <a:pt x="12" y="35"/>
                  </a:lnTo>
                  <a:lnTo>
                    <a:pt x="7" y="33"/>
                  </a:lnTo>
                  <a:lnTo>
                    <a:pt x="3" y="30"/>
                  </a:lnTo>
                  <a:lnTo>
                    <a:pt x="0" y="26"/>
                  </a:lnTo>
                  <a:lnTo>
                    <a:pt x="0" y="21"/>
                  </a:lnTo>
                  <a:lnTo>
                    <a:pt x="0" y="14"/>
                  </a:lnTo>
                  <a:lnTo>
                    <a:pt x="0" y="8"/>
                  </a:lnTo>
                  <a:lnTo>
                    <a:pt x="3" y="3"/>
                  </a:lnTo>
                  <a:lnTo>
                    <a:pt x="7" y="2"/>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198" name="Freeform 6863">
              <a:extLst>
                <a:ext uri="{FF2B5EF4-FFF2-40B4-BE49-F238E27FC236}">
                  <a16:creationId xmlns="" xmlns:a16="http://schemas.microsoft.com/office/drawing/2014/main" id="{9B3BCF47-B607-4C68-B52A-F9C376729CC7}"/>
                </a:ext>
              </a:extLst>
            </p:cNvPr>
            <p:cNvSpPr>
              <a:spLocks/>
            </p:cNvSpPr>
            <p:nvPr/>
          </p:nvSpPr>
          <p:spPr bwMode="auto">
            <a:xfrm>
              <a:off x="5682560" y="464528"/>
              <a:ext cx="51866" cy="38529"/>
            </a:xfrm>
            <a:custGeom>
              <a:avLst/>
              <a:gdLst>
                <a:gd name="T0" fmla="*/ 14 w 35"/>
                <a:gd name="T1" fmla="*/ 0 h 26"/>
                <a:gd name="T2" fmla="*/ 21 w 35"/>
                <a:gd name="T3" fmla="*/ 0 h 26"/>
                <a:gd name="T4" fmla="*/ 27 w 35"/>
                <a:gd name="T5" fmla="*/ 2 h 26"/>
                <a:gd name="T6" fmla="*/ 30 w 35"/>
                <a:gd name="T7" fmla="*/ 5 h 26"/>
                <a:gd name="T8" fmla="*/ 33 w 35"/>
                <a:gd name="T9" fmla="*/ 9 h 26"/>
                <a:gd name="T10" fmla="*/ 35 w 35"/>
                <a:gd name="T11" fmla="*/ 14 h 26"/>
                <a:gd name="T12" fmla="*/ 33 w 35"/>
                <a:gd name="T13" fmla="*/ 18 h 26"/>
                <a:gd name="T14" fmla="*/ 30 w 35"/>
                <a:gd name="T15" fmla="*/ 23 h 26"/>
                <a:gd name="T16" fmla="*/ 27 w 35"/>
                <a:gd name="T17" fmla="*/ 26 h 26"/>
                <a:gd name="T18" fmla="*/ 21 w 35"/>
                <a:gd name="T19" fmla="*/ 26 h 26"/>
                <a:gd name="T20" fmla="*/ 14 w 35"/>
                <a:gd name="T21" fmla="*/ 26 h 26"/>
                <a:gd name="T22" fmla="*/ 8 w 35"/>
                <a:gd name="T23" fmla="*/ 26 h 26"/>
                <a:gd name="T24" fmla="*/ 5 w 35"/>
                <a:gd name="T25" fmla="*/ 23 h 26"/>
                <a:gd name="T26" fmla="*/ 2 w 35"/>
                <a:gd name="T27" fmla="*/ 18 h 26"/>
                <a:gd name="T28" fmla="*/ 0 w 35"/>
                <a:gd name="T29" fmla="*/ 14 h 26"/>
                <a:gd name="T30" fmla="*/ 2 w 35"/>
                <a:gd name="T31" fmla="*/ 9 h 26"/>
                <a:gd name="T32" fmla="*/ 5 w 35"/>
                <a:gd name="T33" fmla="*/ 5 h 26"/>
                <a:gd name="T34" fmla="*/ 8 w 35"/>
                <a:gd name="T35" fmla="*/ 2 h 26"/>
                <a:gd name="T36" fmla="*/ 14 w 35"/>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26">
                  <a:moveTo>
                    <a:pt x="14" y="0"/>
                  </a:moveTo>
                  <a:lnTo>
                    <a:pt x="21" y="0"/>
                  </a:lnTo>
                  <a:lnTo>
                    <a:pt x="27" y="2"/>
                  </a:lnTo>
                  <a:lnTo>
                    <a:pt x="30" y="5"/>
                  </a:lnTo>
                  <a:lnTo>
                    <a:pt x="33" y="9"/>
                  </a:lnTo>
                  <a:lnTo>
                    <a:pt x="35" y="14"/>
                  </a:lnTo>
                  <a:lnTo>
                    <a:pt x="33" y="18"/>
                  </a:lnTo>
                  <a:lnTo>
                    <a:pt x="30" y="23"/>
                  </a:lnTo>
                  <a:lnTo>
                    <a:pt x="27" y="26"/>
                  </a:lnTo>
                  <a:lnTo>
                    <a:pt x="21" y="26"/>
                  </a:lnTo>
                  <a:lnTo>
                    <a:pt x="14" y="26"/>
                  </a:lnTo>
                  <a:lnTo>
                    <a:pt x="8" y="26"/>
                  </a:lnTo>
                  <a:lnTo>
                    <a:pt x="5" y="23"/>
                  </a:lnTo>
                  <a:lnTo>
                    <a:pt x="2" y="18"/>
                  </a:lnTo>
                  <a:lnTo>
                    <a:pt x="0" y="14"/>
                  </a:lnTo>
                  <a:lnTo>
                    <a:pt x="2" y="9"/>
                  </a:lnTo>
                  <a:lnTo>
                    <a:pt x="5" y="5"/>
                  </a:lnTo>
                  <a:lnTo>
                    <a:pt x="8" y="2"/>
                  </a:lnTo>
                  <a:lnTo>
                    <a:pt x="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199" name="Freeform 6864">
              <a:extLst>
                <a:ext uri="{FF2B5EF4-FFF2-40B4-BE49-F238E27FC236}">
                  <a16:creationId xmlns="" xmlns:a16="http://schemas.microsoft.com/office/drawing/2014/main" id="{1A740059-C6AF-4EAE-9FCD-2BE918C25239}"/>
                </a:ext>
              </a:extLst>
            </p:cNvPr>
            <p:cNvSpPr>
              <a:spLocks/>
            </p:cNvSpPr>
            <p:nvPr/>
          </p:nvSpPr>
          <p:spPr bwMode="auto">
            <a:xfrm>
              <a:off x="5289865" y="464528"/>
              <a:ext cx="50383" cy="38529"/>
            </a:xfrm>
            <a:custGeom>
              <a:avLst/>
              <a:gdLst>
                <a:gd name="T0" fmla="*/ 13 w 34"/>
                <a:gd name="T1" fmla="*/ 0 h 26"/>
                <a:gd name="T2" fmla="*/ 21 w 34"/>
                <a:gd name="T3" fmla="*/ 0 h 26"/>
                <a:gd name="T4" fmla="*/ 27 w 34"/>
                <a:gd name="T5" fmla="*/ 2 h 26"/>
                <a:gd name="T6" fmla="*/ 31 w 34"/>
                <a:gd name="T7" fmla="*/ 5 h 26"/>
                <a:gd name="T8" fmla="*/ 33 w 34"/>
                <a:gd name="T9" fmla="*/ 9 h 26"/>
                <a:gd name="T10" fmla="*/ 34 w 34"/>
                <a:gd name="T11" fmla="*/ 14 h 26"/>
                <a:gd name="T12" fmla="*/ 33 w 34"/>
                <a:gd name="T13" fmla="*/ 18 h 26"/>
                <a:gd name="T14" fmla="*/ 31 w 34"/>
                <a:gd name="T15" fmla="*/ 23 h 26"/>
                <a:gd name="T16" fmla="*/ 27 w 34"/>
                <a:gd name="T17" fmla="*/ 26 h 26"/>
                <a:gd name="T18" fmla="*/ 21 w 34"/>
                <a:gd name="T19" fmla="*/ 26 h 26"/>
                <a:gd name="T20" fmla="*/ 13 w 34"/>
                <a:gd name="T21" fmla="*/ 26 h 26"/>
                <a:gd name="T22" fmla="*/ 9 w 34"/>
                <a:gd name="T23" fmla="*/ 26 h 26"/>
                <a:gd name="T24" fmla="*/ 4 w 34"/>
                <a:gd name="T25" fmla="*/ 23 h 26"/>
                <a:gd name="T26" fmla="*/ 1 w 34"/>
                <a:gd name="T27" fmla="*/ 18 h 26"/>
                <a:gd name="T28" fmla="*/ 0 w 34"/>
                <a:gd name="T29" fmla="*/ 14 h 26"/>
                <a:gd name="T30" fmla="*/ 1 w 34"/>
                <a:gd name="T31" fmla="*/ 9 h 26"/>
                <a:gd name="T32" fmla="*/ 4 w 34"/>
                <a:gd name="T33" fmla="*/ 5 h 26"/>
                <a:gd name="T34" fmla="*/ 9 w 34"/>
                <a:gd name="T35" fmla="*/ 2 h 26"/>
                <a:gd name="T36" fmla="*/ 13 w 34"/>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26">
                  <a:moveTo>
                    <a:pt x="13" y="0"/>
                  </a:moveTo>
                  <a:lnTo>
                    <a:pt x="21" y="0"/>
                  </a:lnTo>
                  <a:lnTo>
                    <a:pt x="27" y="2"/>
                  </a:lnTo>
                  <a:lnTo>
                    <a:pt x="31" y="5"/>
                  </a:lnTo>
                  <a:lnTo>
                    <a:pt x="33" y="9"/>
                  </a:lnTo>
                  <a:lnTo>
                    <a:pt x="34" y="14"/>
                  </a:lnTo>
                  <a:lnTo>
                    <a:pt x="33" y="18"/>
                  </a:lnTo>
                  <a:lnTo>
                    <a:pt x="31" y="23"/>
                  </a:lnTo>
                  <a:lnTo>
                    <a:pt x="27" y="26"/>
                  </a:lnTo>
                  <a:lnTo>
                    <a:pt x="21" y="26"/>
                  </a:lnTo>
                  <a:lnTo>
                    <a:pt x="13" y="26"/>
                  </a:lnTo>
                  <a:lnTo>
                    <a:pt x="9" y="26"/>
                  </a:lnTo>
                  <a:lnTo>
                    <a:pt x="4" y="23"/>
                  </a:lnTo>
                  <a:lnTo>
                    <a:pt x="1" y="18"/>
                  </a:lnTo>
                  <a:lnTo>
                    <a:pt x="0" y="14"/>
                  </a:lnTo>
                  <a:lnTo>
                    <a:pt x="1" y="9"/>
                  </a:lnTo>
                  <a:lnTo>
                    <a:pt x="4" y="5"/>
                  </a:lnTo>
                  <a:lnTo>
                    <a:pt x="9" y="2"/>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00" name="Freeform 6865">
              <a:extLst>
                <a:ext uri="{FF2B5EF4-FFF2-40B4-BE49-F238E27FC236}">
                  <a16:creationId xmlns="" xmlns:a16="http://schemas.microsoft.com/office/drawing/2014/main" id="{E25BA24F-1DE5-4A68-9E9B-63D395F54BA9}"/>
                </a:ext>
              </a:extLst>
            </p:cNvPr>
            <p:cNvSpPr>
              <a:spLocks/>
            </p:cNvSpPr>
            <p:nvPr/>
          </p:nvSpPr>
          <p:spPr bwMode="auto">
            <a:xfrm>
              <a:off x="5589202" y="316342"/>
              <a:ext cx="25192" cy="28156"/>
            </a:xfrm>
            <a:custGeom>
              <a:avLst/>
              <a:gdLst>
                <a:gd name="T0" fmla="*/ 9 w 17"/>
                <a:gd name="T1" fmla="*/ 0 h 19"/>
                <a:gd name="T2" fmla="*/ 14 w 17"/>
                <a:gd name="T3" fmla="*/ 1 h 19"/>
                <a:gd name="T4" fmla="*/ 15 w 17"/>
                <a:gd name="T5" fmla="*/ 3 h 19"/>
                <a:gd name="T6" fmla="*/ 17 w 17"/>
                <a:gd name="T7" fmla="*/ 6 h 19"/>
                <a:gd name="T8" fmla="*/ 15 w 17"/>
                <a:gd name="T9" fmla="*/ 9 h 19"/>
                <a:gd name="T10" fmla="*/ 12 w 17"/>
                <a:gd name="T11" fmla="*/ 16 h 19"/>
                <a:gd name="T12" fmla="*/ 9 w 17"/>
                <a:gd name="T13" fmla="*/ 18 h 19"/>
                <a:gd name="T14" fmla="*/ 6 w 17"/>
                <a:gd name="T15" fmla="*/ 19 h 19"/>
                <a:gd name="T16" fmla="*/ 3 w 17"/>
                <a:gd name="T17" fmla="*/ 18 h 19"/>
                <a:gd name="T18" fmla="*/ 0 w 17"/>
                <a:gd name="T19" fmla="*/ 16 h 19"/>
                <a:gd name="T20" fmla="*/ 0 w 17"/>
                <a:gd name="T21" fmla="*/ 13 h 19"/>
                <a:gd name="T22" fmla="*/ 0 w 17"/>
                <a:gd name="T23" fmla="*/ 10 h 19"/>
                <a:gd name="T24" fmla="*/ 5 w 17"/>
                <a:gd name="T25" fmla="*/ 3 h 19"/>
                <a:gd name="T26" fmla="*/ 6 w 17"/>
                <a:gd name="T27" fmla="*/ 1 h 19"/>
                <a:gd name="T28" fmla="*/ 9 w 17"/>
                <a:gd name="T2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9">
                  <a:moveTo>
                    <a:pt x="9" y="0"/>
                  </a:moveTo>
                  <a:lnTo>
                    <a:pt x="14" y="1"/>
                  </a:lnTo>
                  <a:lnTo>
                    <a:pt x="15" y="3"/>
                  </a:lnTo>
                  <a:lnTo>
                    <a:pt x="17" y="6"/>
                  </a:lnTo>
                  <a:lnTo>
                    <a:pt x="15" y="9"/>
                  </a:lnTo>
                  <a:lnTo>
                    <a:pt x="12" y="16"/>
                  </a:lnTo>
                  <a:lnTo>
                    <a:pt x="9" y="18"/>
                  </a:lnTo>
                  <a:lnTo>
                    <a:pt x="6" y="19"/>
                  </a:lnTo>
                  <a:lnTo>
                    <a:pt x="3" y="18"/>
                  </a:lnTo>
                  <a:lnTo>
                    <a:pt x="0" y="16"/>
                  </a:lnTo>
                  <a:lnTo>
                    <a:pt x="0" y="13"/>
                  </a:lnTo>
                  <a:lnTo>
                    <a:pt x="0" y="10"/>
                  </a:lnTo>
                  <a:lnTo>
                    <a:pt x="5" y="3"/>
                  </a:lnTo>
                  <a:lnTo>
                    <a:pt x="6" y="1"/>
                  </a:lnTo>
                  <a:lnTo>
                    <a:pt x="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01" name="Freeform 6866">
              <a:extLst>
                <a:ext uri="{FF2B5EF4-FFF2-40B4-BE49-F238E27FC236}">
                  <a16:creationId xmlns="" xmlns:a16="http://schemas.microsoft.com/office/drawing/2014/main" id="{7630AA14-D58D-493B-995A-60AA92971ADD}"/>
                </a:ext>
              </a:extLst>
            </p:cNvPr>
            <p:cNvSpPr>
              <a:spLocks/>
            </p:cNvSpPr>
            <p:nvPr/>
          </p:nvSpPr>
          <p:spPr bwMode="auto">
            <a:xfrm>
              <a:off x="5409896" y="624570"/>
              <a:ext cx="23710" cy="29637"/>
            </a:xfrm>
            <a:custGeom>
              <a:avLst/>
              <a:gdLst>
                <a:gd name="T0" fmla="*/ 10 w 16"/>
                <a:gd name="T1" fmla="*/ 0 h 20"/>
                <a:gd name="T2" fmla="*/ 13 w 16"/>
                <a:gd name="T3" fmla="*/ 2 h 20"/>
                <a:gd name="T4" fmla="*/ 16 w 16"/>
                <a:gd name="T5" fmla="*/ 3 h 20"/>
                <a:gd name="T6" fmla="*/ 16 w 16"/>
                <a:gd name="T7" fmla="*/ 6 h 20"/>
                <a:gd name="T8" fmla="*/ 16 w 16"/>
                <a:gd name="T9" fmla="*/ 9 h 20"/>
                <a:gd name="T10" fmla="*/ 12 w 16"/>
                <a:gd name="T11" fmla="*/ 17 h 20"/>
                <a:gd name="T12" fmla="*/ 10 w 16"/>
                <a:gd name="T13" fmla="*/ 18 h 20"/>
                <a:gd name="T14" fmla="*/ 7 w 16"/>
                <a:gd name="T15" fmla="*/ 20 h 20"/>
                <a:gd name="T16" fmla="*/ 4 w 16"/>
                <a:gd name="T17" fmla="*/ 18 h 20"/>
                <a:gd name="T18" fmla="*/ 1 w 16"/>
                <a:gd name="T19" fmla="*/ 17 h 20"/>
                <a:gd name="T20" fmla="*/ 0 w 16"/>
                <a:gd name="T21" fmla="*/ 14 h 20"/>
                <a:gd name="T22" fmla="*/ 1 w 16"/>
                <a:gd name="T23" fmla="*/ 9 h 20"/>
                <a:gd name="T24" fmla="*/ 6 w 16"/>
                <a:gd name="T25" fmla="*/ 3 h 20"/>
                <a:gd name="T26" fmla="*/ 7 w 16"/>
                <a:gd name="T27" fmla="*/ 2 h 20"/>
                <a:gd name="T28" fmla="*/ 10 w 16"/>
                <a:gd name="T2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0">
                  <a:moveTo>
                    <a:pt x="10" y="0"/>
                  </a:moveTo>
                  <a:lnTo>
                    <a:pt x="13" y="2"/>
                  </a:lnTo>
                  <a:lnTo>
                    <a:pt x="16" y="3"/>
                  </a:lnTo>
                  <a:lnTo>
                    <a:pt x="16" y="6"/>
                  </a:lnTo>
                  <a:lnTo>
                    <a:pt x="16" y="9"/>
                  </a:lnTo>
                  <a:lnTo>
                    <a:pt x="12" y="17"/>
                  </a:lnTo>
                  <a:lnTo>
                    <a:pt x="10" y="18"/>
                  </a:lnTo>
                  <a:lnTo>
                    <a:pt x="7" y="20"/>
                  </a:lnTo>
                  <a:lnTo>
                    <a:pt x="4" y="18"/>
                  </a:lnTo>
                  <a:lnTo>
                    <a:pt x="1" y="17"/>
                  </a:lnTo>
                  <a:lnTo>
                    <a:pt x="0" y="14"/>
                  </a:lnTo>
                  <a:lnTo>
                    <a:pt x="1" y="9"/>
                  </a:lnTo>
                  <a:lnTo>
                    <a:pt x="6" y="3"/>
                  </a:lnTo>
                  <a:lnTo>
                    <a:pt x="7" y="2"/>
                  </a:lnTo>
                  <a:lnTo>
                    <a:pt x="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02" name="Freeform 6867">
              <a:extLst>
                <a:ext uri="{FF2B5EF4-FFF2-40B4-BE49-F238E27FC236}">
                  <a16:creationId xmlns="" xmlns:a16="http://schemas.microsoft.com/office/drawing/2014/main" id="{AC042A4F-D3E6-49E5-9B49-A84B53CBBDD4}"/>
                </a:ext>
              </a:extLst>
            </p:cNvPr>
            <p:cNvSpPr>
              <a:spLocks/>
            </p:cNvSpPr>
            <p:nvPr/>
          </p:nvSpPr>
          <p:spPr bwMode="auto">
            <a:xfrm>
              <a:off x="5651440" y="562331"/>
              <a:ext cx="29637" cy="25192"/>
            </a:xfrm>
            <a:custGeom>
              <a:avLst/>
              <a:gdLst>
                <a:gd name="T0" fmla="*/ 6 w 20"/>
                <a:gd name="T1" fmla="*/ 0 h 17"/>
                <a:gd name="T2" fmla="*/ 11 w 20"/>
                <a:gd name="T3" fmla="*/ 0 h 17"/>
                <a:gd name="T4" fmla="*/ 17 w 20"/>
                <a:gd name="T5" fmla="*/ 5 h 17"/>
                <a:gd name="T6" fmla="*/ 18 w 20"/>
                <a:gd name="T7" fmla="*/ 6 h 17"/>
                <a:gd name="T8" fmla="*/ 20 w 20"/>
                <a:gd name="T9" fmla="*/ 9 h 17"/>
                <a:gd name="T10" fmla="*/ 18 w 20"/>
                <a:gd name="T11" fmla="*/ 12 h 17"/>
                <a:gd name="T12" fmla="*/ 17 w 20"/>
                <a:gd name="T13" fmla="*/ 15 h 17"/>
                <a:gd name="T14" fmla="*/ 14 w 20"/>
                <a:gd name="T15" fmla="*/ 17 h 17"/>
                <a:gd name="T16" fmla="*/ 11 w 20"/>
                <a:gd name="T17" fmla="*/ 15 h 17"/>
                <a:gd name="T18" fmla="*/ 3 w 20"/>
                <a:gd name="T19" fmla="*/ 12 h 17"/>
                <a:gd name="T20" fmla="*/ 2 w 20"/>
                <a:gd name="T21" fmla="*/ 9 h 17"/>
                <a:gd name="T22" fmla="*/ 0 w 20"/>
                <a:gd name="T23" fmla="*/ 6 h 17"/>
                <a:gd name="T24" fmla="*/ 2 w 20"/>
                <a:gd name="T25" fmla="*/ 3 h 17"/>
                <a:gd name="T26" fmla="*/ 3 w 20"/>
                <a:gd name="T27" fmla="*/ 0 h 17"/>
                <a:gd name="T28" fmla="*/ 6 w 20"/>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7">
                  <a:moveTo>
                    <a:pt x="6" y="0"/>
                  </a:moveTo>
                  <a:lnTo>
                    <a:pt x="11" y="0"/>
                  </a:lnTo>
                  <a:lnTo>
                    <a:pt x="17" y="5"/>
                  </a:lnTo>
                  <a:lnTo>
                    <a:pt x="18" y="6"/>
                  </a:lnTo>
                  <a:lnTo>
                    <a:pt x="20" y="9"/>
                  </a:lnTo>
                  <a:lnTo>
                    <a:pt x="18" y="12"/>
                  </a:lnTo>
                  <a:lnTo>
                    <a:pt x="17" y="15"/>
                  </a:lnTo>
                  <a:lnTo>
                    <a:pt x="14" y="17"/>
                  </a:lnTo>
                  <a:lnTo>
                    <a:pt x="11" y="15"/>
                  </a:lnTo>
                  <a:lnTo>
                    <a:pt x="3" y="12"/>
                  </a:lnTo>
                  <a:lnTo>
                    <a:pt x="2" y="9"/>
                  </a:lnTo>
                  <a:lnTo>
                    <a:pt x="0" y="6"/>
                  </a:lnTo>
                  <a:lnTo>
                    <a:pt x="2" y="3"/>
                  </a:lnTo>
                  <a:lnTo>
                    <a:pt x="3" y="0"/>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03" name="Freeform 6868">
              <a:extLst>
                <a:ext uri="{FF2B5EF4-FFF2-40B4-BE49-F238E27FC236}">
                  <a16:creationId xmlns="" xmlns:a16="http://schemas.microsoft.com/office/drawing/2014/main" id="{365F1D0E-DA7D-4D00-88A7-CEBE6639CD37}"/>
                </a:ext>
              </a:extLst>
            </p:cNvPr>
            <p:cNvSpPr>
              <a:spLocks/>
            </p:cNvSpPr>
            <p:nvPr/>
          </p:nvSpPr>
          <p:spPr bwMode="auto">
            <a:xfrm>
              <a:off x="5343212" y="383026"/>
              <a:ext cx="28156" cy="23710"/>
            </a:xfrm>
            <a:custGeom>
              <a:avLst/>
              <a:gdLst>
                <a:gd name="T0" fmla="*/ 6 w 19"/>
                <a:gd name="T1" fmla="*/ 0 h 16"/>
                <a:gd name="T2" fmla="*/ 10 w 19"/>
                <a:gd name="T3" fmla="*/ 1 h 16"/>
                <a:gd name="T4" fmla="*/ 16 w 19"/>
                <a:gd name="T5" fmla="*/ 4 h 16"/>
                <a:gd name="T6" fmla="*/ 18 w 19"/>
                <a:gd name="T7" fmla="*/ 7 h 16"/>
                <a:gd name="T8" fmla="*/ 19 w 19"/>
                <a:gd name="T9" fmla="*/ 10 h 16"/>
                <a:gd name="T10" fmla="*/ 18 w 19"/>
                <a:gd name="T11" fmla="*/ 13 h 16"/>
                <a:gd name="T12" fmla="*/ 16 w 19"/>
                <a:gd name="T13" fmla="*/ 16 h 16"/>
                <a:gd name="T14" fmla="*/ 13 w 19"/>
                <a:gd name="T15" fmla="*/ 16 h 16"/>
                <a:gd name="T16" fmla="*/ 10 w 19"/>
                <a:gd name="T17" fmla="*/ 16 h 16"/>
                <a:gd name="T18" fmla="*/ 3 w 19"/>
                <a:gd name="T19" fmla="*/ 12 h 16"/>
                <a:gd name="T20" fmla="*/ 1 w 19"/>
                <a:gd name="T21" fmla="*/ 10 h 16"/>
                <a:gd name="T22" fmla="*/ 0 w 19"/>
                <a:gd name="T23" fmla="*/ 7 h 16"/>
                <a:gd name="T24" fmla="*/ 1 w 19"/>
                <a:gd name="T25" fmla="*/ 3 h 16"/>
                <a:gd name="T26" fmla="*/ 3 w 19"/>
                <a:gd name="T27" fmla="*/ 1 h 16"/>
                <a:gd name="T28" fmla="*/ 6 w 19"/>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16">
                  <a:moveTo>
                    <a:pt x="6" y="0"/>
                  </a:moveTo>
                  <a:lnTo>
                    <a:pt x="10" y="1"/>
                  </a:lnTo>
                  <a:lnTo>
                    <a:pt x="16" y="4"/>
                  </a:lnTo>
                  <a:lnTo>
                    <a:pt x="18" y="7"/>
                  </a:lnTo>
                  <a:lnTo>
                    <a:pt x="19" y="10"/>
                  </a:lnTo>
                  <a:lnTo>
                    <a:pt x="18" y="13"/>
                  </a:lnTo>
                  <a:lnTo>
                    <a:pt x="16" y="16"/>
                  </a:lnTo>
                  <a:lnTo>
                    <a:pt x="13" y="16"/>
                  </a:lnTo>
                  <a:lnTo>
                    <a:pt x="10" y="16"/>
                  </a:lnTo>
                  <a:lnTo>
                    <a:pt x="3" y="12"/>
                  </a:lnTo>
                  <a:lnTo>
                    <a:pt x="1" y="10"/>
                  </a:lnTo>
                  <a:lnTo>
                    <a:pt x="0" y="7"/>
                  </a:lnTo>
                  <a:lnTo>
                    <a:pt x="1" y="3"/>
                  </a:lnTo>
                  <a:lnTo>
                    <a:pt x="3" y="1"/>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04" name="Freeform 6869">
              <a:extLst>
                <a:ext uri="{FF2B5EF4-FFF2-40B4-BE49-F238E27FC236}">
                  <a16:creationId xmlns="" xmlns:a16="http://schemas.microsoft.com/office/drawing/2014/main" id="{1A04EC47-7B8C-4D3D-A593-B0FF70568D9F}"/>
                </a:ext>
              </a:extLst>
            </p:cNvPr>
            <p:cNvSpPr>
              <a:spLocks/>
            </p:cNvSpPr>
            <p:nvPr/>
          </p:nvSpPr>
          <p:spPr bwMode="auto">
            <a:xfrm>
              <a:off x="5409896" y="316342"/>
              <a:ext cx="23710" cy="28156"/>
            </a:xfrm>
            <a:custGeom>
              <a:avLst/>
              <a:gdLst>
                <a:gd name="T0" fmla="*/ 7 w 16"/>
                <a:gd name="T1" fmla="*/ 0 h 19"/>
                <a:gd name="T2" fmla="*/ 10 w 16"/>
                <a:gd name="T3" fmla="*/ 1 h 19"/>
                <a:gd name="T4" fmla="*/ 12 w 16"/>
                <a:gd name="T5" fmla="*/ 3 h 19"/>
                <a:gd name="T6" fmla="*/ 16 w 16"/>
                <a:gd name="T7" fmla="*/ 10 h 19"/>
                <a:gd name="T8" fmla="*/ 16 w 16"/>
                <a:gd name="T9" fmla="*/ 13 h 19"/>
                <a:gd name="T10" fmla="*/ 16 w 16"/>
                <a:gd name="T11" fmla="*/ 16 h 19"/>
                <a:gd name="T12" fmla="*/ 13 w 16"/>
                <a:gd name="T13" fmla="*/ 18 h 19"/>
                <a:gd name="T14" fmla="*/ 10 w 16"/>
                <a:gd name="T15" fmla="*/ 19 h 19"/>
                <a:gd name="T16" fmla="*/ 7 w 16"/>
                <a:gd name="T17" fmla="*/ 18 h 19"/>
                <a:gd name="T18" fmla="*/ 6 w 16"/>
                <a:gd name="T19" fmla="*/ 16 h 19"/>
                <a:gd name="T20" fmla="*/ 1 w 16"/>
                <a:gd name="T21" fmla="*/ 9 h 19"/>
                <a:gd name="T22" fmla="*/ 0 w 16"/>
                <a:gd name="T23" fmla="*/ 6 h 19"/>
                <a:gd name="T24" fmla="*/ 1 w 16"/>
                <a:gd name="T25" fmla="*/ 3 h 19"/>
                <a:gd name="T26" fmla="*/ 4 w 16"/>
                <a:gd name="T27" fmla="*/ 1 h 19"/>
                <a:gd name="T28" fmla="*/ 7 w 16"/>
                <a:gd name="T2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9">
                  <a:moveTo>
                    <a:pt x="7" y="0"/>
                  </a:moveTo>
                  <a:lnTo>
                    <a:pt x="10" y="1"/>
                  </a:lnTo>
                  <a:lnTo>
                    <a:pt x="12" y="3"/>
                  </a:lnTo>
                  <a:lnTo>
                    <a:pt x="16" y="10"/>
                  </a:lnTo>
                  <a:lnTo>
                    <a:pt x="16" y="13"/>
                  </a:lnTo>
                  <a:lnTo>
                    <a:pt x="16" y="16"/>
                  </a:lnTo>
                  <a:lnTo>
                    <a:pt x="13" y="18"/>
                  </a:lnTo>
                  <a:lnTo>
                    <a:pt x="10" y="19"/>
                  </a:lnTo>
                  <a:lnTo>
                    <a:pt x="7" y="18"/>
                  </a:lnTo>
                  <a:lnTo>
                    <a:pt x="6" y="16"/>
                  </a:lnTo>
                  <a:lnTo>
                    <a:pt x="1" y="9"/>
                  </a:lnTo>
                  <a:lnTo>
                    <a:pt x="0" y="6"/>
                  </a:lnTo>
                  <a:lnTo>
                    <a:pt x="1" y="3"/>
                  </a:lnTo>
                  <a:lnTo>
                    <a:pt x="4" y="1"/>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05" name="Freeform 6870">
              <a:extLst>
                <a:ext uri="{FF2B5EF4-FFF2-40B4-BE49-F238E27FC236}">
                  <a16:creationId xmlns="" xmlns:a16="http://schemas.microsoft.com/office/drawing/2014/main" id="{3FAD87D8-3594-48F0-93FB-EE4D353C01F1}"/>
                </a:ext>
              </a:extLst>
            </p:cNvPr>
            <p:cNvSpPr>
              <a:spLocks/>
            </p:cNvSpPr>
            <p:nvPr/>
          </p:nvSpPr>
          <p:spPr bwMode="auto">
            <a:xfrm>
              <a:off x="5589202" y="624570"/>
              <a:ext cx="25192" cy="29637"/>
            </a:xfrm>
            <a:custGeom>
              <a:avLst/>
              <a:gdLst>
                <a:gd name="T0" fmla="*/ 6 w 17"/>
                <a:gd name="T1" fmla="*/ 0 h 20"/>
                <a:gd name="T2" fmla="*/ 9 w 17"/>
                <a:gd name="T3" fmla="*/ 2 h 20"/>
                <a:gd name="T4" fmla="*/ 12 w 17"/>
                <a:gd name="T5" fmla="*/ 3 h 20"/>
                <a:gd name="T6" fmla="*/ 15 w 17"/>
                <a:gd name="T7" fmla="*/ 9 h 20"/>
                <a:gd name="T8" fmla="*/ 17 w 17"/>
                <a:gd name="T9" fmla="*/ 14 h 20"/>
                <a:gd name="T10" fmla="*/ 15 w 17"/>
                <a:gd name="T11" fmla="*/ 17 h 20"/>
                <a:gd name="T12" fmla="*/ 14 w 17"/>
                <a:gd name="T13" fmla="*/ 18 h 20"/>
                <a:gd name="T14" fmla="*/ 9 w 17"/>
                <a:gd name="T15" fmla="*/ 20 h 20"/>
                <a:gd name="T16" fmla="*/ 6 w 17"/>
                <a:gd name="T17" fmla="*/ 18 h 20"/>
                <a:gd name="T18" fmla="*/ 5 w 17"/>
                <a:gd name="T19" fmla="*/ 17 h 20"/>
                <a:gd name="T20" fmla="*/ 0 w 17"/>
                <a:gd name="T21" fmla="*/ 9 h 20"/>
                <a:gd name="T22" fmla="*/ 0 w 17"/>
                <a:gd name="T23" fmla="*/ 6 h 20"/>
                <a:gd name="T24" fmla="*/ 0 w 17"/>
                <a:gd name="T25" fmla="*/ 3 h 20"/>
                <a:gd name="T26" fmla="*/ 3 w 17"/>
                <a:gd name="T27" fmla="*/ 2 h 20"/>
                <a:gd name="T28" fmla="*/ 6 w 17"/>
                <a:gd name="T2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20">
                  <a:moveTo>
                    <a:pt x="6" y="0"/>
                  </a:moveTo>
                  <a:lnTo>
                    <a:pt x="9" y="2"/>
                  </a:lnTo>
                  <a:lnTo>
                    <a:pt x="12" y="3"/>
                  </a:lnTo>
                  <a:lnTo>
                    <a:pt x="15" y="9"/>
                  </a:lnTo>
                  <a:lnTo>
                    <a:pt x="17" y="14"/>
                  </a:lnTo>
                  <a:lnTo>
                    <a:pt x="15" y="17"/>
                  </a:lnTo>
                  <a:lnTo>
                    <a:pt x="14" y="18"/>
                  </a:lnTo>
                  <a:lnTo>
                    <a:pt x="9" y="20"/>
                  </a:lnTo>
                  <a:lnTo>
                    <a:pt x="6" y="18"/>
                  </a:lnTo>
                  <a:lnTo>
                    <a:pt x="5" y="17"/>
                  </a:lnTo>
                  <a:lnTo>
                    <a:pt x="0" y="9"/>
                  </a:lnTo>
                  <a:lnTo>
                    <a:pt x="0" y="6"/>
                  </a:lnTo>
                  <a:lnTo>
                    <a:pt x="0" y="3"/>
                  </a:lnTo>
                  <a:lnTo>
                    <a:pt x="3" y="2"/>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06" name="Freeform 6871">
              <a:extLst>
                <a:ext uri="{FF2B5EF4-FFF2-40B4-BE49-F238E27FC236}">
                  <a16:creationId xmlns="" xmlns:a16="http://schemas.microsoft.com/office/drawing/2014/main" id="{8BDAF6CB-BEE1-4BCF-B341-DF32E341F2E2}"/>
                </a:ext>
              </a:extLst>
            </p:cNvPr>
            <p:cNvSpPr>
              <a:spLocks/>
            </p:cNvSpPr>
            <p:nvPr/>
          </p:nvSpPr>
          <p:spPr bwMode="auto">
            <a:xfrm>
              <a:off x="5343212" y="562331"/>
              <a:ext cx="28156" cy="25192"/>
            </a:xfrm>
            <a:custGeom>
              <a:avLst/>
              <a:gdLst>
                <a:gd name="T0" fmla="*/ 13 w 19"/>
                <a:gd name="T1" fmla="*/ 0 h 17"/>
                <a:gd name="T2" fmla="*/ 16 w 19"/>
                <a:gd name="T3" fmla="*/ 0 h 17"/>
                <a:gd name="T4" fmla="*/ 19 w 19"/>
                <a:gd name="T5" fmla="*/ 3 h 17"/>
                <a:gd name="T6" fmla="*/ 19 w 19"/>
                <a:gd name="T7" fmla="*/ 6 h 17"/>
                <a:gd name="T8" fmla="*/ 18 w 19"/>
                <a:gd name="T9" fmla="*/ 9 h 17"/>
                <a:gd name="T10" fmla="*/ 16 w 19"/>
                <a:gd name="T11" fmla="*/ 12 h 17"/>
                <a:gd name="T12" fmla="*/ 10 w 19"/>
                <a:gd name="T13" fmla="*/ 15 h 17"/>
                <a:gd name="T14" fmla="*/ 6 w 19"/>
                <a:gd name="T15" fmla="*/ 17 h 17"/>
                <a:gd name="T16" fmla="*/ 3 w 19"/>
                <a:gd name="T17" fmla="*/ 15 h 17"/>
                <a:gd name="T18" fmla="*/ 1 w 19"/>
                <a:gd name="T19" fmla="*/ 12 h 17"/>
                <a:gd name="T20" fmla="*/ 0 w 19"/>
                <a:gd name="T21" fmla="*/ 9 h 17"/>
                <a:gd name="T22" fmla="*/ 1 w 19"/>
                <a:gd name="T23" fmla="*/ 6 h 17"/>
                <a:gd name="T24" fmla="*/ 3 w 19"/>
                <a:gd name="T25" fmla="*/ 5 h 17"/>
                <a:gd name="T26" fmla="*/ 10 w 19"/>
                <a:gd name="T27" fmla="*/ 0 h 17"/>
                <a:gd name="T28" fmla="*/ 13 w 19"/>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17">
                  <a:moveTo>
                    <a:pt x="13" y="0"/>
                  </a:moveTo>
                  <a:lnTo>
                    <a:pt x="16" y="0"/>
                  </a:lnTo>
                  <a:lnTo>
                    <a:pt x="19" y="3"/>
                  </a:lnTo>
                  <a:lnTo>
                    <a:pt x="19" y="6"/>
                  </a:lnTo>
                  <a:lnTo>
                    <a:pt x="18" y="9"/>
                  </a:lnTo>
                  <a:lnTo>
                    <a:pt x="16" y="12"/>
                  </a:lnTo>
                  <a:lnTo>
                    <a:pt x="10" y="15"/>
                  </a:lnTo>
                  <a:lnTo>
                    <a:pt x="6" y="17"/>
                  </a:lnTo>
                  <a:lnTo>
                    <a:pt x="3" y="15"/>
                  </a:lnTo>
                  <a:lnTo>
                    <a:pt x="1" y="12"/>
                  </a:lnTo>
                  <a:lnTo>
                    <a:pt x="0" y="9"/>
                  </a:lnTo>
                  <a:lnTo>
                    <a:pt x="1" y="6"/>
                  </a:lnTo>
                  <a:lnTo>
                    <a:pt x="3" y="5"/>
                  </a:lnTo>
                  <a:lnTo>
                    <a:pt x="10" y="0"/>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07" name="Freeform 6872">
              <a:extLst>
                <a:ext uri="{FF2B5EF4-FFF2-40B4-BE49-F238E27FC236}">
                  <a16:creationId xmlns="" xmlns:a16="http://schemas.microsoft.com/office/drawing/2014/main" id="{5AA2A95C-8508-4CF7-AF3C-28CA9268DBD0}"/>
                </a:ext>
              </a:extLst>
            </p:cNvPr>
            <p:cNvSpPr>
              <a:spLocks/>
            </p:cNvSpPr>
            <p:nvPr/>
          </p:nvSpPr>
          <p:spPr bwMode="auto">
            <a:xfrm>
              <a:off x="5651440" y="383026"/>
              <a:ext cx="29637" cy="23710"/>
            </a:xfrm>
            <a:custGeom>
              <a:avLst/>
              <a:gdLst>
                <a:gd name="T0" fmla="*/ 14 w 20"/>
                <a:gd name="T1" fmla="*/ 0 h 16"/>
                <a:gd name="T2" fmla="*/ 17 w 20"/>
                <a:gd name="T3" fmla="*/ 1 h 16"/>
                <a:gd name="T4" fmla="*/ 18 w 20"/>
                <a:gd name="T5" fmla="*/ 3 h 16"/>
                <a:gd name="T6" fmla="*/ 20 w 20"/>
                <a:gd name="T7" fmla="*/ 7 h 16"/>
                <a:gd name="T8" fmla="*/ 18 w 20"/>
                <a:gd name="T9" fmla="*/ 10 h 16"/>
                <a:gd name="T10" fmla="*/ 17 w 20"/>
                <a:gd name="T11" fmla="*/ 12 h 16"/>
                <a:gd name="T12" fmla="*/ 11 w 20"/>
                <a:gd name="T13" fmla="*/ 16 h 16"/>
                <a:gd name="T14" fmla="*/ 6 w 20"/>
                <a:gd name="T15" fmla="*/ 16 h 16"/>
                <a:gd name="T16" fmla="*/ 3 w 20"/>
                <a:gd name="T17" fmla="*/ 16 h 16"/>
                <a:gd name="T18" fmla="*/ 2 w 20"/>
                <a:gd name="T19" fmla="*/ 13 h 16"/>
                <a:gd name="T20" fmla="*/ 0 w 20"/>
                <a:gd name="T21" fmla="*/ 10 h 16"/>
                <a:gd name="T22" fmla="*/ 2 w 20"/>
                <a:gd name="T23" fmla="*/ 7 h 16"/>
                <a:gd name="T24" fmla="*/ 3 w 20"/>
                <a:gd name="T25" fmla="*/ 4 h 16"/>
                <a:gd name="T26" fmla="*/ 11 w 20"/>
                <a:gd name="T27" fmla="*/ 1 h 16"/>
                <a:gd name="T28" fmla="*/ 14 w 20"/>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6">
                  <a:moveTo>
                    <a:pt x="14" y="0"/>
                  </a:moveTo>
                  <a:lnTo>
                    <a:pt x="17" y="1"/>
                  </a:lnTo>
                  <a:lnTo>
                    <a:pt x="18" y="3"/>
                  </a:lnTo>
                  <a:lnTo>
                    <a:pt x="20" y="7"/>
                  </a:lnTo>
                  <a:lnTo>
                    <a:pt x="18" y="10"/>
                  </a:lnTo>
                  <a:lnTo>
                    <a:pt x="17" y="12"/>
                  </a:lnTo>
                  <a:lnTo>
                    <a:pt x="11" y="16"/>
                  </a:lnTo>
                  <a:lnTo>
                    <a:pt x="6" y="16"/>
                  </a:lnTo>
                  <a:lnTo>
                    <a:pt x="3" y="16"/>
                  </a:lnTo>
                  <a:lnTo>
                    <a:pt x="2" y="13"/>
                  </a:lnTo>
                  <a:lnTo>
                    <a:pt x="0" y="10"/>
                  </a:lnTo>
                  <a:lnTo>
                    <a:pt x="2" y="7"/>
                  </a:lnTo>
                  <a:lnTo>
                    <a:pt x="3" y="4"/>
                  </a:lnTo>
                  <a:lnTo>
                    <a:pt x="11" y="1"/>
                  </a:lnTo>
                  <a:lnTo>
                    <a:pt x="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08" name="Freeform 6873">
              <a:extLst>
                <a:ext uri="{FF2B5EF4-FFF2-40B4-BE49-F238E27FC236}">
                  <a16:creationId xmlns="" xmlns:a16="http://schemas.microsoft.com/office/drawing/2014/main" id="{36EDF1FC-7B2A-48B5-B3F0-D6CE634FEF21}"/>
                </a:ext>
              </a:extLst>
            </p:cNvPr>
            <p:cNvSpPr>
              <a:spLocks/>
            </p:cNvSpPr>
            <p:nvPr/>
          </p:nvSpPr>
          <p:spPr bwMode="auto">
            <a:xfrm>
              <a:off x="5436570" y="468974"/>
              <a:ext cx="93358" cy="91876"/>
            </a:xfrm>
            <a:custGeom>
              <a:avLst/>
              <a:gdLst>
                <a:gd name="T0" fmla="*/ 48 w 63"/>
                <a:gd name="T1" fmla="*/ 0 h 62"/>
                <a:gd name="T2" fmla="*/ 51 w 63"/>
                <a:gd name="T3" fmla="*/ 0 h 62"/>
                <a:gd name="T4" fmla="*/ 55 w 63"/>
                <a:gd name="T5" fmla="*/ 0 h 62"/>
                <a:gd name="T6" fmla="*/ 58 w 63"/>
                <a:gd name="T7" fmla="*/ 3 h 62"/>
                <a:gd name="T8" fmla="*/ 61 w 63"/>
                <a:gd name="T9" fmla="*/ 6 h 62"/>
                <a:gd name="T10" fmla="*/ 63 w 63"/>
                <a:gd name="T11" fmla="*/ 11 h 62"/>
                <a:gd name="T12" fmla="*/ 63 w 63"/>
                <a:gd name="T13" fmla="*/ 14 h 62"/>
                <a:gd name="T14" fmla="*/ 61 w 63"/>
                <a:gd name="T15" fmla="*/ 18 h 62"/>
                <a:gd name="T16" fmla="*/ 58 w 63"/>
                <a:gd name="T17" fmla="*/ 21 h 62"/>
                <a:gd name="T18" fmla="*/ 21 w 63"/>
                <a:gd name="T19" fmla="*/ 59 h 62"/>
                <a:gd name="T20" fmla="*/ 18 w 63"/>
                <a:gd name="T21" fmla="*/ 60 h 62"/>
                <a:gd name="T22" fmla="*/ 15 w 63"/>
                <a:gd name="T23" fmla="*/ 62 h 62"/>
                <a:gd name="T24" fmla="*/ 12 w 63"/>
                <a:gd name="T25" fmla="*/ 62 h 62"/>
                <a:gd name="T26" fmla="*/ 9 w 63"/>
                <a:gd name="T27" fmla="*/ 62 h 62"/>
                <a:gd name="T28" fmla="*/ 6 w 63"/>
                <a:gd name="T29" fmla="*/ 60 h 62"/>
                <a:gd name="T30" fmla="*/ 3 w 63"/>
                <a:gd name="T31" fmla="*/ 59 h 62"/>
                <a:gd name="T32" fmla="*/ 1 w 63"/>
                <a:gd name="T33" fmla="*/ 56 h 62"/>
                <a:gd name="T34" fmla="*/ 0 w 63"/>
                <a:gd name="T35" fmla="*/ 51 h 62"/>
                <a:gd name="T36" fmla="*/ 0 w 63"/>
                <a:gd name="T37" fmla="*/ 47 h 62"/>
                <a:gd name="T38" fmla="*/ 1 w 63"/>
                <a:gd name="T39" fmla="*/ 44 h 62"/>
                <a:gd name="T40" fmla="*/ 3 w 63"/>
                <a:gd name="T41" fmla="*/ 41 h 62"/>
                <a:gd name="T42" fmla="*/ 40 w 63"/>
                <a:gd name="T43" fmla="*/ 3 h 62"/>
                <a:gd name="T44" fmla="*/ 43 w 63"/>
                <a:gd name="T45" fmla="*/ 0 h 62"/>
                <a:gd name="T46" fmla="*/ 48 w 63"/>
                <a:gd name="T4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3" h="62">
                  <a:moveTo>
                    <a:pt x="48" y="0"/>
                  </a:moveTo>
                  <a:lnTo>
                    <a:pt x="51" y="0"/>
                  </a:lnTo>
                  <a:lnTo>
                    <a:pt x="55" y="0"/>
                  </a:lnTo>
                  <a:lnTo>
                    <a:pt x="58" y="3"/>
                  </a:lnTo>
                  <a:lnTo>
                    <a:pt x="61" y="6"/>
                  </a:lnTo>
                  <a:lnTo>
                    <a:pt x="63" y="11"/>
                  </a:lnTo>
                  <a:lnTo>
                    <a:pt x="63" y="14"/>
                  </a:lnTo>
                  <a:lnTo>
                    <a:pt x="61" y="18"/>
                  </a:lnTo>
                  <a:lnTo>
                    <a:pt x="58" y="21"/>
                  </a:lnTo>
                  <a:lnTo>
                    <a:pt x="21" y="59"/>
                  </a:lnTo>
                  <a:lnTo>
                    <a:pt x="18" y="60"/>
                  </a:lnTo>
                  <a:lnTo>
                    <a:pt x="15" y="62"/>
                  </a:lnTo>
                  <a:lnTo>
                    <a:pt x="12" y="62"/>
                  </a:lnTo>
                  <a:lnTo>
                    <a:pt x="9" y="62"/>
                  </a:lnTo>
                  <a:lnTo>
                    <a:pt x="6" y="60"/>
                  </a:lnTo>
                  <a:lnTo>
                    <a:pt x="3" y="59"/>
                  </a:lnTo>
                  <a:lnTo>
                    <a:pt x="1" y="56"/>
                  </a:lnTo>
                  <a:lnTo>
                    <a:pt x="0" y="51"/>
                  </a:lnTo>
                  <a:lnTo>
                    <a:pt x="0" y="47"/>
                  </a:lnTo>
                  <a:lnTo>
                    <a:pt x="1" y="44"/>
                  </a:lnTo>
                  <a:lnTo>
                    <a:pt x="3" y="41"/>
                  </a:lnTo>
                  <a:lnTo>
                    <a:pt x="40" y="3"/>
                  </a:lnTo>
                  <a:lnTo>
                    <a:pt x="43" y="0"/>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grpSp>
      <p:grpSp>
        <p:nvGrpSpPr>
          <p:cNvPr id="209" name="Grupo 312">
            <a:extLst>
              <a:ext uri="{FF2B5EF4-FFF2-40B4-BE49-F238E27FC236}">
                <a16:creationId xmlns="" xmlns:a16="http://schemas.microsoft.com/office/drawing/2014/main" id="{980E4386-85A3-457A-9212-E25C352A7C92}"/>
              </a:ext>
            </a:extLst>
          </p:cNvPr>
          <p:cNvGrpSpPr/>
          <p:nvPr/>
        </p:nvGrpSpPr>
        <p:grpSpPr>
          <a:xfrm>
            <a:off x="7439241" y="5564726"/>
            <a:ext cx="264531" cy="301400"/>
            <a:chOff x="8772990" y="243730"/>
            <a:chExt cx="425296" cy="484571"/>
          </a:xfrm>
          <a:solidFill>
            <a:srgbClr val="F26926"/>
          </a:solidFill>
        </p:grpSpPr>
        <p:sp>
          <p:nvSpPr>
            <p:cNvPr id="210" name="Freeform 8067">
              <a:extLst>
                <a:ext uri="{FF2B5EF4-FFF2-40B4-BE49-F238E27FC236}">
                  <a16:creationId xmlns="" xmlns:a16="http://schemas.microsoft.com/office/drawing/2014/main" id="{1C59C5CA-3B47-40C3-8BF4-AF8C7967FC71}"/>
                </a:ext>
              </a:extLst>
            </p:cNvPr>
            <p:cNvSpPr>
              <a:spLocks noEditPoints="1"/>
            </p:cNvSpPr>
            <p:nvPr/>
          </p:nvSpPr>
          <p:spPr bwMode="auto">
            <a:xfrm>
              <a:off x="8772990" y="243730"/>
              <a:ext cx="425296" cy="484571"/>
            </a:xfrm>
            <a:custGeom>
              <a:avLst/>
              <a:gdLst>
                <a:gd name="T0" fmla="*/ 143 w 287"/>
                <a:gd name="T1" fmla="*/ 25 h 327"/>
                <a:gd name="T2" fmla="*/ 92 w 287"/>
                <a:gd name="T3" fmla="*/ 30 h 327"/>
                <a:gd name="T4" fmla="*/ 41 w 287"/>
                <a:gd name="T5" fmla="*/ 42 h 327"/>
                <a:gd name="T6" fmla="*/ 36 w 287"/>
                <a:gd name="T7" fmla="*/ 44 h 327"/>
                <a:gd name="T8" fmla="*/ 32 w 287"/>
                <a:gd name="T9" fmla="*/ 48 h 327"/>
                <a:gd name="T10" fmla="*/ 29 w 287"/>
                <a:gd name="T11" fmla="*/ 53 h 327"/>
                <a:gd name="T12" fmla="*/ 27 w 287"/>
                <a:gd name="T13" fmla="*/ 57 h 327"/>
                <a:gd name="T14" fmla="*/ 26 w 287"/>
                <a:gd name="T15" fmla="*/ 62 h 327"/>
                <a:gd name="T16" fmla="*/ 26 w 287"/>
                <a:gd name="T17" fmla="*/ 189 h 327"/>
                <a:gd name="T18" fmla="*/ 27 w 287"/>
                <a:gd name="T19" fmla="*/ 201 h 327"/>
                <a:gd name="T20" fmla="*/ 33 w 287"/>
                <a:gd name="T21" fmla="*/ 216 h 327"/>
                <a:gd name="T22" fmla="*/ 41 w 287"/>
                <a:gd name="T23" fmla="*/ 228 h 327"/>
                <a:gd name="T24" fmla="*/ 68 w 287"/>
                <a:gd name="T25" fmla="*/ 254 h 327"/>
                <a:gd name="T26" fmla="*/ 90 w 287"/>
                <a:gd name="T27" fmla="*/ 275 h 327"/>
                <a:gd name="T28" fmla="*/ 110 w 287"/>
                <a:gd name="T29" fmla="*/ 290 h 327"/>
                <a:gd name="T30" fmla="*/ 128 w 287"/>
                <a:gd name="T31" fmla="*/ 299 h 327"/>
                <a:gd name="T32" fmla="*/ 143 w 287"/>
                <a:gd name="T33" fmla="*/ 302 h 327"/>
                <a:gd name="T34" fmla="*/ 159 w 287"/>
                <a:gd name="T35" fmla="*/ 299 h 327"/>
                <a:gd name="T36" fmla="*/ 177 w 287"/>
                <a:gd name="T37" fmla="*/ 290 h 327"/>
                <a:gd name="T38" fmla="*/ 197 w 287"/>
                <a:gd name="T39" fmla="*/ 275 h 327"/>
                <a:gd name="T40" fmla="*/ 219 w 287"/>
                <a:gd name="T41" fmla="*/ 254 h 327"/>
                <a:gd name="T42" fmla="*/ 245 w 287"/>
                <a:gd name="T43" fmla="*/ 228 h 327"/>
                <a:gd name="T44" fmla="*/ 254 w 287"/>
                <a:gd name="T45" fmla="*/ 216 h 327"/>
                <a:gd name="T46" fmla="*/ 258 w 287"/>
                <a:gd name="T47" fmla="*/ 201 h 327"/>
                <a:gd name="T48" fmla="*/ 261 w 287"/>
                <a:gd name="T49" fmla="*/ 189 h 327"/>
                <a:gd name="T50" fmla="*/ 261 w 287"/>
                <a:gd name="T51" fmla="*/ 62 h 327"/>
                <a:gd name="T52" fmla="*/ 260 w 287"/>
                <a:gd name="T53" fmla="*/ 57 h 327"/>
                <a:gd name="T54" fmla="*/ 258 w 287"/>
                <a:gd name="T55" fmla="*/ 53 h 327"/>
                <a:gd name="T56" fmla="*/ 255 w 287"/>
                <a:gd name="T57" fmla="*/ 48 h 327"/>
                <a:gd name="T58" fmla="*/ 251 w 287"/>
                <a:gd name="T59" fmla="*/ 44 h 327"/>
                <a:gd name="T60" fmla="*/ 246 w 287"/>
                <a:gd name="T61" fmla="*/ 42 h 327"/>
                <a:gd name="T62" fmla="*/ 195 w 287"/>
                <a:gd name="T63" fmla="*/ 30 h 327"/>
                <a:gd name="T64" fmla="*/ 143 w 287"/>
                <a:gd name="T65" fmla="*/ 25 h 327"/>
                <a:gd name="T66" fmla="*/ 143 w 287"/>
                <a:gd name="T67" fmla="*/ 0 h 327"/>
                <a:gd name="T68" fmla="*/ 200 w 287"/>
                <a:gd name="T69" fmla="*/ 4 h 327"/>
                <a:gd name="T70" fmla="*/ 254 w 287"/>
                <a:gd name="T71" fmla="*/ 18 h 327"/>
                <a:gd name="T72" fmla="*/ 270 w 287"/>
                <a:gd name="T73" fmla="*/ 27 h 327"/>
                <a:gd name="T74" fmla="*/ 282 w 287"/>
                <a:gd name="T75" fmla="*/ 44 h 327"/>
                <a:gd name="T76" fmla="*/ 287 w 287"/>
                <a:gd name="T77" fmla="*/ 62 h 327"/>
                <a:gd name="T78" fmla="*/ 287 w 287"/>
                <a:gd name="T79" fmla="*/ 189 h 327"/>
                <a:gd name="T80" fmla="*/ 284 w 287"/>
                <a:gd name="T81" fmla="*/ 207 h 327"/>
                <a:gd name="T82" fmla="*/ 276 w 287"/>
                <a:gd name="T83" fmla="*/ 228 h 327"/>
                <a:gd name="T84" fmla="*/ 264 w 287"/>
                <a:gd name="T85" fmla="*/ 246 h 327"/>
                <a:gd name="T86" fmla="*/ 234 w 287"/>
                <a:gd name="T87" fmla="*/ 275 h 327"/>
                <a:gd name="T88" fmla="*/ 209 w 287"/>
                <a:gd name="T89" fmla="*/ 299 h 327"/>
                <a:gd name="T90" fmla="*/ 186 w 287"/>
                <a:gd name="T91" fmla="*/ 314 h 327"/>
                <a:gd name="T92" fmla="*/ 164 w 287"/>
                <a:gd name="T93" fmla="*/ 324 h 327"/>
                <a:gd name="T94" fmla="*/ 143 w 287"/>
                <a:gd name="T95" fmla="*/ 327 h 327"/>
                <a:gd name="T96" fmla="*/ 123 w 287"/>
                <a:gd name="T97" fmla="*/ 324 h 327"/>
                <a:gd name="T98" fmla="*/ 101 w 287"/>
                <a:gd name="T99" fmla="*/ 314 h 327"/>
                <a:gd name="T100" fmla="*/ 78 w 287"/>
                <a:gd name="T101" fmla="*/ 299 h 327"/>
                <a:gd name="T102" fmla="*/ 53 w 287"/>
                <a:gd name="T103" fmla="*/ 275 h 327"/>
                <a:gd name="T104" fmla="*/ 23 w 287"/>
                <a:gd name="T105" fmla="*/ 246 h 327"/>
                <a:gd name="T106" fmla="*/ 11 w 287"/>
                <a:gd name="T107" fmla="*/ 228 h 327"/>
                <a:gd name="T108" fmla="*/ 3 w 287"/>
                <a:gd name="T109" fmla="*/ 207 h 327"/>
                <a:gd name="T110" fmla="*/ 0 w 287"/>
                <a:gd name="T111" fmla="*/ 189 h 327"/>
                <a:gd name="T112" fmla="*/ 0 w 287"/>
                <a:gd name="T113" fmla="*/ 62 h 327"/>
                <a:gd name="T114" fmla="*/ 5 w 287"/>
                <a:gd name="T115" fmla="*/ 44 h 327"/>
                <a:gd name="T116" fmla="*/ 17 w 287"/>
                <a:gd name="T117" fmla="*/ 27 h 327"/>
                <a:gd name="T118" fmla="*/ 33 w 287"/>
                <a:gd name="T119" fmla="*/ 18 h 327"/>
                <a:gd name="T120" fmla="*/ 87 w 287"/>
                <a:gd name="T121" fmla="*/ 4 h 327"/>
                <a:gd name="T122" fmla="*/ 143 w 287"/>
                <a:gd name="T123" fmla="*/ 0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7" h="327">
                  <a:moveTo>
                    <a:pt x="143" y="25"/>
                  </a:moveTo>
                  <a:lnTo>
                    <a:pt x="92" y="30"/>
                  </a:lnTo>
                  <a:lnTo>
                    <a:pt x="41" y="42"/>
                  </a:lnTo>
                  <a:lnTo>
                    <a:pt x="36" y="44"/>
                  </a:lnTo>
                  <a:lnTo>
                    <a:pt x="32" y="48"/>
                  </a:lnTo>
                  <a:lnTo>
                    <a:pt x="29" y="53"/>
                  </a:lnTo>
                  <a:lnTo>
                    <a:pt x="27" y="57"/>
                  </a:lnTo>
                  <a:lnTo>
                    <a:pt x="26" y="62"/>
                  </a:lnTo>
                  <a:lnTo>
                    <a:pt x="26" y="189"/>
                  </a:lnTo>
                  <a:lnTo>
                    <a:pt x="27" y="201"/>
                  </a:lnTo>
                  <a:lnTo>
                    <a:pt x="33" y="216"/>
                  </a:lnTo>
                  <a:lnTo>
                    <a:pt x="41" y="228"/>
                  </a:lnTo>
                  <a:lnTo>
                    <a:pt x="68" y="254"/>
                  </a:lnTo>
                  <a:lnTo>
                    <a:pt x="90" y="275"/>
                  </a:lnTo>
                  <a:lnTo>
                    <a:pt x="110" y="290"/>
                  </a:lnTo>
                  <a:lnTo>
                    <a:pt x="128" y="299"/>
                  </a:lnTo>
                  <a:lnTo>
                    <a:pt x="143" y="302"/>
                  </a:lnTo>
                  <a:lnTo>
                    <a:pt x="159" y="299"/>
                  </a:lnTo>
                  <a:lnTo>
                    <a:pt x="177" y="290"/>
                  </a:lnTo>
                  <a:lnTo>
                    <a:pt x="197" y="275"/>
                  </a:lnTo>
                  <a:lnTo>
                    <a:pt x="219" y="254"/>
                  </a:lnTo>
                  <a:lnTo>
                    <a:pt x="245" y="228"/>
                  </a:lnTo>
                  <a:lnTo>
                    <a:pt x="254" y="216"/>
                  </a:lnTo>
                  <a:lnTo>
                    <a:pt x="258" y="201"/>
                  </a:lnTo>
                  <a:lnTo>
                    <a:pt x="261" y="189"/>
                  </a:lnTo>
                  <a:lnTo>
                    <a:pt x="261" y="62"/>
                  </a:lnTo>
                  <a:lnTo>
                    <a:pt x="260" y="57"/>
                  </a:lnTo>
                  <a:lnTo>
                    <a:pt x="258" y="53"/>
                  </a:lnTo>
                  <a:lnTo>
                    <a:pt x="255" y="48"/>
                  </a:lnTo>
                  <a:lnTo>
                    <a:pt x="251" y="44"/>
                  </a:lnTo>
                  <a:lnTo>
                    <a:pt x="246" y="42"/>
                  </a:lnTo>
                  <a:lnTo>
                    <a:pt x="195" y="30"/>
                  </a:lnTo>
                  <a:lnTo>
                    <a:pt x="143" y="25"/>
                  </a:lnTo>
                  <a:close/>
                  <a:moveTo>
                    <a:pt x="143" y="0"/>
                  </a:moveTo>
                  <a:lnTo>
                    <a:pt x="200" y="4"/>
                  </a:lnTo>
                  <a:lnTo>
                    <a:pt x="254" y="18"/>
                  </a:lnTo>
                  <a:lnTo>
                    <a:pt x="270" y="27"/>
                  </a:lnTo>
                  <a:lnTo>
                    <a:pt x="282" y="44"/>
                  </a:lnTo>
                  <a:lnTo>
                    <a:pt x="287" y="62"/>
                  </a:lnTo>
                  <a:lnTo>
                    <a:pt x="287" y="189"/>
                  </a:lnTo>
                  <a:lnTo>
                    <a:pt x="284" y="207"/>
                  </a:lnTo>
                  <a:lnTo>
                    <a:pt x="276" y="228"/>
                  </a:lnTo>
                  <a:lnTo>
                    <a:pt x="264" y="246"/>
                  </a:lnTo>
                  <a:lnTo>
                    <a:pt x="234" y="275"/>
                  </a:lnTo>
                  <a:lnTo>
                    <a:pt x="209" y="299"/>
                  </a:lnTo>
                  <a:lnTo>
                    <a:pt x="186" y="314"/>
                  </a:lnTo>
                  <a:lnTo>
                    <a:pt x="164" y="324"/>
                  </a:lnTo>
                  <a:lnTo>
                    <a:pt x="143" y="327"/>
                  </a:lnTo>
                  <a:lnTo>
                    <a:pt x="123" y="324"/>
                  </a:lnTo>
                  <a:lnTo>
                    <a:pt x="101" y="314"/>
                  </a:lnTo>
                  <a:lnTo>
                    <a:pt x="78" y="299"/>
                  </a:lnTo>
                  <a:lnTo>
                    <a:pt x="53" y="275"/>
                  </a:lnTo>
                  <a:lnTo>
                    <a:pt x="23" y="246"/>
                  </a:lnTo>
                  <a:lnTo>
                    <a:pt x="11" y="228"/>
                  </a:lnTo>
                  <a:lnTo>
                    <a:pt x="3" y="207"/>
                  </a:lnTo>
                  <a:lnTo>
                    <a:pt x="0" y="189"/>
                  </a:lnTo>
                  <a:lnTo>
                    <a:pt x="0" y="62"/>
                  </a:lnTo>
                  <a:lnTo>
                    <a:pt x="5" y="44"/>
                  </a:lnTo>
                  <a:lnTo>
                    <a:pt x="17" y="27"/>
                  </a:lnTo>
                  <a:lnTo>
                    <a:pt x="33" y="18"/>
                  </a:lnTo>
                  <a:lnTo>
                    <a:pt x="87" y="4"/>
                  </a:lnTo>
                  <a:lnTo>
                    <a:pt x="14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11" name="Freeform 8068">
              <a:extLst>
                <a:ext uri="{FF2B5EF4-FFF2-40B4-BE49-F238E27FC236}">
                  <a16:creationId xmlns="" xmlns:a16="http://schemas.microsoft.com/office/drawing/2014/main" id="{5F3D8928-A4ED-42E2-8A8A-E8E564CFE2C0}"/>
                </a:ext>
              </a:extLst>
            </p:cNvPr>
            <p:cNvSpPr>
              <a:spLocks noEditPoints="1"/>
            </p:cNvSpPr>
            <p:nvPr/>
          </p:nvSpPr>
          <p:spPr bwMode="auto">
            <a:xfrm>
              <a:off x="8839674" y="310415"/>
              <a:ext cx="291928" cy="351203"/>
            </a:xfrm>
            <a:custGeom>
              <a:avLst/>
              <a:gdLst>
                <a:gd name="T0" fmla="*/ 99 w 197"/>
                <a:gd name="T1" fmla="*/ 12 h 237"/>
                <a:gd name="T2" fmla="*/ 56 w 197"/>
                <a:gd name="T3" fmla="*/ 15 h 237"/>
                <a:gd name="T4" fmla="*/ 12 w 197"/>
                <a:gd name="T5" fmla="*/ 26 h 237"/>
                <a:gd name="T6" fmla="*/ 12 w 197"/>
                <a:gd name="T7" fmla="*/ 144 h 237"/>
                <a:gd name="T8" fmla="*/ 14 w 197"/>
                <a:gd name="T9" fmla="*/ 147 h 237"/>
                <a:gd name="T10" fmla="*/ 14 w 197"/>
                <a:gd name="T11" fmla="*/ 150 h 237"/>
                <a:gd name="T12" fmla="*/ 15 w 197"/>
                <a:gd name="T13" fmla="*/ 155 h 237"/>
                <a:gd name="T14" fmla="*/ 18 w 197"/>
                <a:gd name="T15" fmla="*/ 159 h 237"/>
                <a:gd name="T16" fmla="*/ 20 w 197"/>
                <a:gd name="T17" fmla="*/ 161 h 237"/>
                <a:gd name="T18" fmla="*/ 30 w 197"/>
                <a:gd name="T19" fmla="*/ 173 h 237"/>
                <a:gd name="T20" fmla="*/ 44 w 197"/>
                <a:gd name="T21" fmla="*/ 186 h 237"/>
                <a:gd name="T22" fmla="*/ 59 w 197"/>
                <a:gd name="T23" fmla="*/ 200 h 237"/>
                <a:gd name="T24" fmla="*/ 74 w 197"/>
                <a:gd name="T25" fmla="*/ 213 h 237"/>
                <a:gd name="T26" fmla="*/ 87 w 197"/>
                <a:gd name="T27" fmla="*/ 221 h 237"/>
                <a:gd name="T28" fmla="*/ 98 w 197"/>
                <a:gd name="T29" fmla="*/ 225 h 237"/>
                <a:gd name="T30" fmla="*/ 108 w 197"/>
                <a:gd name="T31" fmla="*/ 221 h 237"/>
                <a:gd name="T32" fmla="*/ 122 w 197"/>
                <a:gd name="T33" fmla="*/ 213 h 237"/>
                <a:gd name="T34" fmla="*/ 137 w 197"/>
                <a:gd name="T35" fmla="*/ 200 h 237"/>
                <a:gd name="T36" fmla="*/ 152 w 197"/>
                <a:gd name="T37" fmla="*/ 186 h 237"/>
                <a:gd name="T38" fmla="*/ 165 w 197"/>
                <a:gd name="T39" fmla="*/ 173 h 237"/>
                <a:gd name="T40" fmla="*/ 177 w 197"/>
                <a:gd name="T41" fmla="*/ 161 h 237"/>
                <a:gd name="T42" fmla="*/ 179 w 197"/>
                <a:gd name="T43" fmla="*/ 159 h 237"/>
                <a:gd name="T44" fmla="*/ 180 w 197"/>
                <a:gd name="T45" fmla="*/ 155 h 237"/>
                <a:gd name="T46" fmla="*/ 182 w 197"/>
                <a:gd name="T47" fmla="*/ 150 h 237"/>
                <a:gd name="T48" fmla="*/ 183 w 197"/>
                <a:gd name="T49" fmla="*/ 147 h 237"/>
                <a:gd name="T50" fmla="*/ 185 w 197"/>
                <a:gd name="T51" fmla="*/ 144 h 237"/>
                <a:gd name="T52" fmla="*/ 185 w 197"/>
                <a:gd name="T53" fmla="*/ 26 h 237"/>
                <a:gd name="T54" fmla="*/ 141 w 197"/>
                <a:gd name="T55" fmla="*/ 15 h 237"/>
                <a:gd name="T56" fmla="*/ 99 w 197"/>
                <a:gd name="T57" fmla="*/ 12 h 237"/>
                <a:gd name="T58" fmla="*/ 99 w 197"/>
                <a:gd name="T59" fmla="*/ 0 h 237"/>
                <a:gd name="T60" fmla="*/ 146 w 197"/>
                <a:gd name="T61" fmla="*/ 3 h 237"/>
                <a:gd name="T62" fmla="*/ 192 w 197"/>
                <a:gd name="T63" fmla="*/ 14 h 237"/>
                <a:gd name="T64" fmla="*/ 195 w 197"/>
                <a:gd name="T65" fmla="*/ 15 h 237"/>
                <a:gd name="T66" fmla="*/ 197 w 197"/>
                <a:gd name="T67" fmla="*/ 18 h 237"/>
                <a:gd name="T68" fmla="*/ 197 w 197"/>
                <a:gd name="T69" fmla="*/ 21 h 237"/>
                <a:gd name="T70" fmla="*/ 197 w 197"/>
                <a:gd name="T71" fmla="*/ 144 h 237"/>
                <a:gd name="T72" fmla="*/ 195 w 197"/>
                <a:gd name="T73" fmla="*/ 152 h 237"/>
                <a:gd name="T74" fmla="*/ 191 w 197"/>
                <a:gd name="T75" fmla="*/ 162 h 237"/>
                <a:gd name="T76" fmla="*/ 186 w 197"/>
                <a:gd name="T77" fmla="*/ 170 h 237"/>
                <a:gd name="T78" fmla="*/ 167 w 197"/>
                <a:gd name="T79" fmla="*/ 191 h 237"/>
                <a:gd name="T80" fmla="*/ 147 w 197"/>
                <a:gd name="T81" fmla="*/ 209 h 237"/>
                <a:gd name="T82" fmla="*/ 129 w 197"/>
                <a:gd name="T83" fmla="*/ 224 h 237"/>
                <a:gd name="T84" fmla="*/ 113 w 197"/>
                <a:gd name="T85" fmla="*/ 234 h 237"/>
                <a:gd name="T86" fmla="*/ 98 w 197"/>
                <a:gd name="T87" fmla="*/ 237 h 237"/>
                <a:gd name="T88" fmla="*/ 84 w 197"/>
                <a:gd name="T89" fmla="*/ 234 h 237"/>
                <a:gd name="T90" fmla="*/ 68 w 197"/>
                <a:gd name="T91" fmla="*/ 224 h 237"/>
                <a:gd name="T92" fmla="*/ 50 w 197"/>
                <a:gd name="T93" fmla="*/ 209 h 237"/>
                <a:gd name="T94" fmla="*/ 30 w 197"/>
                <a:gd name="T95" fmla="*/ 191 h 237"/>
                <a:gd name="T96" fmla="*/ 11 w 197"/>
                <a:gd name="T97" fmla="*/ 170 h 237"/>
                <a:gd name="T98" fmla="*/ 5 w 197"/>
                <a:gd name="T99" fmla="*/ 162 h 237"/>
                <a:gd name="T100" fmla="*/ 2 w 197"/>
                <a:gd name="T101" fmla="*/ 152 h 237"/>
                <a:gd name="T102" fmla="*/ 0 w 197"/>
                <a:gd name="T103" fmla="*/ 144 h 237"/>
                <a:gd name="T104" fmla="*/ 0 w 197"/>
                <a:gd name="T105" fmla="*/ 21 h 237"/>
                <a:gd name="T106" fmla="*/ 0 w 197"/>
                <a:gd name="T107" fmla="*/ 18 h 237"/>
                <a:gd name="T108" fmla="*/ 2 w 197"/>
                <a:gd name="T109" fmla="*/ 15 h 237"/>
                <a:gd name="T110" fmla="*/ 5 w 197"/>
                <a:gd name="T111" fmla="*/ 14 h 237"/>
                <a:gd name="T112" fmla="*/ 51 w 197"/>
                <a:gd name="T113" fmla="*/ 3 h 237"/>
                <a:gd name="T114" fmla="*/ 99 w 197"/>
                <a:gd name="T11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7" h="237">
                  <a:moveTo>
                    <a:pt x="99" y="12"/>
                  </a:moveTo>
                  <a:lnTo>
                    <a:pt x="56" y="15"/>
                  </a:lnTo>
                  <a:lnTo>
                    <a:pt x="12" y="26"/>
                  </a:lnTo>
                  <a:lnTo>
                    <a:pt x="12" y="144"/>
                  </a:lnTo>
                  <a:lnTo>
                    <a:pt x="14" y="147"/>
                  </a:lnTo>
                  <a:lnTo>
                    <a:pt x="14" y="150"/>
                  </a:lnTo>
                  <a:lnTo>
                    <a:pt x="15" y="155"/>
                  </a:lnTo>
                  <a:lnTo>
                    <a:pt x="18" y="159"/>
                  </a:lnTo>
                  <a:lnTo>
                    <a:pt x="20" y="161"/>
                  </a:lnTo>
                  <a:lnTo>
                    <a:pt x="30" y="173"/>
                  </a:lnTo>
                  <a:lnTo>
                    <a:pt x="44" y="186"/>
                  </a:lnTo>
                  <a:lnTo>
                    <a:pt x="59" y="200"/>
                  </a:lnTo>
                  <a:lnTo>
                    <a:pt x="74" y="213"/>
                  </a:lnTo>
                  <a:lnTo>
                    <a:pt x="87" y="221"/>
                  </a:lnTo>
                  <a:lnTo>
                    <a:pt x="98" y="225"/>
                  </a:lnTo>
                  <a:lnTo>
                    <a:pt x="108" y="221"/>
                  </a:lnTo>
                  <a:lnTo>
                    <a:pt x="122" y="213"/>
                  </a:lnTo>
                  <a:lnTo>
                    <a:pt x="137" y="200"/>
                  </a:lnTo>
                  <a:lnTo>
                    <a:pt x="152" y="186"/>
                  </a:lnTo>
                  <a:lnTo>
                    <a:pt x="165" y="173"/>
                  </a:lnTo>
                  <a:lnTo>
                    <a:pt x="177" y="161"/>
                  </a:lnTo>
                  <a:lnTo>
                    <a:pt x="179" y="159"/>
                  </a:lnTo>
                  <a:lnTo>
                    <a:pt x="180" y="155"/>
                  </a:lnTo>
                  <a:lnTo>
                    <a:pt x="182" y="150"/>
                  </a:lnTo>
                  <a:lnTo>
                    <a:pt x="183" y="147"/>
                  </a:lnTo>
                  <a:lnTo>
                    <a:pt x="185" y="144"/>
                  </a:lnTo>
                  <a:lnTo>
                    <a:pt x="185" y="26"/>
                  </a:lnTo>
                  <a:lnTo>
                    <a:pt x="141" y="15"/>
                  </a:lnTo>
                  <a:lnTo>
                    <a:pt x="99" y="12"/>
                  </a:lnTo>
                  <a:close/>
                  <a:moveTo>
                    <a:pt x="99" y="0"/>
                  </a:moveTo>
                  <a:lnTo>
                    <a:pt x="146" y="3"/>
                  </a:lnTo>
                  <a:lnTo>
                    <a:pt x="192" y="14"/>
                  </a:lnTo>
                  <a:lnTo>
                    <a:pt x="195" y="15"/>
                  </a:lnTo>
                  <a:lnTo>
                    <a:pt x="197" y="18"/>
                  </a:lnTo>
                  <a:lnTo>
                    <a:pt x="197" y="21"/>
                  </a:lnTo>
                  <a:lnTo>
                    <a:pt x="197" y="144"/>
                  </a:lnTo>
                  <a:lnTo>
                    <a:pt x="195" y="152"/>
                  </a:lnTo>
                  <a:lnTo>
                    <a:pt x="191" y="162"/>
                  </a:lnTo>
                  <a:lnTo>
                    <a:pt x="186" y="170"/>
                  </a:lnTo>
                  <a:lnTo>
                    <a:pt x="167" y="191"/>
                  </a:lnTo>
                  <a:lnTo>
                    <a:pt x="147" y="209"/>
                  </a:lnTo>
                  <a:lnTo>
                    <a:pt x="129" y="224"/>
                  </a:lnTo>
                  <a:lnTo>
                    <a:pt x="113" y="234"/>
                  </a:lnTo>
                  <a:lnTo>
                    <a:pt x="98" y="237"/>
                  </a:lnTo>
                  <a:lnTo>
                    <a:pt x="84" y="234"/>
                  </a:lnTo>
                  <a:lnTo>
                    <a:pt x="68" y="224"/>
                  </a:lnTo>
                  <a:lnTo>
                    <a:pt x="50" y="209"/>
                  </a:lnTo>
                  <a:lnTo>
                    <a:pt x="30" y="191"/>
                  </a:lnTo>
                  <a:lnTo>
                    <a:pt x="11" y="170"/>
                  </a:lnTo>
                  <a:lnTo>
                    <a:pt x="5" y="162"/>
                  </a:lnTo>
                  <a:lnTo>
                    <a:pt x="2" y="152"/>
                  </a:lnTo>
                  <a:lnTo>
                    <a:pt x="0" y="144"/>
                  </a:lnTo>
                  <a:lnTo>
                    <a:pt x="0" y="21"/>
                  </a:lnTo>
                  <a:lnTo>
                    <a:pt x="0" y="18"/>
                  </a:lnTo>
                  <a:lnTo>
                    <a:pt x="2" y="15"/>
                  </a:lnTo>
                  <a:lnTo>
                    <a:pt x="5" y="14"/>
                  </a:lnTo>
                  <a:lnTo>
                    <a:pt x="51" y="3"/>
                  </a:lnTo>
                  <a:lnTo>
                    <a:pt x="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12" name="Freeform 8069">
              <a:extLst>
                <a:ext uri="{FF2B5EF4-FFF2-40B4-BE49-F238E27FC236}">
                  <a16:creationId xmlns="" xmlns:a16="http://schemas.microsoft.com/office/drawing/2014/main" id="{6520C7E6-E39E-4F97-AEC0-2E4531155A3B}"/>
                </a:ext>
              </a:extLst>
            </p:cNvPr>
            <p:cNvSpPr>
              <a:spLocks/>
            </p:cNvSpPr>
            <p:nvPr/>
          </p:nvSpPr>
          <p:spPr bwMode="auto">
            <a:xfrm>
              <a:off x="8976005" y="310415"/>
              <a:ext cx="19265" cy="346757"/>
            </a:xfrm>
            <a:custGeom>
              <a:avLst/>
              <a:gdLst>
                <a:gd name="T0" fmla="*/ 6 w 13"/>
                <a:gd name="T1" fmla="*/ 0 h 234"/>
                <a:gd name="T2" fmla="*/ 10 w 13"/>
                <a:gd name="T3" fmla="*/ 2 h 234"/>
                <a:gd name="T4" fmla="*/ 12 w 13"/>
                <a:gd name="T5" fmla="*/ 5 h 234"/>
                <a:gd name="T6" fmla="*/ 13 w 13"/>
                <a:gd name="T7" fmla="*/ 8 h 234"/>
                <a:gd name="T8" fmla="*/ 13 w 13"/>
                <a:gd name="T9" fmla="*/ 227 h 234"/>
                <a:gd name="T10" fmla="*/ 12 w 13"/>
                <a:gd name="T11" fmla="*/ 231 h 234"/>
                <a:gd name="T12" fmla="*/ 10 w 13"/>
                <a:gd name="T13" fmla="*/ 233 h 234"/>
                <a:gd name="T14" fmla="*/ 6 w 13"/>
                <a:gd name="T15" fmla="*/ 234 h 234"/>
                <a:gd name="T16" fmla="*/ 3 w 13"/>
                <a:gd name="T17" fmla="*/ 233 h 234"/>
                <a:gd name="T18" fmla="*/ 1 w 13"/>
                <a:gd name="T19" fmla="*/ 231 h 234"/>
                <a:gd name="T20" fmla="*/ 0 w 13"/>
                <a:gd name="T21" fmla="*/ 227 h 234"/>
                <a:gd name="T22" fmla="*/ 0 w 13"/>
                <a:gd name="T23" fmla="*/ 8 h 234"/>
                <a:gd name="T24" fmla="*/ 1 w 13"/>
                <a:gd name="T25" fmla="*/ 5 h 234"/>
                <a:gd name="T26" fmla="*/ 3 w 13"/>
                <a:gd name="T27" fmla="*/ 2 h 234"/>
                <a:gd name="T28" fmla="*/ 6 w 13"/>
                <a:gd name="T29"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234">
                  <a:moveTo>
                    <a:pt x="6" y="0"/>
                  </a:moveTo>
                  <a:lnTo>
                    <a:pt x="10" y="2"/>
                  </a:lnTo>
                  <a:lnTo>
                    <a:pt x="12" y="5"/>
                  </a:lnTo>
                  <a:lnTo>
                    <a:pt x="13" y="8"/>
                  </a:lnTo>
                  <a:lnTo>
                    <a:pt x="13" y="227"/>
                  </a:lnTo>
                  <a:lnTo>
                    <a:pt x="12" y="231"/>
                  </a:lnTo>
                  <a:lnTo>
                    <a:pt x="10" y="233"/>
                  </a:lnTo>
                  <a:lnTo>
                    <a:pt x="6" y="234"/>
                  </a:lnTo>
                  <a:lnTo>
                    <a:pt x="3" y="233"/>
                  </a:lnTo>
                  <a:lnTo>
                    <a:pt x="1" y="231"/>
                  </a:lnTo>
                  <a:lnTo>
                    <a:pt x="0" y="227"/>
                  </a:lnTo>
                  <a:lnTo>
                    <a:pt x="0" y="8"/>
                  </a:lnTo>
                  <a:lnTo>
                    <a:pt x="1" y="5"/>
                  </a:lnTo>
                  <a:lnTo>
                    <a:pt x="3" y="2"/>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grpSp>
      <p:grpSp>
        <p:nvGrpSpPr>
          <p:cNvPr id="213" name="Grupo 322">
            <a:extLst>
              <a:ext uri="{FF2B5EF4-FFF2-40B4-BE49-F238E27FC236}">
                <a16:creationId xmlns="" xmlns:a16="http://schemas.microsoft.com/office/drawing/2014/main" id="{D457B064-F041-410F-B257-ED1D9262E75B}"/>
              </a:ext>
            </a:extLst>
          </p:cNvPr>
          <p:cNvGrpSpPr/>
          <p:nvPr/>
        </p:nvGrpSpPr>
        <p:grpSpPr>
          <a:xfrm>
            <a:off x="3446247" y="4239563"/>
            <a:ext cx="310942" cy="292707"/>
            <a:chOff x="2929994" y="1435150"/>
            <a:chExt cx="480125" cy="451969"/>
          </a:xfrm>
          <a:solidFill>
            <a:srgbClr val="F26926"/>
          </a:solidFill>
        </p:grpSpPr>
        <p:sp>
          <p:nvSpPr>
            <p:cNvPr id="214" name="Freeform 8126">
              <a:extLst>
                <a:ext uri="{FF2B5EF4-FFF2-40B4-BE49-F238E27FC236}">
                  <a16:creationId xmlns="" xmlns:a16="http://schemas.microsoft.com/office/drawing/2014/main" id="{F9A5090A-3115-4B27-86A2-45C3940D7768}"/>
                </a:ext>
              </a:extLst>
            </p:cNvPr>
            <p:cNvSpPr>
              <a:spLocks noEditPoints="1"/>
            </p:cNvSpPr>
            <p:nvPr/>
          </p:nvSpPr>
          <p:spPr bwMode="auto">
            <a:xfrm>
              <a:off x="2974450" y="1672249"/>
              <a:ext cx="208944" cy="205980"/>
            </a:xfrm>
            <a:custGeom>
              <a:avLst/>
              <a:gdLst>
                <a:gd name="T0" fmla="*/ 90 w 141"/>
                <a:gd name="T1" fmla="*/ 30 h 139"/>
                <a:gd name="T2" fmla="*/ 36 w 141"/>
                <a:gd name="T3" fmla="*/ 84 h 139"/>
                <a:gd name="T4" fmla="*/ 29 w 141"/>
                <a:gd name="T5" fmla="*/ 94 h 139"/>
                <a:gd name="T6" fmla="*/ 26 w 141"/>
                <a:gd name="T7" fmla="*/ 105 h 139"/>
                <a:gd name="T8" fmla="*/ 29 w 141"/>
                <a:gd name="T9" fmla="*/ 111 h 139"/>
                <a:gd name="T10" fmla="*/ 32 w 141"/>
                <a:gd name="T11" fmla="*/ 112 h 139"/>
                <a:gd name="T12" fmla="*/ 35 w 141"/>
                <a:gd name="T13" fmla="*/ 114 h 139"/>
                <a:gd name="T14" fmla="*/ 36 w 141"/>
                <a:gd name="T15" fmla="*/ 114 h 139"/>
                <a:gd name="T16" fmla="*/ 44 w 141"/>
                <a:gd name="T17" fmla="*/ 112 h 139"/>
                <a:gd name="T18" fmla="*/ 50 w 141"/>
                <a:gd name="T19" fmla="*/ 109 h 139"/>
                <a:gd name="T20" fmla="*/ 56 w 141"/>
                <a:gd name="T21" fmla="*/ 105 h 139"/>
                <a:gd name="T22" fmla="*/ 110 w 141"/>
                <a:gd name="T23" fmla="*/ 51 h 139"/>
                <a:gd name="T24" fmla="*/ 90 w 141"/>
                <a:gd name="T25" fmla="*/ 30 h 139"/>
                <a:gd name="T26" fmla="*/ 87 w 141"/>
                <a:gd name="T27" fmla="*/ 0 h 139"/>
                <a:gd name="T28" fmla="*/ 92 w 141"/>
                <a:gd name="T29" fmla="*/ 0 h 139"/>
                <a:gd name="T30" fmla="*/ 95 w 141"/>
                <a:gd name="T31" fmla="*/ 1 h 139"/>
                <a:gd name="T32" fmla="*/ 99 w 141"/>
                <a:gd name="T33" fmla="*/ 3 h 139"/>
                <a:gd name="T34" fmla="*/ 137 w 141"/>
                <a:gd name="T35" fmla="*/ 42 h 139"/>
                <a:gd name="T36" fmla="*/ 140 w 141"/>
                <a:gd name="T37" fmla="*/ 46 h 139"/>
                <a:gd name="T38" fmla="*/ 141 w 141"/>
                <a:gd name="T39" fmla="*/ 51 h 139"/>
                <a:gd name="T40" fmla="*/ 140 w 141"/>
                <a:gd name="T41" fmla="*/ 55 h 139"/>
                <a:gd name="T42" fmla="*/ 137 w 141"/>
                <a:gd name="T43" fmla="*/ 60 h 139"/>
                <a:gd name="T44" fmla="*/ 74 w 141"/>
                <a:gd name="T45" fmla="*/ 123 h 139"/>
                <a:gd name="T46" fmla="*/ 57 w 141"/>
                <a:gd name="T47" fmla="*/ 135 h 139"/>
                <a:gd name="T48" fmla="*/ 36 w 141"/>
                <a:gd name="T49" fmla="*/ 139 h 139"/>
                <a:gd name="T50" fmla="*/ 23 w 141"/>
                <a:gd name="T51" fmla="*/ 136 h 139"/>
                <a:gd name="T52" fmla="*/ 11 w 141"/>
                <a:gd name="T53" fmla="*/ 129 h 139"/>
                <a:gd name="T54" fmla="*/ 3 w 141"/>
                <a:gd name="T55" fmla="*/ 115 h 139"/>
                <a:gd name="T56" fmla="*/ 0 w 141"/>
                <a:gd name="T57" fmla="*/ 99 h 139"/>
                <a:gd name="T58" fmla="*/ 6 w 141"/>
                <a:gd name="T59" fmla="*/ 82 h 139"/>
                <a:gd name="T60" fmla="*/ 17 w 141"/>
                <a:gd name="T61" fmla="*/ 66 h 139"/>
                <a:gd name="T62" fmla="*/ 80 w 141"/>
                <a:gd name="T63" fmla="*/ 3 h 139"/>
                <a:gd name="T64" fmla="*/ 84 w 141"/>
                <a:gd name="T65" fmla="*/ 1 h 139"/>
                <a:gd name="T66" fmla="*/ 87 w 141"/>
                <a:gd name="T67"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 h="139">
                  <a:moveTo>
                    <a:pt x="90" y="30"/>
                  </a:moveTo>
                  <a:lnTo>
                    <a:pt x="36" y="84"/>
                  </a:lnTo>
                  <a:lnTo>
                    <a:pt x="29" y="94"/>
                  </a:lnTo>
                  <a:lnTo>
                    <a:pt x="26" y="105"/>
                  </a:lnTo>
                  <a:lnTo>
                    <a:pt x="29" y="111"/>
                  </a:lnTo>
                  <a:lnTo>
                    <a:pt x="32" y="112"/>
                  </a:lnTo>
                  <a:lnTo>
                    <a:pt x="35" y="114"/>
                  </a:lnTo>
                  <a:lnTo>
                    <a:pt x="36" y="114"/>
                  </a:lnTo>
                  <a:lnTo>
                    <a:pt x="44" y="112"/>
                  </a:lnTo>
                  <a:lnTo>
                    <a:pt x="50" y="109"/>
                  </a:lnTo>
                  <a:lnTo>
                    <a:pt x="56" y="105"/>
                  </a:lnTo>
                  <a:lnTo>
                    <a:pt x="110" y="51"/>
                  </a:lnTo>
                  <a:lnTo>
                    <a:pt x="90" y="30"/>
                  </a:lnTo>
                  <a:close/>
                  <a:moveTo>
                    <a:pt x="87" y="0"/>
                  </a:moveTo>
                  <a:lnTo>
                    <a:pt x="92" y="0"/>
                  </a:lnTo>
                  <a:lnTo>
                    <a:pt x="95" y="1"/>
                  </a:lnTo>
                  <a:lnTo>
                    <a:pt x="99" y="3"/>
                  </a:lnTo>
                  <a:lnTo>
                    <a:pt x="137" y="42"/>
                  </a:lnTo>
                  <a:lnTo>
                    <a:pt x="140" y="46"/>
                  </a:lnTo>
                  <a:lnTo>
                    <a:pt x="141" y="51"/>
                  </a:lnTo>
                  <a:lnTo>
                    <a:pt x="140" y="55"/>
                  </a:lnTo>
                  <a:lnTo>
                    <a:pt x="137" y="60"/>
                  </a:lnTo>
                  <a:lnTo>
                    <a:pt x="74" y="123"/>
                  </a:lnTo>
                  <a:lnTo>
                    <a:pt x="57" y="135"/>
                  </a:lnTo>
                  <a:lnTo>
                    <a:pt x="36" y="139"/>
                  </a:lnTo>
                  <a:lnTo>
                    <a:pt x="23" y="136"/>
                  </a:lnTo>
                  <a:lnTo>
                    <a:pt x="11" y="129"/>
                  </a:lnTo>
                  <a:lnTo>
                    <a:pt x="3" y="115"/>
                  </a:lnTo>
                  <a:lnTo>
                    <a:pt x="0" y="99"/>
                  </a:lnTo>
                  <a:lnTo>
                    <a:pt x="6" y="82"/>
                  </a:lnTo>
                  <a:lnTo>
                    <a:pt x="17" y="66"/>
                  </a:lnTo>
                  <a:lnTo>
                    <a:pt x="80" y="3"/>
                  </a:lnTo>
                  <a:lnTo>
                    <a:pt x="84" y="1"/>
                  </a:lnTo>
                  <a:lnTo>
                    <a:pt x="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15" name="Freeform 8127">
              <a:extLst>
                <a:ext uri="{FF2B5EF4-FFF2-40B4-BE49-F238E27FC236}">
                  <a16:creationId xmlns="" xmlns:a16="http://schemas.microsoft.com/office/drawing/2014/main" id="{E40E9F60-586C-439C-A545-BEE976A4D0A9}"/>
                </a:ext>
              </a:extLst>
            </p:cNvPr>
            <p:cNvSpPr>
              <a:spLocks noEditPoints="1"/>
            </p:cNvSpPr>
            <p:nvPr/>
          </p:nvSpPr>
          <p:spPr bwMode="auto">
            <a:xfrm>
              <a:off x="3294533" y="1444041"/>
              <a:ext cx="115586" cy="117068"/>
            </a:xfrm>
            <a:custGeom>
              <a:avLst/>
              <a:gdLst>
                <a:gd name="T0" fmla="*/ 39 w 78"/>
                <a:gd name="T1" fmla="*/ 30 h 79"/>
                <a:gd name="T2" fmla="*/ 27 w 78"/>
                <a:gd name="T3" fmla="*/ 43 h 79"/>
                <a:gd name="T4" fmla="*/ 26 w 78"/>
                <a:gd name="T5" fmla="*/ 46 h 79"/>
                <a:gd name="T6" fmla="*/ 26 w 78"/>
                <a:gd name="T7" fmla="*/ 49 h 79"/>
                <a:gd name="T8" fmla="*/ 27 w 78"/>
                <a:gd name="T9" fmla="*/ 50 h 79"/>
                <a:gd name="T10" fmla="*/ 30 w 78"/>
                <a:gd name="T11" fmla="*/ 53 h 79"/>
                <a:gd name="T12" fmla="*/ 33 w 78"/>
                <a:gd name="T13" fmla="*/ 53 h 79"/>
                <a:gd name="T14" fmla="*/ 35 w 78"/>
                <a:gd name="T15" fmla="*/ 50 h 79"/>
                <a:gd name="T16" fmla="*/ 48 w 78"/>
                <a:gd name="T17" fmla="*/ 38 h 79"/>
                <a:gd name="T18" fmla="*/ 39 w 78"/>
                <a:gd name="T19" fmla="*/ 30 h 79"/>
                <a:gd name="T20" fmla="*/ 42 w 78"/>
                <a:gd name="T21" fmla="*/ 0 h 79"/>
                <a:gd name="T22" fmla="*/ 45 w 78"/>
                <a:gd name="T23" fmla="*/ 0 h 79"/>
                <a:gd name="T24" fmla="*/ 48 w 78"/>
                <a:gd name="T25" fmla="*/ 3 h 79"/>
                <a:gd name="T26" fmla="*/ 75 w 78"/>
                <a:gd name="T27" fmla="*/ 29 h 79"/>
                <a:gd name="T28" fmla="*/ 77 w 78"/>
                <a:gd name="T29" fmla="*/ 33 h 79"/>
                <a:gd name="T30" fmla="*/ 78 w 78"/>
                <a:gd name="T31" fmla="*/ 38 h 79"/>
                <a:gd name="T32" fmla="*/ 77 w 78"/>
                <a:gd name="T33" fmla="*/ 44 h 79"/>
                <a:gd name="T34" fmla="*/ 75 w 78"/>
                <a:gd name="T35" fmla="*/ 47 h 79"/>
                <a:gd name="T36" fmla="*/ 53 w 78"/>
                <a:gd name="T37" fmla="*/ 70 h 79"/>
                <a:gd name="T38" fmla="*/ 48 w 78"/>
                <a:gd name="T39" fmla="*/ 73 h 79"/>
                <a:gd name="T40" fmla="*/ 44 w 78"/>
                <a:gd name="T41" fmla="*/ 76 h 79"/>
                <a:gd name="T42" fmla="*/ 38 w 78"/>
                <a:gd name="T43" fmla="*/ 77 h 79"/>
                <a:gd name="T44" fmla="*/ 32 w 78"/>
                <a:gd name="T45" fmla="*/ 79 h 79"/>
                <a:gd name="T46" fmla="*/ 23 w 78"/>
                <a:gd name="T47" fmla="*/ 77 h 79"/>
                <a:gd name="T48" fmla="*/ 15 w 78"/>
                <a:gd name="T49" fmla="*/ 74 h 79"/>
                <a:gd name="T50" fmla="*/ 9 w 78"/>
                <a:gd name="T51" fmla="*/ 70 h 79"/>
                <a:gd name="T52" fmla="*/ 3 w 78"/>
                <a:gd name="T53" fmla="*/ 59 h 79"/>
                <a:gd name="T54" fmla="*/ 0 w 78"/>
                <a:gd name="T55" fmla="*/ 47 h 79"/>
                <a:gd name="T56" fmla="*/ 3 w 78"/>
                <a:gd name="T57" fmla="*/ 35 h 79"/>
                <a:gd name="T58" fmla="*/ 9 w 78"/>
                <a:gd name="T59" fmla="*/ 24 h 79"/>
                <a:gd name="T60" fmla="*/ 30 w 78"/>
                <a:gd name="T61" fmla="*/ 3 h 79"/>
                <a:gd name="T62" fmla="*/ 33 w 78"/>
                <a:gd name="T63" fmla="*/ 0 h 79"/>
                <a:gd name="T64" fmla="*/ 38 w 78"/>
                <a:gd name="T65" fmla="*/ 0 h 79"/>
                <a:gd name="T66" fmla="*/ 42 w 78"/>
                <a:gd name="T6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8" h="79">
                  <a:moveTo>
                    <a:pt x="39" y="30"/>
                  </a:moveTo>
                  <a:lnTo>
                    <a:pt x="27" y="43"/>
                  </a:lnTo>
                  <a:lnTo>
                    <a:pt x="26" y="46"/>
                  </a:lnTo>
                  <a:lnTo>
                    <a:pt x="26" y="49"/>
                  </a:lnTo>
                  <a:lnTo>
                    <a:pt x="27" y="50"/>
                  </a:lnTo>
                  <a:lnTo>
                    <a:pt x="30" y="53"/>
                  </a:lnTo>
                  <a:lnTo>
                    <a:pt x="33" y="53"/>
                  </a:lnTo>
                  <a:lnTo>
                    <a:pt x="35" y="50"/>
                  </a:lnTo>
                  <a:lnTo>
                    <a:pt x="48" y="38"/>
                  </a:lnTo>
                  <a:lnTo>
                    <a:pt x="39" y="30"/>
                  </a:lnTo>
                  <a:close/>
                  <a:moveTo>
                    <a:pt x="42" y="0"/>
                  </a:moveTo>
                  <a:lnTo>
                    <a:pt x="45" y="0"/>
                  </a:lnTo>
                  <a:lnTo>
                    <a:pt x="48" y="3"/>
                  </a:lnTo>
                  <a:lnTo>
                    <a:pt x="75" y="29"/>
                  </a:lnTo>
                  <a:lnTo>
                    <a:pt x="77" y="33"/>
                  </a:lnTo>
                  <a:lnTo>
                    <a:pt x="78" y="38"/>
                  </a:lnTo>
                  <a:lnTo>
                    <a:pt x="77" y="44"/>
                  </a:lnTo>
                  <a:lnTo>
                    <a:pt x="75" y="47"/>
                  </a:lnTo>
                  <a:lnTo>
                    <a:pt x="53" y="70"/>
                  </a:lnTo>
                  <a:lnTo>
                    <a:pt x="48" y="73"/>
                  </a:lnTo>
                  <a:lnTo>
                    <a:pt x="44" y="76"/>
                  </a:lnTo>
                  <a:lnTo>
                    <a:pt x="38" y="77"/>
                  </a:lnTo>
                  <a:lnTo>
                    <a:pt x="32" y="79"/>
                  </a:lnTo>
                  <a:lnTo>
                    <a:pt x="23" y="77"/>
                  </a:lnTo>
                  <a:lnTo>
                    <a:pt x="15" y="74"/>
                  </a:lnTo>
                  <a:lnTo>
                    <a:pt x="9" y="70"/>
                  </a:lnTo>
                  <a:lnTo>
                    <a:pt x="3" y="59"/>
                  </a:lnTo>
                  <a:lnTo>
                    <a:pt x="0" y="47"/>
                  </a:lnTo>
                  <a:lnTo>
                    <a:pt x="3" y="35"/>
                  </a:lnTo>
                  <a:lnTo>
                    <a:pt x="9" y="24"/>
                  </a:lnTo>
                  <a:lnTo>
                    <a:pt x="30" y="3"/>
                  </a:lnTo>
                  <a:lnTo>
                    <a:pt x="33" y="0"/>
                  </a:lnTo>
                  <a:lnTo>
                    <a:pt x="38" y="0"/>
                  </a:lnTo>
                  <a:lnTo>
                    <a:pt x="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16" name="Freeform 8128">
              <a:extLst>
                <a:ext uri="{FF2B5EF4-FFF2-40B4-BE49-F238E27FC236}">
                  <a16:creationId xmlns="" xmlns:a16="http://schemas.microsoft.com/office/drawing/2014/main" id="{AB64B4AB-F1E2-4074-955D-E37FC4D52E2F}"/>
                </a:ext>
              </a:extLst>
            </p:cNvPr>
            <p:cNvSpPr>
              <a:spLocks/>
            </p:cNvSpPr>
            <p:nvPr/>
          </p:nvSpPr>
          <p:spPr bwMode="auto">
            <a:xfrm>
              <a:off x="3199693" y="1513690"/>
              <a:ext cx="142259" cy="142259"/>
            </a:xfrm>
            <a:custGeom>
              <a:avLst/>
              <a:gdLst>
                <a:gd name="T0" fmla="*/ 81 w 96"/>
                <a:gd name="T1" fmla="*/ 0 h 96"/>
                <a:gd name="T2" fmla="*/ 84 w 96"/>
                <a:gd name="T3" fmla="*/ 0 h 96"/>
                <a:gd name="T4" fmla="*/ 88 w 96"/>
                <a:gd name="T5" fmla="*/ 2 h 96"/>
                <a:gd name="T6" fmla="*/ 91 w 96"/>
                <a:gd name="T7" fmla="*/ 3 h 96"/>
                <a:gd name="T8" fmla="*/ 94 w 96"/>
                <a:gd name="T9" fmla="*/ 8 h 96"/>
                <a:gd name="T10" fmla="*/ 96 w 96"/>
                <a:gd name="T11" fmla="*/ 11 h 96"/>
                <a:gd name="T12" fmla="*/ 96 w 96"/>
                <a:gd name="T13" fmla="*/ 15 h 96"/>
                <a:gd name="T14" fmla="*/ 94 w 96"/>
                <a:gd name="T15" fmla="*/ 18 h 96"/>
                <a:gd name="T16" fmla="*/ 91 w 96"/>
                <a:gd name="T17" fmla="*/ 23 h 96"/>
                <a:gd name="T18" fmla="*/ 21 w 96"/>
                <a:gd name="T19" fmla="*/ 93 h 96"/>
                <a:gd name="T20" fmla="*/ 18 w 96"/>
                <a:gd name="T21" fmla="*/ 95 h 96"/>
                <a:gd name="T22" fmla="*/ 15 w 96"/>
                <a:gd name="T23" fmla="*/ 96 h 96"/>
                <a:gd name="T24" fmla="*/ 12 w 96"/>
                <a:gd name="T25" fmla="*/ 96 h 96"/>
                <a:gd name="T26" fmla="*/ 9 w 96"/>
                <a:gd name="T27" fmla="*/ 96 h 96"/>
                <a:gd name="T28" fmla="*/ 6 w 96"/>
                <a:gd name="T29" fmla="*/ 95 h 96"/>
                <a:gd name="T30" fmla="*/ 3 w 96"/>
                <a:gd name="T31" fmla="*/ 93 h 96"/>
                <a:gd name="T32" fmla="*/ 0 w 96"/>
                <a:gd name="T33" fmla="*/ 89 h 96"/>
                <a:gd name="T34" fmla="*/ 0 w 96"/>
                <a:gd name="T35" fmla="*/ 86 h 96"/>
                <a:gd name="T36" fmla="*/ 0 w 96"/>
                <a:gd name="T37" fmla="*/ 81 h 96"/>
                <a:gd name="T38" fmla="*/ 0 w 96"/>
                <a:gd name="T39" fmla="*/ 78 h 96"/>
                <a:gd name="T40" fmla="*/ 3 w 96"/>
                <a:gd name="T41" fmla="*/ 74 h 96"/>
                <a:gd name="T42" fmla="*/ 73 w 96"/>
                <a:gd name="T43" fmla="*/ 3 h 96"/>
                <a:gd name="T44" fmla="*/ 76 w 96"/>
                <a:gd name="T45" fmla="*/ 2 h 96"/>
                <a:gd name="T46" fmla="*/ 81 w 96"/>
                <a:gd name="T4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6">
                  <a:moveTo>
                    <a:pt x="81" y="0"/>
                  </a:moveTo>
                  <a:lnTo>
                    <a:pt x="84" y="0"/>
                  </a:lnTo>
                  <a:lnTo>
                    <a:pt x="88" y="2"/>
                  </a:lnTo>
                  <a:lnTo>
                    <a:pt x="91" y="3"/>
                  </a:lnTo>
                  <a:lnTo>
                    <a:pt x="94" y="8"/>
                  </a:lnTo>
                  <a:lnTo>
                    <a:pt x="96" y="11"/>
                  </a:lnTo>
                  <a:lnTo>
                    <a:pt x="96" y="15"/>
                  </a:lnTo>
                  <a:lnTo>
                    <a:pt x="94" y="18"/>
                  </a:lnTo>
                  <a:lnTo>
                    <a:pt x="91" y="23"/>
                  </a:lnTo>
                  <a:lnTo>
                    <a:pt x="21" y="93"/>
                  </a:lnTo>
                  <a:lnTo>
                    <a:pt x="18" y="95"/>
                  </a:lnTo>
                  <a:lnTo>
                    <a:pt x="15" y="96"/>
                  </a:lnTo>
                  <a:lnTo>
                    <a:pt x="12" y="96"/>
                  </a:lnTo>
                  <a:lnTo>
                    <a:pt x="9" y="96"/>
                  </a:lnTo>
                  <a:lnTo>
                    <a:pt x="6" y="95"/>
                  </a:lnTo>
                  <a:lnTo>
                    <a:pt x="3" y="93"/>
                  </a:lnTo>
                  <a:lnTo>
                    <a:pt x="0" y="89"/>
                  </a:lnTo>
                  <a:lnTo>
                    <a:pt x="0" y="86"/>
                  </a:lnTo>
                  <a:lnTo>
                    <a:pt x="0" y="81"/>
                  </a:lnTo>
                  <a:lnTo>
                    <a:pt x="0" y="78"/>
                  </a:lnTo>
                  <a:lnTo>
                    <a:pt x="3" y="74"/>
                  </a:lnTo>
                  <a:lnTo>
                    <a:pt x="73" y="3"/>
                  </a:lnTo>
                  <a:lnTo>
                    <a:pt x="76" y="2"/>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17" name="Freeform 8129">
              <a:extLst>
                <a:ext uri="{FF2B5EF4-FFF2-40B4-BE49-F238E27FC236}">
                  <a16:creationId xmlns="" xmlns:a16="http://schemas.microsoft.com/office/drawing/2014/main" id="{D53D1BA3-5933-488F-84C4-0079CAD9570B}"/>
                </a:ext>
              </a:extLst>
            </p:cNvPr>
            <p:cNvSpPr>
              <a:spLocks noEditPoints="1"/>
            </p:cNvSpPr>
            <p:nvPr/>
          </p:nvSpPr>
          <p:spPr bwMode="auto">
            <a:xfrm>
              <a:off x="2929994" y="1435150"/>
              <a:ext cx="451969" cy="451969"/>
            </a:xfrm>
            <a:custGeom>
              <a:avLst/>
              <a:gdLst>
                <a:gd name="T0" fmla="*/ 108 w 305"/>
                <a:gd name="T1" fmla="*/ 49 h 305"/>
                <a:gd name="T2" fmla="*/ 113 w 305"/>
                <a:gd name="T3" fmla="*/ 56 h 305"/>
                <a:gd name="T4" fmla="*/ 102 w 305"/>
                <a:gd name="T5" fmla="*/ 94 h 305"/>
                <a:gd name="T6" fmla="*/ 98 w 305"/>
                <a:gd name="T7" fmla="*/ 101 h 305"/>
                <a:gd name="T8" fmla="*/ 60 w 305"/>
                <a:gd name="T9" fmla="*/ 112 h 305"/>
                <a:gd name="T10" fmla="*/ 53 w 305"/>
                <a:gd name="T11" fmla="*/ 112 h 305"/>
                <a:gd name="T12" fmla="*/ 26 w 305"/>
                <a:gd name="T13" fmla="*/ 86 h 305"/>
                <a:gd name="T14" fmla="*/ 33 w 305"/>
                <a:gd name="T15" fmla="*/ 115 h 305"/>
                <a:gd name="T16" fmla="*/ 60 w 305"/>
                <a:gd name="T17" fmla="*/ 137 h 305"/>
                <a:gd name="T18" fmla="*/ 99 w 305"/>
                <a:gd name="T19" fmla="*/ 142 h 305"/>
                <a:gd name="T20" fmla="*/ 107 w 305"/>
                <a:gd name="T21" fmla="*/ 142 h 305"/>
                <a:gd name="T22" fmla="*/ 239 w 305"/>
                <a:gd name="T23" fmla="*/ 272 h 305"/>
                <a:gd name="T24" fmla="*/ 261 w 305"/>
                <a:gd name="T25" fmla="*/ 278 h 305"/>
                <a:gd name="T26" fmla="*/ 276 w 305"/>
                <a:gd name="T27" fmla="*/ 268 h 305"/>
                <a:gd name="T28" fmla="*/ 279 w 305"/>
                <a:gd name="T29" fmla="*/ 256 h 305"/>
                <a:gd name="T30" fmla="*/ 276 w 305"/>
                <a:gd name="T31" fmla="*/ 244 h 305"/>
                <a:gd name="T32" fmla="*/ 144 w 305"/>
                <a:gd name="T33" fmla="*/ 112 h 305"/>
                <a:gd name="T34" fmla="*/ 141 w 305"/>
                <a:gd name="T35" fmla="*/ 104 h 305"/>
                <a:gd name="T36" fmla="*/ 143 w 305"/>
                <a:gd name="T37" fmla="*/ 79 h 305"/>
                <a:gd name="T38" fmla="*/ 126 w 305"/>
                <a:gd name="T39" fmla="*/ 42 h 305"/>
                <a:gd name="T40" fmla="*/ 101 w 305"/>
                <a:gd name="T41" fmla="*/ 27 h 305"/>
                <a:gd name="T42" fmla="*/ 84 w 305"/>
                <a:gd name="T43" fmla="*/ 0 h 305"/>
                <a:gd name="T44" fmla="*/ 126 w 305"/>
                <a:gd name="T45" fmla="*/ 11 h 305"/>
                <a:gd name="T46" fmla="*/ 156 w 305"/>
                <a:gd name="T47" fmla="*/ 41 h 305"/>
                <a:gd name="T48" fmla="*/ 168 w 305"/>
                <a:gd name="T49" fmla="*/ 79 h 305"/>
                <a:gd name="T50" fmla="*/ 291 w 305"/>
                <a:gd name="T51" fmla="*/ 221 h 305"/>
                <a:gd name="T52" fmla="*/ 305 w 305"/>
                <a:gd name="T53" fmla="*/ 256 h 305"/>
                <a:gd name="T54" fmla="*/ 291 w 305"/>
                <a:gd name="T55" fmla="*/ 290 h 305"/>
                <a:gd name="T56" fmla="*/ 255 w 305"/>
                <a:gd name="T57" fmla="*/ 305 h 305"/>
                <a:gd name="T58" fmla="*/ 221 w 305"/>
                <a:gd name="T59" fmla="*/ 290 h 305"/>
                <a:gd name="T60" fmla="*/ 78 w 305"/>
                <a:gd name="T61" fmla="*/ 169 h 305"/>
                <a:gd name="T62" fmla="*/ 41 w 305"/>
                <a:gd name="T63" fmla="*/ 157 h 305"/>
                <a:gd name="T64" fmla="*/ 11 w 305"/>
                <a:gd name="T65" fmla="*/ 125 h 305"/>
                <a:gd name="T66" fmla="*/ 0 w 305"/>
                <a:gd name="T67" fmla="*/ 79 h 305"/>
                <a:gd name="T68" fmla="*/ 8 w 305"/>
                <a:gd name="T69" fmla="*/ 52 h 305"/>
                <a:gd name="T70" fmla="*/ 15 w 305"/>
                <a:gd name="T71" fmla="*/ 47 h 305"/>
                <a:gd name="T72" fmla="*/ 23 w 305"/>
                <a:gd name="T73" fmla="*/ 49 h 305"/>
                <a:gd name="T74" fmla="*/ 62 w 305"/>
                <a:gd name="T75" fmla="*/ 85 h 305"/>
                <a:gd name="T76" fmla="*/ 86 w 305"/>
                <a:gd name="T77" fmla="*/ 61 h 305"/>
                <a:gd name="T78" fmla="*/ 48 w 305"/>
                <a:gd name="T79" fmla="*/ 23 h 305"/>
                <a:gd name="T80" fmla="*/ 47 w 305"/>
                <a:gd name="T81" fmla="*/ 15 h 305"/>
                <a:gd name="T82" fmla="*/ 51 w 305"/>
                <a:gd name="T83" fmla="*/ 8 h 305"/>
                <a:gd name="T84" fmla="*/ 69 w 305"/>
                <a:gd name="T85" fmla="*/ 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5" h="305">
                  <a:moveTo>
                    <a:pt x="86" y="26"/>
                  </a:moveTo>
                  <a:lnTo>
                    <a:pt x="108" y="49"/>
                  </a:lnTo>
                  <a:lnTo>
                    <a:pt x="111" y="52"/>
                  </a:lnTo>
                  <a:lnTo>
                    <a:pt x="113" y="56"/>
                  </a:lnTo>
                  <a:lnTo>
                    <a:pt x="111" y="61"/>
                  </a:lnTo>
                  <a:lnTo>
                    <a:pt x="102" y="94"/>
                  </a:lnTo>
                  <a:lnTo>
                    <a:pt x="101" y="98"/>
                  </a:lnTo>
                  <a:lnTo>
                    <a:pt x="98" y="101"/>
                  </a:lnTo>
                  <a:lnTo>
                    <a:pt x="93" y="103"/>
                  </a:lnTo>
                  <a:lnTo>
                    <a:pt x="60" y="112"/>
                  </a:lnTo>
                  <a:lnTo>
                    <a:pt x="56" y="112"/>
                  </a:lnTo>
                  <a:lnTo>
                    <a:pt x="53" y="112"/>
                  </a:lnTo>
                  <a:lnTo>
                    <a:pt x="48" y="109"/>
                  </a:lnTo>
                  <a:lnTo>
                    <a:pt x="26" y="86"/>
                  </a:lnTo>
                  <a:lnTo>
                    <a:pt x="29" y="101"/>
                  </a:lnTo>
                  <a:lnTo>
                    <a:pt x="33" y="115"/>
                  </a:lnTo>
                  <a:lnTo>
                    <a:pt x="44" y="127"/>
                  </a:lnTo>
                  <a:lnTo>
                    <a:pt x="60" y="137"/>
                  </a:lnTo>
                  <a:lnTo>
                    <a:pt x="78" y="143"/>
                  </a:lnTo>
                  <a:lnTo>
                    <a:pt x="99" y="142"/>
                  </a:lnTo>
                  <a:lnTo>
                    <a:pt x="102" y="142"/>
                  </a:lnTo>
                  <a:lnTo>
                    <a:pt x="107" y="142"/>
                  </a:lnTo>
                  <a:lnTo>
                    <a:pt x="111" y="145"/>
                  </a:lnTo>
                  <a:lnTo>
                    <a:pt x="239" y="272"/>
                  </a:lnTo>
                  <a:lnTo>
                    <a:pt x="249" y="278"/>
                  </a:lnTo>
                  <a:lnTo>
                    <a:pt x="261" y="278"/>
                  </a:lnTo>
                  <a:lnTo>
                    <a:pt x="272" y="272"/>
                  </a:lnTo>
                  <a:lnTo>
                    <a:pt x="276" y="268"/>
                  </a:lnTo>
                  <a:lnTo>
                    <a:pt x="278" y="262"/>
                  </a:lnTo>
                  <a:lnTo>
                    <a:pt x="279" y="256"/>
                  </a:lnTo>
                  <a:lnTo>
                    <a:pt x="278" y="250"/>
                  </a:lnTo>
                  <a:lnTo>
                    <a:pt x="276" y="244"/>
                  </a:lnTo>
                  <a:lnTo>
                    <a:pt x="272" y="239"/>
                  </a:lnTo>
                  <a:lnTo>
                    <a:pt x="144" y="112"/>
                  </a:lnTo>
                  <a:lnTo>
                    <a:pt x="143" y="107"/>
                  </a:lnTo>
                  <a:lnTo>
                    <a:pt x="141" y="104"/>
                  </a:lnTo>
                  <a:lnTo>
                    <a:pt x="141" y="100"/>
                  </a:lnTo>
                  <a:lnTo>
                    <a:pt x="143" y="79"/>
                  </a:lnTo>
                  <a:lnTo>
                    <a:pt x="138" y="59"/>
                  </a:lnTo>
                  <a:lnTo>
                    <a:pt x="126" y="42"/>
                  </a:lnTo>
                  <a:lnTo>
                    <a:pt x="114" y="33"/>
                  </a:lnTo>
                  <a:lnTo>
                    <a:pt x="101" y="27"/>
                  </a:lnTo>
                  <a:lnTo>
                    <a:pt x="86" y="26"/>
                  </a:lnTo>
                  <a:close/>
                  <a:moveTo>
                    <a:pt x="84" y="0"/>
                  </a:moveTo>
                  <a:lnTo>
                    <a:pt x="107" y="3"/>
                  </a:lnTo>
                  <a:lnTo>
                    <a:pt x="126" y="11"/>
                  </a:lnTo>
                  <a:lnTo>
                    <a:pt x="144" y="24"/>
                  </a:lnTo>
                  <a:lnTo>
                    <a:pt x="156" y="41"/>
                  </a:lnTo>
                  <a:lnTo>
                    <a:pt x="165" y="59"/>
                  </a:lnTo>
                  <a:lnTo>
                    <a:pt x="168" y="79"/>
                  </a:lnTo>
                  <a:lnTo>
                    <a:pt x="168" y="98"/>
                  </a:lnTo>
                  <a:lnTo>
                    <a:pt x="291" y="221"/>
                  </a:lnTo>
                  <a:lnTo>
                    <a:pt x="302" y="236"/>
                  </a:lnTo>
                  <a:lnTo>
                    <a:pt x="305" y="256"/>
                  </a:lnTo>
                  <a:lnTo>
                    <a:pt x="302" y="275"/>
                  </a:lnTo>
                  <a:lnTo>
                    <a:pt x="291" y="290"/>
                  </a:lnTo>
                  <a:lnTo>
                    <a:pt x="275" y="301"/>
                  </a:lnTo>
                  <a:lnTo>
                    <a:pt x="255" y="305"/>
                  </a:lnTo>
                  <a:lnTo>
                    <a:pt x="237" y="301"/>
                  </a:lnTo>
                  <a:lnTo>
                    <a:pt x="221" y="290"/>
                  </a:lnTo>
                  <a:lnTo>
                    <a:pt x="98" y="167"/>
                  </a:lnTo>
                  <a:lnTo>
                    <a:pt x="78" y="169"/>
                  </a:lnTo>
                  <a:lnTo>
                    <a:pt x="59" y="164"/>
                  </a:lnTo>
                  <a:lnTo>
                    <a:pt x="41" y="157"/>
                  </a:lnTo>
                  <a:lnTo>
                    <a:pt x="26" y="145"/>
                  </a:lnTo>
                  <a:lnTo>
                    <a:pt x="11" y="125"/>
                  </a:lnTo>
                  <a:lnTo>
                    <a:pt x="2" y="103"/>
                  </a:lnTo>
                  <a:lnTo>
                    <a:pt x="0" y="79"/>
                  </a:lnTo>
                  <a:lnTo>
                    <a:pt x="6" y="55"/>
                  </a:lnTo>
                  <a:lnTo>
                    <a:pt x="8" y="52"/>
                  </a:lnTo>
                  <a:lnTo>
                    <a:pt x="11" y="49"/>
                  </a:lnTo>
                  <a:lnTo>
                    <a:pt x="15" y="47"/>
                  </a:lnTo>
                  <a:lnTo>
                    <a:pt x="20" y="47"/>
                  </a:lnTo>
                  <a:lnTo>
                    <a:pt x="23" y="49"/>
                  </a:lnTo>
                  <a:lnTo>
                    <a:pt x="27" y="50"/>
                  </a:lnTo>
                  <a:lnTo>
                    <a:pt x="62" y="85"/>
                  </a:lnTo>
                  <a:lnTo>
                    <a:pt x="80" y="80"/>
                  </a:lnTo>
                  <a:lnTo>
                    <a:pt x="86" y="61"/>
                  </a:lnTo>
                  <a:lnTo>
                    <a:pt x="51" y="26"/>
                  </a:lnTo>
                  <a:lnTo>
                    <a:pt x="48" y="23"/>
                  </a:lnTo>
                  <a:lnTo>
                    <a:pt x="47" y="18"/>
                  </a:lnTo>
                  <a:lnTo>
                    <a:pt x="47" y="15"/>
                  </a:lnTo>
                  <a:lnTo>
                    <a:pt x="48" y="11"/>
                  </a:lnTo>
                  <a:lnTo>
                    <a:pt x="51" y="8"/>
                  </a:lnTo>
                  <a:lnTo>
                    <a:pt x="56" y="5"/>
                  </a:lnTo>
                  <a:lnTo>
                    <a:pt x="69" y="2"/>
                  </a:lnTo>
                  <a:lnTo>
                    <a:pt x="8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18" name="Freeform 8130">
              <a:extLst>
                <a:ext uri="{FF2B5EF4-FFF2-40B4-BE49-F238E27FC236}">
                  <a16:creationId xmlns="" xmlns:a16="http://schemas.microsoft.com/office/drawing/2014/main" id="{D60573AD-F7F1-4BD8-96B6-6B3F97BD60A1}"/>
                </a:ext>
              </a:extLst>
            </p:cNvPr>
            <p:cNvSpPr>
              <a:spLocks/>
            </p:cNvSpPr>
            <p:nvPr/>
          </p:nvSpPr>
          <p:spPr bwMode="auto">
            <a:xfrm>
              <a:off x="3290088" y="1793762"/>
              <a:ext cx="31120" cy="31120"/>
            </a:xfrm>
            <a:custGeom>
              <a:avLst/>
              <a:gdLst>
                <a:gd name="T0" fmla="*/ 11 w 21"/>
                <a:gd name="T1" fmla="*/ 0 h 21"/>
                <a:gd name="T2" fmla="*/ 15 w 21"/>
                <a:gd name="T3" fmla="*/ 2 h 21"/>
                <a:gd name="T4" fmla="*/ 18 w 21"/>
                <a:gd name="T5" fmla="*/ 3 h 21"/>
                <a:gd name="T6" fmla="*/ 21 w 21"/>
                <a:gd name="T7" fmla="*/ 6 h 21"/>
                <a:gd name="T8" fmla="*/ 21 w 21"/>
                <a:gd name="T9" fmla="*/ 11 h 21"/>
                <a:gd name="T10" fmla="*/ 21 w 21"/>
                <a:gd name="T11" fmla="*/ 15 h 21"/>
                <a:gd name="T12" fmla="*/ 18 w 21"/>
                <a:gd name="T13" fmla="*/ 18 h 21"/>
                <a:gd name="T14" fmla="*/ 15 w 21"/>
                <a:gd name="T15" fmla="*/ 21 h 21"/>
                <a:gd name="T16" fmla="*/ 11 w 21"/>
                <a:gd name="T17" fmla="*/ 21 h 21"/>
                <a:gd name="T18" fmla="*/ 6 w 21"/>
                <a:gd name="T19" fmla="*/ 21 h 21"/>
                <a:gd name="T20" fmla="*/ 3 w 21"/>
                <a:gd name="T21" fmla="*/ 18 h 21"/>
                <a:gd name="T22" fmla="*/ 0 w 21"/>
                <a:gd name="T23" fmla="*/ 15 h 21"/>
                <a:gd name="T24" fmla="*/ 0 w 21"/>
                <a:gd name="T25" fmla="*/ 11 h 21"/>
                <a:gd name="T26" fmla="*/ 0 w 21"/>
                <a:gd name="T27" fmla="*/ 6 h 21"/>
                <a:gd name="T28" fmla="*/ 3 w 21"/>
                <a:gd name="T29" fmla="*/ 3 h 21"/>
                <a:gd name="T30" fmla="*/ 6 w 21"/>
                <a:gd name="T31" fmla="*/ 2 h 21"/>
                <a:gd name="T32" fmla="*/ 11 w 21"/>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21">
                  <a:moveTo>
                    <a:pt x="11" y="0"/>
                  </a:moveTo>
                  <a:lnTo>
                    <a:pt x="15" y="2"/>
                  </a:lnTo>
                  <a:lnTo>
                    <a:pt x="18" y="3"/>
                  </a:lnTo>
                  <a:lnTo>
                    <a:pt x="21" y="6"/>
                  </a:lnTo>
                  <a:lnTo>
                    <a:pt x="21" y="11"/>
                  </a:lnTo>
                  <a:lnTo>
                    <a:pt x="21" y="15"/>
                  </a:lnTo>
                  <a:lnTo>
                    <a:pt x="18" y="18"/>
                  </a:lnTo>
                  <a:lnTo>
                    <a:pt x="15" y="21"/>
                  </a:lnTo>
                  <a:lnTo>
                    <a:pt x="11" y="21"/>
                  </a:lnTo>
                  <a:lnTo>
                    <a:pt x="6" y="21"/>
                  </a:lnTo>
                  <a:lnTo>
                    <a:pt x="3" y="18"/>
                  </a:lnTo>
                  <a:lnTo>
                    <a:pt x="0" y="15"/>
                  </a:lnTo>
                  <a:lnTo>
                    <a:pt x="0" y="11"/>
                  </a:lnTo>
                  <a:lnTo>
                    <a:pt x="0" y="6"/>
                  </a:lnTo>
                  <a:lnTo>
                    <a:pt x="3" y="3"/>
                  </a:lnTo>
                  <a:lnTo>
                    <a:pt x="6" y="2"/>
                  </a:lnTo>
                  <a:lnTo>
                    <a:pt x="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grpSp>
      <p:grpSp>
        <p:nvGrpSpPr>
          <p:cNvPr id="219" name="Grupo 423">
            <a:extLst>
              <a:ext uri="{FF2B5EF4-FFF2-40B4-BE49-F238E27FC236}">
                <a16:creationId xmlns="" xmlns:a16="http://schemas.microsoft.com/office/drawing/2014/main" id="{9E513239-E9B4-47B6-BCEE-DD5F230C98C9}"/>
              </a:ext>
            </a:extLst>
          </p:cNvPr>
          <p:cNvGrpSpPr/>
          <p:nvPr/>
        </p:nvGrpSpPr>
        <p:grpSpPr>
          <a:xfrm>
            <a:off x="4125927" y="2200068"/>
            <a:ext cx="206077" cy="249421"/>
            <a:chOff x="1813408" y="4945690"/>
            <a:chExt cx="401586" cy="486052"/>
          </a:xfrm>
          <a:solidFill>
            <a:srgbClr val="F26926"/>
          </a:solidFill>
        </p:grpSpPr>
        <p:sp>
          <p:nvSpPr>
            <p:cNvPr id="220" name="Freeform 6419">
              <a:extLst>
                <a:ext uri="{FF2B5EF4-FFF2-40B4-BE49-F238E27FC236}">
                  <a16:creationId xmlns="" xmlns:a16="http://schemas.microsoft.com/office/drawing/2014/main" id="{A6ECB2BA-50F6-42A5-AA8F-A6D310349922}"/>
                </a:ext>
              </a:extLst>
            </p:cNvPr>
            <p:cNvSpPr>
              <a:spLocks/>
            </p:cNvSpPr>
            <p:nvPr/>
          </p:nvSpPr>
          <p:spPr bwMode="auto">
            <a:xfrm>
              <a:off x="2072735" y="5289482"/>
              <a:ext cx="133368" cy="133368"/>
            </a:xfrm>
            <a:custGeom>
              <a:avLst/>
              <a:gdLst>
                <a:gd name="T0" fmla="*/ 6 w 90"/>
                <a:gd name="T1" fmla="*/ 0 h 90"/>
                <a:gd name="T2" fmla="*/ 83 w 90"/>
                <a:gd name="T3" fmla="*/ 0 h 90"/>
                <a:gd name="T4" fmla="*/ 87 w 90"/>
                <a:gd name="T5" fmla="*/ 0 h 90"/>
                <a:gd name="T6" fmla="*/ 89 w 90"/>
                <a:gd name="T7" fmla="*/ 3 h 90"/>
                <a:gd name="T8" fmla="*/ 90 w 90"/>
                <a:gd name="T9" fmla="*/ 6 h 90"/>
                <a:gd name="T10" fmla="*/ 89 w 90"/>
                <a:gd name="T11" fmla="*/ 9 h 90"/>
                <a:gd name="T12" fmla="*/ 87 w 90"/>
                <a:gd name="T13" fmla="*/ 12 h 90"/>
                <a:gd name="T14" fmla="*/ 83 w 90"/>
                <a:gd name="T15" fmla="*/ 12 h 90"/>
                <a:gd name="T16" fmla="*/ 12 w 90"/>
                <a:gd name="T17" fmla="*/ 12 h 90"/>
                <a:gd name="T18" fmla="*/ 12 w 90"/>
                <a:gd name="T19" fmla="*/ 82 h 90"/>
                <a:gd name="T20" fmla="*/ 12 w 90"/>
                <a:gd name="T21" fmla="*/ 87 h 90"/>
                <a:gd name="T22" fmla="*/ 9 w 90"/>
                <a:gd name="T23" fmla="*/ 88 h 90"/>
                <a:gd name="T24" fmla="*/ 6 w 90"/>
                <a:gd name="T25" fmla="*/ 90 h 90"/>
                <a:gd name="T26" fmla="*/ 3 w 90"/>
                <a:gd name="T27" fmla="*/ 88 h 90"/>
                <a:gd name="T28" fmla="*/ 0 w 90"/>
                <a:gd name="T29" fmla="*/ 87 h 90"/>
                <a:gd name="T30" fmla="*/ 0 w 90"/>
                <a:gd name="T31" fmla="*/ 82 h 90"/>
                <a:gd name="T32" fmla="*/ 0 w 90"/>
                <a:gd name="T33" fmla="*/ 6 h 90"/>
                <a:gd name="T34" fmla="*/ 0 w 90"/>
                <a:gd name="T35" fmla="*/ 3 h 90"/>
                <a:gd name="T36" fmla="*/ 3 w 90"/>
                <a:gd name="T37" fmla="*/ 0 h 90"/>
                <a:gd name="T38" fmla="*/ 6 w 90"/>
                <a:gd name="T3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90">
                  <a:moveTo>
                    <a:pt x="6" y="0"/>
                  </a:moveTo>
                  <a:lnTo>
                    <a:pt x="83" y="0"/>
                  </a:lnTo>
                  <a:lnTo>
                    <a:pt x="87" y="0"/>
                  </a:lnTo>
                  <a:lnTo>
                    <a:pt x="89" y="3"/>
                  </a:lnTo>
                  <a:lnTo>
                    <a:pt x="90" y="6"/>
                  </a:lnTo>
                  <a:lnTo>
                    <a:pt x="89" y="9"/>
                  </a:lnTo>
                  <a:lnTo>
                    <a:pt x="87" y="12"/>
                  </a:lnTo>
                  <a:lnTo>
                    <a:pt x="83" y="12"/>
                  </a:lnTo>
                  <a:lnTo>
                    <a:pt x="12" y="12"/>
                  </a:lnTo>
                  <a:lnTo>
                    <a:pt x="12" y="82"/>
                  </a:lnTo>
                  <a:lnTo>
                    <a:pt x="12" y="87"/>
                  </a:lnTo>
                  <a:lnTo>
                    <a:pt x="9" y="88"/>
                  </a:lnTo>
                  <a:lnTo>
                    <a:pt x="6" y="90"/>
                  </a:lnTo>
                  <a:lnTo>
                    <a:pt x="3" y="88"/>
                  </a:lnTo>
                  <a:lnTo>
                    <a:pt x="0" y="87"/>
                  </a:lnTo>
                  <a:lnTo>
                    <a:pt x="0" y="82"/>
                  </a:lnTo>
                  <a:lnTo>
                    <a:pt x="0" y="6"/>
                  </a:lnTo>
                  <a:lnTo>
                    <a:pt x="0" y="3"/>
                  </a:lnTo>
                  <a:lnTo>
                    <a:pt x="3" y="0"/>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21" name="Freeform 6420">
              <a:extLst>
                <a:ext uri="{FF2B5EF4-FFF2-40B4-BE49-F238E27FC236}">
                  <a16:creationId xmlns="" xmlns:a16="http://schemas.microsoft.com/office/drawing/2014/main" id="{4A01475A-698A-4FC9-BB99-F8F02F7C314A}"/>
                </a:ext>
              </a:extLst>
            </p:cNvPr>
            <p:cNvSpPr>
              <a:spLocks noEditPoints="1"/>
            </p:cNvSpPr>
            <p:nvPr/>
          </p:nvSpPr>
          <p:spPr bwMode="auto">
            <a:xfrm>
              <a:off x="1866755" y="5003482"/>
              <a:ext cx="348239" cy="428260"/>
            </a:xfrm>
            <a:custGeom>
              <a:avLst/>
              <a:gdLst>
                <a:gd name="T0" fmla="*/ 25 w 235"/>
                <a:gd name="T1" fmla="*/ 26 h 289"/>
                <a:gd name="T2" fmla="*/ 25 w 235"/>
                <a:gd name="T3" fmla="*/ 263 h 289"/>
                <a:gd name="T4" fmla="*/ 141 w 235"/>
                <a:gd name="T5" fmla="*/ 263 h 289"/>
                <a:gd name="T6" fmla="*/ 210 w 235"/>
                <a:gd name="T7" fmla="*/ 194 h 289"/>
                <a:gd name="T8" fmla="*/ 210 w 235"/>
                <a:gd name="T9" fmla="*/ 26 h 289"/>
                <a:gd name="T10" fmla="*/ 25 w 235"/>
                <a:gd name="T11" fmla="*/ 26 h 289"/>
                <a:gd name="T12" fmla="*/ 13 w 235"/>
                <a:gd name="T13" fmla="*/ 0 h 289"/>
                <a:gd name="T14" fmla="*/ 222 w 235"/>
                <a:gd name="T15" fmla="*/ 0 h 289"/>
                <a:gd name="T16" fmla="*/ 228 w 235"/>
                <a:gd name="T17" fmla="*/ 0 h 289"/>
                <a:gd name="T18" fmla="*/ 231 w 235"/>
                <a:gd name="T19" fmla="*/ 3 h 289"/>
                <a:gd name="T20" fmla="*/ 234 w 235"/>
                <a:gd name="T21" fmla="*/ 8 h 289"/>
                <a:gd name="T22" fmla="*/ 235 w 235"/>
                <a:gd name="T23" fmla="*/ 12 h 289"/>
                <a:gd name="T24" fmla="*/ 235 w 235"/>
                <a:gd name="T25" fmla="*/ 199 h 289"/>
                <a:gd name="T26" fmla="*/ 234 w 235"/>
                <a:gd name="T27" fmla="*/ 203 h 289"/>
                <a:gd name="T28" fmla="*/ 231 w 235"/>
                <a:gd name="T29" fmla="*/ 208 h 289"/>
                <a:gd name="T30" fmla="*/ 154 w 235"/>
                <a:gd name="T31" fmla="*/ 284 h 289"/>
                <a:gd name="T32" fmla="*/ 150 w 235"/>
                <a:gd name="T33" fmla="*/ 287 h 289"/>
                <a:gd name="T34" fmla="*/ 145 w 235"/>
                <a:gd name="T35" fmla="*/ 289 h 289"/>
                <a:gd name="T36" fmla="*/ 13 w 235"/>
                <a:gd name="T37" fmla="*/ 289 h 289"/>
                <a:gd name="T38" fmla="*/ 9 w 235"/>
                <a:gd name="T39" fmla="*/ 287 h 289"/>
                <a:gd name="T40" fmla="*/ 4 w 235"/>
                <a:gd name="T41" fmla="*/ 284 h 289"/>
                <a:gd name="T42" fmla="*/ 1 w 235"/>
                <a:gd name="T43" fmla="*/ 281 h 289"/>
                <a:gd name="T44" fmla="*/ 0 w 235"/>
                <a:gd name="T45" fmla="*/ 275 h 289"/>
                <a:gd name="T46" fmla="*/ 0 w 235"/>
                <a:gd name="T47" fmla="*/ 12 h 289"/>
                <a:gd name="T48" fmla="*/ 1 w 235"/>
                <a:gd name="T49" fmla="*/ 8 h 289"/>
                <a:gd name="T50" fmla="*/ 4 w 235"/>
                <a:gd name="T51" fmla="*/ 3 h 289"/>
                <a:gd name="T52" fmla="*/ 9 w 235"/>
                <a:gd name="T53" fmla="*/ 0 h 289"/>
                <a:gd name="T54" fmla="*/ 13 w 235"/>
                <a:gd name="T55" fmla="*/ 0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5" h="289">
                  <a:moveTo>
                    <a:pt x="25" y="26"/>
                  </a:moveTo>
                  <a:lnTo>
                    <a:pt x="25" y="263"/>
                  </a:lnTo>
                  <a:lnTo>
                    <a:pt x="141" y="263"/>
                  </a:lnTo>
                  <a:lnTo>
                    <a:pt x="210" y="194"/>
                  </a:lnTo>
                  <a:lnTo>
                    <a:pt x="210" y="26"/>
                  </a:lnTo>
                  <a:lnTo>
                    <a:pt x="25" y="26"/>
                  </a:lnTo>
                  <a:close/>
                  <a:moveTo>
                    <a:pt x="13" y="0"/>
                  </a:moveTo>
                  <a:lnTo>
                    <a:pt x="222" y="0"/>
                  </a:lnTo>
                  <a:lnTo>
                    <a:pt x="228" y="0"/>
                  </a:lnTo>
                  <a:lnTo>
                    <a:pt x="231" y="3"/>
                  </a:lnTo>
                  <a:lnTo>
                    <a:pt x="234" y="8"/>
                  </a:lnTo>
                  <a:lnTo>
                    <a:pt x="235" y="12"/>
                  </a:lnTo>
                  <a:lnTo>
                    <a:pt x="235" y="199"/>
                  </a:lnTo>
                  <a:lnTo>
                    <a:pt x="234" y="203"/>
                  </a:lnTo>
                  <a:lnTo>
                    <a:pt x="231" y="208"/>
                  </a:lnTo>
                  <a:lnTo>
                    <a:pt x="154" y="284"/>
                  </a:lnTo>
                  <a:lnTo>
                    <a:pt x="150" y="287"/>
                  </a:lnTo>
                  <a:lnTo>
                    <a:pt x="145" y="289"/>
                  </a:lnTo>
                  <a:lnTo>
                    <a:pt x="13" y="289"/>
                  </a:lnTo>
                  <a:lnTo>
                    <a:pt x="9" y="287"/>
                  </a:lnTo>
                  <a:lnTo>
                    <a:pt x="4" y="284"/>
                  </a:lnTo>
                  <a:lnTo>
                    <a:pt x="1" y="281"/>
                  </a:lnTo>
                  <a:lnTo>
                    <a:pt x="0" y="275"/>
                  </a:lnTo>
                  <a:lnTo>
                    <a:pt x="0" y="12"/>
                  </a:lnTo>
                  <a:lnTo>
                    <a:pt x="1" y="8"/>
                  </a:lnTo>
                  <a:lnTo>
                    <a:pt x="4" y="3"/>
                  </a:lnTo>
                  <a:lnTo>
                    <a:pt x="9" y="0"/>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22" name="Freeform 6421">
              <a:extLst>
                <a:ext uri="{FF2B5EF4-FFF2-40B4-BE49-F238E27FC236}">
                  <a16:creationId xmlns="" xmlns:a16="http://schemas.microsoft.com/office/drawing/2014/main" id="{1AE47A1C-9C22-4740-A232-80ED459FEC98}"/>
                </a:ext>
              </a:extLst>
            </p:cNvPr>
            <p:cNvSpPr>
              <a:spLocks/>
            </p:cNvSpPr>
            <p:nvPr/>
          </p:nvSpPr>
          <p:spPr bwMode="auto">
            <a:xfrm>
              <a:off x="1939367" y="5083503"/>
              <a:ext cx="131887" cy="20746"/>
            </a:xfrm>
            <a:custGeom>
              <a:avLst/>
              <a:gdLst>
                <a:gd name="T0" fmla="*/ 8 w 89"/>
                <a:gd name="T1" fmla="*/ 0 h 14"/>
                <a:gd name="T2" fmla="*/ 83 w 89"/>
                <a:gd name="T3" fmla="*/ 0 h 14"/>
                <a:gd name="T4" fmla="*/ 86 w 89"/>
                <a:gd name="T5" fmla="*/ 2 h 14"/>
                <a:gd name="T6" fmla="*/ 89 w 89"/>
                <a:gd name="T7" fmla="*/ 3 h 14"/>
                <a:gd name="T8" fmla="*/ 89 w 89"/>
                <a:gd name="T9" fmla="*/ 6 h 14"/>
                <a:gd name="T10" fmla="*/ 89 w 89"/>
                <a:gd name="T11" fmla="*/ 11 h 14"/>
                <a:gd name="T12" fmla="*/ 86 w 89"/>
                <a:gd name="T13" fmla="*/ 12 h 14"/>
                <a:gd name="T14" fmla="*/ 83 w 89"/>
                <a:gd name="T15" fmla="*/ 14 h 14"/>
                <a:gd name="T16" fmla="*/ 8 w 89"/>
                <a:gd name="T17" fmla="*/ 14 h 14"/>
                <a:gd name="T18" fmla="*/ 5 w 89"/>
                <a:gd name="T19" fmla="*/ 12 h 14"/>
                <a:gd name="T20" fmla="*/ 2 w 89"/>
                <a:gd name="T21" fmla="*/ 11 h 14"/>
                <a:gd name="T22" fmla="*/ 0 w 89"/>
                <a:gd name="T23" fmla="*/ 6 h 14"/>
                <a:gd name="T24" fmla="*/ 2 w 89"/>
                <a:gd name="T25" fmla="*/ 3 h 14"/>
                <a:gd name="T26" fmla="*/ 5 w 89"/>
                <a:gd name="T27" fmla="*/ 2 h 14"/>
                <a:gd name="T28" fmla="*/ 8 w 89"/>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14">
                  <a:moveTo>
                    <a:pt x="8" y="0"/>
                  </a:moveTo>
                  <a:lnTo>
                    <a:pt x="83" y="0"/>
                  </a:lnTo>
                  <a:lnTo>
                    <a:pt x="86" y="2"/>
                  </a:lnTo>
                  <a:lnTo>
                    <a:pt x="89" y="3"/>
                  </a:lnTo>
                  <a:lnTo>
                    <a:pt x="89" y="6"/>
                  </a:lnTo>
                  <a:lnTo>
                    <a:pt x="89" y="11"/>
                  </a:lnTo>
                  <a:lnTo>
                    <a:pt x="86" y="12"/>
                  </a:lnTo>
                  <a:lnTo>
                    <a:pt x="83" y="14"/>
                  </a:lnTo>
                  <a:lnTo>
                    <a:pt x="8" y="14"/>
                  </a:lnTo>
                  <a:lnTo>
                    <a:pt x="5" y="12"/>
                  </a:lnTo>
                  <a:lnTo>
                    <a:pt x="2" y="11"/>
                  </a:lnTo>
                  <a:lnTo>
                    <a:pt x="0" y="6"/>
                  </a:lnTo>
                  <a:lnTo>
                    <a:pt x="2" y="3"/>
                  </a:lnTo>
                  <a:lnTo>
                    <a:pt x="5" y="2"/>
                  </a:lnTo>
                  <a:lnTo>
                    <a:pt x="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23" name="Freeform 6422">
              <a:extLst>
                <a:ext uri="{FF2B5EF4-FFF2-40B4-BE49-F238E27FC236}">
                  <a16:creationId xmlns="" xmlns:a16="http://schemas.microsoft.com/office/drawing/2014/main" id="{7E158557-9C7D-4F40-9988-07BF83A166EA}"/>
                </a:ext>
              </a:extLst>
            </p:cNvPr>
            <p:cNvSpPr>
              <a:spLocks/>
            </p:cNvSpPr>
            <p:nvPr/>
          </p:nvSpPr>
          <p:spPr bwMode="auto">
            <a:xfrm>
              <a:off x="1939367" y="5130922"/>
              <a:ext cx="204497" cy="17782"/>
            </a:xfrm>
            <a:custGeom>
              <a:avLst/>
              <a:gdLst>
                <a:gd name="T0" fmla="*/ 8 w 138"/>
                <a:gd name="T1" fmla="*/ 0 h 12"/>
                <a:gd name="T2" fmla="*/ 132 w 138"/>
                <a:gd name="T3" fmla="*/ 0 h 12"/>
                <a:gd name="T4" fmla="*/ 135 w 138"/>
                <a:gd name="T5" fmla="*/ 0 h 12"/>
                <a:gd name="T6" fmla="*/ 138 w 138"/>
                <a:gd name="T7" fmla="*/ 3 h 12"/>
                <a:gd name="T8" fmla="*/ 138 w 138"/>
                <a:gd name="T9" fmla="*/ 6 h 12"/>
                <a:gd name="T10" fmla="*/ 138 w 138"/>
                <a:gd name="T11" fmla="*/ 9 h 12"/>
                <a:gd name="T12" fmla="*/ 135 w 138"/>
                <a:gd name="T13" fmla="*/ 12 h 12"/>
                <a:gd name="T14" fmla="*/ 132 w 138"/>
                <a:gd name="T15" fmla="*/ 12 h 12"/>
                <a:gd name="T16" fmla="*/ 8 w 138"/>
                <a:gd name="T17" fmla="*/ 12 h 12"/>
                <a:gd name="T18" fmla="*/ 5 w 138"/>
                <a:gd name="T19" fmla="*/ 12 h 12"/>
                <a:gd name="T20" fmla="*/ 2 w 138"/>
                <a:gd name="T21" fmla="*/ 9 h 12"/>
                <a:gd name="T22" fmla="*/ 0 w 138"/>
                <a:gd name="T23" fmla="*/ 6 h 12"/>
                <a:gd name="T24" fmla="*/ 2 w 138"/>
                <a:gd name="T25" fmla="*/ 3 h 12"/>
                <a:gd name="T26" fmla="*/ 5 w 138"/>
                <a:gd name="T27" fmla="*/ 0 h 12"/>
                <a:gd name="T28" fmla="*/ 8 w 138"/>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12">
                  <a:moveTo>
                    <a:pt x="8" y="0"/>
                  </a:moveTo>
                  <a:lnTo>
                    <a:pt x="132" y="0"/>
                  </a:lnTo>
                  <a:lnTo>
                    <a:pt x="135" y="0"/>
                  </a:lnTo>
                  <a:lnTo>
                    <a:pt x="138" y="3"/>
                  </a:lnTo>
                  <a:lnTo>
                    <a:pt x="138" y="6"/>
                  </a:lnTo>
                  <a:lnTo>
                    <a:pt x="138" y="9"/>
                  </a:lnTo>
                  <a:lnTo>
                    <a:pt x="135" y="12"/>
                  </a:lnTo>
                  <a:lnTo>
                    <a:pt x="132" y="12"/>
                  </a:lnTo>
                  <a:lnTo>
                    <a:pt x="8" y="12"/>
                  </a:lnTo>
                  <a:lnTo>
                    <a:pt x="5" y="12"/>
                  </a:lnTo>
                  <a:lnTo>
                    <a:pt x="2" y="9"/>
                  </a:lnTo>
                  <a:lnTo>
                    <a:pt x="0" y="6"/>
                  </a:lnTo>
                  <a:lnTo>
                    <a:pt x="2" y="3"/>
                  </a:lnTo>
                  <a:lnTo>
                    <a:pt x="5" y="0"/>
                  </a:lnTo>
                  <a:lnTo>
                    <a:pt x="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24" name="Freeform 6423">
              <a:extLst>
                <a:ext uri="{FF2B5EF4-FFF2-40B4-BE49-F238E27FC236}">
                  <a16:creationId xmlns="" xmlns:a16="http://schemas.microsoft.com/office/drawing/2014/main" id="{D876CD98-409F-4442-9327-5BE80BEACBF0}"/>
                </a:ext>
              </a:extLst>
            </p:cNvPr>
            <p:cNvSpPr>
              <a:spLocks/>
            </p:cNvSpPr>
            <p:nvPr/>
          </p:nvSpPr>
          <p:spPr bwMode="auto">
            <a:xfrm>
              <a:off x="1939367" y="5175378"/>
              <a:ext cx="204497" cy="20746"/>
            </a:xfrm>
            <a:custGeom>
              <a:avLst/>
              <a:gdLst>
                <a:gd name="T0" fmla="*/ 8 w 138"/>
                <a:gd name="T1" fmla="*/ 0 h 14"/>
                <a:gd name="T2" fmla="*/ 132 w 138"/>
                <a:gd name="T3" fmla="*/ 0 h 14"/>
                <a:gd name="T4" fmla="*/ 135 w 138"/>
                <a:gd name="T5" fmla="*/ 2 h 14"/>
                <a:gd name="T6" fmla="*/ 138 w 138"/>
                <a:gd name="T7" fmla="*/ 5 h 14"/>
                <a:gd name="T8" fmla="*/ 138 w 138"/>
                <a:gd name="T9" fmla="*/ 8 h 14"/>
                <a:gd name="T10" fmla="*/ 138 w 138"/>
                <a:gd name="T11" fmla="*/ 11 h 14"/>
                <a:gd name="T12" fmla="*/ 135 w 138"/>
                <a:gd name="T13" fmla="*/ 12 h 14"/>
                <a:gd name="T14" fmla="*/ 132 w 138"/>
                <a:gd name="T15" fmla="*/ 14 h 14"/>
                <a:gd name="T16" fmla="*/ 8 w 138"/>
                <a:gd name="T17" fmla="*/ 14 h 14"/>
                <a:gd name="T18" fmla="*/ 5 w 138"/>
                <a:gd name="T19" fmla="*/ 12 h 14"/>
                <a:gd name="T20" fmla="*/ 2 w 138"/>
                <a:gd name="T21" fmla="*/ 11 h 14"/>
                <a:gd name="T22" fmla="*/ 0 w 138"/>
                <a:gd name="T23" fmla="*/ 8 h 14"/>
                <a:gd name="T24" fmla="*/ 2 w 138"/>
                <a:gd name="T25" fmla="*/ 5 h 14"/>
                <a:gd name="T26" fmla="*/ 5 w 138"/>
                <a:gd name="T27" fmla="*/ 2 h 14"/>
                <a:gd name="T28" fmla="*/ 8 w 138"/>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14">
                  <a:moveTo>
                    <a:pt x="8" y="0"/>
                  </a:moveTo>
                  <a:lnTo>
                    <a:pt x="132" y="0"/>
                  </a:lnTo>
                  <a:lnTo>
                    <a:pt x="135" y="2"/>
                  </a:lnTo>
                  <a:lnTo>
                    <a:pt x="138" y="5"/>
                  </a:lnTo>
                  <a:lnTo>
                    <a:pt x="138" y="8"/>
                  </a:lnTo>
                  <a:lnTo>
                    <a:pt x="138" y="11"/>
                  </a:lnTo>
                  <a:lnTo>
                    <a:pt x="135" y="12"/>
                  </a:lnTo>
                  <a:lnTo>
                    <a:pt x="132" y="14"/>
                  </a:lnTo>
                  <a:lnTo>
                    <a:pt x="8" y="14"/>
                  </a:lnTo>
                  <a:lnTo>
                    <a:pt x="5" y="12"/>
                  </a:lnTo>
                  <a:lnTo>
                    <a:pt x="2" y="11"/>
                  </a:lnTo>
                  <a:lnTo>
                    <a:pt x="0" y="8"/>
                  </a:lnTo>
                  <a:lnTo>
                    <a:pt x="2" y="5"/>
                  </a:lnTo>
                  <a:lnTo>
                    <a:pt x="5" y="2"/>
                  </a:lnTo>
                  <a:lnTo>
                    <a:pt x="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25" name="Freeform 6424">
              <a:extLst>
                <a:ext uri="{FF2B5EF4-FFF2-40B4-BE49-F238E27FC236}">
                  <a16:creationId xmlns="" xmlns:a16="http://schemas.microsoft.com/office/drawing/2014/main" id="{EBA05C2C-127B-4D95-B08D-E8E96F39CFD4}"/>
                </a:ext>
              </a:extLst>
            </p:cNvPr>
            <p:cNvSpPr>
              <a:spLocks/>
            </p:cNvSpPr>
            <p:nvPr/>
          </p:nvSpPr>
          <p:spPr bwMode="auto">
            <a:xfrm>
              <a:off x="1939367" y="5222798"/>
              <a:ext cx="97803" cy="19265"/>
            </a:xfrm>
            <a:custGeom>
              <a:avLst/>
              <a:gdLst>
                <a:gd name="T0" fmla="*/ 8 w 66"/>
                <a:gd name="T1" fmla="*/ 0 h 13"/>
                <a:gd name="T2" fmla="*/ 60 w 66"/>
                <a:gd name="T3" fmla="*/ 0 h 13"/>
                <a:gd name="T4" fmla="*/ 63 w 66"/>
                <a:gd name="T5" fmla="*/ 1 h 13"/>
                <a:gd name="T6" fmla="*/ 65 w 66"/>
                <a:gd name="T7" fmla="*/ 3 h 13"/>
                <a:gd name="T8" fmla="*/ 66 w 66"/>
                <a:gd name="T9" fmla="*/ 6 h 13"/>
                <a:gd name="T10" fmla="*/ 65 w 66"/>
                <a:gd name="T11" fmla="*/ 10 h 13"/>
                <a:gd name="T12" fmla="*/ 63 w 66"/>
                <a:gd name="T13" fmla="*/ 12 h 13"/>
                <a:gd name="T14" fmla="*/ 60 w 66"/>
                <a:gd name="T15" fmla="*/ 13 h 13"/>
                <a:gd name="T16" fmla="*/ 8 w 66"/>
                <a:gd name="T17" fmla="*/ 13 h 13"/>
                <a:gd name="T18" fmla="*/ 5 w 66"/>
                <a:gd name="T19" fmla="*/ 12 h 13"/>
                <a:gd name="T20" fmla="*/ 2 w 66"/>
                <a:gd name="T21" fmla="*/ 10 h 13"/>
                <a:gd name="T22" fmla="*/ 0 w 66"/>
                <a:gd name="T23" fmla="*/ 6 h 13"/>
                <a:gd name="T24" fmla="*/ 2 w 66"/>
                <a:gd name="T25" fmla="*/ 3 h 13"/>
                <a:gd name="T26" fmla="*/ 5 w 66"/>
                <a:gd name="T27" fmla="*/ 1 h 13"/>
                <a:gd name="T28" fmla="*/ 8 w 66"/>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13">
                  <a:moveTo>
                    <a:pt x="8" y="0"/>
                  </a:moveTo>
                  <a:lnTo>
                    <a:pt x="60" y="0"/>
                  </a:lnTo>
                  <a:lnTo>
                    <a:pt x="63" y="1"/>
                  </a:lnTo>
                  <a:lnTo>
                    <a:pt x="65" y="3"/>
                  </a:lnTo>
                  <a:lnTo>
                    <a:pt x="66" y="6"/>
                  </a:lnTo>
                  <a:lnTo>
                    <a:pt x="65" y="10"/>
                  </a:lnTo>
                  <a:lnTo>
                    <a:pt x="63" y="12"/>
                  </a:lnTo>
                  <a:lnTo>
                    <a:pt x="60" y="13"/>
                  </a:lnTo>
                  <a:lnTo>
                    <a:pt x="8" y="13"/>
                  </a:lnTo>
                  <a:lnTo>
                    <a:pt x="5" y="12"/>
                  </a:lnTo>
                  <a:lnTo>
                    <a:pt x="2" y="10"/>
                  </a:lnTo>
                  <a:lnTo>
                    <a:pt x="0" y="6"/>
                  </a:lnTo>
                  <a:lnTo>
                    <a:pt x="2" y="3"/>
                  </a:lnTo>
                  <a:lnTo>
                    <a:pt x="5" y="1"/>
                  </a:lnTo>
                  <a:lnTo>
                    <a:pt x="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26" name="Freeform 6425">
              <a:extLst>
                <a:ext uri="{FF2B5EF4-FFF2-40B4-BE49-F238E27FC236}">
                  <a16:creationId xmlns="" xmlns:a16="http://schemas.microsoft.com/office/drawing/2014/main" id="{D354AA8A-15AD-4851-AE99-1A6E4E888AC0}"/>
                </a:ext>
              </a:extLst>
            </p:cNvPr>
            <p:cNvSpPr>
              <a:spLocks/>
            </p:cNvSpPr>
            <p:nvPr/>
          </p:nvSpPr>
          <p:spPr bwMode="auto">
            <a:xfrm>
              <a:off x="1884538" y="5016819"/>
              <a:ext cx="130404" cy="20746"/>
            </a:xfrm>
            <a:custGeom>
              <a:avLst/>
              <a:gdLst>
                <a:gd name="T0" fmla="*/ 6 w 88"/>
                <a:gd name="T1" fmla="*/ 0 h 14"/>
                <a:gd name="T2" fmla="*/ 81 w 88"/>
                <a:gd name="T3" fmla="*/ 0 h 14"/>
                <a:gd name="T4" fmla="*/ 84 w 88"/>
                <a:gd name="T5" fmla="*/ 2 h 14"/>
                <a:gd name="T6" fmla="*/ 87 w 88"/>
                <a:gd name="T7" fmla="*/ 3 h 14"/>
                <a:gd name="T8" fmla="*/ 88 w 88"/>
                <a:gd name="T9" fmla="*/ 8 h 14"/>
                <a:gd name="T10" fmla="*/ 87 w 88"/>
                <a:gd name="T11" fmla="*/ 11 h 14"/>
                <a:gd name="T12" fmla="*/ 84 w 88"/>
                <a:gd name="T13" fmla="*/ 12 h 14"/>
                <a:gd name="T14" fmla="*/ 81 w 88"/>
                <a:gd name="T15" fmla="*/ 14 h 14"/>
                <a:gd name="T16" fmla="*/ 6 w 88"/>
                <a:gd name="T17" fmla="*/ 14 h 14"/>
                <a:gd name="T18" fmla="*/ 3 w 88"/>
                <a:gd name="T19" fmla="*/ 12 h 14"/>
                <a:gd name="T20" fmla="*/ 0 w 88"/>
                <a:gd name="T21" fmla="*/ 11 h 14"/>
                <a:gd name="T22" fmla="*/ 0 w 88"/>
                <a:gd name="T23" fmla="*/ 8 h 14"/>
                <a:gd name="T24" fmla="*/ 0 w 88"/>
                <a:gd name="T25" fmla="*/ 3 h 14"/>
                <a:gd name="T26" fmla="*/ 3 w 88"/>
                <a:gd name="T27" fmla="*/ 2 h 14"/>
                <a:gd name="T28" fmla="*/ 6 w 88"/>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4">
                  <a:moveTo>
                    <a:pt x="6" y="0"/>
                  </a:moveTo>
                  <a:lnTo>
                    <a:pt x="81" y="0"/>
                  </a:lnTo>
                  <a:lnTo>
                    <a:pt x="84" y="2"/>
                  </a:lnTo>
                  <a:lnTo>
                    <a:pt x="87" y="3"/>
                  </a:lnTo>
                  <a:lnTo>
                    <a:pt x="88" y="8"/>
                  </a:lnTo>
                  <a:lnTo>
                    <a:pt x="87" y="11"/>
                  </a:lnTo>
                  <a:lnTo>
                    <a:pt x="84" y="12"/>
                  </a:lnTo>
                  <a:lnTo>
                    <a:pt x="81" y="14"/>
                  </a:lnTo>
                  <a:lnTo>
                    <a:pt x="6" y="14"/>
                  </a:lnTo>
                  <a:lnTo>
                    <a:pt x="3" y="12"/>
                  </a:lnTo>
                  <a:lnTo>
                    <a:pt x="0" y="11"/>
                  </a:lnTo>
                  <a:lnTo>
                    <a:pt x="0" y="8"/>
                  </a:lnTo>
                  <a:lnTo>
                    <a:pt x="0" y="3"/>
                  </a:lnTo>
                  <a:lnTo>
                    <a:pt x="3" y="2"/>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sp>
          <p:nvSpPr>
            <p:cNvPr id="227" name="Freeform 6426">
              <a:extLst>
                <a:ext uri="{FF2B5EF4-FFF2-40B4-BE49-F238E27FC236}">
                  <a16:creationId xmlns="" xmlns:a16="http://schemas.microsoft.com/office/drawing/2014/main" id="{C7BAF9BA-A282-4ABF-A9D3-3E6B3DB8E36E}"/>
                </a:ext>
              </a:extLst>
            </p:cNvPr>
            <p:cNvSpPr>
              <a:spLocks/>
            </p:cNvSpPr>
            <p:nvPr/>
          </p:nvSpPr>
          <p:spPr bwMode="auto">
            <a:xfrm>
              <a:off x="1813408" y="4945690"/>
              <a:ext cx="348239" cy="441596"/>
            </a:xfrm>
            <a:custGeom>
              <a:avLst/>
              <a:gdLst>
                <a:gd name="T0" fmla="*/ 25 w 235"/>
                <a:gd name="T1" fmla="*/ 0 h 298"/>
                <a:gd name="T2" fmla="*/ 222 w 235"/>
                <a:gd name="T3" fmla="*/ 0 h 298"/>
                <a:gd name="T4" fmla="*/ 228 w 235"/>
                <a:gd name="T5" fmla="*/ 2 h 298"/>
                <a:gd name="T6" fmla="*/ 231 w 235"/>
                <a:gd name="T7" fmla="*/ 5 h 298"/>
                <a:gd name="T8" fmla="*/ 234 w 235"/>
                <a:gd name="T9" fmla="*/ 8 h 298"/>
                <a:gd name="T10" fmla="*/ 235 w 235"/>
                <a:gd name="T11" fmla="*/ 14 h 298"/>
                <a:gd name="T12" fmla="*/ 234 w 235"/>
                <a:gd name="T13" fmla="*/ 18 h 298"/>
                <a:gd name="T14" fmla="*/ 231 w 235"/>
                <a:gd name="T15" fmla="*/ 23 h 298"/>
                <a:gd name="T16" fmla="*/ 228 w 235"/>
                <a:gd name="T17" fmla="*/ 26 h 298"/>
                <a:gd name="T18" fmla="*/ 222 w 235"/>
                <a:gd name="T19" fmla="*/ 26 h 298"/>
                <a:gd name="T20" fmla="*/ 25 w 235"/>
                <a:gd name="T21" fmla="*/ 26 h 298"/>
                <a:gd name="T22" fmla="*/ 25 w 235"/>
                <a:gd name="T23" fmla="*/ 284 h 298"/>
                <a:gd name="T24" fmla="*/ 25 w 235"/>
                <a:gd name="T25" fmla="*/ 290 h 298"/>
                <a:gd name="T26" fmla="*/ 22 w 235"/>
                <a:gd name="T27" fmla="*/ 293 h 298"/>
                <a:gd name="T28" fmla="*/ 18 w 235"/>
                <a:gd name="T29" fmla="*/ 296 h 298"/>
                <a:gd name="T30" fmla="*/ 13 w 235"/>
                <a:gd name="T31" fmla="*/ 298 h 298"/>
                <a:gd name="T32" fmla="*/ 7 w 235"/>
                <a:gd name="T33" fmla="*/ 296 h 298"/>
                <a:gd name="T34" fmla="*/ 4 w 235"/>
                <a:gd name="T35" fmla="*/ 293 h 298"/>
                <a:gd name="T36" fmla="*/ 1 w 235"/>
                <a:gd name="T37" fmla="*/ 290 h 298"/>
                <a:gd name="T38" fmla="*/ 0 w 235"/>
                <a:gd name="T39" fmla="*/ 284 h 298"/>
                <a:gd name="T40" fmla="*/ 0 w 235"/>
                <a:gd name="T41" fmla="*/ 26 h 298"/>
                <a:gd name="T42" fmla="*/ 4 w 235"/>
                <a:gd name="T43" fmla="*/ 14 h 298"/>
                <a:gd name="T44" fmla="*/ 13 w 235"/>
                <a:gd name="T45" fmla="*/ 3 h 298"/>
                <a:gd name="T46" fmla="*/ 25 w 235"/>
                <a:gd name="T47"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5" h="298">
                  <a:moveTo>
                    <a:pt x="25" y="0"/>
                  </a:moveTo>
                  <a:lnTo>
                    <a:pt x="222" y="0"/>
                  </a:lnTo>
                  <a:lnTo>
                    <a:pt x="228" y="2"/>
                  </a:lnTo>
                  <a:lnTo>
                    <a:pt x="231" y="5"/>
                  </a:lnTo>
                  <a:lnTo>
                    <a:pt x="234" y="8"/>
                  </a:lnTo>
                  <a:lnTo>
                    <a:pt x="235" y="14"/>
                  </a:lnTo>
                  <a:lnTo>
                    <a:pt x="234" y="18"/>
                  </a:lnTo>
                  <a:lnTo>
                    <a:pt x="231" y="23"/>
                  </a:lnTo>
                  <a:lnTo>
                    <a:pt x="228" y="26"/>
                  </a:lnTo>
                  <a:lnTo>
                    <a:pt x="222" y="26"/>
                  </a:lnTo>
                  <a:lnTo>
                    <a:pt x="25" y="26"/>
                  </a:lnTo>
                  <a:lnTo>
                    <a:pt x="25" y="284"/>
                  </a:lnTo>
                  <a:lnTo>
                    <a:pt x="25" y="290"/>
                  </a:lnTo>
                  <a:lnTo>
                    <a:pt x="22" y="293"/>
                  </a:lnTo>
                  <a:lnTo>
                    <a:pt x="18" y="296"/>
                  </a:lnTo>
                  <a:lnTo>
                    <a:pt x="13" y="298"/>
                  </a:lnTo>
                  <a:lnTo>
                    <a:pt x="7" y="296"/>
                  </a:lnTo>
                  <a:lnTo>
                    <a:pt x="4" y="293"/>
                  </a:lnTo>
                  <a:lnTo>
                    <a:pt x="1" y="290"/>
                  </a:lnTo>
                  <a:lnTo>
                    <a:pt x="0" y="284"/>
                  </a:lnTo>
                  <a:lnTo>
                    <a:pt x="0" y="26"/>
                  </a:lnTo>
                  <a:lnTo>
                    <a:pt x="4" y="14"/>
                  </a:lnTo>
                  <a:lnTo>
                    <a:pt x="13" y="3"/>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srgbClr val="404041"/>
                </a:solidFill>
                <a:effectLst/>
                <a:uLnTx/>
                <a:uFillTx/>
                <a:latin typeface="Calibri"/>
                <a:ea typeface="+mn-ea"/>
                <a:cs typeface="+mn-cs"/>
              </a:endParaRPr>
            </a:p>
          </p:txBody>
        </p:sp>
      </p:grpSp>
      <p:pic>
        <p:nvPicPr>
          <p:cNvPr id="111" name="Picture 110"/>
          <p:cNvPicPr>
            <a:picLocks noChangeAspect="1"/>
          </p:cNvPicPr>
          <p:nvPr/>
        </p:nvPicPr>
        <p:blipFill>
          <a:blip r:embed="rId5"/>
          <a:stretch>
            <a:fillRect/>
          </a:stretch>
        </p:blipFill>
        <p:spPr>
          <a:xfrm>
            <a:off x="76200" y="6629400"/>
            <a:ext cx="4619050" cy="195171"/>
          </a:xfrm>
          <a:prstGeom prst="rect">
            <a:avLst/>
          </a:prstGeom>
        </p:spPr>
      </p:pic>
    </p:spTree>
    <p:extLst>
      <p:ext uri="{BB962C8B-B14F-4D97-AF65-F5344CB8AC3E}">
        <p14:creationId xmlns:p14="http://schemas.microsoft.com/office/powerpoint/2010/main" val="4136741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after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750" fill="hold"/>
                                        <p:tgtEl>
                                          <p:spTgt spid="41"/>
                                        </p:tgtEl>
                                        <p:attrNameLst>
                                          <p:attrName>ppt_x</p:attrName>
                                        </p:attrNameLst>
                                      </p:cBhvr>
                                      <p:tavLst>
                                        <p:tav tm="0">
                                          <p:val>
                                            <p:strVal val="#ppt_x"/>
                                          </p:val>
                                        </p:tav>
                                        <p:tav tm="100000">
                                          <p:val>
                                            <p:strVal val="#ppt_x"/>
                                          </p:val>
                                        </p:tav>
                                      </p:tavLst>
                                    </p:anim>
                                    <p:anim calcmode="lin" valueType="num">
                                      <p:cBhvr additive="base">
                                        <p:cTn id="8" dur="750" fill="hold"/>
                                        <p:tgtEl>
                                          <p:spTgt spid="41"/>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40"/>
                                        </p:tgtEl>
                                        <p:attrNameLst>
                                          <p:attrName>style.visibility</p:attrName>
                                        </p:attrNameLst>
                                      </p:cBhvr>
                                      <p:to>
                                        <p:strVal val="visible"/>
                                      </p:to>
                                    </p:set>
                                    <p:animEffect transition="in" filter="fade">
                                      <p:cBhvr>
                                        <p:cTn id="11" dur="500"/>
                                        <p:tgtEl>
                                          <p:spTgt spid="40"/>
                                        </p:tgtEl>
                                      </p:cBhvr>
                                    </p:animEffect>
                                  </p:childTnLst>
                                </p:cTn>
                              </p:par>
                              <p:par>
                                <p:cTn id="12" presetID="21" presetClass="entr" presetSubtype="1" fill="hold" grpId="0" nodeType="with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wheel(1)">
                                      <p:cBhvr>
                                        <p:cTn id="14" dur="1000"/>
                                        <p:tgtEl>
                                          <p:spTgt spid="7"/>
                                        </p:tgtEl>
                                      </p:cBhvr>
                                    </p:animEffect>
                                  </p:childTnLst>
                                </p:cTn>
                              </p:par>
                              <p:par>
                                <p:cTn id="15" presetID="53" presetClass="entr" presetSubtype="16" fill="hold" nodeType="withEffect">
                                  <p:stCondLst>
                                    <p:cond delay="250"/>
                                  </p:stCondLst>
                                  <p:childTnLst>
                                    <p:set>
                                      <p:cBhvr>
                                        <p:cTn id="16" dur="1" fill="hold">
                                          <p:stCondLst>
                                            <p:cond delay="0"/>
                                          </p:stCondLst>
                                        </p:cTn>
                                        <p:tgtEl>
                                          <p:spTgt spid="9"/>
                                        </p:tgtEl>
                                        <p:attrNameLst>
                                          <p:attrName>style.visibility</p:attrName>
                                        </p:attrNameLst>
                                      </p:cBhvr>
                                      <p:to>
                                        <p:strVal val="visible"/>
                                      </p:to>
                                    </p:set>
                                    <p:anim calcmode="lin" valueType="num">
                                      <p:cBhvr>
                                        <p:cTn id="17" dur="500" fill="hold"/>
                                        <p:tgtEl>
                                          <p:spTgt spid="9"/>
                                        </p:tgtEl>
                                        <p:attrNameLst>
                                          <p:attrName>ppt_w</p:attrName>
                                        </p:attrNameLst>
                                      </p:cBhvr>
                                      <p:tavLst>
                                        <p:tav tm="0">
                                          <p:val>
                                            <p:fltVal val="0"/>
                                          </p:val>
                                        </p:tav>
                                        <p:tav tm="100000">
                                          <p:val>
                                            <p:strVal val="#ppt_w"/>
                                          </p:val>
                                        </p:tav>
                                      </p:tavLst>
                                    </p:anim>
                                    <p:anim calcmode="lin" valueType="num">
                                      <p:cBhvr>
                                        <p:cTn id="18" dur="500" fill="hold"/>
                                        <p:tgtEl>
                                          <p:spTgt spid="9"/>
                                        </p:tgtEl>
                                        <p:attrNameLst>
                                          <p:attrName>ppt_h</p:attrName>
                                        </p:attrNameLst>
                                      </p:cBhvr>
                                      <p:tavLst>
                                        <p:tav tm="0">
                                          <p:val>
                                            <p:fltVal val="0"/>
                                          </p:val>
                                        </p:tav>
                                        <p:tav tm="100000">
                                          <p:val>
                                            <p:strVal val="#ppt_h"/>
                                          </p:val>
                                        </p:tav>
                                      </p:tavLst>
                                    </p:anim>
                                    <p:animEffect transition="in" filter="fade">
                                      <p:cBhvr>
                                        <p:cTn id="19" dur="500"/>
                                        <p:tgtEl>
                                          <p:spTgt spid="9"/>
                                        </p:tgtEl>
                                      </p:cBhvr>
                                    </p:animEffect>
                                  </p:childTnLst>
                                </p:cTn>
                              </p:par>
                              <p:par>
                                <p:cTn id="20" presetID="16" presetClass="entr" presetSubtype="37" fill="hold" nodeType="withEffect">
                                  <p:stCondLst>
                                    <p:cond delay="250"/>
                                  </p:stCondLst>
                                  <p:childTnLst>
                                    <p:set>
                                      <p:cBhvr>
                                        <p:cTn id="21" dur="1" fill="hold">
                                          <p:stCondLst>
                                            <p:cond delay="0"/>
                                          </p:stCondLst>
                                        </p:cTn>
                                        <p:tgtEl>
                                          <p:spTgt spid="51"/>
                                        </p:tgtEl>
                                        <p:attrNameLst>
                                          <p:attrName>style.visibility</p:attrName>
                                        </p:attrNameLst>
                                      </p:cBhvr>
                                      <p:to>
                                        <p:strVal val="visible"/>
                                      </p:to>
                                    </p:set>
                                    <p:animEffect transition="in" filter="barn(outVertical)">
                                      <p:cBhvr>
                                        <p:cTn id="22" dur="500"/>
                                        <p:tgtEl>
                                          <p:spTgt spid="51"/>
                                        </p:tgtEl>
                                      </p:cBhvr>
                                    </p:animEffect>
                                  </p:childTnLst>
                                </p:cTn>
                              </p:par>
                              <p:par>
                                <p:cTn id="23" presetID="10" presetClass="entr" presetSubtype="0" fill="hold" grpId="0" nodeType="withEffect">
                                  <p:stCondLst>
                                    <p:cond delay="25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par>
                                <p:cTn id="26" presetID="49" presetClass="entr" presetSubtype="0" decel="100000" fill="hold" nodeType="withEffect">
                                  <p:stCondLst>
                                    <p:cond delay="250"/>
                                  </p:stCondLst>
                                  <p:childTnLst>
                                    <p:set>
                                      <p:cBhvr>
                                        <p:cTn id="27" dur="1" fill="hold">
                                          <p:stCondLst>
                                            <p:cond delay="0"/>
                                          </p:stCondLst>
                                        </p:cTn>
                                        <p:tgtEl>
                                          <p:spTgt spid="188"/>
                                        </p:tgtEl>
                                        <p:attrNameLst>
                                          <p:attrName>style.visibility</p:attrName>
                                        </p:attrNameLst>
                                      </p:cBhvr>
                                      <p:to>
                                        <p:strVal val="visible"/>
                                      </p:to>
                                    </p:set>
                                    <p:anim calcmode="lin" valueType="num">
                                      <p:cBhvr>
                                        <p:cTn id="28" dur="500" fill="hold"/>
                                        <p:tgtEl>
                                          <p:spTgt spid="188"/>
                                        </p:tgtEl>
                                        <p:attrNameLst>
                                          <p:attrName>ppt_w</p:attrName>
                                        </p:attrNameLst>
                                      </p:cBhvr>
                                      <p:tavLst>
                                        <p:tav tm="0">
                                          <p:val>
                                            <p:fltVal val="0"/>
                                          </p:val>
                                        </p:tav>
                                        <p:tav tm="100000">
                                          <p:val>
                                            <p:strVal val="#ppt_w"/>
                                          </p:val>
                                        </p:tav>
                                      </p:tavLst>
                                    </p:anim>
                                    <p:anim calcmode="lin" valueType="num">
                                      <p:cBhvr>
                                        <p:cTn id="29" dur="500" fill="hold"/>
                                        <p:tgtEl>
                                          <p:spTgt spid="188"/>
                                        </p:tgtEl>
                                        <p:attrNameLst>
                                          <p:attrName>ppt_h</p:attrName>
                                        </p:attrNameLst>
                                      </p:cBhvr>
                                      <p:tavLst>
                                        <p:tav tm="0">
                                          <p:val>
                                            <p:fltVal val="0"/>
                                          </p:val>
                                        </p:tav>
                                        <p:tav tm="100000">
                                          <p:val>
                                            <p:strVal val="#ppt_h"/>
                                          </p:val>
                                        </p:tav>
                                      </p:tavLst>
                                    </p:anim>
                                    <p:anim calcmode="lin" valueType="num">
                                      <p:cBhvr>
                                        <p:cTn id="30" dur="500" fill="hold"/>
                                        <p:tgtEl>
                                          <p:spTgt spid="188"/>
                                        </p:tgtEl>
                                        <p:attrNameLst>
                                          <p:attrName>style.rotation</p:attrName>
                                        </p:attrNameLst>
                                      </p:cBhvr>
                                      <p:tavLst>
                                        <p:tav tm="0">
                                          <p:val>
                                            <p:fltVal val="360"/>
                                          </p:val>
                                        </p:tav>
                                        <p:tav tm="100000">
                                          <p:val>
                                            <p:fltVal val="0"/>
                                          </p:val>
                                        </p:tav>
                                      </p:tavLst>
                                    </p:anim>
                                    <p:animEffect transition="in" filter="fade">
                                      <p:cBhvr>
                                        <p:cTn id="31" dur="500"/>
                                        <p:tgtEl>
                                          <p:spTgt spid="188"/>
                                        </p:tgtEl>
                                      </p:cBhvr>
                                    </p:animEffect>
                                  </p:childTnLst>
                                </p:cTn>
                              </p:par>
                              <p:par>
                                <p:cTn id="32" presetID="53" presetClass="entr" presetSubtype="16" fill="hold" nodeType="withEffect">
                                  <p:stCondLst>
                                    <p:cond delay="300"/>
                                  </p:stCondLst>
                                  <p:childTnLst>
                                    <p:set>
                                      <p:cBhvr>
                                        <p:cTn id="33" dur="1" fill="hold">
                                          <p:stCondLst>
                                            <p:cond delay="0"/>
                                          </p:stCondLst>
                                        </p:cTn>
                                        <p:tgtEl>
                                          <p:spTgt spid="11"/>
                                        </p:tgtEl>
                                        <p:attrNameLst>
                                          <p:attrName>style.visibility</p:attrName>
                                        </p:attrNameLst>
                                      </p:cBhvr>
                                      <p:to>
                                        <p:strVal val="visible"/>
                                      </p:to>
                                    </p:set>
                                    <p:anim calcmode="lin" valueType="num">
                                      <p:cBhvr>
                                        <p:cTn id="34" dur="500" fill="hold"/>
                                        <p:tgtEl>
                                          <p:spTgt spid="11"/>
                                        </p:tgtEl>
                                        <p:attrNameLst>
                                          <p:attrName>ppt_w</p:attrName>
                                        </p:attrNameLst>
                                      </p:cBhvr>
                                      <p:tavLst>
                                        <p:tav tm="0">
                                          <p:val>
                                            <p:fltVal val="0"/>
                                          </p:val>
                                        </p:tav>
                                        <p:tav tm="100000">
                                          <p:val>
                                            <p:strVal val="#ppt_w"/>
                                          </p:val>
                                        </p:tav>
                                      </p:tavLst>
                                    </p:anim>
                                    <p:anim calcmode="lin" valueType="num">
                                      <p:cBhvr>
                                        <p:cTn id="35" dur="500" fill="hold"/>
                                        <p:tgtEl>
                                          <p:spTgt spid="11"/>
                                        </p:tgtEl>
                                        <p:attrNameLst>
                                          <p:attrName>ppt_h</p:attrName>
                                        </p:attrNameLst>
                                      </p:cBhvr>
                                      <p:tavLst>
                                        <p:tav tm="0">
                                          <p:val>
                                            <p:fltVal val="0"/>
                                          </p:val>
                                        </p:tav>
                                        <p:tav tm="100000">
                                          <p:val>
                                            <p:strVal val="#ppt_h"/>
                                          </p:val>
                                        </p:tav>
                                      </p:tavLst>
                                    </p:anim>
                                    <p:animEffect transition="in" filter="fade">
                                      <p:cBhvr>
                                        <p:cTn id="36" dur="500"/>
                                        <p:tgtEl>
                                          <p:spTgt spid="11"/>
                                        </p:tgtEl>
                                      </p:cBhvr>
                                    </p:animEffect>
                                  </p:childTnLst>
                                </p:cTn>
                              </p:par>
                              <p:par>
                                <p:cTn id="37" presetID="16" presetClass="entr" presetSubtype="37" fill="hold" nodeType="withEffect">
                                  <p:stCondLst>
                                    <p:cond delay="300"/>
                                  </p:stCondLst>
                                  <p:childTnLst>
                                    <p:set>
                                      <p:cBhvr>
                                        <p:cTn id="38" dur="1" fill="hold">
                                          <p:stCondLst>
                                            <p:cond delay="0"/>
                                          </p:stCondLst>
                                        </p:cTn>
                                        <p:tgtEl>
                                          <p:spTgt spid="42"/>
                                        </p:tgtEl>
                                        <p:attrNameLst>
                                          <p:attrName>style.visibility</p:attrName>
                                        </p:attrNameLst>
                                      </p:cBhvr>
                                      <p:to>
                                        <p:strVal val="visible"/>
                                      </p:to>
                                    </p:set>
                                    <p:animEffect transition="in" filter="barn(outVertical)">
                                      <p:cBhvr>
                                        <p:cTn id="39" dur="500"/>
                                        <p:tgtEl>
                                          <p:spTgt spid="42"/>
                                        </p:tgtEl>
                                      </p:cBhvr>
                                    </p:animEffect>
                                  </p:childTnLst>
                                </p:cTn>
                              </p:par>
                              <p:par>
                                <p:cTn id="40" presetID="10" presetClass="entr" presetSubtype="0" fill="hold" grpId="0" nodeType="withEffect">
                                  <p:stCondLst>
                                    <p:cond delay="30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500"/>
                                        <p:tgtEl>
                                          <p:spTgt spid="30"/>
                                        </p:tgtEl>
                                      </p:cBhvr>
                                    </p:animEffect>
                                  </p:childTnLst>
                                </p:cTn>
                              </p:par>
                              <p:par>
                                <p:cTn id="43" presetID="49" presetClass="entr" presetSubtype="0" decel="100000" fill="hold" nodeType="withEffect">
                                  <p:stCondLst>
                                    <p:cond delay="300"/>
                                  </p:stCondLst>
                                  <p:childTnLst>
                                    <p:set>
                                      <p:cBhvr>
                                        <p:cTn id="44" dur="1" fill="hold">
                                          <p:stCondLst>
                                            <p:cond delay="0"/>
                                          </p:stCondLst>
                                        </p:cTn>
                                        <p:tgtEl>
                                          <p:spTgt spid="163"/>
                                        </p:tgtEl>
                                        <p:attrNameLst>
                                          <p:attrName>style.visibility</p:attrName>
                                        </p:attrNameLst>
                                      </p:cBhvr>
                                      <p:to>
                                        <p:strVal val="visible"/>
                                      </p:to>
                                    </p:set>
                                    <p:anim calcmode="lin" valueType="num">
                                      <p:cBhvr>
                                        <p:cTn id="45" dur="500" fill="hold"/>
                                        <p:tgtEl>
                                          <p:spTgt spid="163"/>
                                        </p:tgtEl>
                                        <p:attrNameLst>
                                          <p:attrName>ppt_w</p:attrName>
                                        </p:attrNameLst>
                                      </p:cBhvr>
                                      <p:tavLst>
                                        <p:tav tm="0">
                                          <p:val>
                                            <p:fltVal val="0"/>
                                          </p:val>
                                        </p:tav>
                                        <p:tav tm="100000">
                                          <p:val>
                                            <p:strVal val="#ppt_w"/>
                                          </p:val>
                                        </p:tav>
                                      </p:tavLst>
                                    </p:anim>
                                    <p:anim calcmode="lin" valueType="num">
                                      <p:cBhvr>
                                        <p:cTn id="46" dur="500" fill="hold"/>
                                        <p:tgtEl>
                                          <p:spTgt spid="163"/>
                                        </p:tgtEl>
                                        <p:attrNameLst>
                                          <p:attrName>ppt_h</p:attrName>
                                        </p:attrNameLst>
                                      </p:cBhvr>
                                      <p:tavLst>
                                        <p:tav tm="0">
                                          <p:val>
                                            <p:fltVal val="0"/>
                                          </p:val>
                                        </p:tav>
                                        <p:tav tm="100000">
                                          <p:val>
                                            <p:strVal val="#ppt_h"/>
                                          </p:val>
                                        </p:tav>
                                      </p:tavLst>
                                    </p:anim>
                                    <p:anim calcmode="lin" valueType="num">
                                      <p:cBhvr>
                                        <p:cTn id="47" dur="500" fill="hold"/>
                                        <p:tgtEl>
                                          <p:spTgt spid="163"/>
                                        </p:tgtEl>
                                        <p:attrNameLst>
                                          <p:attrName>style.rotation</p:attrName>
                                        </p:attrNameLst>
                                      </p:cBhvr>
                                      <p:tavLst>
                                        <p:tav tm="0">
                                          <p:val>
                                            <p:fltVal val="360"/>
                                          </p:val>
                                        </p:tav>
                                        <p:tav tm="100000">
                                          <p:val>
                                            <p:fltVal val="0"/>
                                          </p:val>
                                        </p:tav>
                                      </p:tavLst>
                                    </p:anim>
                                    <p:animEffect transition="in" filter="fade">
                                      <p:cBhvr>
                                        <p:cTn id="48" dur="500"/>
                                        <p:tgtEl>
                                          <p:spTgt spid="163"/>
                                        </p:tgtEl>
                                      </p:cBhvr>
                                    </p:animEffect>
                                  </p:childTnLst>
                                </p:cTn>
                              </p:par>
                              <p:par>
                                <p:cTn id="49" presetID="53" presetClass="entr" presetSubtype="16" fill="hold" nodeType="withEffect">
                                  <p:stCondLst>
                                    <p:cond delay="350"/>
                                  </p:stCondLst>
                                  <p:childTnLst>
                                    <p:set>
                                      <p:cBhvr>
                                        <p:cTn id="50" dur="1" fill="hold">
                                          <p:stCondLst>
                                            <p:cond delay="0"/>
                                          </p:stCondLst>
                                        </p:cTn>
                                        <p:tgtEl>
                                          <p:spTgt spid="13"/>
                                        </p:tgtEl>
                                        <p:attrNameLst>
                                          <p:attrName>style.visibility</p:attrName>
                                        </p:attrNameLst>
                                      </p:cBhvr>
                                      <p:to>
                                        <p:strVal val="visible"/>
                                      </p:to>
                                    </p:set>
                                    <p:anim calcmode="lin" valueType="num">
                                      <p:cBhvr>
                                        <p:cTn id="51" dur="500" fill="hold"/>
                                        <p:tgtEl>
                                          <p:spTgt spid="13"/>
                                        </p:tgtEl>
                                        <p:attrNameLst>
                                          <p:attrName>ppt_w</p:attrName>
                                        </p:attrNameLst>
                                      </p:cBhvr>
                                      <p:tavLst>
                                        <p:tav tm="0">
                                          <p:val>
                                            <p:fltVal val="0"/>
                                          </p:val>
                                        </p:tav>
                                        <p:tav tm="100000">
                                          <p:val>
                                            <p:strVal val="#ppt_w"/>
                                          </p:val>
                                        </p:tav>
                                      </p:tavLst>
                                    </p:anim>
                                    <p:anim calcmode="lin" valueType="num">
                                      <p:cBhvr>
                                        <p:cTn id="52" dur="500" fill="hold"/>
                                        <p:tgtEl>
                                          <p:spTgt spid="13"/>
                                        </p:tgtEl>
                                        <p:attrNameLst>
                                          <p:attrName>ppt_h</p:attrName>
                                        </p:attrNameLst>
                                      </p:cBhvr>
                                      <p:tavLst>
                                        <p:tav tm="0">
                                          <p:val>
                                            <p:fltVal val="0"/>
                                          </p:val>
                                        </p:tav>
                                        <p:tav tm="100000">
                                          <p:val>
                                            <p:strVal val="#ppt_h"/>
                                          </p:val>
                                        </p:tav>
                                      </p:tavLst>
                                    </p:anim>
                                    <p:animEffect transition="in" filter="fade">
                                      <p:cBhvr>
                                        <p:cTn id="53" dur="500"/>
                                        <p:tgtEl>
                                          <p:spTgt spid="13"/>
                                        </p:tgtEl>
                                      </p:cBhvr>
                                    </p:animEffect>
                                  </p:childTnLst>
                                </p:cTn>
                              </p:par>
                              <p:par>
                                <p:cTn id="54" presetID="16" presetClass="entr" presetSubtype="37" fill="hold" nodeType="withEffect">
                                  <p:stCondLst>
                                    <p:cond delay="350"/>
                                  </p:stCondLst>
                                  <p:childTnLst>
                                    <p:set>
                                      <p:cBhvr>
                                        <p:cTn id="55" dur="1" fill="hold">
                                          <p:stCondLst>
                                            <p:cond delay="0"/>
                                          </p:stCondLst>
                                        </p:cTn>
                                        <p:tgtEl>
                                          <p:spTgt spid="44"/>
                                        </p:tgtEl>
                                        <p:attrNameLst>
                                          <p:attrName>style.visibility</p:attrName>
                                        </p:attrNameLst>
                                      </p:cBhvr>
                                      <p:to>
                                        <p:strVal val="visible"/>
                                      </p:to>
                                    </p:set>
                                    <p:animEffect transition="in" filter="barn(outVertical)">
                                      <p:cBhvr>
                                        <p:cTn id="56" dur="500"/>
                                        <p:tgtEl>
                                          <p:spTgt spid="44"/>
                                        </p:tgtEl>
                                      </p:cBhvr>
                                    </p:animEffect>
                                  </p:childTnLst>
                                </p:cTn>
                              </p:par>
                              <p:par>
                                <p:cTn id="57" presetID="10" presetClass="entr" presetSubtype="0" fill="hold" grpId="0" nodeType="withEffect">
                                  <p:stCondLst>
                                    <p:cond delay="350"/>
                                  </p:stCondLst>
                                  <p:childTnLst>
                                    <p:set>
                                      <p:cBhvr>
                                        <p:cTn id="58" dur="1" fill="hold">
                                          <p:stCondLst>
                                            <p:cond delay="0"/>
                                          </p:stCondLst>
                                        </p:cTn>
                                        <p:tgtEl>
                                          <p:spTgt spid="31"/>
                                        </p:tgtEl>
                                        <p:attrNameLst>
                                          <p:attrName>style.visibility</p:attrName>
                                        </p:attrNameLst>
                                      </p:cBhvr>
                                      <p:to>
                                        <p:strVal val="visible"/>
                                      </p:to>
                                    </p:set>
                                    <p:animEffect transition="in" filter="fade">
                                      <p:cBhvr>
                                        <p:cTn id="59" dur="500"/>
                                        <p:tgtEl>
                                          <p:spTgt spid="31"/>
                                        </p:tgtEl>
                                      </p:cBhvr>
                                    </p:animEffect>
                                  </p:childTnLst>
                                </p:cTn>
                              </p:par>
                              <p:par>
                                <p:cTn id="60" presetID="49" presetClass="entr" presetSubtype="0" decel="100000" fill="hold" nodeType="withEffect">
                                  <p:stCondLst>
                                    <p:cond delay="350"/>
                                  </p:stCondLst>
                                  <p:childTnLst>
                                    <p:set>
                                      <p:cBhvr>
                                        <p:cTn id="61" dur="1" fill="hold">
                                          <p:stCondLst>
                                            <p:cond delay="0"/>
                                          </p:stCondLst>
                                        </p:cTn>
                                        <p:tgtEl>
                                          <p:spTgt spid="168"/>
                                        </p:tgtEl>
                                        <p:attrNameLst>
                                          <p:attrName>style.visibility</p:attrName>
                                        </p:attrNameLst>
                                      </p:cBhvr>
                                      <p:to>
                                        <p:strVal val="visible"/>
                                      </p:to>
                                    </p:set>
                                    <p:anim calcmode="lin" valueType="num">
                                      <p:cBhvr>
                                        <p:cTn id="62" dur="500" fill="hold"/>
                                        <p:tgtEl>
                                          <p:spTgt spid="168"/>
                                        </p:tgtEl>
                                        <p:attrNameLst>
                                          <p:attrName>ppt_w</p:attrName>
                                        </p:attrNameLst>
                                      </p:cBhvr>
                                      <p:tavLst>
                                        <p:tav tm="0">
                                          <p:val>
                                            <p:fltVal val="0"/>
                                          </p:val>
                                        </p:tav>
                                        <p:tav tm="100000">
                                          <p:val>
                                            <p:strVal val="#ppt_w"/>
                                          </p:val>
                                        </p:tav>
                                      </p:tavLst>
                                    </p:anim>
                                    <p:anim calcmode="lin" valueType="num">
                                      <p:cBhvr>
                                        <p:cTn id="63" dur="500" fill="hold"/>
                                        <p:tgtEl>
                                          <p:spTgt spid="168"/>
                                        </p:tgtEl>
                                        <p:attrNameLst>
                                          <p:attrName>ppt_h</p:attrName>
                                        </p:attrNameLst>
                                      </p:cBhvr>
                                      <p:tavLst>
                                        <p:tav tm="0">
                                          <p:val>
                                            <p:fltVal val="0"/>
                                          </p:val>
                                        </p:tav>
                                        <p:tav tm="100000">
                                          <p:val>
                                            <p:strVal val="#ppt_h"/>
                                          </p:val>
                                        </p:tav>
                                      </p:tavLst>
                                    </p:anim>
                                    <p:anim calcmode="lin" valueType="num">
                                      <p:cBhvr>
                                        <p:cTn id="64" dur="500" fill="hold"/>
                                        <p:tgtEl>
                                          <p:spTgt spid="168"/>
                                        </p:tgtEl>
                                        <p:attrNameLst>
                                          <p:attrName>style.rotation</p:attrName>
                                        </p:attrNameLst>
                                      </p:cBhvr>
                                      <p:tavLst>
                                        <p:tav tm="0">
                                          <p:val>
                                            <p:fltVal val="360"/>
                                          </p:val>
                                        </p:tav>
                                        <p:tav tm="100000">
                                          <p:val>
                                            <p:fltVal val="0"/>
                                          </p:val>
                                        </p:tav>
                                      </p:tavLst>
                                    </p:anim>
                                    <p:animEffect transition="in" filter="fade">
                                      <p:cBhvr>
                                        <p:cTn id="65" dur="500"/>
                                        <p:tgtEl>
                                          <p:spTgt spid="168"/>
                                        </p:tgtEl>
                                      </p:cBhvr>
                                    </p:animEffect>
                                  </p:childTnLst>
                                </p:cTn>
                              </p:par>
                              <p:par>
                                <p:cTn id="66" presetID="53" presetClass="entr" presetSubtype="16" fill="hold" nodeType="withEffect">
                                  <p:stCondLst>
                                    <p:cond delay="400"/>
                                  </p:stCondLst>
                                  <p:childTnLst>
                                    <p:set>
                                      <p:cBhvr>
                                        <p:cTn id="67" dur="1" fill="hold">
                                          <p:stCondLst>
                                            <p:cond delay="0"/>
                                          </p:stCondLst>
                                        </p:cTn>
                                        <p:tgtEl>
                                          <p:spTgt spid="15"/>
                                        </p:tgtEl>
                                        <p:attrNameLst>
                                          <p:attrName>style.visibility</p:attrName>
                                        </p:attrNameLst>
                                      </p:cBhvr>
                                      <p:to>
                                        <p:strVal val="visible"/>
                                      </p:to>
                                    </p:set>
                                    <p:anim calcmode="lin" valueType="num">
                                      <p:cBhvr>
                                        <p:cTn id="68" dur="500" fill="hold"/>
                                        <p:tgtEl>
                                          <p:spTgt spid="15"/>
                                        </p:tgtEl>
                                        <p:attrNameLst>
                                          <p:attrName>ppt_w</p:attrName>
                                        </p:attrNameLst>
                                      </p:cBhvr>
                                      <p:tavLst>
                                        <p:tav tm="0">
                                          <p:val>
                                            <p:fltVal val="0"/>
                                          </p:val>
                                        </p:tav>
                                        <p:tav tm="100000">
                                          <p:val>
                                            <p:strVal val="#ppt_w"/>
                                          </p:val>
                                        </p:tav>
                                      </p:tavLst>
                                    </p:anim>
                                    <p:anim calcmode="lin" valueType="num">
                                      <p:cBhvr>
                                        <p:cTn id="69" dur="500" fill="hold"/>
                                        <p:tgtEl>
                                          <p:spTgt spid="15"/>
                                        </p:tgtEl>
                                        <p:attrNameLst>
                                          <p:attrName>ppt_h</p:attrName>
                                        </p:attrNameLst>
                                      </p:cBhvr>
                                      <p:tavLst>
                                        <p:tav tm="0">
                                          <p:val>
                                            <p:fltVal val="0"/>
                                          </p:val>
                                        </p:tav>
                                        <p:tav tm="100000">
                                          <p:val>
                                            <p:strVal val="#ppt_h"/>
                                          </p:val>
                                        </p:tav>
                                      </p:tavLst>
                                    </p:anim>
                                    <p:animEffect transition="in" filter="fade">
                                      <p:cBhvr>
                                        <p:cTn id="70" dur="500"/>
                                        <p:tgtEl>
                                          <p:spTgt spid="15"/>
                                        </p:tgtEl>
                                      </p:cBhvr>
                                    </p:animEffect>
                                  </p:childTnLst>
                                </p:cTn>
                              </p:par>
                              <p:par>
                                <p:cTn id="71" presetID="16" presetClass="entr" presetSubtype="37" fill="hold" nodeType="withEffect">
                                  <p:stCondLst>
                                    <p:cond delay="400"/>
                                  </p:stCondLst>
                                  <p:childTnLst>
                                    <p:set>
                                      <p:cBhvr>
                                        <p:cTn id="72" dur="1" fill="hold">
                                          <p:stCondLst>
                                            <p:cond delay="0"/>
                                          </p:stCondLst>
                                        </p:cTn>
                                        <p:tgtEl>
                                          <p:spTgt spid="45"/>
                                        </p:tgtEl>
                                        <p:attrNameLst>
                                          <p:attrName>style.visibility</p:attrName>
                                        </p:attrNameLst>
                                      </p:cBhvr>
                                      <p:to>
                                        <p:strVal val="visible"/>
                                      </p:to>
                                    </p:set>
                                    <p:animEffect transition="in" filter="barn(outVertical)">
                                      <p:cBhvr>
                                        <p:cTn id="73" dur="500"/>
                                        <p:tgtEl>
                                          <p:spTgt spid="45"/>
                                        </p:tgtEl>
                                      </p:cBhvr>
                                    </p:animEffect>
                                  </p:childTnLst>
                                </p:cTn>
                              </p:par>
                              <p:par>
                                <p:cTn id="74" presetID="10" presetClass="entr" presetSubtype="0" fill="hold" grpId="0" nodeType="withEffect">
                                  <p:stCondLst>
                                    <p:cond delay="400"/>
                                  </p:stCondLst>
                                  <p:childTnLst>
                                    <p:set>
                                      <p:cBhvr>
                                        <p:cTn id="75" dur="1" fill="hold">
                                          <p:stCondLst>
                                            <p:cond delay="0"/>
                                          </p:stCondLst>
                                        </p:cTn>
                                        <p:tgtEl>
                                          <p:spTgt spid="33"/>
                                        </p:tgtEl>
                                        <p:attrNameLst>
                                          <p:attrName>style.visibility</p:attrName>
                                        </p:attrNameLst>
                                      </p:cBhvr>
                                      <p:to>
                                        <p:strVal val="visible"/>
                                      </p:to>
                                    </p:set>
                                    <p:animEffect transition="in" filter="fade">
                                      <p:cBhvr>
                                        <p:cTn id="76" dur="500"/>
                                        <p:tgtEl>
                                          <p:spTgt spid="33"/>
                                        </p:tgtEl>
                                      </p:cBhvr>
                                    </p:animEffect>
                                  </p:childTnLst>
                                </p:cTn>
                              </p:par>
                              <p:par>
                                <p:cTn id="77" presetID="49" presetClass="entr" presetSubtype="0" decel="100000" fill="hold" nodeType="withEffect">
                                  <p:stCondLst>
                                    <p:cond delay="400"/>
                                  </p:stCondLst>
                                  <p:childTnLst>
                                    <p:set>
                                      <p:cBhvr>
                                        <p:cTn id="78" dur="1" fill="hold">
                                          <p:stCondLst>
                                            <p:cond delay="0"/>
                                          </p:stCondLst>
                                        </p:cTn>
                                        <p:tgtEl>
                                          <p:spTgt spid="155"/>
                                        </p:tgtEl>
                                        <p:attrNameLst>
                                          <p:attrName>style.visibility</p:attrName>
                                        </p:attrNameLst>
                                      </p:cBhvr>
                                      <p:to>
                                        <p:strVal val="visible"/>
                                      </p:to>
                                    </p:set>
                                    <p:anim calcmode="lin" valueType="num">
                                      <p:cBhvr>
                                        <p:cTn id="79" dur="500" fill="hold"/>
                                        <p:tgtEl>
                                          <p:spTgt spid="155"/>
                                        </p:tgtEl>
                                        <p:attrNameLst>
                                          <p:attrName>ppt_w</p:attrName>
                                        </p:attrNameLst>
                                      </p:cBhvr>
                                      <p:tavLst>
                                        <p:tav tm="0">
                                          <p:val>
                                            <p:fltVal val="0"/>
                                          </p:val>
                                        </p:tav>
                                        <p:tav tm="100000">
                                          <p:val>
                                            <p:strVal val="#ppt_w"/>
                                          </p:val>
                                        </p:tav>
                                      </p:tavLst>
                                    </p:anim>
                                    <p:anim calcmode="lin" valueType="num">
                                      <p:cBhvr>
                                        <p:cTn id="80" dur="500" fill="hold"/>
                                        <p:tgtEl>
                                          <p:spTgt spid="155"/>
                                        </p:tgtEl>
                                        <p:attrNameLst>
                                          <p:attrName>ppt_h</p:attrName>
                                        </p:attrNameLst>
                                      </p:cBhvr>
                                      <p:tavLst>
                                        <p:tav tm="0">
                                          <p:val>
                                            <p:fltVal val="0"/>
                                          </p:val>
                                        </p:tav>
                                        <p:tav tm="100000">
                                          <p:val>
                                            <p:strVal val="#ppt_h"/>
                                          </p:val>
                                        </p:tav>
                                      </p:tavLst>
                                    </p:anim>
                                    <p:anim calcmode="lin" valueType="num">
                                      <p:cBhvr>
                                        <p:cTn id="81" dur="500" fill="hold"/>
                                        <p:tgtEl>
                                          <p:spTgt spid="155"/>
                                        </p:tgtEl>
                                        <p:attrNameLst>
                                          <p:attrName>style.rotation</p:attrName>
                                        </p:attrNameLst>
                                      </p:cBhvr>
                                      <p:tavLst>
                                        <p:tav tm="0">
                                          <p:val>
                                            <p:fltVal val="360"/>
                                          </p:val>
                                        </p:tav>
                                        <p:tav tm="100000">
                                          <p:val>
                                            <p:fltVal val="0"/>
                                          </p:val>
                                        </p:tav>
                                      </p:tavLst>
                                    </p:anim>
                                    <p:animEffect transition="in" filter="fade">
                                      <p:cBhvr>
                                        <p:cTn id="82" dur="500"/>
                                        <p:tgtEl>
                                          <p:spTgt spid="155"/>
                                        </p:tgtEl>
                                      </p:cBhvr>
                                    </p:animEffect>
                                  </p:childTnLst>
                                </p:cTn>
                              </p:par>
                              <p:par>
                                <p:cTn id="83" presetID="53" presetClass="entr" presetSubtype="16" fill="hold" nodeType="withEffect">
                                  <p:stCondLst>
                                    <p:cond delay="450"/>
                                  </p:stCondLst>
                                  <p:childTnLst>
                                    <p:set>
                                      <p:cBhvr>
                                        <p:cTn id="84" dur="1" fill="hold">
                                          <p:stCondLst>
                                            <p:cond delay="0"/>
                                          </p:stCondLst>
                                        </p:cTn>
                                        <p:tgtEl>
                                          <p:spTgt spid="17"/>
                                        </p:tgtEl>
                                        <p:attrNameLst>
                                          <p:attrName>style.visibility</p:attrName>
                                        </p:attrNameLst>
                                      </p:cBhvr>
                                      <p:to>
                                        <p:strVal val="visible"/>
                                      </p:to>
                                    </p:set>
                                    <p:anim calcmode="lin" valueType="num">
                                      <p:cBhvr>
                                        <p:cTn id="85" dur="500" fill="hold"/>
                                        <p:tgtEl>
                                          <p:spTgt spid="17"/>
                                        </p:tgtEl>
                                        <p:attrNameLst>
                                          <p:attrName>ppt_w</p:attrName>
                                        </p:attrNameLst>
                                      </p:cBhvr>
                                      <p:tavLst>
                                        <p:tav tm="0">
                                          <p:val>
                                            <p:fltVal val="0"/>
                                          </p:val>
                                        </p:tav>
                                        <p:tav tm="100000">
                                          <p:val>
                                            <p:strVal val="#ppt_w"/>
                                          </p:val>
                                        </p:tav>
                                      </p:tavLst>
                                    </p:anim>
                                    <p:anim calcmode="lin" valueType="num">
                                      <p:cBhvr>
                                        <p:cTn id="86" dur="500" fill="hold"/>
                                        <p:tgtEl>
                                          <p:spTgt spid="17"/>
                                        </p:tgtEl>
                                        <p:attrNameLst>
                                          <p:attrName>ppt_h</p:attrName>
                                        </p:attrNameLst>
                                      </p:cBhvr>
                                      <p:tavLst>
                                        <p:tav tm="0">
                                          <p:val>
                                            <p:fltVal val="0"/>
                                          </p:val>
                                        </p:tav>
                                        <p:tav tm="100000">
                                          <p:val>
                                            <p:strVal val="#ppt_h"/>
                                          </p:val>
                                        </p:tav>
                                      </p:tavLst>
                                    </p:anim>
                                    <p:animEffect transition="in" filter="fade">
                                      <p:cBhvr>
                                        <p:cTn id="87" dur="500"/>
                                        <p:tgtEl>
                                          <p:spTgt spid="17"/>
                                        </p:tgtEl>
                                      </p:cBhvr>
                                    </p:animEffect>
                                  </p:childTnLst>
                                </p:cTn>
                              </p:par>
                              <p:par>
                                <p:cTn id="88" presetID="16" presetClass="entr" presetSubtype="37" fill="hold" nodeType="withEffect">
                                  <p:stCondLst>
                                    <p:cond delay="450"/>
                                  </p:stCondLst>
                                  <p:childTnLst>
                                    <p:set>
                                      <p:cBhvr>
                                        <p:cTn id="89" dur="1" fill="hold">
                                          <p:stCondLst>
                                            <p:cond delay="0"/>
                                          </p:stCondLst>
                                        </p:cTn>
                                        <p:tgtEl>
                                          <p:spTgt spid="46"/>
                                        </p:tgtEl>
                                        <p:attrNameLst>
                                          <p:attrName>style.visibility</p:attrName>
                                        </p:attrNameLst>
                                      </p:cBhvr>
                                      <p:to>
                                        <p:strVal val="visible"/>
                                      </p:to>
                                    </p:set>
                                    <p:animEffect transition="in" filter="barn(outVertical)">
                                      <p:cBhvr>
                                        <p:cTn id="90" dur="500"/>
                                        <p:tgtEl>
                                          <p:spTgt spid="46"/>
                                        </p:tgtEl>
                                      </p:cBhvr>
                                    </p:animEffect>
                                  </p:childTnLst>
                                </p:cTn>
                              </p:par>
                              <p:par>
                                <p:cTn id="91" presetID="10" presetClass="entr" presetSubtype="0" fill="hold" grpId="0" nodeType="withEffect">
                                  <p:stCondLst>
                                    <p:cond delay="450"/>
                                  </p:stCondLst>
                                  <p:childTnLst>
                                    <p:set>
                                      <p:cBhvr>
                                        <p:cTn id="92" dur="1" fill="hold">
                                          <p:stCondLst>
                                            <p:cond delay="0"/>
                                          </p:stCondLst>
                                        </p:cTn>
                                        <p:tgtEl>
                                          <p:spTgt spid="34"/>
                                        </p:tgtEl>
                                        <p:attrNameLst>
                                          <p:attrName>style.visibility</p:attrName>
                                        </p:attrNameLst>
                                      </p:cBhvr>
                                      <p:to>
                                        <p:strVal val="visible"/>
                                      </p:to>
                                    </p:set>
                                    <p:animEffect transition="in" filter="fade">
                                      <p:cBhvr>
                                        <p:cTn id="93" dur="500"/>
                                        <p:tgtEl>
                                          <p:spTgt spid="34"/>
                                        </p:tgtEl>
                                      </p:cBhvr>
                                    </p:animEffect>
                                  </p:childTnLst>
                                </p:cTn>
                              </p:par>
                              <p:par>
                                <p:cTn id="94" presetID="49" presetClass="entr" presetSubtype="0" decel="100000" fill="hold" nodeType="withEffect">
                                  <p:stCondLst>
                                    <p:cond delay="450"/>
                                  </p:stCondLst>
                                  <p:childTnLst>
                                    <p:set>
                                      <p:cBhvr>
                                        <p:cTn id="95" dur="1" fill="hold">
                                          <p:stCondLst>
                                            <p:cond delay="0"/>
                                          </p:stCondLst>
                                        </p:cTn>
                                        <p:tgtEl>
                                          <p:spTgt spid="209"/>
                                        </p:tgtEl>
                                        <p:attrNameLst>
                                          <p:attrName>style.visibility</p:attrName>
                                        </p:attrNameLst>
                                      </p:cBhvr>
                                      <p:to>
                                        <p:strVal val="visible"/>
                                      </p:to>
                                    </p:set>
                                    <p:anim calcmode="lin" valueType="num">
                                      <p:cBhvr>
                                        <p:cTn id="96" dur="500" fill="hold"/>
                                        <p:tgtEl>
                                          <p:spTgt spid="209"/>
                                        </p:tgtEl>
                                        <p:attrNameLst>
                                          <p:attrName>ppt_w</p:attrName>
                                        </p:attrNameLst>
                                      </p:cBhvr>
                                      <p:tavLst>
                                        <p:tav tm="0">
                                          <p:val>
                                            <p:fltVal val="0"/>
                                          </p:val>
                                        </p:tav>
                                        <p:tav tm="100000">
                                          <p:val>
                                            <p:strVal val="#ppt_w"/>
                                          </p:val>
                                        </p:tav>
                                      </p:tavLst>
                                    </p:anim>
                                    <p:anim calcmode="lin" valueType="num">
                                      <p:cBhvr>
                                        <p:cTn id="97" dur="500" fill="hold"/>
                                        <p:tgtEl>
                                          <p:spTgt spid="209"/>
                                        </p:tgtEl>
                                        <p:attrNameLst>
                                          <p:attrName>ppt_h</p:attrName>
                                        </p:attrNameLst>
                                      </p:cBhvr>
                                      <p:tavLst>
                                        <p:tav tm="0">
                                          <p:val>
                                            <p:fltVal val="0"/>
                                          </p:val>
                                        </p:tav>
                                        <p:tav tm="100000">
                                          <p:val>
                                            <p:strVal val="#ppt_h"/>
                                          </p:val>
                                        </p:tav>
                                      </p:tavLst>
                                    </p:anim>
                                    <p:anim calcmode="lin" valueType="num">
                                      <p:cBhvr>
                                        <p:cTn id="98" dur="500" fill="hold"/>
                                        <p:tgtEl>
                                          <p:spTgt spid="209"/>
                                        </p:tgtEl>
                                        <p:attrNameLst>
                                          <p:attrName>style.rotation</p:attrName>
                                        </p:attrNameLst>
                                      </p:cBhvr>
                                      <p:tavLst>
                                        <p:tav tm="0">
                                          <p:val>
                                            <p:fltVal val="360"/>
                                          </p:val>
                                        </p:tav>
                                        <p:tav tm="100000">
                                          <p:val>
                                            <p:fltVal val="0"/>
                                          </p:val>
                                        </p:tav>
                                      </p:tavLst>
                                    </p:anim>
                                    <p:animEffect transition="in" filter="fade">
                                      <p:cBhvr>
                                        <p:cTn id="99" dur="500"/>
                                        <p:tgtEl>
                                          <p:spTgt spid="209"/>
                                        </p:tgtEl>
                                      </p:cBhvr>
                                    </p:animEffect>
                                  </p:childTnLst>
                                </p:cTn>
                              </p:par>
                              <p:par>
                                <p:cTn id="100" presetID="53" presetClass="entr" presetSubtype="16" fill="hold" nodeType="withEffect">
                                  <p:stCondLst>
                                    <p:cond delay="500"/>
                                  </p:stCondLst>
                                  <p:childTnLst>
                                    <p:set>
                                      <p:cBhvr>
                                        <p:cTn id="101" dur="1" fill="hold">
                                          <p:stCondLst>
                                            <p:cond delay="0"/>
                                          </p:stCondLst>
                                        </p:cTn>
                                        <p:tgtEl>
                                          <p:spTgt spid="19"/>
                                        </p:tgtEl>
                                        <p:attrNameLst>
                                          <p:attrName>style.visibility</p:attrName>
                                        </p:attrNameLst>
                                      </p:cBhvr>
                                      <p:to>
                                        <p:strVal val="visible"/>
                                      </p:to>
                                    </p:set>
                                    <p:anim calcmode="lin" valueType="num">
                                      <p:cBhvr>
                                        <p:cTn id="102" dur="500" fill="hold"/>
                                        <p:tgtEl>
                                          <p:spTgt spid="19"/>
                                        </p:tgtEl>
                                        <p:attrNameLst>
                                          <p:attrName>ppt_w</p:attrName>
                                        </p:attrNameLst>
                                      </p:cBhvr>
                                      <p:tavLst>
                                        <p:tav tm="0">
                                          <p:val>
                                            <p:fltVal val="0"/>
                                          </p:val>
                                        </p:tav>
                                        <p:tav tm="100000">
                                          <p:val>
                                            <p:strVal val="#ppt_w"/>
                                          </p:val>
                                        </p:tav>
                                      </p:tavLst>
                                    </p:anim>
                                    <p:anim calcmode="lin" valueType="num">
                                      <p:cBhvr>
                                        <p:cTn id="103" dur="500" fill="hold"/>
                                        <p:tgtEl>
                                          <p:spTgt spid="19"/>
                                        </p:tgtEl>
                                        <p:attrNameLst>
                                          <p:attrName>ppt_h</p:attrName>
                                        </p:attrNameLst>
                                      </p:cBhvr>
                                      <p:tavLst>
                                        <p:tav tm="0">
                                          <p:val>
                                            <p:fltVal val="0"/>
                                          </p:val>
                                        </p:tav>
                                        <p:tav tm="100000">
                                          <p:val>
                                            <p:strVal val="#ppt_h"/>
                                          </p:val>
                                        </p:tav>
                                      </p:tavLst>
                                    </p:anim>
                                    <p:animEffect transition="in" filter="fade">
                                      <p:cBhvr>
                                        <p:cTn id="104" dur="500"/>
                                        <p:tgtEl>
                                          <p:spTgt spid="19"/>
                                        </p:tgtEl>
                                      </p:cBhvr>
                                    </p:animEffect>
                                  </p:childTnLst>
                                </p:cTn>
                              </p:par>
                              <p:par>
                                <p:cTn id="105" presetID="16" presetClass="entr" presetSubtype="37" fill="hold" nodeType="withEffect">
                                  <p:stCondLst>
                                    <p:cond delay="500"/>
                                  </p:stCondLst>
                                  <p:childTnLst>
                                    <p:set>
                                      <p:cBhvr>
                                        <p:cTn id="106" dur="1" fill="hold">
                                          <p:stCondLst>
                                            <p:cond delay="0"/>
                                          </p:stCondLst>
                                        </p:cTn>
                                        <p:tgtEl>
                                          <p:spTgt spid="50"/>
                                        </p:tgtEl>
                                        <p:attrNameLst>
                                          <p:attrName>style.visibility</p:attrName>
                                        </p:attrNameLst>
                                      </p:cBhvr>
                                      <p:to>
                                        <p:strVal val="visible"/>
                                      </p:to>
                                    </p:set>
                                    <p:animEffect transition="in" filter="barn(outVertical)">
                                      <p:cBhvr>
                                        <p:cTn id="107" dur="500"/>
                                        <p:tgtEl>
                                          <p:spTgt spid="50"/>
                                        </p:tgtEl>
                                      </p:cBhvr>
                                    </p:animEffect>
                                  </p:childTnLst>
                                </p:cTn>
                              </p:par>
                              <p:par>
                                <p:cTn id="108" presetID="49" presetClass="entr" presetSubtype="0" decel="100000" fill="hold" nodeType="withEffect">
                                  <p:stCondLst>
                                    <p:cond delay="500"/>
                                  </p:stCondLst>
                                  <p:childTnLst>
                                    <p:set>
                                      <p:cBhvr>
                                        <p:cTn id="109" dur="1" fill="hold">
                                          <p:stCondLst>
                                            <p:cond delay="0"/>
                                          </p:stCondLst>
                                        </p:cTn>
                                        <p:tgtEl>
                                          <p:spTgt spid="178"/>
                                        </p:tgtEl>
                                        <p:attrNameLst>
                                          <p:attrName>style.visibility</p:attrName>
                                        </p:attrNameLst>
                                      </p:cBhvr>
                                      <p:to>
                                        <p:strVal val="visible"/>
                                      </p:to>
                                    </p:set>
                                    <p:anim calcmode="lin" valueType="num">
                                      <p:cBhvr>
                                        <p:cTn id="110" dur="500" fill="hold"/>
                                        <p:tgtEl>
                                          <p:spTgt spid="178"/>
                                        </p:tgtEl>
                                        <p:attrNameLst>
                                          <p:attrName>ppt_w</p:attrName>
                                        </p:attrNameLst>
                                      </p:cBhvr>
                                      <p:tavLst>
                                        <p:tav tm="0">
                                          <p:val>
                                            <p:fltVal val="0"/>
                                          </p:val>
                                        </p:tav>
                                        <p:tav tm="100000">
                                          <p:val>
                                            <p:strVal val="#ppt_w"/>
                                          </p:val>
                                        </p:tav>
                                      </p:tavLst>
                                    </p:anim>
                                    <p:anim calcmode="lin" valueType="num">
                                      <p:cBhvr>
                                        <p:cTn id="111" dur="500" fill="hold"/>
                                        <p:tgtEl>
                                          <p:spTgt spid="178"/>
                                        </p:tgtEl>
                                        <p:attrNameLst>
                                          <p:attrName>ppt_h</p:attrName>
                                        </p:attrNameLst>
                                      </p:cBhvr>
                                      <p:tavLst>
                                        <p:tav tm="0">
                                          <p:val>
                                            <p:fltVal val="0"/>
                                          </p:val>
                                        </p:tav>
                                        <p:tav tm="100000">
                                          <p:val>
                                            <p:strVal val="#ppt_h"/>
                                          </p:val>
                                        </p:tav>
                                      </p:tavLst>
                                    </p:anim>
                                    <p:anim calcmode="lin" valueType="num">
                                      <p:cBhvr>
                                        <p:cTn id="112" dur="500" fill="hold"/>
                                        <p:tgtEl>
                                          <p:spTgt spid="178"/>
                                        </p:tgtEl>
                                        <p:attrNameLst>
                                          <p:attrName>style.rotation</p:attrName>
                                        </p:attrNameLst>
                                      </p:cBhvr>
                                      <p:tavLst>
                                        <p:tav tm="0">
                                          <p:val>
                                            <p:fltVal val="360"/>
                                          </p:val>
                                        </p:tav>
                                        <p:tav tm="100000">
                                          <p:val>
                                            <p:fltVal val="0"/>
                                          </p:val>
                                        </p:tav>
                                      </p:tavLst>
                                    </p:anim>
                                    <p:animEffect transition="in" filter="fade">
                                      <p:cBhvr>
                                        <p:cTn id="113" dur="500"/>
                                        <p:tgtEl>
                                          <p:spTgt spid="178"/>
                                        </p:tgtEl>
                                      </p:cBhvr>
                                    </p:animEffect>
                                  </p:childTnLst>
                                </p:cTn>
                              </p:par>
                              <p:par>
                                <p:cTn id="114" presetID="10" presetClass="entr" presetSubtype="0" fill="hold" grpId="0" nodeType="withEffect">
                                  <p:stCondLst>
                                    <p:cond delay="500"/>
                                  </p:stCondLst>
                                  <p:childTnLst>
                                    <p:set>
                                      <p:cBhvr>
                                        <p:cTn id="115" dur="1" fill="hold">
                                          <p:stCondLst>
                                            <p:cond delay="0"/>
                                          </p:stCondLst>
                                        </p:cTn>
                                        <p:tgtEl>
                                          <p:spTgt spid="38"/>
                                        </p:tgtEl>
                                        <p:attrNameLst>
                                          <p:attrName>style.visibility</p:attrName>
                                        </p:attrNameLst>
                                      </p:cBhvr>
                                      <p:to>
                                        <p:strVal val="visible"/>
                                      </p:to>
                                    </p:set>
                                    <p:animEffect transition="in" filter="fade">
                                      <p:cBhvr>
                                        <p:cTn id="116" dur="500"/>
                                        <p:tgtEl>
                                          <p:spTgt spid="38"/>
                                        </p:tgtEl>
                                      </p:cBhvr>
                                    </p:animEffect>
                                  </p:childTnLst>
                                </p:cTn>
                              </p:par>
                              <p:par>
                                <p:cTn id="117" presetID="53" presetClass="entr" presetSubtype="16" fill="hold" nodeType="withEffect">
                                  <p:stCondLst>
                                    <p:cond delay="550"/>
                                  </p:stCondLst>
                                  <p:childTnLst>
                                    <p:set>
                                      <p:cBhvr>
                                        <p:cTn id="118" dur="1" fill="hold">
                                          <p:stCondLst>
                                            <p:cond delay="0"/>
                                          </p:stCondLst>
                                        </p:cTn>
                                        <p:tgtEl>
                                          <p:spTgt spid="21"/>
                                        </p:tgtEl>
                                        <p:attrNameLst>
                                          <p:attrName>style.visibility</p:attrName>
                                        </p:attrNameLst>
                                      </p:cBhvr>
                                      <p:to>
                                        <p:strVal val="visible"/>
                                      </p:to>
                                    </p:set>
                                    <p:anim calcmode="lin" valueType="num">
                                      <p:cBhvr>
                                        <p:cTn id="119" dur="500" fill="hold"/>
                                        <p:tgtEl>
                                          <p:spTgt spid="21"/>
                                        </p:tgtEl>
                                        <p:attrNameLst>
                                          <p:attrName>ppt_w</p:attrName>
                                        </p:attrNameLst>
                                      </p:cBhvr>
                                      <p:tavLst>
                                        <p:tav tm="0">
                                          <p:val>
                                            <p:fltVal val="0"/>
                                          </p:val>
                                        </p:tav>
                                        <p:tav tm="100000">
                                          <p:val>
                                            <p:strVal val="#ppt_w"/>
                                          </p:val>
                                        </p:tav>
                                      </p:tavLst>
                                    </p:anim>
                                    <p:anim calcmode="lin" valueType="num">
                                      <p:cBhvr>
                                        <p:cTn id="120" dur="500" fill="hold"/>
                                        <p:tgtEl>
                                          <p:spTgt spid="21"/>
                                        </p:tgtEl>
                                        <p:attrNameLst>
                                          <p:attrName>ppt_h</p:attrName>
                                        </p:attrNameLst>
                                      </p:cBhvr>
                                      <p:tavLst>
                                        <p:tav tm="0">
                                          <p:val>
                                            <p:fltVal val="0"/>
                                          </p:val>
                                        </p:tav>
                                        <p:tav tm="100000">
                                          <p:val>
                                            <p:strVal val="#ppt_h"/>
                                          </p:val>
                                        </p:tav>
                                      </p:tavLst>
                                    </p:anim>
                                    <p:animEffect transition="in" filter="fade">
                                      <p:cBhvr>
                                        <p:cTn id="121" dur="500"/>
                                        <p:tgtEl>
                                          <p:spTgt spid="21"/>
                                        </p:tgtEl>
                                      </p:cBhvr>
                                    </p:animEffect>
                                  </p:childTnLst>
                                </p:cTn>
                              </p:par>
                              <p:par>
                                <p:cTn id="122" presetID="16" presetClass="entr" presetSubtype="37" fill="hold" nodeType="withEffect">
                                  <p:stCondLst>
                                    <p:cond delay="550"/>
                                  </p:stCondLst>
                                  <p:childTnLst>
                                    <p:set>
                                      <p:cBhvr>
                                        <p:cTn id="123" dur="1" fill="hold">
                                          <p:stCondLst>
                                            <p:cond delay="0"/>
                                          </p:stCondLst>
                                        </p:cTn>
                                        <p:tgtEl>
                                          <p:spTgt spid="49"/>
                                        </p:tgtEl>
                                        <p:attrNameLst>
                                          <p:attrName>style.visibility</p:attrName>
                                        </p:attrNameLst>
                                      </p:cBhvr>
                                      <p:to>
                                        <p:strVal val="visible"/>
                                      </p:to>
                                    </p:set>
                                    <p:animEffect transition="in" filter="barn(outVertical)">
                                      <p:cBhvr>
                                        <p:cTn id="124" dur="500"/>
                                        <p:tgtEl>
                                          <p:spTgt spid="49"/>
                                        </p:tgtEl>
                                      </p:cBhvr>
                                    </p:animEffect>
                                  </p:childTnLst>
                                </p:cTn>
                              </p:par>
                              <p:par>
                                <p:cTn id="125" presetID="49" presetClass="entr" presetSubtype="0" decel="100000" fill="hold" nodeType="withEffect">
                                  <p:stCondLst>
                                    <p:cond delay="550"/>
                                  </p:stCondLst>
                                  <p:childTnLst>
                                    <p:set>
                                      <p:cBhvr>
                                        <p:cTn id="126" dur="1" fill="hold">
                                          <p:stCondLst>
                                            <p:cond delay="0"/>
                                          </p:stCondLst>
                                        </p:cTn>
                                        <p:tgtEl>
                                          <p:spTgt spid="213"/>
                                        </p:tgtEl>
                                        <p:attrNameLst>
                                          <p:attrName>style.visibility</p:attrName>
                                        </p:attrNameLst>
                                      </p:cBhvr>
                                      <p:to>
                                        <p:strVal val="visible"/>
                                      </p:to>
                                    </p:set>
                                    <p:anim calcmode="lin" valueType="num">
                                      <p:cBhvr>
                                        <p:cTn id="127" dur="500" fill="hold"/>
                                        <p:tgtEl>
                                          <p:spTgt spid="213"/>
                                        </p:tgtEl>
                                        <p:attrNameLst>
                                          <p:attrName>ppt_w</p:attrName>
                                        </p:attrNameLst>
                                      </p:cBhvr>
                                      <p:tavLst>
                                        <p:tav tm="0">
                                          <p:val>
                                            <p:fltVal val="0"/>
                                          </p:val>
                                        </p:tav>
                                        <p:tav tm="100000">
                                          <p:val>
                                            <p:strVal val="#ppt_w"/>
                                          </p:val>
                                        </p:tav>
                                      </p:tavLst>
                                    </p:anim>
                                    <p:anim calcmode="lin" valueType="num">
                                      <p:cBhvr>
                                        <p:cTn id="128" dur="500" fill="hold"/>
                                        <p:tgtEl>
                                          <p:spTgt spid="213"/>
                                        </p:tgtEl>
                                        <p:attrNameLst>
                                          <p:attrName>ppt_h</p:attrName>
                                        </p:attrNameLst>
                                      </p:cBhvr>
                                      <p:tavLst>
                                        <p:tav tm="0">
                                          <p:val>
                                            <p:fltVal val="0"/>
                                          </p:val>
                                        </p:tav>
                                        <p:tav tm="100000">
                                          <p:val>
                                            <p:strVal val="#ppt_h"/>
                                          </p:val>
                                        </p:tav>
                                      </p:tavLst>
                                    </p:anim>
                                    <p:anim calcmode="lin" valueType="num">
                                      <p:cBhvr>
                                        <p:cTn id="129" dur="500" fill="hold"/>
                                        <p:tgtEl>
                                          <p:spTgt spid="213"/>
                                        </p:tgtEl>
                                        <p:attrNameLst>
                                          <p:attrName>style.rotation</p:attrName>
                                        </p:attrNameLst>
                                      </p:cBhvr>
                                      <p:tavLst>
                                        <p:tav tm="0">
                                          <p:val>
                                            <p:fltVal val="360"/>
                                          </p:val>
                                        </p:tav>
                                        <p:tav tm="100000">
                                          <p:val>
                                            <p:fltVal val="0"/>
                                          </p:val>
                                        </p:tav>
                                      </p:tavLst>
                                    </p:anim>
                                    <p:animEffect transition="in" filter="fade">
                                      <p:cBhvr>
                                        <p:cTn id="130" dur="500"/>
                                        <p:tgtEl>
                                          <p:spTgt spid="213"/>
                                        </p:tgtEl>
                                      </p:cBhvr>
                                    </p:animEffect>
                                  </p:childTnLst>
                                </p:cTn>
                              </p:par>
                              <p:par>
                                <p:cTn id="131" presetID="10" presetClass="entr" presetSubtype="0" fill="hold" grpId="0" nodeType="withEffect">
                                  <p:stCondLst>
                                    <p:cond delay="550"/>
                                  </p:stCondLst>
                                  <p:childTnLst>
                                    <p:set>
                                      <p:cBhvr>
                                        <p:cTn id="132" dur="1" fill="hold">
                                          <p:stCondLst>
                                            <p:cond delay="0"/>
                                          </p:stCondLst>
                                        </p:cTn>
                                        <p:tgtEl>
                                          <p:spTgt spid="37"/>
                                        </p:tgtEl>
                                        <p:attrNameLst>
                                          <p:attrName>style.visibility</p:attrName>
                                        </p:attrNameLst>
                                      </p:cBhvr>
                                      <p:to>
                                        <p:strVal val="visible"/>
                                      </p:to>
                                    </p:set>
                                    <p:animEffect transition="in" filter="fade">
                                      <p:cBhvr>
                                        <p:cTn id="133" dur="500"/>
                                        <p:tgtEl>
                                          <p:spTgt spid="37"/>
                                        </p:tgtEl>
                                      </p:cBhvr>
                                    </p:animEffect>
                                  </p:childTnLst>
                                </p:cTn>
                              </p:par>
                              <p:par>
                                <p:cTn id="134" presetID="53" presetClass="entr" presetSubtype="16" fill="hold" nodeType="withEffect">
                                  <p:stCondLst>
                                    <p:cond delay="600"/>
                                  </p:stCondLst>
                                  <p:childTnLst>
                                    <p:set>
                                      <p:cBhvr>
                                        <p:cTn id="135" dur="1" fill="hold">
                                          <p:stCondLst>
                                            <p:cond delay="0"/>
                                          </p:stCondLst>
                                        </p:cTn>
                                        <p:tgtEl>
                                          <p:spTgt spid="25"/>
                                        </p:tgtEl>
                                        <p:attrNameLst>
                                          <p:attrName>style.visibility</p:attrName>
                                        </p:attrNameLst>
                                      </p:cBhvr>
                                      <p:to>
                                        <p:strVal val="visible"/>
                                      </p:to>
                                    </p:set>
                                    <p:anim calcmode="lin" valueType="num">
                                      <p:cBhvr>
                                        <p:cTn id="136" dur="500" fill="hold"/>
                                        <p:tgtEl>
                                          <p:spTgt spid="25"/>
                                        </p:tgtEl>
                                        <p:attrNameLst>
                                          <p:attrName>ppt_w</p:attrName>
                                        </p:attrNameLst>
                                      </p:cBhvr>
                                      <p:tavLst>
                                        <p:tav tm="0">
                                          <p:val>
                                            <p:fltVal val="0"/>
                                          </p:val>
                                        </p:tav>
                                        <p:tav tm="100000">
                                          <p:val>
                                            <p:strVal val="#ppt_w"/>
                                          </p:val>
                                        </p:tav>
                                      </p:tavLst>
                                    </p:anim>
                                    <p:anim calcmode="lin" valueType="num">
                                      <p:cBhvr>
                                        <p:cTn id="137" dur="500" fill="hold"/>
                                        <p:tgtEl>
                                          <p:spTgt spid="25"/>
                                        </p:tgtEl>
                                        <p:attrNameLst>
                                          <p:attrName>ppt_h</p:attrName>
                                        </p:attrNameLst>
                                      </p:cBhvr>
                                      <p:tavLst>
                                        <p:tav tm="0">
                                          <p:val>
                                            <p:fltVal val="0"/>
                                          </p:val>
                                        </p:tav>
                                        <p:tav tm="100000">
                                          <p:val>
                                            <p:strVal val="#ppt_h"/>
                                          </p:val>
                                        </p:tav>
                                      </p:tavLst>
                                    </p:anim>
                                    <p:animEffect transition="in" filter="fade">
                                      <p:cBhvr>
                                        <p:cTn id="138" dur="500"/>
                                        <p:tgtEl>
                                          <p:spTgt spid="25"/>
                                        </p:tgtEl>
                                      </p:cBhvr>
                                    </p:animEffect>
                                  </p:childTnLst>
                                </p:cTn>
                              </p:par>
                              <p:par>
                                <p:cTn id="139" presetID="16" presetClass="entr" presetSubtype="37" fill="hold" nodeType="withEffect">
                                  <p:stCondLst>
                                    <p:cond delay="600"/>
                                  </p:stCondLst>
                                  <p:childTnLst>
                                    <p:set>
                                      <p:cBhvr>
                                        <p:cTn id="140" dur="1" fill="hold">
                                          <p:stCondLst>
                                            <p:cond delay="0"/>
                                          </p:stCondLst>
                                        </p:cTn>
                                        <p:tgtEl>
                                          <p:spTgt spid="48"/>
                                        </p:tgtEl>
                                        <p:attrNameLst>
                                          <p:attrName>style.visibility</p:attrName>
                                        </p:attrNameLst>
                                      </p:cBhvr>
                                      <p:to>
                                        <p:strVal val="visible"/>
                                      </p:to>
                                    </p:set>
                                    <p:animEffect transition="in" filter="barn(outVertical)">
                                      <p:cBhvr>
                                        <p:cTn id="141" dur="500"/>
                                        <p:tgtEl>
                                          <p:spTgt spid="48"/>
                                        </p:tgtEl>
                                      </p:cBhvr>
                                    </p:animEffect>
                                  </p:childTnLst>
                                </p:cTn>
                              </p:par>
                              <p:par>
                                <p:cTn id="142" presetID="49" presetClass="entr" presetSubtype="0" decel="100000" fill="hold" nodeType="withEffect">
                                  <p:stCondLst>
                                    <p:cond delay="600"/>
                                  </p:stCondLst>
                                  <p:childTnLst>
                                    <p:set>
                                      <p:cBhvr>
                                        <p:cTn id="143" dur="1" fill="hold">
                                          <p:stCondLst>
                                            <p:cond delay="0"/>
                                          </p:stCondLst>
                                        </p:cTn>
                                        <p:tgtEl>
                                          <p:spTgt spid="193"/>
                                        </p:tgtEl>
                                        <p:attrNameLst>
                                          <p:attrName>style.visibility</p:attrName>
                                        </p:attrNameLst>
                                      </p:cBhvr>
                                      <p:to>
                                        <p:strVal val="visible"/>
                                      </p:to>
                                    </p:set>
                                    <p:anim calcmode="lin" valueType="num">
                                      <p:cBhvr>
                                        <p:cTn id="144" dur="500" fill="hold"/>
                                        <p:tgtEl>
                                          <p:spTgt spid="193"/>
                                        </p:tgtEl>
                                        <p:attrNameLst>
                                          <p:attrName>ppt_w</p:attrName>
                                        </p:attrNameLst>
                                      </p:cBhvr>
                                      <p:tavLst>
                                        <p:tav tm="0">
                                          <p:val>
                                            <p:fltVal val="0"/>
                                          </p:val>
                                        </p:tav>
                                        <p:tav tm="100000">
                                          <p:val>
                                            <p:strVal val="#ppt_w"/>
                                          </p:val>
                                        </p:tav>
                                      </p:tavLst>
                                    </p:anim>
                                    <p:anim calcmode="lin" valueType="num">
                                      <p:cBhvr>
                                        <p:cTn id="145" dur="500" fill="hold"/>
                                        <p:tgtEl>
                                          <p:spTgt spid="193"/>
                                        </p:tgtEl>
                                        <p:attrNameLst>
                                          <p:attrName>ppt_h</p:attrName>
                                        </p:attrNameLst>
                                      </p:cBhvr>
                                      <p:tavLst>
                                        <p:tav tm="0">
                                          <p:val>
                                            <p:fltVal val="0"/>
                                          </p:val>
                                        </p:tav>
                                        <p:tav tm="100000">
                                          <p:val>
                                            <p:strVal val="#ppt_h"/>
                                          </p:val>
                                        </p:tav>
                                      </p:tavLst>
                                    </p:anim>
                                    <p:anim calcmode="lin" valueType="num">
                                      <p:cBhvr>
                                        <p:cTn id="146" dur="500" fill="hold"/>
                                        <p:tgtEl>
                                          <p:spTgt spid="193"/>
                                        </p:tgtEl>
                                        <p:attrNameLst>
                                          <p:attrName>style.rotation</p:attrName>
                                        </p:attrNameLst>
                                      </p:cBhvr>
                                      <p:tavLst>
                                        <p:tav tm="0">
                                          <p:val>
                                            <p:fltVal val="360"/>
                                          </p:val>
                                        </p:tav>
                                        <p:tav tm="100000">
                                          <p:val>
                                            <p:fltVal val="0"/>
                                          </p:val>
                                        </p:tav>
                                      </p:tavLst>
                                    </p:anim>
                                    <p:animEffect transition="in" filter="fade">
                                      <p:cBhvr>
                                        <p:cTn id="147" dur="500"/>
                                        <p:tgtEl>
                                          <p:spTgt spid="193"/>
                                        </p:tgtEl>
                                      </p:cBhvr>
                                    </p:animEffect>
                                  </p:childTnLst>
                                </p:cTn>
                              </p:par>
                              <p:par>
                                <p:cTn id="148" presetID="10" presetClass="entr" presetSubtype="0" fill="hold" grpId="0" nodeType="withEffect">
                                  <p:stCondLst>
                                    <p:cond delay="600"/>
                                  </p:stCondLst>
                                  <p:childTnLst>
                                    <p:set>
                                      <p:cBhvr>
                                        <p:cTn id="149" dur="1" fill="hold">
                                          <p:stCondLst>
                                            <p:cond delay="0"/>
                                          </p:stCondLst>
                                        </p:cTn>
                                        <p:tgtEl>
                                          <p:spTgt spid="36"/>
                                        </p:tgtEl>
                                        <p:attrNameLst>
                                          <p:attrName>style.visibility</p:attrName>
                                        </p:attrNameLst>
                                      </p:cBhvr>
                                      <p:to>
                                        <p:strVal val="visible"/>
                                      </p:to>
                                    </p:set>
                                    <p:animEffect transition="in" filter="fade">
                                      <p:cBhvr>
                                        <p:cTn id="150" dur="400"/>
                                        <p:tgtEl>
                                          <p:spTgt spid="36"/>
                                        </p:tgtEl>
                                      </p:cBhvr>
                                    </p:animEffect>
                                  </p:childTnLst>
                                </p:cTn>
                              </p:par>
                              <p:par>
                                <p:cTn id="151" presetID="53" presetClass="entr" presetSubtype="16" fill="hold" nodeType="withEffect">
                                  <p:stCondLst>
                                    <p:cond delay="650"/>
                                  </p:stCondLst>
                                  <p:childTnLst>
                                    <p:set>
                                      <p:cBhvr>
                                        <p:cTn id="152" dur="1" fill="hold">
                                          <p:stCondLst>
                                            <p:cond delay="0"/>
                                          </p:stCondLst>
                                        </p:cTn>
                                        <p:tgtEl>
                                          <p:spTgt spid="27"/>
                                        </p:tgtEl>
                                        <p:attrNameLst>
                                          <p:attrName>style.visibility</p:attrName>
                                        </p:attrNameLst>
                                      </p:cBhvr>
                                      <p:to>
                                        <p:strVal val="visible"/>
                                      </p:to>
                                    </p:set>
                                    <p:anim calcmode="lin" valueType="num">
                                      <p:cBhvr>
                                        <p:cTn id="153" dur="500" fill="hold"/>
                                        <p:tgtEl>
                                          <p:spTgt spid="27"/>
                                        </p:tgtEl>
                                        <p:attrNameLst>
                                          <p:attrName>ppt_w</p:attrName>
                                        </p:attrNameLst>
                                      </p:cBhvr>
                                      <p:tavLst>
                                        <p:tav tm="0">
                                          <p:val>
                                            <p:fltVal val="0"/>
                                          </p:val>
                                        </p:tav>
                                        <p:tav tm="100000">
                                          <p:val>
                                            <p:strVal val="#ppt_w"/>
                                          </p:val>
                                        </p:tav>
                                      </p:tavLst>
                                    </p:anim>
                                    <p:anim calcmode="lin" valueType="num">
                                      <p:cBhvr>
                                        <p:cTn id="154" dur="500" fill="hold"/>
                                        <p:tgtEl>
                                          <p:spTgt spid="27"/>
                                        </p:tgtEl>
                                        <p:attrNameLst>
                                          <p:attrName>ppt_h</p:attrName>
                                        </p:attrNameLst>
                                      </p:cBhvr>
                                      <p:tavLst>
                                        <p:tav tm="0">
                                          <p:val>
                                            <p:fltVal val="0"/>
                                          </p:val>
                                        </p:tav>
                                        <p:tav tm="100000">
                                          <p:val>
                                            <p:strVal val="#ppt_h"/>
                                          </p:val>
                                        </p:tav>
                                      </p:tavLst>
                                    </p:anim>
                                    <p:animEffect transition="in" filter="fade">
                                      <p:cBhvr>
                                        <p:cTn id="155" dur="500"/>
                                        <p:tgtEl>
                                          <p:spTgt spid="27"/>
                                        </p:tgtEl>
                                      </p:cBhvr>
                                    </p:animEffect>
                                  </p:childTnLst>
                                </p:cTn>
                              </p:par>
                              <p:par>
                                <p:cTn id="156" presetID="16" presetClass="entr" presetSubtype="37" fill="hold" nodeType="withEffect">
                                  <p:stCondLst>
                                    <p:cond delay="650"/>
                                  </p:stCondLst>
                                  <p:childTnLst>
                                    <p:set>
                                      <p:cBhvr>
                                        <p:cTn id="157" dur="1" fill="hold">
                                          <p:stCondLst>
                                            <p:cond delay="0"/>
                                          </p:stCondLst>
                                        </p:cTn>
                                        <p:tgtEl>
                                          <p:spTgt spid="47"/>
                                        </p:tgtEl>
                                        <p:attrNameLst>
                                          <p:attrName>style.visibility</p:attrName>
                                        </p:attrNameLst>
                                      </p:cBhvr>
                                      <p:to>
                                        <p:strVal val="visible"/>
                                      </p:to>
                                    </p:set>
                                    <p:animEffect transition="in" filter="barn(outVertical)">
                                      <p:cBhvr>
                                        <p:cTn id="158" dur="500"/>
                                        <p:tgtEl>
                                          <p:spTgt spid="47"/>
                                        </p:tgtEl>
                                      </p:cBhvr>
                                    </p:animEffect>
                                  </p:childTnLst>
                                </p:cTn>
                              </p:par>
                              <p:par>
                                <p:cTn id="159" presetID="49" presetClass="entr" presetSubtype="0" decel="100000" fill="hold" nodeType="withEffect">
                                  <p:stCondLst>
                                    <p:cond delay="650"/>
                                  </p:stCondLst>
                                  <p:childTnLst>
                                    <p:set>
                                      <p:cBhvr>
                                        <p:cTn id="160" dur="1" fill="hold">
                                          <p:stCondLst>
                                            <p:cond delay="0"/>
                                          </p:stCondLst>
                                        </p:cTn>
                                        <p:tgtEl>
                                          <p:spTgt spid="219"/>
                                        </p:tgtEl>
                                        <p:attrNameLst>
                                          <p:attrName>style.visibility</p:attrName>
                                        </p:attrNameLst>
                                      </p:cBhvr>
                                      <p:to>
                                        <p:strVal val="visible"/>
                                      </p:to>
                                    </p:set>
                                    <p:anim calcmode="lin" valueType="num">
                                      <p:cBhvr>
                                        <p:cTn id="161" dur="500" fill="hold"/>
                                        <p:tgtEl>
                                          <p:spTgt spid="219"/>
                                        </p:tgtEl>
                                        <p:attrNameLst>
                                          <p:attrName>ppt_w</p:attrName>
                                        </p:attrNameLst>
                                      </p:cBhvr>
                                      <p:tavLst>
                                        <p:tav tm="0">
                                          <p:val>
                                            <p:fltVal val="0"/>
                                          </p:val>
                                        </p:tav>
                                        <p:tav tm="100000">
                                          <p:val>
                                            <p:strVal val="#ppt_w"/>
                                          </p:val>
                                        </p:tav>
                                      </p:tavLst>
                                    </p:anim>
                                    <p:anim calcmode="lin" valueType="num">
                                      <p:cBhvr>
                                        <p:cTn id="162" dur="500" fill="hold"/>
                                        <p:tgtEl>
                                          <p:spTgt spid="219"/>
                                        </p:tgtEl>
                                        <p:attrNameLst>
                                          <p:attrName>ppt_h</p:attrName>
                                        </p:attrNameLst>
                                      </p:cBhvr>
                                      <p:tavLst>
                                        <p:tav tm="0">
                                          <p:val>
                                            <p:fltVal val="0"/>
                                          </p:val>
                                        </p:tav>
                                        <p:tav tm="100000">
                                          <p:val>
                                            <p:strVal val="#ppt_h"/>
                                          </p:val>
                                        </p:tav>
                                      </p:tavLst>
                                    </p:anim>
                                    <p:anim calcmode="lin" valueType="num">
                                      <p:cBhvr>
                                        <p:cTn id="163" dur="500" fill="hold"/>
                                        <p:tgtEl>
                                          <p:spTgt spid="219"/>
                                        </p:tgtEl>
                                        <p:attrNameLst>
                                          <p:attrName>style.rotation</p:attrName>
                                        </p:attrNameLst>
                                      </p:cBhvr>
                                      <p:tavLst>
                                        <p:tav tm="0">
                                          <p:val>
                                            <p:fltVal val="360"/>
                                          </p:val>
                                        </p:tav>
                                        <p:tav tm="100000">
                                          <p:val>
                                            <p:fltVal val="0"/>
                                          </p:val>
                                        </p:tav>
                                      </p:tavLst>
                                    </p:anim>
                                    <p:animEffect transition="in" filter="fade">
                                      <p:cBhvr>
                                        <p:cTn id="164" dur="500"/>
                                        <p:tgtEl>
                                          <p:spTgt spid="219"/>
                                        </p:tgtEl>
                                      </p:cBhvr>
                                    </p:animEffect>
                                  </p:childTnLst>
                                </p:cTn>
                              </p:par>
                              <p:par>
                                <p:cTn id="165" presetID="10" presetClass="entr" presetSubtype="0" fill="hold" grpId="0" nodeType="withEffect">
                                  <p:stCondLst>
                                    <p:cond delay="650"/>
                                  </p:stCondLst>
                                  <p:childTnLst>
                                    <p:set>
                                      <p:cBhvr>
                                        <p:cTn id="166" dur="1" fill="hold">
                                          <p:stCondLst>
                                            <p:cond delay="0"/>
                                          </p:stCondLst>
                                        </p:cTn>
                                        <p:tgtEl>
                                          <p:spTgt spid="35"/>
                                        </p:tgtEl>
                                        <p:attrNameLst>
                                          <p:attrName>style.visibility</p:attrName>
                                        </p:attrNameLst>
                                      </p:cBhvr>
                                      <p:to>
                                        <p:strVal val="visible"/>
                                      </p:to>
                                    </p:set>
                                    <p:animEffect transition="in" filter="fade">
                                      <p:cBhvr>
                                        <p:cTn id="167" dur="500"/>
                                        <p:tgtEl>
                                          <p:spTgt spid="35"/>
                                        </p:tgtEl>
                                      </p:cBhvr>
                                    </p:animEffect>
                                  </p:childTnLst>
                                </p:cTn>
                              </p:par>
                              <p:par>
                                <p:cTn id="168" presetID="16" presetClass="entr" presetSubtype="37" fill="hold" nodeType="withEffect">
                                  <p:stCondLst>
                                    <p:cond delay="750"/>
                                  </p:stCondLst>
                                  <p:childTnLst>
                                    <p:set>
                                      <p:cBhvr>
                                        <p:cTn id="169" dur="1" fill="hold">
                                          <p:stCondLst>
                                            <p:cond delay="0"/>
                                          </p:stCondLst>
                                        </p:cTn>
                                        <p:tgtEl>
                                          <p:spTgt spid="39"/>
                                        </p:tgtEl>
                                        <p:attrNameLst>
                                          <p:attrName>style.visibility</p:attrName>
                                        </p:attrNameLst>
                                      </p:cBhvr>
                                      <p:to>
                                        <p:strVal val="visible"/>
                                      </p:to>
                                    </p:set>
                                    <p:animEffect transition="in" filter="barn(outVertical)">
                                      <p:cBhvr>
                                        <p:cTn id="170" dur="500"/>
                                        <p:tgtEl>
                                          <p:spTgt spid="39"/>
                                        </p:tgtEl>
                                      </p:cBhvr>
                                    </p:animEffect>
                                  </p:childTnLst>
                                </p:cTn>
                              </p:par>
                              <p:par>
                                <p:cTn id="171" presetID="10" presetClass="entr" presetSubtype="0" fill="hold" grpId="0" nodeType="withEffect">
                                  <p:stCondLst>
                                    <p:cond delay="750"/>
                                  </p:stCondLst>
                                  <p:childTnLst>
                                    <p:set>
                                      <p:cBhvr>
                                        <p:cTn id="172" dur="1" fill="hold">
                                          <p:stCondLst>
                                            <p:cond delay="0"/>
                                          </p:stCondLst>
                                        </p:cTn>
                                        <p:tgtEl>
                                          <p:spTgt spid="28"/>
                                        </p:tgtEl>
                                        <p:attrNameLst>
                                          <p:attrName>style.visibility</p:attrName>
                                        </p:attrNameLst>
                                      </p:cBhvr>
                                      <p:to>
                                        <p:strVal val="visible"/>
                                      </p:to>
                                    </p:set>
                                    <p:animEffect transition="in" filter="fade">
                                      <p:cBhvr>
                                        <p:cTn id="173" dur="500"/>
                                        <p:tgtEl>
                                          <p:spTgt spid="28"/>
                                        </p:tgtEl>
                                      </p:cBhvr>
                                    </p:animEffect>
                                  </p:childTnLst>
                                </p:cTn>
                              </p:par>
                              <p:par>
                                <p:cTn id="174" presetID="22" presetClass="entr" presetSubtype="8" fill="hold" nodeType="withEffect">
                                  <p:stCondLst>
                                    <p:cond delay="750"/>
                                  </p:stCondLst>
                                  <p:childTnLst>
                                    <p:set>
                                      <p:cBhvr>
                                        <p:cTn id="175" dur="1" fill="hold">
                                          <p:stCondLst>
                                            <p:cond delay="0"/>
                                          </p:stCondLst>
                                        </p:cTn>
                                        <p:tgtEl>
                                          <p:spTgt spid="150"/>
                                        </p:tgtEl>
                                        <p:attrNameLst>
                                          <p:attrName>style.visibility</p:attrName>
                                        </p:attrNameLst>
                                      </p:cBhvr>
                                      <p:to>
                                        <p:strVal val="visible"/>
                                      </p:to>
                                    </p:set>
                                    <p:animEffect transition="in" filter="wipe(left)">
                                      <p:cBhvr>
                                        <p:cTn id="176" dur="500"/>
                                        <p:tgtEl>
                                          <p:spTgt spid="150"/>
                                        </p:tgtEl>
                                      </p:cBhvr>
                                    </p:animEffect>
                                  </p:childTnLst>
                                </p:cTn>
                              </p:par>
                              <p:par>
                                <p:cTn id="177" presetID="10" presetClass="entr" presetSubtype="0" fill="hold" grpId="0" nodeType="withEffect">
                                  <p:stCondLst>
                                    <p:cond delay="750"/>
                                  </p:stCondLst>
                                  <p:childTnLst>
                                    <p:set>
                                      <p:cBhvr>
                                        <p:cTn id="178" dur="1" fill="hold">
                                          <p:stCondLst>
                                            <p:cond delay="0"/>
                                          </p:stCondLst>
                                        </p:cTn>
                                        <p:tgtEl>
                                          <p:spTgt spid="151"/>
                                        </p:tgtEl>
                                        <p:attrNameLst>
                                          <p:attrName>style.visibility</p:attrName>
                                        </p:attrNameLst>
                                      </p:cBhvr>
                                      <p:to>
                                        <p:strVal val="visible"/>
                                      </p:to>
                                    </p:set>
                                    <p:animEffect transition="in" filter="fade">
                                      <p:cBhvr>
                                        <p:cTn id="179" dur="500"/>
                                        <p:tgtEl>
                                          <p:spTgt spid="151"/>
                                        </p:tgtEl>
                                      </p:cBhvr>
                                    </p:animEffect>
                                  </p:childTnLst>
                                </p:cTn>
                              </p:par>
                              <p:par>
                                <p:cTn id="180" presetID="10" presetClass="entr" presetSubtype="0" fill="hold" grpId="0" nodeType="withEffect">
                                  <p:stCondLst>
                                    <p:cond delay="1000"/>
                                  </p:stCondLst>
                                  <p:childTnLst>
                                    <p:set>
                                      <p:cBhvr>
                                        <p:cTn id="181" dur="1" fill="hold">
                                          <p:stCondLst>
                                            <p:cond delay="0"/>
                                          </p:stCondLst>
                                        </p:cTn>
                                        <p:tgtEl>
                                          <p:spTgt spid="152"/>
                                        </p:tgtEl>
                                        <p:attrNameLst>
                                          <p:attrName>style.visibility</p:attrName>
                                        </p:attrNameLst>
                                      </p:cBhvr>
                                      <p:to>
                                        <p:strVal val="visible"/>
                                      </p:to>
                                    </p:set>
                                    <p:animEffect transition="in" filter="fade">
                                      <p:cBhvr>
                                        <p:cTn id="182" dur="500"/>
                                        <p:tgtEl>
                                          <p:spTgt spid="152"/>
                                        </p:tgtEl>
                                      </p:cBhvr>
                                    </p:animEffect>
                                  </p:childTnLst>
                                </p:cTn>
                              </p:par>
                              <p:par>
                                <p:cTn id="183" presetID="22" presetClass="entr" presetSubtype="8" fill="hold" nodeType="withEffect">
                                  <p:stCondLst>
                                    <p:cond delay="1000"/>
                                  </p:stCondLst>
                                  <p:childTnLst>
                                    <p:set>
                                      <p:cBhvr>
                                        <p:cTn id="184" dur="1" fill="hold">
                                          <p:stCondLst>
                                            <p:cond delay="0"/>
                                          </p:stCondLst>
                                        </p:cTn>
                                        <p:tgtEl>
                                          <p:spTgt spid="148"/>
                                        </p:tgtEl>
                                        <p:attrNameLst>
                                          <p:attrName>style.visibility</p:attrName>
                                        </p:attrNameLst>
                                      </p:cBhvr>
                                      <p:to>
                                        <p:strVal val="visible"/>
                                      </p:to>
                                    </p:set>
                                    <p:animEffect transition="in" filter="wipe(left)">
                                      <p:cBhvr>
                                        <p:cTn id="185" dur="500"/>
                                        <p:tgtEl>
                                          <p:spTgt spid="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8" grpId="0"/>
      <p:bldP spid="29" grpId="0"/>
      <p:bldP spid="30" grpId="0"/>
      <p:bldP spid="31" grpId="0"/>
      <p:bldP spid="33" grpId="0"/>
      <p:bldP spid="34" grpId="0"/>
      <p:bldP spid="35" grpId="0"/>
      <p:bldP spid="36" grpId="0"/>
      <p:bldP spid="37" grpId="0"/>
      <p:bldP spid="38" grpId="0"/>
      <p:bldP spid="40" grpId="0"/>
      <p:bldP spid="41" grpId="0"/>
      <p:bldP spid="151" grpId="0"/>
      <p:bldP spid="15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a:extLst>
              <a:ext uri="{FF2B5EF4-FFF2-40B4-BE49-F238E27FC236}">
                <a16:creationId xmlns="" xmlns:a16="http://schemas.microsoft.com/office/drawing/2014/main" id="{30B8FB40-5453-4427-BD39-24F72DE64EE2}"/>
              </a:ext>
            </a:extLst>
          </p:cNvPr>
          <p:cNvPicPr>
            <a:picLocks noChangeAspect="1"/>
          </p:cNvPicPr>
          <p:nvPr/>
        </p:nvPicPr>
        <p:blipFill rotWithShape="1">
          <a:blip r:embed="rId2">
            <a:extLst>
              <a:ext uri="{28A0092B-C50C-407E-A947-70E740481C1C}">
                <a14:useLocalDpi xmlns:a14="http://schemas.microsoft.com/office/drawing/2010/main" val="0"/>
              </a:ext>
            </a:extLst>
          </a:blip>
          <a:srcRect r="4056"/>
          <a:stretch/>
        </p:blipFill>
        <p:spPr>
          <a:xfrm>
            <a:off x="497425" y="0"/>
            <a:ext cx="11694575" cy="6858000"/>
          </a:xfrm>
          <a:prstGeom prst="rect">
            <a:avLst/>
          </a:prstGeom>
        </p:spPr>
      </p:pic>
      <p:sp>
        <p:nvSpPr>
          <p:cNvPr id="208" name="Isosceles Triangle 10">
            <a:extLst>
              <a:ext uri="{FF2B5EF4-FFF2-40B4-BE49-F238E27FC236}">
                <a16:creationId xmlns="" xmlns:a16="http://schemas.microsoft.com/office/drawing/2014/main" id="{4F7D247E-5348-4823-8962-24E692D053E9}"/>
              </a:ext>
            </a:extLst>
          </p:cNvPr>
          <p:cNvSpPr/>
          <p:nvPr/>
        </p:nvSpPr>
        <p:spPr>
          <a:xfrm rot="10800000" flipV="1">
            <a:off x="120562" y="3525051"/>
            <a:ext cx="3689437" cy="3180549"/>
          </a:xfrm>
          <a:prstGeom prst="triangle">
            <a:avLst/>
          </a:prstGeom>
          <a:solidFill>
            <a:srgbClr val="8CC6EC">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9" name="Imagem 8">
            <a:extLst>
              <a:ext uri="{FF2B5EF4-FFF2-40B4-BE49-F238E27FC236}">
                <a16:creationId xmlns="" xmlns:a16="http://schemas.microsoft.com/office/drawing/2014/main" id="{8870B70F-EABB-49EC-A67F-3996C06E5566}"/>
              </a:ext>
            </a:extLst>
          </p:cNvPr>
          <p:cNvPicPr>
            <a:picLocks noChangeAspect="1"/>
          </p:cNvPicPr>
          <p:nvPr/>
        </p:nvPicPr>
        <p:blipFill rotWithShape="1">
          <a:blip r:embed="rId3">
            <a:extLst>
              <a:ext uri="{28A0092B-C50C-407E-A947-70E740481C1C}">
                <a14:useLocalDpi xmlns:a14="http://schemas.microsoft.com/office/drawing/2010/main" val="0"/>
              </a:ext>
            </a:extLst>
          </a:blip>
          <a:srcRect l="19675" t="44097" r="64784" b="38683"/>
          <a:stretch/>
        </p:blipFill>
        <p:spPr>
          <a:xfrm>
            <a:off x="2903153" y="3024117"/>
            <a:ext cx="1894339" cy="1180972"/>
          </a:xfrm>
          <a:prstGeom prst="rect">
            <a:avLst/>
          </a:prstGeom>
        </p:spPr>
      </p:pic>
      <p:grpSp>
        <p:nvGrpSpPr>
          <p:cNvPr id="2" name="Agrupar 1">
            <a:extLst>
              <a:ext uri="{FF2B5EF4-FFF2-40B4-BE49-F238E27FC236}">
                <a16:creationId xmlns="" xmlns:a16="http://schemas.microsoft.com/office/drawing/2014/main" id="{94CA6F51-6BD3-4E78-9C3D-A8936C43E390}"/>
              </a:ext>
            </a:extLst>
          </p:cNvPr>
          <p:cNvGrpSpPr/>
          <p:nvPr/>
        </p:nvGrpSpPr>
        <p:grpSpPr>
          <a:xfrm>
            <a:off x="553499" y="4123087"/>
            <a:ext cx="1262728" cy="1088559"/>
            <a:chOff x="553499" y="4123087"/>
            <a:chExt cx="1262728" cy="1088559"/>
          </a:xfrm>
        </p:grpSpPr>
        <p:sp>
          <p:nvSpPr>
            <p:cNvPr id="209" name="Isosceles Triangle 11">
              <a:extLst>
                <a:ext uri="{FF2B5EF4-FFF2-40B4-BE49-F238E27FC236}">
                  <a16:creationId xmlns="" xmlns:a16="http://schemas.microsoft.com/office/drawing/2014/main" id="{982F5A27-642F-4F0A-AC17-54F99083B444}"/>
                </a:ext>
              </a:extLst>
            </p:cNvPr>
            <p:cNvSpPr/>
            <p:nvPr/>
          </p:nvSpPr>
          <p:spPr>
            <a:xfrm rot="10800000">
              <a:off x="553499" y="4123087"/>
              <a:ext cx="1262728" cy="1088559"/>
            </a:xfrm>
            <a:prstGeom prst="triangle">
              <a:avLst/>
            </a:prstGeom>
            <a:solidFill>
              <a:srgbClr val="055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grpSp>
          <p:nvGrpSpPr>
            <p:cNvPr id="210" name="Group 210">
              <a:extLst>
                <a:ext uri="{FF2B5EF4-FFF2-40B4-BE49-F238E27FC236}">
                  <a16:creationId xmlns="" xmlns:a16="http://schemas.microsoft.com/office/drawing/2014/main" id="{C963795A-B0D1-44A2-AB96-BD7FB84B1572}"/>
                </a:ext>
              </a:extLst>
            </p:cNvPr>
            <p:cNvGrpSpPr>
              <a:grpSpLocks noChangeAspect="1"/>
            </p:cNvGrpSpPr>
            <p:nvPr/>
          </p:nvGrpSpPr>
          <p:grpSpPr bwMode="auto">
            <a:xfrm>
              <a:off x="928716" y="4267200"/>
              <a:ext cx="519891" cy="519891"/>
              <a:chOff x="3656" y="3075"/>
              <a:chExt cx="480" cy="480"/>
            </a:xfrm>
            <a:solidFill>
              <a:schemeClr val="bg1"/>
            </a:solidFill>
          </p:grpSpPr>
          <p:sp>
            <p:nvSpPr>
              <p:cNvPr id="211" name="Freeform 211">
                <a:extLst>
                  <a:ext uri="{FF2B5EF4-FFF2-40B4-BE49-F238E27FC236}">
                    <a16:creationId xmlns="" xmlns:a16="http://schemas.microsoft.com/office/drawing/2014/main" id="{30EE012B-48B9-4A0F-86BE-5F34B2AB1EB7}"/>
                  </a:ext>
                </a:extLst>
              </p:cNvPr>
              <p:cNvSpPr>
                <a:spLocks noEditPoints="1"/>
              </p:cNvSpPr>
              <p:nvPr/>
            </p:nvSpPr>
            <p:spPr bwMode="auto">
              <a:xfrm>
                <a:off x="3656" y="3075"/>
                <a:ext cx="480" cy="480"/>
              </a:xfrm>
              <a:custGeom>
                <a:avLst/>
                <a:gdLst>
                  <a:gd name="T0" fmla="*/ 88 w 177"/>
                  <a:gd name="T1" fmla="*/ 177 h 177"/>
                  <a:gd name="T2" fmla="*/ 0 w 177"/>
                  <a:gd name="T3" fmla="*/ 88 h 177"/>
                  <a:gd name="T4" fmla="*/ 88 w 177"/>
                  <a:gd name="T5" fmla="*/ 0 h 177"/>
                  <a:gd name="T6" fmla="*/ 177 w 177"/>
                  <a:gd name="T7" fmla="*/ 88 h 177"/>
                  <a:gd name="T8" fmla="*/ 88 w 177"/>
                  <a:gd name="T9" fmla="*/ 177 h 177"/>
                  <a:gd name="T10" fmla="*/ 88 w 177"/>
                  <a:gd name="T11" fmla="*/ 8 h 177"/>
                  <a:gd name="T12" fmla="*/ 8 w 177"/>
                  <a:gd name="T13" fmla="*/ 88 h 177"/>
                  <a:gd name="T14" fmla="*/ 88 w 177"/>
                  <a:gd name="T15" fmla="*/ 169 h 177"/>
                  <a:gd name="T16" fmla="*/ 169 w 177"/>
                  <a:gd name="T17" fmla="*/ 88 h 177"/>
                  <a:gd name="T18" fmla="*/ 88 w 177"/>
                  <a:gd name="T19" fmla="*/ 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7" h="177">
                    <a:moveTo>
                      <a:pt x="88" y="177"/>
                    </a:moveTo>
                    <a:cubicBezTo>
                      <a:pt x="39" y="177"/>
                      <a:pt x="0" y="137"/>
                      <a:pt x="0" y="88"/>
                    </a:cubicBezTo>
                    <a:cubicBezTo>
                      <a:pt x="0" y="39"/>
                      <a:pt x="39" y="0"/>
                      <a:pt x="88" y="0"/>
                    </a:cubicBezTo>
                    <a:cubicBezTo>
                      <a:pt x="137" y="0"/>
                      <a:pt x="177" y="39"/>
                      <a:pt x="177" y="88"/>
                    </a:cubicBezTo>
                    <a:cubicBezTo>
                      <a:pt x="177" y="137"/>
                      <a:pt x="137" y="177"/>
                      <a:pt x="88" y="177"/>
                    </a:cubicBezTo>
                    <a:close/>
                    <a:moveTo>
                      <a:pt x="88" y="8"/>
                    </a:moveTo>
                    <a:cubicBezTo>
                      <a:pt x="44" y="8"/>
                      <a:pt x="8" y="44"/>
                      <a:pt x="8" y="88"/>
                    </a:cubicBezTo>
                    <a:cubicBezTo>
                      <a:pt x="8" y="133"/>
                      <a:pt x="44" y="169"/>
                      <a:pt x="88" y="169"/>
                    </a:cubicBezTo>
                    <a:cubicBezTo>
                      <a:pt x="133" y="169"/>
                      <a:pt x="169" y="133"/>
                      <a:pt x="169" y="88"/>
                    </a:cubicBezTo>
                    <a:cubicBezTo>
                      <a:pt x="169" y="44"/>
                      <a:pt x="133" y="8"/>
                      <a:pt x="8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2" name="Freeform 212">
                <a:extLst>
                  <a:ext uri="{FF2B5EF4-FFF2-40B4-BE49-F238E27FC236}">
                    <a16:creationId xmlns="" xmlns:a16="http://schemas.microsoft.com/office/drawing/2014/main" id="{6A2BECC3-6CDB-4FDE-94FA-98A58AEAE59E}"/>
                  </a:ext>
                </a:extLst>
              </p:cNvPr>
              <p:cNvSpPr>
                <a:spLocks noEditPoints="1"/>
              </p:cNvSpPr>
              <p:nvPr/>
            </p:nvSpPr>
            <p:spPr bwMode="auto">
              <a:xfrm>
                <a:off x="3759" y="3075"/>
                <a:ext cx="271" cy="480"/>
              </a:xfrm>
              <a:custGeom>
                <a:avLst/>
                <a:gdLst>
                  <a:gd name="T0" fmla="*/ 50 w 100"/>
                  <a:gd name="T1" fmla="*/ 177 h 177"/>
                  <a:gd name="T2" fmla="*/ 0 w 100"/>
                  <a:gd name="T3" fmla="*/ 88 h 177"/>
                  <a:gd name="T4" fmla="*/ 50 w 100"/>
                  <a:gd name="T5" fmla="*/ 0 h 177"/>
                  <a:gd name="T6" fmla="*/ 100 w 100"/>
                  <a:gd name="T7" fmla="*/ 88 h 177"/>
                  <a:gd name="T8" fmla="*/ 50 w 100"/>
                  <a:gd name="T9" fmla="*/ 177 h 177"/>
                  <a:gd name="T10" fmla="*/ 50 w 100"/>
                  <a:gd name="T11" fmla="*/ 8 h 177"/>
                  <a:gd name="T12" fmla="*/ 8 w 100"/>
                  <a:gd name="T13" fmla="*/ 88 h 177"/>
                  <a:gd name="T14" fmla="*/ 50 w 100"/>
                  <a:gd name="T15" fmla="*/ 169 h 177"/>
                  <a:gd name="T16" fmla="*/ 92 w 100"/>
                  <a:gd name="T17" fmla="*/ 88 h 177"/>
                  <a:gd name="T18" fmla="*/ 50 w 100"/>
                  <a:gd name="T19" fmla="*/ 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77">
                    <a:moveTo>
                      <a:pt x="50" y="177"/>
                    </a:moveTo>
                    <a:cubicBezTo>
                      <a:pt x="22" y="177"/>
                      <a:pt x="0" y="138"/>
                      <a:pt x="0" y="88"/>
                    </a:cubicBezTo>
                    <a:cubicBezTo>
                      <a:pt x="0" y="39"/>
                      <a:pt x="22" y="0"/>
                      <a:pt x="50" y="0"/>
                    </a:cubicBezTo>
                    <a:cubicBezTo>
                      <a:pt x="78" y="0"/>
                      <a:pt x="100" y="39"/>
                      <a:pt x="100" y="88"/>
                    </a:cubicBezTo>
                    <a:cubicBezTo>
                      <a:pt x="100" y="138"/>
                      <a:pt x="78" y="177"/>
                      <a:pt x="50" y="177"/>
                    </a:cubicBezTo>
                    <a:close/>
                    <a:moveTo>
                      <a:pt x="50" y="8"/>
                    </a:moveTo>
                    <a:cubicBezTo>
                      <a:pt x="27" y="8"/>
                      <a:pt x="8" y="45"/>
                      <a:pt x="8" y="88"/>
                    </a:cubicBezTo>
                    <a:cubicBezTo>
                      <a:pt x="8" y="132"/>
                      <a:pt x="27" y="169"/>
                      <a:pt x="50" y="169"/>
                    </a:cubicBezTo>
                    <a:cubicBezTo>
                      <a:pt x="73" y="169"/>
                      <a:pt x="92" y="132"/>
                      <a:pt x="92" y="88"/>
                    </a:cubicBezTo>
                    <a:cubicBezTo>
                      <a:pt x="92" y="45"/>
                      <a:pt x="73" y="8"/>
                      <a:pt x="5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3" name="Freeform 213">
                <a:extLst>
                  <a:ext uri="{FF2B5EF4-FFF2-40B4-BE49-F238E27FC236}">
                    <a16:creationId xmlns="" xmlns:a16="http://schemas.microsoft.com/office/drawing/2014/main" id="{1676D746-AB41-431B-B530-A5EA464117D5}"/>
                  </a:ext>
                </a:extLst>
              </p:cNvPr>
              <p:cNvSpPr>
                <a:spLocks/>
              </p:cNvSpPr>
              <p:nvPr/>
            </p:nvSpPr>
            <p:spPr bwMode="auto">
              <a:xfrm>
                <a:off x="3667" y="3227"/>
                <a:ext cx="455" cy="22"/>
              </a:xfrm>
              <a:custGeom>
                <a:avLst/>
                <a:gdLst>
                  <a:gd name="T0" fmla="*/ 164 w 168"/>
                  <a:gd name="T1" fmla="*/ 8 h 8"/>
                  <a:gd name="T2" fmla="*/ 4 w 168"/>
                  <a:gd name="T3" fmla="*/ 8 h 8"/>
                  <a:gd name="T4" fmla="*/ 0 w 168"/>
                  <a:gd name="T5" fmla="*/ 4 h 8"/>
                  <a:gd name="T6" fmla="*/ 4 w 168"/>
                  <a:gd name="T7" fmla="*/ 0 h 8"/>
                  <a:gd name="T8" fmla="*/ 164 w 168"/>
                  <a:gd name="T9" fmla="*/ 0 h 8"/>
                  <a:gd name="T10" fmla="*/ 168 w 168"/>
                  <a:gd name="T11" fmla="*/ 4 h 8"/>
                  <a:gd name="T12" fmla="*/ 164 w 16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68" h="8">
                    <a:moveTo>
                      <a:pt x="164" y="8"/>
                    </a:moveTo>
                    <a:cubicBezTo>
                      <a:pt x="4" y="8"/>
                      <a:pt x="4" y="8"/>
                      <a:pt x="4" y="8"/>
                    </a:cubicBezTo>
                    <a:cubicBezTo>
                      <a:pt x="2" y="8"/>
                      <a:pt x="0" y="6"/>
                      <a:pt x="0" y="4"/>
                    </a:cubicBezTo>
                    <a:cubicBezTo>
                      <a:pt x="0" y="2"/>
                      <a:pt x="2" y="0"/>
                      <a:pt x="4" y="0"/>
                    </a:cubicBezTo>
                    <a:cubicBezTo>
                      <a:pt x="164" y="0"/>
                      <a:pt x="164" y="0"/>
                      <a:pt x="164" y="0"/>
                    </a:cubicBezTo>
                    <a:cubicBezTo>
                      <a:pt x="166" y="0"/>
                      <a:pt x="168" y="2"/>
                      <a:pt x="168" y="4"/>
                    </a:cubicBezTo>
                    <a:cubicBezTo>
                      <a:pt x="168" y="6"/>
                      <a:pt x="166" y="8"/>
                      <a:pt x="16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4" name="Freeform 214">
                <a:extLst>
                  <a:ext uri="{FF2B5EF4-FFF2-40B4-BE49-F238E27FC236}">
                    <a16:creationId xmlns="" xmlns:a16="http://schemas.microsoft.com/office/drawing/2014/main" id="{6DE4921F-F8F3-4467-8C85-3AE868CA3CCF}"/>
                  </a:ext>
                </a:extLst>
              </p:cNvPr>
              <p:cNvSpPr>
                <a:spLocks/>
              </p:cNvSpPr>
              <p:nvPr/>
            </p:nvSpPr>
            <p:spPr bwMode="auto">
              <a:xfrm>
                <a:off x="3667" y="3368"/>
                <a:ext cx="455" cy="22"/>
              </a:xfrm>
              <a:custGeom>
                <a:avLst/>
                <a:gdLst>
                  <a:gd name="T0" fmla="*/ 164 w 168"/>
                  <a:gd name="T1" fmla="*/ 8 h 8"/>
                  <a:gd name="T2" fmla="*/ 4 w 168"/>
                  <a:gd name="T3" fmla="*/ 8 h 8"/>
                  <a:gd name="T4" fmla="*/ 0 w 168"/>
                  <a:gd name="T5" fmla="*/ 4 h 8"/>
                  <a:gd name="T6" fmla="*/ 4 w 168"/>
                  <a:gd name="T7" fmla="*/ 0 h 8"/>
                  <a:gd name="T8" fmla="*/ 164 w 168"/>
                  <a:gd name="T9" fmla="*/ 0 h 8"/>
                  <a:gd name="T10" fmla="*/ 168 w 168"/>
                  <a:gd name="T11" fmla="*/ 4 h 8"/>
                  <a:gd name="T12" fmla="*/ 164 w 16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68" h="8">
                    <a:moveTo>
                      <a:pt x="164" y="8"/>
                    </a:moveTo>
                    <a:cubicBezTo>
                      <a:pt x="4" y="8"/>
                      <a:pt x="4" y="8"/>
                      <a:pt x="4" y="8"/>
                    </a:cubicBezTo>
                    <a:cubicBezTo>
                      <a:pt x="2" y="8"/>
                      <a:pt x="0" y="6"/>
                      <a:pt x="0" y="4"/>
                    </a:cubicBezTo>
                    <a:cubicBezTo>
                      <a:pt x="0" y="2"/>
                      <a:pt x="2" y="0"/>
                      <a:pt x="4" y="0"/>
                    </a:cubicBezTo>
                    <a:cubicBezTo>
                      <a:pt x="164" y="0"/>
                      <a:pt x="164" y="0"/>
                      <a:pt x="164" y="0"/>
                    </a:cubicBezTo>
                    <a:cubicBezTo>
                      <a:pt x="166" y="0"/>
                      <a:pt x="168" y="2"/>
                      <a:pt x="168" y="4"/>
                    </a:cubicBezTo>
                    <a:cubicBezTo>
                      <a:pt x="168" y="6"/>
                      <a:pt x="166" y="8"/>
                      <a:pt x="16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215" name="Freeform 215">
                <a:extLst>
                  <a:ext uri="{FF2B5EF4-FFF2-40B4-BE49-F238E27FC236}">
                    <a16:creationId xmlns="" xmlns:a16="http://schemas.microsoft.com/office/drawing/2014/main" id="{1F893506-1C0A-4781-BD40-829B4D509106}"/>
                  </a:ext>
                </a:extLst>
              </p:cNvPr>
              <p:cNvSpPr>
                <a:spLocks/>
              </p:cNvSpPr>
              <p:nvPr/>
            </p:nvSpPr>
            <p:spPr bwMode="auto">
              <a:xfrm>
                <a:off x="3884" y="3075"/>
                <a:ext cx="21" cy="467"/>
              </a:xfrm>
              <a:custGeom>
                <a:avLst/>
                <a:gdLst>
                  <a:gd name="T0" fmla="*/ 4 w 8"/>
                  <a:gd name="T1" fmla="*/ 172 h 172"/>
                  <a:gd name="T2" fmla="*/ 0 w 8"/>
                  <a:gd name="T3" fmla="*/ 168 h 172"/>
                  <a:gd name="T4" fmla="*/ 0 w 8"/>
                  <a:gd name="T5" fmla="*/ 4 h 172"/>
                  <a:gd name="T6" fmla="*/ 4 w 8"/>
                  <a:gd name="T7" fmla="*/ 0 h 172"/>
                  <a:gd name="T8" fmla="*/ 8 w 8"/>
                  <a:gd name="T9" fmla="*/ 4 h 172"/>
                  <a:gd name="T10" fmla="*/ 8 w 8"/>
                  <a:gd name="T11" fmla="*/ 168 h 172"/>
                  <a:gd name="T12" fmla="*/ 4 w 8"/>
                  <a:gd name="T13" fmla="*/ 172 h 172"/>
                </a:gdLst>
                <a:ahLst/>
                <a:cxnLst>
                  <a:cxn ang="0">
                    <a:pos x="T0" y="T1"/>
                  </a:cxn>
                  <a:cxn ang="0">
                    <a:pos x="T2" y="T3"/>
                  </a:cxn>
                  <a:cxn ang="0">
                    <a:pos x="T4" y="T5"/>
                  </a:cxn>
                  <a:cxn ang="0">
                    <a:pos x="T6" y="T7"/>
                  </a:cxn>
                  <a:cxn ang="0">
                    <a:pos x="T8" y="T9"/>
                  </a:cxn>
                  <a:cxn ang="0">
                    <a:pos x="T10" y="T11"/>
                  </a:cxn>
                  <a:cxn ang="0">
                    <a:pos x="T12" y="T13"/>
                  </a:cxn>
                </a:cxnLst>
                <a:rect l="0" t="0" r="r" b="b"/>
                <a:pathLst>
                  <a:path w="8" h="172">
                    <a:moveTo>
                      <a:pt x="4" y="172"/>
                    </a:moveTo>
                    <a:cubicBezTo>
                      <a:pt x="2" y="172"/>
                      <a:pt x="0" y="170"/>
                      <a:pt x="0" y="168"/>
                    </a:cubicBezTo>
                    <a:cubicBezTo>
                      <a:pt x="0" y="4"/>
                      <a:pt x="0" y="4"/>
                      <a:pt x="0" y="4"/>
                    </a:cubicBezTo>
                    <a:cubicBezTo>
                      <a:pt x="0" y="2"/>
                      <a:pt x="2" y="0"/>
                      <a:pt x="4" y="0"/>
                    </a:cubicBezTo>
                    <a:cubicBezTo>
                      <a:pt x="6" y="0"/>
                      <a:pt x="8" y="2"/>
                      <a:pt x="8" y="4"/>
                    </a:cubicBezTo>
                    <a:cubicBezTo>
                      <a:pt x="8" y="168"/>
                      <a:pt x="8" y="168"/>
                      <a:pt x="8" y="168"/>
                    </a:cubicBezTo>
                    <a:cubicBezTo>
                      <a:pt x="8" y="170"/>
                      <a:pt x="6" y="172"/>
                      <a:pt x="4" y="1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PT"/>
              </a:p>
            </p:txBody>
          </p:sp>
        </p:grpSp>
      </p:grpSp>
      <p:sp>
        <p:nvSpPr>
          <p:cNvPr id="115" name="Rectangle 114">
            <a:extLst>
              <a:ext uri="{FF2B5EF4-FFF2-40B4-BE49-F238E27FC236}">
                <a16:creationId xmlns="" xmlns:a16="http://schemas.microsoft.com/office/drawing/2014/main" id="{5E64EBA3-EC56-494B-81B2-B29E2B1C7EAA}"/>
              </a:ext>
            </a:extLst>
          </p:cNvPr>
          <p:cNvSpPr/>
          <p:nvPr/>
        </p:nvSpPr>
        <p:spPr>
          <a:xfrm>
            <a:off x="632598" y="4495800"/>
            <a:ext cx="2720202" cy="1975926"/>
          </a:xfrm>
          <a:prstGeom prst="rect">
            <a:avLst/>
          </a:prstGeom>
        </p:spPr>
        <p:txBody>
          <a:bodyPr wrap="square">
            <a:spAutoFit/>
          </a:bodyPr>
          <a:lstStyle/>
          <a:p>
            <a:pPr lvl="0" algn="ctr">
              <a:lnSpc>
                <a:spcPct val="85000"/>
              </a:lnSpc>
              <a:defRPr/>
            </a:pPr>
            <a:r>
              <a:rPr kumimoji="0" lang="en-US" altLang="en-US" sz="24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3 </a:t>
            </a:r>
            <a:br>
              <a:rPr kumimoji="0" lang="en-US" altLang="en-US" sz="24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altLang="en-US" sz="24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Global</a:t>
            </a:r>
            <a:r>
              <a:rPr kumimoji="0" lang="en-US" altLang="en-US" sz="18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altLang="en-US" sz="16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manufacturing </a:t>
            </a:r>
            <a:br>
              <a:rPr kumimoji="0" lang="en-US" altLang="en-US" sz="16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altLang="en-US" sz="16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plants </a:t>
            </a:r>
            <a:r>
              <a:rPr lang="en-US" altLang="en-US" sz="1600" dirty="0">
                <a:solidFill>
                  <a:srgbClr val="404041"/>
                </a:solidFill>
                <a:latin typeface="Verdana" panose="020B0604030504040204" pitchFamily="34" charset="0"/>
                <a:ea typeface="Verdana" panose="020B0604030504040204" pitchFamily="34" charset="0"/>
                <a:cs typeface="Verdana" panose="020B0604030504040204" pitchFamily="34" charset="0"/>
              </a:rPr>
              <a:t>producing </a:t>
            </a:r>
            <a:br>
              <a:rPr lang="en-US" altLang="en-US" sz="1600" dirty="0">
                <a:solidFill>
                  <a:srgbClr val="404041"/>
                </a:solidFill>
                <a:latin typeface="Verdana" panose="020B0604030504040204" pitchFamily="34" charset="0"/>
                <a:ea typeface="Verdana" panose="020B0604030504040204" pitchFamily="34" charset="0"/>
                <a:cs typeface="Verdana" panose="020B0604030504040204" pitchFamily="34" charset="0"/>
              </a:rPr>
            </a:br>
            <a:r>
              <a:rPr lang="en-US" altLang="en-US" sz="1600" dirty="0">
                <a:solidFill>
                  <a:srgbClr val="404041"/>
                </a:solidFill>
                <a:latin typeface="Verdana" panose="020B0604030504040204" pitchFamily="34" charset="0"/>
                <a:ea typeface="Verdana" panose="020B0604030504040204" pitchFamily="34" charset="0"/>
                <a:cs typeface="Verdana" panose="020B0604030504040204" pitchFamily="34" charset="0"/>
              </a:rPr>
              <a:t>&gt;1B BD </a:t>
            </a:r>
            <a:r>
              <a:rPr lang="en-US" altLang="en-US" sz="1600" dirty="0" err="1">
                <a:solidFill>
                  <a:srgbClr val="404041"/>
                </a:solidFill>
                <a:latin typeface="Verdana" panose="020B0604030504040204" pitchFamily="34" charset="0"/>
                <a:ea typeface="Verdana" panose="020B0604030504040204" pitchFamily="34" charset="0"/>
                <a:cs typeface="Verdana" panose="020B0604030504040204" pitchFamily="34" charset="0"/>
              </a:rPr>
              <a:t>PosiFlush</a:t>
            </a:r>
            <a:r>
              <a:rPr lang="en-US" altLang="en-US" sz="1600" dirty="0">
                <a:solidFill>
                  <a:srgbClr val="404041"/>
                </a:solidFill>
                <a:latin typeface="Verdana" panose="020B0604030504040204" pitchFamily="34" charset="0"/>
                <a:ea typeface="Verdana" panose="020B0604030504040204" pitchFamily="34" charset="0"/>
                <a:cs typeface="Verdana" panose="020B0604030504040204" pitchFamily="34" charset="0"/>
              </a:rPr>
              <a:t>™ Syringes annually around the world to ensure supply continuity</a:t>
            </a:r>
            <a:endParaRPr kumimoji="0" lang="en-US" altLang="en-US" sz="16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466" name="Graphic 465">
            <a:extLst>
              <a:ext uri="{FF2B5EF4-FFF2-40B4-BE49-F238E27FC236}">
                <a16:creationId xmlns="" xmlns:a16="http://schemas.microsoft.com/office/drawing/2014/main" id="{A5694805-B714-4F90-807A-47F19B2599E8}"/>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644836" y="4876800"/>
            <a:ext cx="332145" cy="303262"/>
          </a:xfrm>
          <a:prstGeom prst="rect">
            <a:avLst/>
          </a:prstGeom>
        </p:spPr>
      </p:pic>
      <p:grpSp>
        <p:nvGrpSpPr>
          <p:cNvPr id="473" name="Group 472">
            <a:extLst>
              <a:ext uri="{FF2B5EF4-FFF2-40B4-BE49-F238E27FC236}">
                <a16:creationId xmlns="" xmlns:a16="http://schemas.microsoft.com/office/drawing/2014/main" id="{540567D3-2AC7-4FEB-A8B8-F2ABD01C87C1}"/>
              </a:ext>
            </a:extLst>
          </p:cNvPr>
          <p:cNvGrpSpPr/>
          <p:nvPr/>
        </p:nvGrpSpPr>
        <p:grpSpPr>
          <a:xfrm flipH="1">
            <a:off x="959911" y="2417326"/>
            <a:ext cx="2756133" cy="784259"/>
            <a:chOff x="8245984" y="1617583"/>
            <a:chExt cx="2756133" cy="784259"/>
          </a:xfrm>
        </p:grpSpPr>
        <p:cxnSp>
          <p:nvCxnSpPr>
            <p:cNvPr id="474" name="Straight Connector 473">
              <a:extLst>
                <a:ext uri="{FF2B5EF4-FFF2-40B4-BE49-F238E27FC236}">
                  <a16:creationId xmlns="" xmlns:a16="http://schemas.microsoft.com/office/drawing/2014/main" id="{9EB74C50-19F5-493C-86C1-E0AFA9D8510B}"/>
                </a:ext>
              </a:extLst>
            </p:cNvPr>
            <p:cNvCxnSpPr>
              <a:cxnSpLocks/>
            </p:cNvCxnSpPr>
            <p:nvPr/>
          </p:nvCxnSpPr>
          <p:spPr>
            <a:xfrm>
              <a:off x="8738374" y="1617583"/>
              <a:ext cx="2263743"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cxnSp>
          <p:nvCxnSpPr>
            <p:cNvPr id="475" name="Straight Connector 474">
              <a:extLst>
                <a:ext uri="{FF2B5EF4-FFF2-40B4-BE49-F238E27FC236}">
                  <a16:creationId xmlns="" xmlns:a16="http://schemas.microsoft.com/office/drawing/2014/main" id="{C019A0EB-BE4C-4C17-91C7-4ACFAC064D22}"/>
                </a:ext>
              </a:extLst>
            </p:cNvPr>
            <p:cNvCxnSpPr>
              <a:cxnSpLocks/>
            </p:cNvCxnSpPr>
            <p:nvPr/>
          </p:nvCxnSpPr>
          <p:spPr>
            <a:xfrm flipV="1">
              <a:off x="8245984" y="1625753"/>
              <a:ext cx="492785" cy="776089"/>
            </a:xfrm>
            <a:prstGeom prst="line">
              <a:avLst/>
            </a:prstGeom>
            <a:ln w="3175">
              <a:solidFill>
                <a:srgbClr val="F26926"/>
              </a:solidFill>
            </a:ln>
          </p:spPr>
          <p:style>
            <a:lnRef idx="1">
              <a:schemeClr val="accent1"/>
            </a:lnRef>
            <a:fillRef idx="0">
              <a:schemeClr val="accent1"/>
            </a:fillRef>
            <a:effectRef idx="0">
              <a:schemeClr val="accent1"/>
            </a:effectRef>
            <a:fontRef idx="minor">
              <a:schemeClr val="tx1"/>
            </a:fontRef>
          </p:style>
        </p:cxnSp>
      </p:grpSp>
      <p:sp>
        <p:nvSpPr>
          <p:cNvPr id="476" name="TextBox 50">
            <a:extLst>
              <a:ext uri="{FF2B5EF4-FFF2-40B4-BE49-F238E27FC236}">
                <a16:creationId xmlns="" xmlns:a16="http://schemas.microsoft.com/office/drawing/2014/main" id="{078D4F33-D609-4D76-A29C-60DF1BAFA3EA}"/>
              </a:ext>
            </a:extLst>
          </p:cNvPr>
          <p:cNvSpPr txBox="1"/>
          <p:nvPr/>
        </p:nvSpPr>
        <p:spPr>
          <a:xfrm>
            <a:off x="938843" y="2141866"/>
            <a:ext cx="1245819" cy="275460"/>
          </a:xfrm>
          <a:prstGeom prst="rect">
            <a:avLst/>
          </a:prstGeom>
          <a:noFill/>
          <a:ln>
            <a:noFill/>
          </a:ln>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pt-PT" sz="14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Nebraska</a:t>
            </a:r>
            <a:endParaRPr kumimoji="0" lang="pt-PT" sz="1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477" name="Group 476">
            <a:extLst>
              <a:ext uri="{FF2B5EF4-FFF2-40B4-BE49-F238E27FC236}">
                <a16:creationId xmlns="" xmlns:a16="http://schemas.microsoft.com/office/drawing/2014/main" id="{5534346C-FBA5-4C25-A383-EF55BFD97660}"/>
              </a:ext>
            </a:extLst>
          </p:cNvPr>
          <p:cNvGrpSpPr/>
          <p:nvPr/>
        </p:nvGrpSpPr>
        <p:grpSpPr>
          <a:xfrm flipH="1" flipV="1">
            <a:off x="4747625" y="3429000"/>
            <a:ext cx="1596266" cy="784259"/>
            <a:chOff x="8561351" y="1617583"/>
            <a:chExt cx="1596266" cy="784259"/>
          </a:xfrm>
        </p:grpSpPr>
        <p:cxnSp>
          <p:nvCxnSpPr>
            <p:cNvPr id="478" name="Straight Connector 477">
              <a:extLst>
                <a:ext uri="{FF2B5EF4-FFF2-40B4-BE49-F238E27FC236}">
                  <a16:creationId xmlns="" xmlns:a16="http://schemas.microsoft.com/office/drawing/2014/main" id="{6F8588CD-76B2-43D9-A8B7-066C47C9B31D}"/>
                </a:ext>
              </a:extLst>
            </p:cNvPr>
            <p:cNvCxnSpPr>
              <a:cxnSpLocks/>
            </p:cNvCxnSpPr>
            <p:nvPr/>
          </p:nvCxnSpPr>
          <p:spPr>
            <a:xfrm flipV="1">
              <a:off x="9054136" y="1617583"/>
              <a:ext cx="1103481"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cxnSp>
          <p:nvCxnSpPr>
            <p:cNvPr id="479" name="Straight Connector 478">
              <a:extLst>
                <a:ext uri="{FF2B5EF4-FFF2-40B4-BE49-F238E27FC236}">
                  <a16:creationId xmlns="" xmlns:a16="http://schemas.microsoft.com/office/drawing/2014/main" id="{FFBBEFA1-6F45-4611-BC67-9370038CCD5C}"/>
                </a:ext>
              </a:extLst>
            </p:cNvPr>
            <p:cNvCxnSpPr>
              <a:cxnSpLocks/>
            </p:cNvCxnSpPr>
            <p:nvPr/>
          </p:nvCxnSpPr>
          <p:spPr>
            <a:xfrm flipV="1">
              <a:off x="8561351" y="1625753"/>
              <a:ext cx="492785" cy="776089"/>
            </a:xfrm>
            <a:prstGeom prst="line">
              <a:avLst/>
            </a:prstGeom>
            <a:ln w="3175">
              <a:solidFill>
                <a:srgbClr val="F26926"/>
              </a:solidFill>
            </a:ln>
          </p:spPr>
          <p:style>
            <a:lnRef idx="1">
              <a:schemeClr val="accent1"/>
            </a:lnRef>
            <a:fillRef idx="0">
              <a:schemeClr val="accent1"/>
            </a:fillRef>
            <a:effectRef idx="0">
              <a:schemeClr val="accent1"/>
            </a:effectRef>
            <a:fontRef idx="minor">
              <a:schemeClr val="tx1"/>
            </a:fontRef>
          </p:style>
        </p:cxnSp>
      </p:grpSp>
      <p:sp>
        <p:nvSpPr>
          <p:cNvPr id="480" name="TextBox 50">
            <a:extLst>
              <a:ext uri="{FF2B5EF4-FFF2-40B4-BE49-F238E27FC236}">
                <a16:creationId xmlns="" xmlns:a16="http://schemas.microsoft.com/office/drawing/2014/main" id="{B2C8CE90-70B8-4371-9874-95B324625BAB}"/>
              </a:ext>
            </a:extLst>
          </p:cNvPr>
          <p:cNvSpPr txBox="1"/>
          <p:nvPr/>
        </p:nvSpPr>
        <p:spPr>
          <a:xfrm>
            <a:off x="4671425" y="3938970"/>
            <a:ext cx="1245819" cy="275460"/>
          </a:xfrm>
          <a:prstGeom prst="rect">
            <a:avLst/>
          </a:prstGeom>
          <a:noFill/>
          <a:ln>
            <a:noFill/>
          </a:ln>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pt-PT" sz="14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Spain</a:t>
            </a:r>
            <a:endParaRPr kumimoji="0" lang="pt-PT" sz="1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481" name="Straight Connector 480">
            <a:extLst>
              <a:ext uri="{FF2B5EF4-FFF2-40B4-BE49-F238E27FC236}">
                <a16:creationId xmlns="" xmlns:a16="http://schemas.microsoft.com/office/drawing/2014/main" id="{EC9BA656-593F-45A5-A4B6-B50CCD38D002}"/>
              </a:ext>
            </a:extLst>
          </p:cNvPr>
          <p:cNvCxnSpPr>
            <a:cxnSpLocks/>
          </p:cNvCxnSpPr>
          <p:nvPr/>
        </p:nvCxnSpPr>
        <p:spPr>
          <a:xfrm flipH="1">
            <a:off x="5037330" y="3140339"/>
            <a:ext cx="1184789"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sp>
        <p:nvSpPr>
          <p:cNvPr id="482" name="TextBox 50">
            <a:extLst>
              <a:ext uri="{FF2B5EF4-FFF2-40B4-BE49-F238E27FC236}">
                <a16:creationId xmlns="" xmlns:a16="http://schemas.microsoft.com/office/drawing/2014/main" id="{4E3370CF-70C6-41B5-95E6-FB13D6BC9E3E}"/>
              </a:ext>
            </a:extLst>
          </p:cNvPr>
          <p:cNvSpPr txBox="1"/>
          <p:nvPr/>
        </p:nvSpPr>
        <p:spPr>
          <a:xfrm>
            <a:off x="4974689" y="2864108"/>
            <a:ext cx="1245819" cy="275460"/>
          </a:xfrm>
          <a:prstGeom prst="rect">
            <a:avLst/>
          </a:prstGeom>
          <a:noFill/>
          <a:ln>
            <a:noFill/>
          </a:ln>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pt-PT" sz="14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Ireland</a:t>
            </a:r>
            <a:endParaRPr kumimoji="0" lang="pt-PT" sz="1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422" name="Group 421">
            <a:extLst>
              <a:ext uri="{FF2B5EF4-FFF2-40B4-BE49-F238E27FC236}">
                <a16:creationId xmlns="" xmlns:a16="http://schemas.microsoft.com/office/drawing/2014/main" id="{ED86E97C-0FE4-464D-A15F-56FBBCC8C370}"/>
              </a:ext>
            </a:extLst>
          </p:cNvPr>
          <p:cNvGrpSpPr/>
          <p:nvPr/>
        </p:nvGrpSpPr>
        <p:grpSpPr>
          <a:xfrm>
            <a:off x="6043659" y="2660034"/>
            <a:ext cx="340482" cy="572400"/>
            <a:chOff x="7842970" y="3305625"/>
            <a:chExt cx="563042" cy="951347"/>
          </a:xfrm>
        </p:grpSpPr>
        <p:pic>
          <p:nvPicPr>
            <p:cNvPr id="423" name="Picture 422" descr="A picture containing thing, object&#10;&#10;Description generated with very high confidence">
              <a:extLst>
                <a:ext uri="{FF2B5EF4-FFF2-40B4-BE49-F238E27FC236}">
                  <a16:creationId xmlns="" xmlns:a16="http://schemas.microsoft.com/office/drawing/2014/main" id="{972786A7-80C7-4F19-AF35-664813C4BCF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7842970" y="3305625"/>
              <a:ext cx="563042" cy="951347"/>
            </a:xfrm>
            <a:prstGeom prst="rect">
              <a:avLst/>
            </a:prstGeom>
          </p:spPr>
        </p:pic>
        <p:grpSp>
          <p:nvGrpSpPr>
            <p:cNvPr id="424" name="Group 64">
              <a:extLst>
                <a:ext uri="{FF2B5EF4-FFF2-40B4-BE49-F238E27FC236}">
                  <a16:creationId xmlns="" xmlns:a16="http://schemas.microsoft.com/office/drawing/2014/main" id="{FEE97411-7DBF-4074-81B9-D80A6BF5833A}"/>
                </a:ext>
              </a:extLst>
            </p:cNvPr>
            <p:cNvGrpSpPr>
              <a:grpSpLocks noChangeAspect="1"/>
            </p:cNvGrpSpPr>
            <p:nvPr/>
          </p:nvGrpSpPr>
          <p:grpSpPr bwMode="auto">
            <a:xfrm>
              <a:off x="8036708" y="3504271"/>
              <a:ext cx="175565" cy="164640"/>
              <a:chOff x="3496" y="1839"/>
              <a:chExt cx="691" cy="648"/>
            </a:xfrm>
            <a:solidFill>
              <a:srgbClr val="F26926"/>
            </a:solidFill>
          </p:grpSpPr>
          <p:sp>
            <p:nvSpPr>
              <p:cNvPr id="425" name="Freeform 65">
                <a:extLst>
                  <a:ext uri="{FF2B5EF4-FFF2-40B4-BE49-F238E27FC236}">
                    <a16:creationId xmlns="" xmlns:a16="http://schemas.microsoft.com/office/drawing/2014/main" id="{48DD4656-420F-4BF9-88C0-A8B55ADF38E4}"/>
                  </a:ext>
                </a:extLst>
              </p:cNvPr>
              <p:cNvSpPr>
                <a:spLocks noEditPoints="1"/>
              </p:cNvSpPr>
              <p:nvPr/>
            </p:nvSpPr>
            <p:spPr bwMode="auto">
              <a:xfrm>
                <a:off x="3496" y="1925"/>
                <a:ext cx="691" cy="562"/>
              </a:xfrm>
              <a:custGeom>
                <a:avLst/>
                <a:gdLst>
                  <a:gd name="T0" fmla="*/ 252 w 256"/>
                  <a:gd name="T1" fmla="*/ 208 h 208"/>
                  <a:gd name="T2" fmla="*/ 4 w 256"/>
                  <a:gd name="T3" fmla="*/ 208 h 208"/>
                  <a:gd name="T4" fmla="*/ 0 w 256"/>
                  <a:gd name="T5" fmla="*/ 204 h 208"/>
                  <a:gd name="T6" fmla="*/ 0 w 256"/>
                  <a:gd name="T7" fmla="*/ 88 h 208"/>
                  <a:gd name="T8" fmla="*/ 0 w 256"/>
                  <a:gd name="T9" fmla="*/ 87 h 208"/>
                  <a:gd name="T10" fmla="*/ 16 w 256"/>
                  <a:gd name="T11" fmla="*/ 3 h 208"/>
                  <a:gd name="T12" fmla="*/ 20 w 256"/>
                  <a:gd name="T13" fmla="*/ 0 h 208"/>
                  <a:gd name="T14" fmla="*/ 36 w 256"/>
                  <a:gd name="T15" fmla="*/ 0 h 208"/>
                  <a:gd name="T16" fmla="*/ 40 w 256"/>
                  <a:gd name="T17" fmla="*/ 3 h 208"/>
                  <a:gd name="T18" fmla="*/ 55 w 256"/>
                  <a:gd name="T19" fmla="*/ 80 h 208"/>
                  <a:gd name="T20" fmla="*/ 93 w 256"/>
                  <a:gd name="T21" fmla="*/ 45 h 208"/>
                  <a:gd name="T22" fmla="*/ 98 w 256"/>
                  <a:gd name="T23" fmla="*/ 44 h 208"/>
                  <a:gd name="T24" fmla="*/ 100 w 256"/>
                  <a:gd name="T25" fmla="*/ 48 h 208"/>
                  <a:gd name="T26" fmla="*/ 100 w 256"/>
                  <a:gd name="T27" fmla="*/ 83 h 208"/>
                  <a:gd name="T28" fmla="*/ 146 w 256"/>
                  <a:gd name="T29" fmla="*/ 45 h 208"/>
                  <a:gd name="T30" fmla="*/ 150 w 256"/>
                  <a:gd name="T31" fmla="*/ 44 h 208"/>
                  <a:gd name="T32" fmla="*/ 152 w 256"/>
                  <a:gd name="T33" fmla="*/ 48 h 208"/>
                  <a:gd name="T34" fmla="*/ 152 w 256"/>
                  <a:gd name="T35" fmla="*/ 83 h 208"/>
                  <a:gd name="T36" fmla="*/ 198 w 256"/>
                  <a:gd name="T37" fmla="*/ 45 h 208"/>
                  <a:gd name="T38" fmla="*/ 202 w 256"/>
                  <a:gd name="T39" fmla="*/ 44 h 208"/>
                  <a:gd name="T40" fmla="*/ 204 w 256"/>
                  <a:gd name="T41" fmla="*/ 48 h 208"/>
                  <a:gd name="T42" fmla="*/ 204 w 256"/>
                  <a:gd name="T43" fmla="*/ 83 h 208"/>
                  <a:gd name="T44" fmla="*/ 250 w 256"/>
                  <a:gd name="T45" fmla="*/ 45 h 208"/>
                  <a:gd name="T46" fmla="*/ 254 w 256"/>
                  <a:gd name="T47" fmla="*/ 44 h 208"/>
                  <a:gd name="T48" fmla="*/ 256 w 256"/>
                  <a:gd name="T49" fmla="*/ 48 h 208"/>
                  <a:gd name="T50" fmla="*/ 256 w 256"/>
                  <a:gd name="T51" fmla="*/ 204 h 208"/>
                  <a:gd name="T52" fmla="*/ 252 w 256"/>
                  <a:gd name="T53" fmla="*/ 208 h 208"/>
                  <a:gd name="T54" fmla="*/ 8 w 256"/>
                  <a:gd name="T55" fmla="*/ 200 h 208"/>
                  <a:gd name="T56" fmla="*/ 248 w 256"/>
                  <a:gd name="T57" fmla="*/ 200 h 208"/>
                  <a:gd name="T58" fmla="*/ 248 w 256"/>
                  <a:gd name="T59" fmla="*/ 56 h 208"/>
                  <a:gd name="T60" fmla="*/ 203 w 256"/>
                  <a:gd name="T61" fmla="*/ 95 h 208"/>
                  <a:gd name="T62" fmla="*/ 198 w 256"/>
                  <a:gd name="T63" fmla="*/ 95 h 208"/>
                  <a:gd name="T64" fmla="*/ 196 w 256"/>
                  <a:gd name="T65" fmla="*/ 92 h 208"/>
                  <a:gd name="T66" fmla="*/ 196 w 256"/>
                  <a:gd name="T67" fmla="*/ 56 h 208"/>
                  <a:gd name="T68" fmla="*/ 151 w 256"/>
                  <a:gd name="T69" fmla="*/ 95 h 208"/>
                  <a:gd name="T70" fmla="*/ 146 w 256"/>
                  <a:gd name="T71" fmla="*/ 95 h 208"/>
                  <a:gd name="T72" fmla="*/ 144 w 256"/>
                  <a:gd name="T73" fmla="*/ 92 h 208"/>
                  <a:gd name="T74" fmla="*/ 144 w 256"/>
                  <a:gd name="T75" fmla="*/ 56 h 208"/>
                  <a:gd name="T76" fmla="*/ 99 w 256"/>
                  <a:gd name="T77" fmla="*/ 95 h 208"/>
                  <a:gd name="T78" fmla="*/ 94 w 256"/>
                  <a:gd name="T79" fmla="*/ 95 h 208"/>
                  <a:gd name="T80" fmla="*/ 92 w 256"/>
                  <a:gd name="T81" fmla="*/ 92 h 208"/>
                  <a:gd name="T82" fmla="*/ 92 w 256"/>
                  <a:gd name="T83" fmla="*/ 57 h 208"/>
                  <a:gd name="T84" fmla="*/ 56 w 256"/>
                  <a:gd name="T85" fmla="*/ 90 h 208"/>
                  <a:gd name="T86" fmla="*/ 56 w 256"/>
                  <a:gd name="T87" fmla="*/ 176 h 208"/>
                  <a:gd name="T88" fmla="*/ 48 w 256"/>
                  <a:gd name="T89" fmla="*/ 176 h 208"/>
                  <a:gd name="T90" fmla="*/ 48 w 256"/>
                  <a:gd name="T91" fmla="*/ 88 h 208"/>
                  <a:gd name="T92" fmla="*/ 33 w 256"/>
                  <a:gd name="T93" fmla="*/ 8 h 208"/>
                  <a:gd name="T94" fmla="*/ 23 w 256"/>
                  <a:gd name="T95" fmla="*/ 8 h 208"/>
                  <a:gd name="T96" fmla="*/ 8 w 256"/>
                  <a:gd name="T97" fmla="*/ 88 h 208"/>
                  <a:gd name="T98" fmla="*/ 8 w 256"/>
                  <a:gd name="T99" fmla="*/ 20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6" h="208">
                    <a:moveTo>
                      <a:pt x="252" y="208"/>
                    </a:moveTo>
                    <a:cubicBezTo>
                      <a:pt x="4" y="208"/>
                      <a:pt x="4" y="208"/>
                      <a:pt x="4" y="208"/>
                    </a:cubicBezTo>
                    <a:cubicBezTo>
                      <a:pt x="2" y="208"/>
                      <a:pt x="0" y="206"/>
                      <a:pt x="0" y="204"/>
                    </a:cubicBezTo>
                    <a:cubicBezTo>
                      <a:pt x="0" y="88"/>
                      <a:pt x="0" y="88"/>
                      <a:pt x="0" y="88"/>
                    </a:cubicBezTo>
                    <a:cubicBezTo>
                      <a:pt x="0" y="88"/>
                      <a:pt x="0" y="87"/>
                      <a:pt x="0" y="87"/>
                    </a:cubicBezTo>
                    <a:cubicBezTo>
                      <a:pt x="16" y="3"/>
                      <a:pt x="16" y="3"/>
                      <a:pt x="16" y="3"/>
                    </a:cubicBezTo>
                    <a:cubicBezTo>
                      <a:pt x="17" y="1"/>
                      <a:pt x="18" y="0"/>
                      <a:pt x="20" y="0"/>
                    </a:cubicBezTo>
                    <a:cubicBezTo>
                      <a:pt x="36" y="0"/>
                      <a:pt x="36" y="0"/>
                      <a:pt x="36" y="0"/>
                    </a:cubicBezTo>
                    <a:cubicBezTo>
                      <a:pt x="38" y="0"/>
                      <a:pt x="40" y="1"/>
                      <a:pt x="40" y="3"/>
                    </a:cubicBezTo>
                    <a:cubicBezTo>
                      <a:pt x="55" y="80"/>
                      <a:pt x="55" y="80"/>
                      <a:pt x="55" y="80"/>
                    </a:cubicBezTo>
                    <a:cubicBezTo>
                      <a:pt x="93" y="45"/>
                      <a:pt x="93" y="45"/>
                      <a:pt x="93" y="45"/>
                    </a:cubicBezTo>
                    <a:cubicBezTo>
                      <a:pt x="95" y="44"/>
                      <a:pt x="96" y="43"/>
                      <a:pt x="98" y="44"/>
                    </a:cubicBezTo>
                    <a:cubicBezTo>
                      <a:pt x="99" y="45"/>
                      <a:pt x="100" y="46"/>
                      <a:pt x="100" y="48"/>
                    </a:cubicBezTo>
                    <a:cubicBezTo>
                      <a:pt x="100" y="83"/>
                      <a:pt x="100" y="83"/>
                      <a:pt x="100" y="83"/>
                    </a:cubicBezTo>
                    <a:cubicBezTo>
                      <a:pt x="146" y="45"/>
                      <a:pt x="146" y="45"/>
                      <a:pt x="146" y="45"/>
                    </a:cubicBezTo>
                    <a:cubicBezTo>
                      <a:pt x="147" y="44"/>
                      <a:pt x="148" y="43"/>
                      <a:pt x="150" y="44"/>
                    </a:cubicBezTo>
                    <a:cubicBezTo>
                      <a:pt x="151" y="45"/>
                      <a:pt x="152" y="46"/>
                      <a:pt x="152" y="48"/>
                    </a:cubicBezTo>
                    <a:cubicBezTo>
                      <a:pt x="152" y="83"/>
                      <a:pt x="152" y="83"/>
                      <a:pt x="152" y="83"/>
                    </a:cubicBezTo>
                    <a:cubicBezTo>
                      <a:pt x="198" y="45"/>
                      <a:pt x="198" y="45"/>
                      <a:pt x="198" y="45"/>
                    </a:cubicBezTo>
                    <a:cubicBezTo>
                      <a:pt x="199" y="44"/>
                      <a:pt x="200" y="43"/>
                      <a:pt x="202" y="44"/>
                    </a:cubicBezTo>
                    <a:cubicBezTo>
                      <a:pt x="203" y="45"/>
                      <a:pt x="204" y="46"/>
                      <a:pt x="204" y="48"/>
                    </a:cubicBezTo>
                    <a:cubicBezTo>
                      <a:pt x="204" y="83"/>
                      <a:pt x="204" y="83"/>
                      <a:pt x="204" y="83"/>
                    </a:cubicBezTo>
                    <a:cubicBezTo>
                      <a:pt x="250" y="45"/>
                      <a:pt x="250" y="45"/>
                      <a:pt x="250" y="45"/>
                    </a:cubicBezTo>
                    <a:cubicBezTo>
                      <a:pt x="251" y="44"/>
                      <a:pt x="252" y="43"/>
                      <a:pt x="254" y="44"/>
                    </a:cubicBezTo>
                    <a:cubicBezTo>
                      <a:pt x="255" y="45"/>
                      <a:pt x="256" y="46"/>
                      <a:pt x="256" y="48"/>
                    </a:cubicBezTo>
                    <a:cubicBezTo>
                      <a:pt x="256" y="204"/>
                      <a:pt x="256" y="204"/>
                      <a:pt x="256" y="204"/>
                    </a:cubicBezTo>
                    <a:cubicBezTo>
                      <a:pt x="256" y="206"/>
                      <a:pt x="254" y="208"/>
                      <a:pt x="252" y="208"/>
                    </a:cubicBezTo>
                    <a:close/>
                    <a:moveTo>
                      <a:pt x="8" y="200"/>
                    </a:moveTo>
                    <a:cubicBezTo>
                      <a:pt x="248" y="200"/>
                      <a:pt x="248" y="200"/>
                      <a:pt x="248" y="200"/>
                    </a:cubicBezTo>
                    <a:cubicBezTo>
                      <a:pt x="248" y="56"/>
                      <a:pt x="248" y="56"/>
                      <a:pt x="248" y="56"/>
                    </a:cubicBezTo>
                    <a:cubicBezTo>
                      <a:pt x="203" y="95"/>
                      <a:pt x="203" y="95"/>
                      <a:pt x="203" y="95"/>
                    </a:cubicBezTo>
                    <a:cubicBezTo>
                      <a:pt x="202" y="96"/>
                      <a:pt x="200" y="96"/>
                      <a:pt x="198" y="95"/>
                    </a:cubicBezTo>
                    <a:cubicBezTo>
                      <a:pt x="197" y="95"/>
                      <a:pt x="196" y="93"/>
                      <a:pt x="196" y="92"/>
                    </a:cubicBezTo>
                    <a:cubicBezTo>
                      <a:pt x="196" y="56"/>
                      <a:pt x="196" y="56"/>
                      <a:pt x="196" y="56"/>
                    </a:cubicBezTo>
                    <a:cubicBezTo>
                      <a:pt x="151" y="95"/>
                      <a:pt x="151" y="95"/>
                      <a:pt x="151" y="95"/>
                    </a:cubicBezTo>
                    <a:cubicBezTo>
                      <a:pt x="150" y="96"/>
                      <a:pt x="148" y="96"/>
                      <a:pt x="146" y="95"/>
                    </a:cubicBezTo>
                    <a:cubicBezTo>
                      <a:pt x="145" y="95"/>
                      <a:pt x="144" y="93"/>
                      <a:pt x="144" y="92"/>
                    </a:cubicBezTo>
                    <a:cubicBezTo>
                      <a:pt x="144" y="56"/>
                      <a:pt x="144" y="56"/>
                      <a:pt x="144" y="56"/>
                    </a:cubicBezTo>
                    <a:cubicBezTo>
                      <a:pt x="99" y="95"/>
                      <a:pt x="99" y="95"/>
                      <a:pt x="99" y="95"/>
                    </a:cubicBezTo>
                    <a:cubicBezTo>
                      <a:pt x="98" y="96"/>
                      <a:pt x="96" y="96"/>
                      <a:pt x="94" y="95"/>
                    </a:cubicBezTo>
                    <a:cubicBezTo>
                      <a:pt x="93" y="95"/>
                      <a:pt x="92" y="93"/>
                      <a:pt x="92" y="92"/>
                    </a:cubicBezTo>
                    <a:cubicBezTo>
                      <a:pt x="92" y="57"/>
                      <a:pt x="92" y="57"/>
                      <a:pt x="92" y="57"/>
                    </a:cubicBezTo>
                    <a:cubicBezTo>
                      <a:pt x="56" y="90"/>
                      <a:pt x="56" y="90"/>
                      <a:pt x="56" y="90"/>
                    </a:cubicBezTo>
                    <a:cubicBezTo>
                      <a:pt x="56" y="176"/>
                      <a:pt x="56" y="176"/>
                      <a:pt x="56" y="176"/>
                    </a:cubicBezTo>
                    <a:cubicBezTo>
                      <a:pt x="48" y="176"/>
                      <a:pt x="48" y="176"/>
                      <a:pt x="48" y="176"/>
                    </a:cubicBezTo>
                    <a:cubicBezTo>
                      <a:pt x="48" y="88"/>
                      <a:pt x="48" y="88"/>
                      <a:pt x="48" y="88"/>
                    </a:cubicBezTo>
                    <a:cubicBezTo>
                      <a:pt x="33" y="8"/>
                      <a:pt x="33" y="8"/>
                      <a:pt x="33" y="8"/>
                    </a:cubicBezTo>
                    <a:cubicBezTo>
                      <a:pt x="23" y="8"/>
                      <a:pt x="23" y="8"/>
                      <a:pt x="23" y="8"/>
                    </a:cubicBezTo>
                    <a:cubicBezTo>
                      <a:pt x="8" y="88"/>
                      <a:pt x="8" y="88"/>
                      <a:pt x="8" y="88"/>
                    </a:cubicBezTo>
                    <a:lnTo>
                      <a:pt x="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26" name="Freeform 66">
                <a:extLst>
                  <a:ext uri="{FF2B5EF4-FFF2-40B4-BE49-F238E27FC236}">
                    <a16:creationId xmlns="" xmlns:a16="http://schemas.microsoft.com/office/drawing/2014/main" id="{2CBBC57A-DADA-4778-BCC7-5C94E4D927CB}"/>
                  </a:ext>
                </a:extLst>
              </p:cNvPr>
              <p:cNvSpPr>
                <a:spLocks/>
              </p:cNvSpPr>
              <p:nvPr/>
            </p:nvSpPr>
            <p:spPr bwMode="auto">
              <a:xfrm>
                <a:off x="3604" y="1839"/>
                <a:ext cx="259" cy="64"/>
              </a:xfrm>
              <a:custGeom>
                <a:avLst/>
                <a:gdLst>
                  <a:gd name="T0" fmla="*/ 72 w 96"/>
                  <a:gd name="T1" fmla="*/ 24 h 24"/>
                  <a:gd name="T2" fmla="*/ 57 w 96"/>
                  <a:gd name="T3" fmla="*/ 14 h 24"/>
                  <a:gd name="T4" fmla="*/ 48 w 96"/>
                  <a:gd name="T5" fmla="*/ 8 h 24"/>
                  <a:gd name="T6" fmla="*/ 39 w 96"/>
                  <a:gd name="T7" fmla="*/ 14 h 24"/>
                  <a:gd name="T8" fmla="*/ 24 w 96"/>
                  <a:gd name="T9" fmla="*/ 24 h 24"/>
                  <a:gd name="T10" fmla="*/ 9 w 96"/>
                  <a:gd name="T11" fmla="*/ 14 h 24"/>
                  <a:gd name="T12" fmla="*/ 0 w 96"/>
                  <a:gd name="T13" fmla="*/ 8 h 24"/>
                  <a:gd name="T14" fmla="*/ 0 w 96"/>
                  <a:gd name="T15" fmla="*/ 0 h 24"/>
                  <a:gd name="T16" fmla="*/ 15 w 96"/>
                  <a:gd name="T17" fmla="*/ 10 h 24"/>
                  <a:gd name="T18" fmla="*/ 24 w 96"/>
                  <a:gd name="T19" fmla="*/ 16 h 24"/>
                  <a:gd name="T20" fmla="*/ 33 w 96"/>
                  <a:gd name="T21" fmla="*/ 10 h 24"/>
                  <a:gd name="T22" fmla="*/ 48 w 96"/>
                  <a:gd name="T23" fmla="*/ 0 h 24"/>
                  <a:gd name="T24" fmla="*/ 63 w 96"/>
                  <a:gd name="T25" fmla="*/ 10 h 24"/>
                  <a:gd name="T26" fmla="*/ 72 w 96"/>
                  <a:gd name="T27" fmla="*/ 16 h 24"/>
                  <a:gd name="T28" fmla="*/ 81 w 96"/>
                  <a:gd name="T29" fmla="*/ 10 h 24"/>
                  <a:gd name="T30" fmla="*/ 96 w 96"/>
                  <a:gd name="T31" fmla="*/ 0 h 24"/>
                  <a:gd name="T32" fmla="*/ 96 w 96"/>
                  <a:gd name="T33" fmla="*/ 8 h 24"/>
                  <a:gd name="T34" fmla="*/ 87 w 96"/>
                  <a:gd name="T35" fmla="*/ 14 h 24"/>
                  <a:gd name="T36" fmla="*/ 72 w 96"/>
                  <a:gd name="T3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24">
                    <a:moveTo>
                      <a:pt x="72" y="24"/>
                    </a:moveTo>
                    <a:cubicBezTo>
                      <a:pt x="64" y="24"/>
                      <a:pt x="57" y="15"/>
                      <a:pt x="57" y="14"/>
                    </a:cubicBezTo>
                    <a:cubicBezTo>
                      <a:pt x="56" y="12"/>
                      <a:pt x="52" y="8"/>
                      <a:pt x="48" y="8"/>
                    </a:cubicBezTo>
                    <a:cubicBezTo>
                      <a:pt x="44" y="8"/>
                      <a:pt x="40" y="13"/>
                      <a:pt x="39" y="14"/>
                    </a:cubicBezTo>
                    <a:cubicBezTo>
                      <a:pt x="39" y="15"/>
                      <a:pt x="33" y="24"/>
                      <a:pt x="24" y="24"/>
                    </a:cubicBezTo>
                    <a:cubicBezTo>
                      <a:pt x="16" y="24"/>
                      <a:pt x="9" y="15"/>
                      <a:pt x="9" y="14"/>
                    </a:cubicBezTo>
                    <a:cubicBezTo>
                      <a:pt x="8" y="12"/>
                      <a:pt x="4" y="8"/>
                      <a:pt x="0" y="8"/>
                    </a:cubicBezTo>
                    <a:cubicBezTo>
                      <a:pt x="0" y="0"/>
                      <a:pt x="0" y="0"/>
                      <a:pt x="0" y="0"/>
                    </a:cubicBezTo>
                    <a:cubicBezTo>
                      <a:pt x="9" y="0"/>
                      <a:pt x="15" y="9"/>
                      <a:pt x="15" y="10"/>
                    </a:cubicBezTo>
                    <a:cubicBezTo>
                      <a:pt x="17" y="11"/>
                      <a:pt x="20" y="16"/>
                      <a:pt x="24" y="16"/>
                    </a:cubicBezTo>
                    <a:cubicBezTo>
                      <a:pt x="28" y="16"/>
                      <a:pt x="32" y="11"/>
                      <a:pt x="33" y="10"/>
                    </a:cubicBezTo>
                    <a:cubicBezTo>
                      <a:pt x="33" y="9"/>
                      <a:pt x="40" y="0"/>
                      <a:pt x="48" y="0"/>
                    </a:cubicBezTo>
                    <a:cubicBezTo>
                      <a:pt x="57" y="0"/>
                      <a:pt x="63" y="9"/>
                      <a:pt x="63" y="10"/>
                    </a:cubicBezTo>
                    <a:cubicBezTo>
                      <a:pt x="65" y="11"/>
                      <a:pt x="68" y="16"/>
                      <a:pt x="72" y="16"/>
                    </a:cubicBezTo>
                    <a:cubicBezTo>
                      <a:pt x="76" y="16"/>
                      <a:pt x="80" y="11"/>
                      <a:pt x="81" y="10"/>
                    </a:cubicBezTo>
                    <a:cubicBezTo>
                      <a:pt x="81" y="9"/>
                      <a:pt x="88" y="0"/>
                      <a:pt x="96" y="0"/>
                    </a:cubicBezTo>
                    <a:cubicBezTo>
                      <a:pt x="96" y="8"/>
                      <a:pt x="96" y="8"/>
                      <a:pt x="96" y="8"/>
                    </a:cubicBezTo>
                    <a:cubicBezTo>
                      <a:pt x="92" y="8"/>
                      <a:pt x="88" y="13"/>
                      <a:pt x="87" y="14"/>
                    </a:cubicBezTo>
                    <a:cubicBezTo>
                      <a:pt x="87" y="15"/>
                      <a:pt x="81" y="24"/>
                      <a:pt x="7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27" name="Line 67">
                <a:extLst>
                  <a:ext uri="{FF2B5EF4-FFF2-40B4-BE49-F238E27FC236}">
                    <a16:creationId xmlns="" xmlns:a16="http://schemas.microsoft.com/office/drawing/2014/main" id="{BD109F0A-D2B5-446B-9CA7-833E66706302}"/>
                  </a:ext>
                </a:extLst>
              </p:cNvPr>
              <p:cNvSpPr>
                <a:spLocks noChangeShapeType="1"/>
              </p:cNvSpPr>
              <p:nvPr/>
            </p:nvSpPr>
            <p:spPr bwMode="auto">
              <a:xfrm>
                <a:off x="3604" y="1849"/>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28" name="Line 68">
                <a:extLst>
                  <a:ext uri="{FF2B5EF4-FFF2-40B4-BE49-F238E27FC236}">
                    <a16:creationId xmlns="" xmlns:a16="http://schemas.microsoft.com/office/drawing/2014/main" id="{70E1BC11-5B5F-4567-869D-BCFD136913B0}"/>
                  </a:ext>
                </a:extLst>
              </p:cNvPr>
              <p:cNvSpPr>
                <a:spLocks noChangeShapeType="1"/>
              </p:cNvSpPr>
              <p:nvPr/>
            </p:nvSpPr>
            <p:spPr bwMode="auto">
              <a:xfrm>
                <a:off x="3604" y="1849"/>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29" name="Freeform 69">
                <a:extLst>
                  <a:ext uri="{FF2B5EF4-FFF2-40B4-BE49-F238E27FC236}">
                    <a16:creationId xmlns="" xmlns:a16="http://schemas.microsoft.com/office/drawing/2014/main" id="{3F916FEC-A01B-439C-B409-CED70ABA9135}"/>
                  </a:ext>
                </a:extLst>
              </p:cNvPr>
              <p:cNvSpPr>
                <a:spLocks/>
              </p:cNvSpPr>
              <p:nvPr/>
            </p:nvSpPr>
            <p:spPr bwMode="auto">
              <a:xfrm>
                <a:off x="3561" y="1839"/>
                <a:ext cx="43" cy="43"/>
              </a:xfrm>
              <a:custGeom>
                <a:avLst/>
                <a:gdLst>
                  <a:gd name="T0" fmla="*/ 8 w 16"/>
                  <a:gd name="T1" fmla="*/ 16 h 16"/>
                  <a:gd name="T2" fmla="*/ 0 w 16"/>
                  <a:gd name="T3" fmla="*/ 16 h 16"/>
                  <a:gd name="T4" fmla="*/ 16 w 16"/>
                  <a:gd name="T5" fmla="*/ 0 h 16"/>
                  <a:gd name="T6" fmla="*/ 16 w 16"/>
                  <a:gd name="T7" fmla="*/ 8 h 16"/>
                  <a:gd name="T8" fmla="*/ 8 w 16"/>
                  <a:gd name="T9" fmla="*/ 16 h 16"/>
                </a:gdLst>
                <a:ahLst/>
                <a:cxnLst>
                  <a:cxn ang="0">
                    <a:pos x="T0" y="T1"/>
                  </a:cxn>
                  <a:cxn ang="0">
                    <a:pos x="T2" y="T3"/>
                  </a:cxn>
                  <a:cxn ang="0">
                    <a:pos x="T4" y="T5"/>
                  </a:cxn>
                  <a:cxn ang="0">
                    <a:pos x="T6" y="T7"/>
                  </a:cxn>
                  <a:cxn ang="0">
                    <a:pos x="T8" y="T9"/>
                  </a:cxn>
                </a:cxnLst>
                <a:rect l="0" t="0" r="r" b="b"/>
                <a:pathLst>
                  <a:path w="16" h="16">
                    <a:moveTo>
                      <a:pt x="8" y="16"/>
                    </a:moveTo>
                    <a:cubicBezTo>
                      <a:pt x="0" y="16"/>
                      <a:pt x="0" y="16"/>
                      <a:pt x="0" y="16"/>
                    </a:cubicBezTo>
                    <a:cubicBezTo>
                      <a:pt x="0" y="7"/>
                      <a:pt x="7" y="0"/>
                      <a:pt x="16" y="0"/>
                    </a:cubicBezTo>
                    <a:cubicBezTo>
                      <a:pt x="16" y="8"/>
                      <a:pt x="16" y="8"/>
                      <a:pt x="16" y="8"/>
                    </a:cubicBezTo>
                    <a:cubicBezTo>
                      <a:pt x="12" y="8"/>
                      <a:pt x="8" y="11"/>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30" name="Rectangle 70">
                <a:extLst>
                  <a:ext uri="{FF2B5EF4-FFF2-40B4-BE49-F238E27FC236}">
                    <a16:creationId xmlns="" xmlns:a16="http://schemas.microsoft.com/office/drawing/2014/main" id="{DD85FD53-0414-462D-90AD-1F4C5A8DBEB7}"/>
                  </a:ext>
                </a:extLst>
              </p:cNvPr>
              <p:cNvSpPr>
                <a:spLocks noChangeArrowheads="1"/>
              </p:cNvSpPr>
              <p:nvPr/>
            </p:nvSpPr>
            <p:spPr bwMode="auto">
              <a:xfrm>
                <a:off x="3561" y="1882"/>
                <a:ext cx="21" cy="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31" name="Rectangle 71">
                <a:extLst>
                  <a:ext uri="{FF2B5EF4-FFF2-40B4-BE49-F238E27FC236}">
                    <a16:creationId xmlns="" xmlns:a16="http://schemas.microsoft.com/office/drawing/2014/main" id="{BD1CCD00-8C1E-4947-A4BA-93F3A7982AB3}"/>
                  </a:ext>
                </a:extLst>
              </p:cNvPr>
              <p:cNvSpPr>
                <a:spLocks noChangeArrowheads="1"/>
              </p:cNvSpPr>
              <p:nvPr/>
            </p:nvSpPr>
            <p:spPr bwMode="auto">
              <a:xfrm>
                <a:off x="3561" y="2314"/>
                <a:ext cx="21" cy="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32" name="Rectangle 72">
                <a:extLst>
                  <a:ext uri="{FF2B5EF4-FFF2-40B4-BE49-F238E27FC236}">
                    <a16:creationId xmlns="" xmlns:a16="http://schemas.microsoft.com/office/drawing/2014/main" id="{B93C874E-65E3-461D-BF6E-7B0F016ED6C0}"/>
                  </a:ext>
                </a:extLst>
              </p:cNvPr>
              <p:cNvSpPr>
                <a:spLocks noChangeArrowheads="1"/>
              </p:cNvSpPr>
              <p:nvPr/>
            </p:nvSpPr>
            <p:spPr bwMode="auto">
              <a:xfrm>
                <a:off x="3561" y="2357"/>
                <a:ext cx="21" cy="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33" name="Rectangle 73">
                <a:extLst>
                  <a:ext uri="{FF2B5EF4-FFF2-40B4-BE49-F238E27FC236}">
                    <a16:creationId xmlns="" xmlns:a16="http://schemas.microsoft.com/office/drawing/2014/main" id="{314CE6D7-6FB9-49A1-BE78-94FC1FFE52F3}"/>
                  </a:ext>
                </a:extLst>
              </p:cNvPr>
              <p:cNvSpPr>
                <a:spLocks noChangeArrowheads="1"/>
              </p:cNvSpPr>
              <p:nvPr/>
            </p:nvSpPr>
            <p:spPr bwMode="auto">
              <a:xfrm>
                <a:off x="3561" y="2271"/>
                <a:ext cx="21" cy="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34" name="Rectangle 74">
                <a:extLst>
                  <a:ext uri="{FF2B5EF4-FFF2-40B4-BE49-F238E27FC236}">
                    <a16:creationId xmlns="" xmlns:a16="http://schemas.microsoft.com/office/drawing/2014/main" id="{7489B2DC-67F1-4DEA-BC6B-73C4570A7F21}"/>
                  </a:ext>
                </a:extLst>
              </p:cNvPr>
              <p:cNvSpPr>
                <a:spLocks noChangeArrowheads="1"/>
              </p:cNvSpPr>
              <p:nvPr/>
            </p:nvSpPr>
            <p:spPr bwMode="auto">
              <a:xfrm>
                <a:off x="3561" y="2227"/>
                <a:ext cx="21" cy="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35" name="Freeform 75">
                <a:extLst>
                  <a:ext uri="{FF2B5EF4-FFF2-40B4-BE49-F238E27FC236}">
                    <a16:creationId xmlns="" xmlns:a16="http://schemas.microsoft.com/office/drawing/2014/main" id="{656C6482-59EC-4309-8616-B2118F8553BD}"/>
                  </a:ext>
                </a:extLst>
              </p:cNvPr>
              <p:cNvSpPr>
                <a:spLocks noEditPoints="1"/>
              </p:cNvSpPr>
              <p:nvPr/>
            </p:nvSpPr>
            <p:spPr bwMode="auto">
              <a:xfrm>
                <a:off x="3701" y="2227"/>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2 w 86"/>
                  <a:gd name="T11" fmla="*/ 44 h 65"/>
                  <a:gd name="T12" fmla="*/ 65 w 86"/>
                  <a:gd name="T13" fmla="*/ 44 h 65"/>
                  <a:gd name="T14" fmla="*/ 65 w 86"/>
                  <a:gd name="T15" fmla="*/ 22 h 65"/>
                  <a:gd name="T16" fmla="*/ 22 w 86"/>
                  <a:gd name="T17" fmla="*/ 22 h 65"/>
                  <a:gd name="T18" fmla="*/ 22 w 86"/>
                  <a:gd name="T19" fmla="*/ 4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2" y="44"/>
                    </a:moveTo>
                    <a:lnTo>
                      <a:pt x="65" y="44"/>
                    </a:lnTo>
                    <a:lnTo>
                      <a:pt x="65" y="22"/>
                    </a:lnTo>
                    <a:lnTo>
                      <a:pt x="22" y="22"/>
                    </a:lnTo>
                    <a:lnTo>
                      <a:pt x="2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36" name="Freeform 76">
                <a:extLst>
                  <a:ext uri="{FF2B5EF4-FFF2-40B4-BE49-F238E27FC236}">
                    <a16:creationId xmlns="" xmlns:a16="http://schemas.microsoft.com/office/drawing/2014/main" id="{BDF5255B-8E03-4AD4-8003-8F8ADE0816D7}"/>
                  </a:ext>
                </a:extLst>
              </p:cNvPr>
              <p:cNvSpPr>
                <a:spLocks noEditPoints="1"/>
              </p:cNvSpPr>
              <p:nvPr/>
            </p:nvSpPr>
            <p:spPr bwMode="auto">
              <a:xfrm>
                <a:off x="3701" y="2314"/>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2 w 86"/>
                  <a:gd name="T11" fmla="*/ 43 h 65"/>
                  <a:gd name="T12" fmla="*/ 65 w 86"/>
                  <a:gd name="T13" fmla="*/ 43 h 65"/>
                  <a:gd name="T14" fmla="*/ 65 w 86"/>
                  <a:gd name="T15" fmla="*/ 21 h 65"/>
                  <a:gd name="T16" fmla="*/ 22 w 86"/>
                  <a:gd name="T17" fmla="*/ 21 h 65"/>
                  <a:gd name="T18" fmla="*/ 22 w 86"/>
                  <a:gd name="T19" fmla="*/ 4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2" y="43"/>
                    </a:moveTo>
                    <a:lnTo>
                      <a:pt x="65" y="43"/>
                    </a:lnTo>
                    <a:lnTo>
                      <a:pt x="65" y="21"/>
                    </a:lnTo>
                    <a:lnTo>
                      <a:pt x="22" y="21"/>
                    </a:lnTo>
                    <a:lnTo>
                      <a:pt x="22"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37" name="Freeform 77">
                <a:extLst>
                  <a:ext uri="{FF2B5EF4-FFF2-40B4-BE49-F238E27FC236}">
                    <a16:creationId xmlns="" xmlns:a16="http://schemas.microsoft.com/office/drawing/2014/main" id="{2324DA21-4734-4C2E-AB2C-6D6899C0CDB3}"/>
                  </a:ext>
                </a:extLst>
              </p:cNvPr>
              <p:cNvSpPr>
                <a:spLocks noEditPoints="1"/>
              </p:cNvSpPr>
              <p:nvPr/>
            </p:nvSpPr>
            <p:spPr bwMode="auto">
              <a:xfrm>
                <a:off x="3809" y="2227"/>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2 w 86"/>
                  <a:gd name="T11" fmla="*/ 44 h 65"/>
                  <a:gd name="T12" fmla="*/ 65 w 86"/>
                  <a:gd name="T13" fmla="*/ 44 h 65"/>
                  <a:gd name="T14" fmla="*/ 65 w 86"/>
                  <a:gd name="T15" fmla="*/ 22 h 65"/>
                  <a:gd name="T16" fmla="*/ 22 w 86"/>
                  <a:gd name="T17" fmla="*/ 22 h 65"/>
                  <a:gd name="T18" fmla="*/ 22 w 86"/>
                  <a:gd name="T19" fmla="*/ 4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2" y="44"/>
                    </a:moveTo>
                    <a:lnTo>
                      <a:pt x="65" y="44"/>
                    </a:lnTo>
                    <a:lnTo>
                      <a:pt x="65" y="22"/>
                    </a:lnTo>
                    <a:lnTo>
                      <a:pt x="22" y="22"/>
                    </a:lnTo>
                    <a:lnTo>
                      <a:pt x="2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38" name="Freeform 78">
                <a:extLst>
                  <a:ext uri="{FF2B5EF4-FFF2-40B4-BE49-F238E27FC236}">
                    <a16:creationId xmlns="" xmlns:a16="http://schemas.microsoft.com/office/drawing/2014/main" id="{6E09DAC3-96E1-4524-BB20-BDAD8474C850}"/>
                  </a:ext>
                </a:extLst>
              </p:cNvPr>
              <p:cNvSpPr>
                <a:spLocks noEditPoints="1"/>
              </p:cNvSpPr>
              <p:nvPr/>
            </p:nvSpPr>
            <p:spPr bwMode="auto">
              <a:xfrm>
                <a:off x="3809" y="2314"/>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2 w 86"/>
                  <a:gd name="T11" fmla="*/ 43 h 65"/>
                  <a:gd name="T12" fmla="*/ 65 w 86"/>
                  <a:gd name="T13" fmla="*/ 43 h 65"/>
                  <a:gd name="T14" fmla="*/ 65 w 86"/>
                  <a:gd name="T15" fmla="*/ 21 h 65"/>
                  <a:gd name="T16" fmla="*/ 22 w 86"/>
                  <a:gd name="T17" fmla="*/ 21 h 65"/>
                  <a:gd name="T18" fmla="*/ 22 w 86"/>
                  <a:gd name="T19" fmla="*/ 4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2" y="43"/>
                    </a:moveTo>
                    <a:lnTo>
                      <a:pt x="65" y="43"/>
                    </a:lnTo>
                    <a:lnTo>
                      <a:pt x="65" y="21"/>
                    </a:lnTo>
                    <a:lnTo>
                      <a:pt x="22" y="21"/>
                    </a:lnTo>
                    <a:lnTo>
                      <a:pt x="22"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39" name="Freeform 79">
                <a:extLst>
                  <a:ext uri="{FF2B5EF4-FFF2-40B4-BE49-F238E27FC236}">
                    <a16:creationId xmlns="" xmlns:a16="http://schemas.microsoft.com/office/drawing/2014/main" id="{8A5B5A0C-D316-4748-BA4F-4133389B7732}"/>
                  </a:ext>
                </a:extLst>
              </p:cNvPr>
              <p:cNvSpPr>
                <a:spLocks noEditPoints="1"/>
              </p:cNvSpPr>
              <p:nvPr/>
            </p:nvSpPr>
            <p:spPr bwMode="auto">
              <a:xfrm>
                <a:off x="3917" y="2227"/>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1 w 86"/>
                  <a:gd name="T11" fmla="*/ 44 h 65"/>
                  <a:gd name="T12" fmla="*/ 65 w 86"/>
                  <a:gd name="T13" fmla="*/ 44 h 65"/>
                  <a:gd name="T14" fmla="*/ 65 w 86"/>
                  <a:gd name="T15" fmla="*/ 22 h 65"/>
                  <a:gd name="T16" fmla="*/ 21 w 86"/>
                  <a:gd name="T17" fmla="*/ 22 h 65"/>
                  <a:gd name="T18" fmla="*/ 21 w 86"/>
                  <a:gd name="T19" fmla="*/ 4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1" y="44"/>
                    </a:moveTo>
                    <a:lnTo>
                      <a:pt x="65" y="44"/>
                    </a:lnTo>
                    <a:lnTo>
                      <a:pt x="65" y="22"/>
                    </a:lnTo>
                    <a:lnTo>
                      <a:pt x="21" y="22"/>
                    </a:lnTo>
                    <a:lnTo>
                      <a:pt x="2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40" name="Freeform 80">
                <a:extLst>
                  <a:ext uri="{FF2B5EF4-FFF2-40B4-BE49-F238E27FC236}">
                    <a16:creationId xmlns="" xmlns:a16="http://schemas.microsoft.com/office/drawing/2014/main" id="{60A6E6DC-8E98-462C-A4FC-89F212381DF6}"/>
                  </a:ext>
                </a:extLst>
              </p:cNvPr>
              <p:cNvSpPr>
                <a:spLocks noEditPoints="1"/>
              </p:cNvSpPr>
              <p:nvPr/>
            </p:nvSpPr>
            <p:spPr bwMode="auto">
              <a:xfrm>
                <a:off x="3917" y="2314"/>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1 w 86"/>
                  <a:gd name="T11" fmla="*/ 43 h 65"/>
                  <a:gd name="T12" fmla="*/ 65 w 86"/>
                  <a:gd name="T13" fmla="*/ 43 h 65"/>
                  <a:gd name="T14" fmla="*/ 65 w 86"/>
                  <a:gd name="T15" fmla="*/ 21 h 65"/>
                  <a:gd name="T16" fmla="*/ 21 w 86"/>
                  <a:gd name="T17" fmla="*/ 21 h 65"/>
                  <a:gd name="T18" fmla="*/ 21 w 86"/>
                  <a:gd name="T19" fmla="*/ 4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1" y="43"/>
                    </a:moveTo>
                    <a:lnTo>
                      <a:pt x="65" y="43"/>
                    </a:lnTo>
                    <a:lnTo>
                      <a:pt x="65" y="21"/>
                    </a:lnTo>
                    <a:lnTo>
                      <a:pt x="21" y="21"/>
                    </a:lnTo>
                    <a:lnTo>
                      <a:pt x="21"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41" name="Freeform 81">
                <a:extLst>
                  <a:ext uri="{FF2B5EF4-FFF2-40B4-BE49-F238E27FC236}">
                    <a16:creationId xmlns="" xmlns:a16="http://schemas.microsoft.com/office/drawing/2014/main" id="{8D53284C-47D0-4ACD-8455-83ECEAD87059}"/>
                  </a:ext>
                </a:extLst>
              </p:cNvPr>
              <p:cNvSpPr>
                <a:spLocks noEditPoints="1"/>
              </p:cNvSpPr>
              <p:nvPr/>
            </p:nvSpPr>
            <p:spPr bwMode="auto">
              <a:xfrm>
                <a:off x="4025" y="2227"/>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1 w 86"/>
                  <a:gd name="T11" fmla="*/ 44 h 65"/>
                  <a:gd name="T12" fmla="*/ 65 w 86"/>
                  <a:gd name="T13" fmla="*/ 44 h 65"/>
                  <a:gd name="T14" fmla="*/ 65 w 86"/>
                  <a:gd name="T15" fmla="*/ 22 h 65"/>
                  <a:gd name="T16" fmla="*/ 21 w 86"/>
                  <a:gd name="T17" fmla="*/ 22 h 65"/>
                  <a:gd name="T18" fmla="*/ 21 w 86"/>
                  <a:gd name="T19" fmla="*/ 4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1" y="44"/>
                    </a:moveTo>
                    <a:lnTo>
                      <a:pt x="65" y="44"/>
                    </a:lnTo>
                    <a:lnTo>
                      <a:pt x="65" y="22"/>
                    </a:lnTo>
                    <a:lnTo>
                      <a:pt x="21" y="22"/>
                    </a:lnTo>
                    <a:lnTo>
                      <a:pt x="2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42" name="Freeform 82">
                <a:extLst>
                  <a:ext uri="{FF2B5EF4-FFF2-40B4-BE49-F238E27FC236}">
                    <a16:creationId xmlns="" xmlns:a16="http://schemas.microsoft.com/office/drawing/2014/main" id="{C0C5BD14-DCA4-4ED3-8DD6-986C928A0F22}"/>
                  </a:ext>
                </a:extLst>
              </p:cNvPr>
              <p:cNvSpPr>
                <a:spLocks noEditPoints="1"/>
              </p:cNvSpPr>
              <p:nvPr/>
            </p:nvSpPr>
            <p:spPr bwMode="auto">
              <a:xfrm>
                <a:off x="4025" y="2314"/>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1 w 86"/>
                  <a:gd name="T11" fmla="*/ 43 h 65"/>
                  <a:gd name="T12" fmla="*/ 65 w 86"/>
                  <a:gd name="T13" fmla="*/ 43 h 65"/>
                  <a:gd name="T14" fmla="*/ 65 w 86"/>
                  <a:gd name="T15" fmla="*/ 21 h 65"/>
                  <a:gd name="T16" fmla="*/ 21 w 86"/>
                  <a:gd name="T17" fmla="*/ 21 h 65"/>
                  <a:gd name="T18" fmla="*/ 21 w 86"/>
                  <a:gd name="T19" fmla="*/ 4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1" y="43"/>
                    </a:moveTo>
                    <a:lnTo>
                      <a:pt x="65" y="43"/>
                    </a:lnTo>
                    <a:lnTo>
                      <a:pt x="65" y="21"/>
                    </a:lnTo>
                    <a:lnTo>
                      <a:pt x="21" y="21"/>
                    </a:lnTo>
                    <a:lnTo>
                      <a:pt x="21"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43" name="Line 83">
                <a:extLst>
                  <a:ext uri="{FF2B5EF4-FFF2-40B4-BE49-F238E27FC236}">
                    <a16:creationId xmlns="" xmlns:a16="http://schemas.microsoft.com/office/drawing/2014/main" id="{BA5A29BC-19A1-4272-A8E1-D33406ACBE50}"/>
                  </a:ext>
                </a:extLst>
              </p:cNvPr>
              <p:cNvSpPr>
                <a:spLocks noChangeShapeType="1"/>
              </p:cNvSpPr>
              <p:nvPr/>
            </p:nvSpPr>
            <p:spPr bwMode="auto">
              <a:xfrm>
                <a:off x="4176" y="2433"/>
                <a:ext cx="0" cy="0"/>
              </a:xfrm>
              <a:prstGeom prst="line">
                <a:avLst/>
              </a:prstGeom>
              <a:grpFill/>
              <a:ln w="34925" cap="flat">
                <a:solidFill>
                  <a:srgbClr val="363F40"/>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44" name="Rectangle 84">
                <a:extLst>
                  <a:ext uri="{FF2B5EF4-FFF2-40B4-BE49-F238E27FC236}">
                    <a16:creationId xmlns="" xmlns:a16="http://schemas.microsoft.com/office/drawing/2014/main" id="{51CF981C-CF66-49C3-997F-EFEF9B8EBA5D}"/>
                  </a:ext>
                </a:extLst>
              </p:cNvPr>
              <p:cNvSpPr>
                <a:spLocks noChangeArrowheads="1"/>
              </p:cNvSpPr>
              <p:nvPr/>
            </p:nvSpPr>
            <p:spPr bwMode="auto">
              <a:xfrm>
                <a:off x="3669" y="2422"/>
                <a:ext cx="475" cy="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45" name="Rectangle 85">
                <a:extLst>
                  <a:ext uri="{FF2B5EF4-FFF2-40B4-BE49-F238E27FC236}">
                    <a16:creationId xmlns="" xmlns:a16="http://schemas.microsoft.com/office/drawing/2014/main" id="{5EE414C1-53DB-43CC-86C7-E79CE9E33EE5}"/>
                  </a:ext>
                </a:extLst>
              </p:cNvPr>
              <p:cNvSpPr>
                <a:spLocks noChangeArrowheads="1"/>
              </p:cNvSpPr>
              <p:nvPr/>
            </p:nvSpPr>
            <p:spPr bwMode="auto">
              <a:xfrm>
                <a:off x="3539" y="1990"/>
                <a:ext cx="65" cy="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46" name="Freeform 86">
                <a:extLst>
                  <a:ext uri="{FF2B5EF4-FFF2-40B4-BE49-F238E27FC236}">
                    <a16:creationId xmlns="" xmlns:a16="http://schemas.microsoft.com/office/drawing/2014/main" id="{36510F66-F754-4D76-A5ED-F1BC0DFF3D31}"/>
                  </a:ext>
                </a:extLst>
              </p:cNvPr>
              <p:cNvSpPr>
                <a:spLocks/>
              </p:cNvSpPr>
              <p:nvPr/>
            </p:nvSpPr>
            <p:spPr bwMode="auto">
              <a:xfrm>
                <a:off x="3507" y="2422"/>
                <a:ext cx="140" cy="54"/>
              </a:xfrm>
              <a:custGeom>
                <a:avLst/>
                <a:gdLst>
                  <a:gd name="T0" fmla="*/ 140 w 140"/>
                  <a:gd name="T1" fmla="*/ 54 h 54"/>
                  <a:gd name="T2" fmla="*/ 118 w 140"/>
                  <a:gd name="T3" fmla="*/ 54 h 54"/>
                  <a:gd name="T4" fmla="*/ 118 w 140"/>
                  <a:gd name="T5" fmla="*/ 21 h 54"/>
                  <a:gd name="T6" fmla="*/ 0 w 140"/>
                  <a:gd name="T7" fmla="*/ 21 h 54"/>
                  <a:gd name="T8" fmla="*/ 0 w 140"/>
                  <a:gd name="T9" fmla="*/ 0 h 54"/>
                  <a:gd name="T10" fmla="*/ 140 w 140"/>
                  <a:gd name="T11" fmla="*/ 0 h 54"/>
                  <a:gd name="T12" fmla="*/ 140 w 140"/>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140" h="54">
                    <a:moveTo>
                      <a:pt x="140" y="54"/>
                    </a:moveTo>
                    <a:lnTo>
                      <a:pt x="118" y="54"/>
                    </a:lnTo>
                    <a:lnTo>
                      <a:pt x="118" y="21"/>
                    </a:lnTo>
                    <a:lnTo>
                      <a:pt x="0" y="21"/>
                    </a:lnTo>
                    <a:lnTo>
                      <a:pt x="0" y="0"/>
                    </a:lnTo>
                    <a:lnTo>
                      <a:pt x="140" y="0"/>
                    </a:lnTo>
                    <a:lnTo>
                      <a:pt x="14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grpSp>
        <p:nvGrpSpPr>
          <p:cNvPr id="395" name="Group 394">
            <a:extLst>
              <a:ext uri="{FF2B5EF4-FFF2-40B4-BE49-F238E27FC236}">
                <a16:creationId xmlns="" xmlns:a16="http://schemas.microsoft.com/office/drawing/2014/main" id="{0D64CCE6-A439-4F38-A649-845655606FE5}"/>
              </a:ext>
            </a:extLst>
          </p:cNvPr>
          <p:cNvGrpSpPr/>
          <p:nvPr/>
        </p:nvGrpSpPr>
        <p:grpSpPr>
          <a:xfrm>
            <a:off x="6139552" y="3197392"/>
            <a:ext cx="339316" cy="573327"/>
            <a:chOff x="7842970" y="3305625"/>
            <a:chExt cx="563042" cy="951347"/>
          </a:xfrm>
        </p:grpSpPr>
        <p:pic>
          <p:nvPicPr>
            <p:cNvPr id="396" name="Picture 395" descr="A picture containing thing, object&#10;&#10;Description generated with very high confidence">
              <a:extLst>
                <a:ext uri="{FF2B5EF4-FFF2-40B4-BE49-F238E27FC236}">
                  <a16:creationId xmlns="" xmlns:a16="http://schemas.microsoft.com/office/drawing/2014/main" id="{725DFC37-CA2E-4264-8486-99820990DACB}"/>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0750" t="49158" r="66065" b="11246"/>
            <a:stretch/>
          </p:blipFill>
          <p:spPr>
            <a:xfrm>
              <a:off x="7842970" y="3305625"/>
              <a:ext cx="563042" cy="951347"/>
            </a:xfrm>
            <a:prstGeom prst="rect">
              <a:avLst/>
            </a:prstGeom>
          </p:spPr>
        </p:pic>
        <p:grpSp>
          <p:nvGrpSpPr>
            <p:cNvPr id="397" name="Group 64">
              <a:extLst>
                <a:ext uri="{FF2B5EF4-FFF2-40B4-BE49-F238E27FC236}">
                  <a16:creationId xmlns="" xmlns:a16="http://schemas.microsoft.com/office/drawing/2014/main" id="{1CDE1764-175B-4F43-B00F-9A021E4D4562}"/>
                </a:ext>
              </a:extLst>
            </p:cNvPr>
            <p:cNvGrpSpPr>
              <a:grpSpLocks noChangeAspect="1"/>
            </p:cNvGrpSpPr>
            <p:nvPr/>
          </p:nvGrpSpPr>
          <p:grpSpPr bwMode="auto">
            <a:xfrm>
              <a:off x="8036708" y="3504271"/>
              <a:ext cx="175565" cy="164640"/>
              <a:chOff x="3496" y="1839"/>
              <a:chExt cx="691" cy="648"/>
            </a:xfrm>
            <a:solidFill>
              <a:srgbClr val="F26926"/>
            </a:solidFill>
          </p:grpSpPr>
          <p:sp>
            <p:nvSpPr>
              <p:cNvPr id="398" name="Freeform 65">
                <a:extLst>
                  <a:ext uri="{FF2B5EF4-FFF2-40B4-BE49-F238E27FC236}">
                    <a16:creationId xmlns="" xmlns:a16="http://schemas.microsoft.com/office/drawing/2014/main" id="{82F67856-38FF-49BB-909F-4B9FEF2AF774}"/>
                  </a:ext>
                </a:extLst>
              </p:cNvPr>
              <p:cNvSpPr>
                <a:spLocks noEditPoints="1"/>
              </p:cNvSpPr>
              <p:nvPr/>
            </p:nvSpPr>
            <p:spPr bwMode="auto">
              <a:xfrm>
                <a:off x="3496" y="1925"/>
                <a:ext cx="691" cy="562"/>
              </a:xfrm>
              <a:custGeom>
                <a:avLst/>
                <a:gdLst>
                  <a:gd name="T0" fmla="*/ 252 w 256"/>
                  <a:gd name="T1" fmla="*/ 208 h 208"/>
                  <a:gd name="T2" fmla="*/ 4 w 256"/>
                  <a:gd name="T3" fmla="*/ 208 h 208"/>
                  <a:gd name="T4" fmla="*/ 0 w 256"/>
                  <a:gd name="T5" fmla="*/ 204 h 208"/>
                  <a:gd name="T6" fmla="*/ 0 w 256"/>
                  <a:gd name="T7" fmla="*/ 88 h 208"/>
                  <a:gd name="T8" fmla="*/ 0 w 256"/>
                  <a:gd name="T9" fmla="*/ 87 h 208"/>
                  <a:gd name="T10" fmla="*/ 16 w 256"/>
                  <a:gd name="T11" fmla="*/ 3 h 208"/>
                  <a:gd name="T12" fmla="*/ 20 w 256"/>
                  <a:gd name="T13" fmla="*/ 0 h 208"/>
                  <a:gd name="T14" fmla="*/ 36 w 256"/>
                  <a:gd name="T15" fmla="*/ 0 h 208"/>
                  <a:gd name="T16" fmla="*/ 40 w 256"/>
                  <a:gd name="T17" fmla="*/ 3 h 208"/>
                  <a:gd name="T18" fmla="*/ 55 w 256"/>
                  <a:gd name="T19" fmla="*/ 80 h 208"/>
                  <a:gd name="T20" fmla="*/ 93 w 256"/>
                  <a:gd name="T21" fmla="*/ 45 h 208"/>
                  <a:gd name="T22" fmla="*/ 98 w 256"/>
                  <a:gd name="T23" fmla="*/ 44 h 208"/>
                  <a:gd name="T24" fmla="*/ 100 w 256"/>
                  <a:gd name="T25" fmla="*/ 48 h 208"/>
                  <a:gd name="T26" fmla="*/ 100 w 256"/>
                  <a:gd name="T27" fmla="*/ 83 h 208"/>
                  <a:gd name="T28" fmla="*/ 146 w 256"/>
                  <a:gd name="T29" fmla="*/ 45 h 208"/>
                  <a:gd name="T30" fmla="*/ 150 w 256"/>
                  <a:gd name="T31" fmla="*/ 44 h 208"/>
                  <a:gd name="T32" fmla="*/ 152 w 256"/>
                  <a:gd name="T33" fmla="*/ 48 h 208"/>
                  <a:gd name="T34" fmla="*/ 152 w 256"/>
                  <a:gd name="T35" fmla="*/ 83 h 208"/>
                  <a:gd name="T36" fmla="*/ 198 w 256"/>
                  <a:gd name="T37" fmla="*/ 45 h 208"/>
                  <a:gd name="T38" fmla="*/ 202 w 256"/>
                  <a:gd name="T39" fmla="*/ 44 h 208"/>
                  <a:gd name="T40" fmla="*/ 204 w 256"/>
                  <a:gd name="T41" fmla="*/ 48 h 208"/>
                  <a:gd name="T42" fmla="*/ 204 w 256"/>
                  <a:gd name="T43" fmla="*/ 83 h 208"/>
                  <a:gd name="T44" fmla="*/ 250 w 256"/>
                  <a:gd name="T45" fmla="*/ 45 h 208"/>
                  <a:gd name="T46" fmla="*/ 254 w 256"/>
                  <a:gd name="T47" fmla="*/ 44 h 208"/>
                  <a:gd name="T48" fmla="*/ 256 w 256"/>
                  <a:gd name="T49" fmla="*/ 48 h 208"/>
                  <a:gd name="T50" fmla="*/ 256 w 256"/>
                  <a:gd name="T51" fmla="*/ 204 h 208"/>
                  <a:gd name="T52" fmla="*/ 252 w 256"/>
                  <a:gd name="T53" fmla="*/ 208 h 208"/>
                  <a:gd name="T54" fmla="*/ 8 w 256"/>
                  <a:gd name="T55" fmla="*/ 200 h 208"/>
                  <a:gd name="T56" fmla="*/ 248 w 256"/>
                  <a:gd name="T57" fmla="*/ 200 h 208"/>
                  <a:gd name="T58" fmla="*/ 248 w 256"/>
                  <a:gd name="T59" fmla="*/ 56 h 208"/>
                  <a:gd name="T60" fmla="*/ 203 w 256"/>
                  <a:gd name="T61" fmla="*/ 95 h 208"/>
                  <a:gd name="T62" fmla="*/ 198 w 256"/>
                  <a:gd name="T63" fmla="*/ 95 h 208"/>
                  <a:gd name="T64" fmla="*/ 196 w 256"/>
                  <a:gd name="T65" fmla="*/ 92 h 208"/>
                  <a:gd name="T66" fmla="*/ 196 w 256"/>
                  <a:gd name="T67" fmla="*/ 56 h 208"/>
                  <a:gd name="T68" fmla="*/ 151 w 256"/>
                  <a:gd name="T69" fmla="*/ 95 h 208"/>
                  <a:gd name="T70" fmla="*/ 146 w 256"/>
                  <a:gd name="T71" fmla="*/ 95 h 208"/>
                  <a:gd name="T72" fmla="*/ 144 w 256"/>
                  <a:gd name="T73" fmla="*/ 92 h 208"/>
                  <a:gd name="T74" fmla="*/ 144 w 256"/>
                  <a:gd name="T75" fmla="*/ 56 h 208"/>
                  <a:gd name="T76" fmla="*/ 99 w 256"/>
                  <a:gd name="T77" fmla="*/ 95 h 208"/>
                  <a:gd name="T78" fmla="*/ 94 w 256"/>
                  <a:gd name="T79" fmla="*/ 95 h 208"/>
                  <a:gd name="T80" fmla="*/ 92 w 256"/>
                  <a:gd name="T81" fmla="*/ 92 h 208"/>
                  <a:gd name="T82" fmla="*/ 92 w 256"/>
                  <a:gd name="T83" fmla="*/ 57 h 208"/>
                  <a:gd name="T84" fmla="*/ 56 w 256"/>
                  <a:gd name="T85" fmla="*/ 90 h 208"/>
                  <a:gd name="T86" fmla="*/ 56 w 256"/>
                  <a:gd name="T87" fmla="*/ 176 h 208"/>
                  <a:gd name="T88" fmla="*/ 48 w 256"/>
                  <a:gd name="T89" fmla="*/ 176 h 208"/>
                  <a:gd name="T90" fmla="*/ 48 w 256"/>
                  <a:gd name="T91" fmla="*/ 88 h 208"/>
                  <a:gd name="T92" fmla="*/ 33 w 256"/>
                  <a:gd name="T93" fmla="*/ 8 h 208"/>
                  <a:gd name="T94" fmla="*/ 23 w 256"/>
                  <a:gd name="T95" fmla="*/ 8 h 208"/>
                  <a:gd name="T96" fmla="*/ 8 w 256"/>
                  <a:gd name="T97" fmla="*/ 88 h 208"/>
                  <a:gd name="T98" fmla="*/ 8 w 256"/>
                  <a:gd name="T99" fmla="*/ 20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6" h="208">
                    <a:moveTo>
                      <a:pt x="252" y="208"/>
                    </a:moveTo>
                    <a:cubicBezTo>
                      <a:pt x="4" y="208"/>
                      <a:pt x="4" y="208"/>
                      <a:pt x="4" y="208"/>
                    </a:cubicBezTo>
                    <a:cubicBezTo>
                      <a:pt x="2" y="208"/>
                      <a:pt x="0" y="206"/>
                      <a:pt x="0" y="204"/>
                    </a:cubicBezTo>
                    <a:cubicBezTo>
                      <a:pt x="0" y="88"/>
                      <a:pt x="0" y="88"/>
                      <a:pt x="0" y="88"/>
                    </a:cubicBezTo>
                    <a:cubicBezTo>
                      <a:pt x="0" y="88"/>
                      <a:pt x="0" y="87"/>
                      <a:pt x="0" y="87"/>
                    </a:cubicBezTo>
                    <a:cubicBezTo>
                      <a:pt x="16" y="3"/>
                      <a:pt x="16" y="3"/>
                      <a:pt x="16" y="3"/>
                    </a:cubicBezTo>
                    <a:cubicBezTo>
                      <a:pt x="17" y="1"/>
                      <a:pt x="18" y="0"/>
                      <a:pt x="20" y="0"/>
                    </a:cubicBezTo>
                    <a:cubicBezTo>
                      <a:pt x="36" y="0"/>
                      <a:pt x="36" y="0"/>
                      <a:pt x="36" y="0"/>
                    </a:cubicBezTo>
                    <a:cubicBezTo>
                      <a:pt x="38" y="0"/>
                      <a:pt x="40" y="1"/>
                      <a:pt x="40" y="3"/>
                    </a:cubicBezTo>
                    <a:cubicBezTo>
                      <a:pt x="55" y="80"/>
                      <a:pt x="55" y="80"/>
                      <a:pt x="55" y="80"/>
                    </a:cubicBezTo>
                    <a:cubicBezTo>
                      <a:pt x="93" y="45"/>
                      <a:pt x="93" y="45"/>
                      <a:pt x="93" y="45"/>
                    </a:cubicBezTo>
                    <a:cubicBezTo>
                      <a:pt x="95" y="44"/>
                      <a:pt x="96" y="43"/>
                      <a:pt x="98" y="44"/>
                    </a:cubicBezTo>
                    <a:cubicBezTo>
                      <a:pt x="99" y="45"/>
                      <a:pt x="100" y="46"/>
                      <a:pt x="100" y="48"/>
                    </a:cubicBezTo>
                    <a:cubicBezTo>
                      <a:pt x="100" y="83"/>
                      <a:pt x="100" y="83"/>
                      <a:pt x="100" y="83"/>
                    </a:cubicBezTo>
                    <a:cubicBezTo>
                      <a:pt x="146" y="45"/>
                      <a:pt x="146" y="45"/>
                      <a:pt x="146" y="45"/>
                    </a:cubicBezTo>
                    <a:cubicBezTo>
                      <a:pt x="147" y="44"/>
                      <a:pt x="148" y="43"/>
                      <a:pt x="150" y="44"/>
                    </a:cubicBezTo>
                    <a:cubicBezTo>
                      <a:pt x="151" y="45"/>
                      <a:pt x="152" y="46"/>
                      <a:pt x="152" y="48"/>
                    </a:cubicBezTo>
                    <a:cubicBezTo>
                      <a:pt x="152" y="83"/>
                      <a:pt x="152" y="83"/>
                      <a:pt x="152" y="83"/>
                    </a:cubicBezTo>
                    <a:cubicBezTo>
                      <a:pt x="198" y="45"/>
                      <a:pt x="198" y="45"/>
                      <a:pt x="198" y="45"/>
                    </a:cubicBezTo>
                    <a:cubicBezTo>
                      <a:pt x="199" y="44"/>
                      <a:pt x="200" y="43"/>
                      <a:pt x="202" y="44"/>
                    </a:cubicBezTo>
                    <a:cubicBezTo>
                      <a:pt x="203" y="45"/>
                      <a:pt x="204" y="46"/>
                      <a:pt x="204" y="48"/>
                    </a:cubicBezTo>
                    <a:cubicBezTo>
                      <a:pt x="204" y="83"/>
                      <a:pt x="204" y="83"/>
                      <a:pt x="204" y="83"/>
                    </a:cubicBezTo>
                    <a:cubicBezTo>
                      <a:pt x="250" y="45"/>
                      <a:pt x="250" y="45"/>
                      <a:pt x="250" y="45"/>
                    </a:cubicBezTo>
                    <a:cubicBezTo>
                      <a:pt x="251" y="44"/>
                      <a:pt x="252" y="43"/>
                      <a:pt x="254" y="44"/>
                    </a:cubicBezTo>
                    <a:cubicBezTo>
                      <a:pt x="255" y="45"/>
                      <a:pt x="256" y="46"/>
                      <a:pt x="256" y="48"/>
                    </a:cubicBezTo>
                    <a:cubicBezTo>
                      <a:pt x="256" y="204"/>
                      <a:pt x="256" y="204"/>
                      <a:pt x="256" y="204"/>
                    </a:cubicBezTo>
                    <a:cubicBezTo>
                      <a:pt x="256" y="206"/>
                      <a:pt x="254" y="208"/>
                      <a:pt x="252" y="208"/>
                    </a:cubicBezTo>
                    <a:close/>
                    <a:moveTo>
                      <a:pt x="8" y="200"/>
                    </a:moveTo>
                    <a:cubicBezTo>
                      <a:pt x="248" y="200"/>
                      <a:pt x="248" y="200"/>
                      <a:pt x="248" y="200"/>
                    </a:cubicBezTo>
                    <a:cubicBezTo>
                      <a:pt x="248" y="56"/>
                      <a:pt x="248" y="56"/>
                      <a:pt x="248" y="56"/>
                    </a:cubicBezTo>
                    <a:cubicBezTo>
                      <a:pt x="203" y="95"/>
                      <a:pt x="203" y="95"/>
                      <a:pt x="203" y="95"/>
                    </a:cubicBezTo>
                    <a:cubicBezTo>
                      <a:pt x="202" y="96"/>
                      <a:pt x="200" y="96"/>
                      <a:pt x="198" y="95"/>
                    </a:cubicBezTo>
                    <a:cubicBezTo>
                      <a:pt x="197" y="95"/>
                      <a:pt x="196" y="93"/>
                      <a:pt x="196" y="92"/>
                    </a:cubicBezTo>
                    <a:cubicBezTo>
                      <a:pt x="196" y="56"/>
                      <a:pt x="196" y="56"/>
                      <a:pt x="196" y="56"/>
                    </a:cubicBezTo>
                    <a:cubicBezTo>
                      <a:pt x="151" y="95"/>
                      <a:pt x="151" y="95"/>
                      <a:pt x="151" y="95"/>
                    </a:cubicBezTo>
                    <a:cubicBezTo>
                      <a:pt x="150" y="96"/>
                      <a:pt x="148" y="96"/>
                      <a:pt x="146" y="95"/>
                    </a:cubicBezTo>
                    <a:cubicBezTo>
                      <a:pt x="145" y="95"/>
                      <a:pt x="144" y="93"/>
                      <a:pt x="144" y="92"/>
                    </a:cubicBezTo>
                    <a:cubicBezTo>
                      <a:pt x="144" y="56"/>
                      <a:pt x="144" y="56"/>
                      <a:pt x="144" y="56"/>
                    </a:cubicBezTo>
                    <a:cubicBezTo>
                      <a:pt x="99" y="95"/>
                      <a:pt x="99" y="95"/>
                      <a:pt x="99" y="95"/>
                    </a:cubicBezTo>
                    <a:cubicBezTo>
                      <a:pt x="98" y="96"/>
                      <a:pt x="96" y="96"/>
                      <a:pt x="94" y="95"/>
                    </a:cubicBezTo>
                    <a:cubicBezTo>
                      <a:pt x="93" y="95"/>
                      <a:pt x="92" y="93"/>
                      <a:pt x="92" y="92"/>
                    </a:cubicBezTo>
                    <a:cubicBezTo>
                      <a:pt x="92" y="57"/>
                      <a:pt x="92" y="57"/>
                      <a:pt x="92" y="57"/>
                    </a:cubicBezTo>
                    <a:cubicBezTo>
                      <a:pt x="56" y="90"/>
                      <a:pt x="56" y="90"/>
                      <a:pt x="56" y="90"/>
                    </a:cubicBezTo>
                    <a:cubicBezTo>
                      <a:pt x="56" y="176"/>
                      <a:pt x="56" y="176"/>
                      <a:pt x="56" y="176"/>
                    </a:cubicBezTo>
                    <a:cubicBezTo>
                      <a:pt x="48" y="176"/>
                      <a:pt x="48" y="176"/>
                      <a:pt x="48" y="176"/>
                    </a:cubicBezTo>
                    <a:cubicBezTo>
                      <a:pt x="48" y="88"/>
                      <a:pt x="48" y="88"/>
                      <a:pt x="48" y="88"/>
                    </a:cubicBezTo>
                    <a:cubicBezTo>
                      <a:pt x="33" y="8"/>
                      <a:pt x="33" y="8"/>
                      <a:pt x="33" y="8"/>
                    </a:cubicBezTo>
                    <a:cubicBezTo>
                      <a:pt x="23" y="8"/>
                      <a:pt x="23" y="8"/>
                      <a:pt x="23" y="8"/>
                    </a:cubicBezTo>
                    <a:cubicBezTo>
                      <a:pt x="8" y="88"/>
                      <a:pt x="8" y="88"/>
                      <a:pt x="8" y="88"/>
                    </a:cubicBezTo>
                    <a:lnTo>
                      <a:pt x="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399" name="Freeform 66">
                <a:extLst>
                  <a:ext uri="{FF2B5EF4-FFF2-40B4-BE49-F238E27FC236}">
                    <a16:creationId xmlns="" xmlns:a16="http://schemas.microsoft.com/office/drawing/2014/main" id="{E5F832F5-1AFA-4E1F-8BDE-EFEEA508B90A}"/>
                  </a:ext>
                </a:extLst>
              </p:cNvPr>
              <p:cNvSpPr>
                <a:spLocks/>
              </p:cNvSpPr>
              <p:nvPr/>
            </p:nvSpPr>
            <p:spPr bwMode="auto">
              <a:xfrm>
                <a:off x="3604" y="1839"/>
                <a:ext cx="259" cy="64"/>
              </a:xfrm>
              <a:custGeom>
                <a:avLst/>
                <a:gdLst>
                  <a:gd name="T0" fmla="*/ 72 w 96"/>
                  <a:gd name="T1" fmla="*/ 24 h 24"/>
                  <a:gd name="T2" fmla="*/ 57 w 96"/>
                  <a:gd name="T3" fmla="*/ 14 h 24"/>
                  <a:gd name="T4" fmla="*/ 48 w 96"/>
                  <a:gd name="T5" fmla="*/ 8 h 24"/>
                  <a:gd name="T6" fmla="*/ 39 w 96"/>
                  <a:gd name="T7" fmla="*/ 14 h 24"/>
                  <a:gd name="T8" fmla="*/ 24 w 96"/>
                  <a:gd name="T9" fmla="*/ 24 h 24"/>
                  <a:gd name="T10" fmla="*/ 9 w 96"/>
                  <a:gd name="T11" fmla="*/ 14 h 24"/>
                  <a:gd name="T12" fmla="*/ 0 w 96"/>
                  <a:gd name="T13" fmla="*/ 8 h 24"/>
                  <a:gd name="T14" fmla="*/ 0 w 96"/>
                  <a:gd name="T15" fmla="*/ 0 h 24"/>
                  <a:gd name="T16" fmla="*/ 15 w 96"/>
                  <a:gd name="T17" fmla="*/ 10 h 24"/>
                  <a:gd name="T18" fmla="*/ 24 w 96"/>
                  <a:gd name="T19" fmla="*/ 16 h 24"/>
                  <a:gd name="T20" fmla="*/ 33 w 96"/>
                  <a:gd name="T21" fmla="*/ 10 h 24"/>
                  <a:gd name="T22" fmla="*/ 48 w 96"/>
                  <a:gd name="T23" fmla="*/ 0 h 24"/>
                  <a:gd name="T24" fmla="*/ 63 w 96"/>
                  <a:gd name="T25" fmla="*/ 10 h 24"/>
                  <a:gd name="T26" fmla="*/ 72 w 96"/>
                  <a:gd name="T27" fmla="*/ 16 h 24"/>
                  <a:gd name="T28" fmla="*/ 81 w 96"/>
                  <a:gd name="T29" fmla="*/ 10 h 24"/>
                  <a:gd name="T30" fmla="*/ 96 w 96"/>
                  <a:gd name="T31" fmla="*/ 0 h 24"/>
                  <a:gd name="T32" fmla="*/ 96 w 96"/>
                  <a:gd name="T33" fmla="*/ 8 h 24"/>
                  <a:gd name="T34" fmla="*/ 87 w 96"/>
                  <a:gd name="T35" fmla="*/ 14 h 24"/>
                  <a:gd name="T36" fmla="*/ 72 w 96"/>
                  <a:gd name="T3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24">
                    <a:moveTo>
                      <a:pt x="72" y="24"/>
                    </a:moveTo>
                    <a:cubicBezTo>
                      <a:pt x="64" y="24"/>
                      <a:pt x="57" y="15"/>
                      <a:pt x="57" y="14"/>
                    </a:cubicBezTo>
                    <a:cubicBezTo>
                      <a:pt x="56" y="12"/>
                      <a:pt x="52" y="8"/>
                      <a:pt x="48" y="8"/>
                    </a:cubicBezTo>
                    <a:cubicBezTo>
                      <a:pt x="44" y="8"/>
                      <a:pt x="40" y="13"/>
                      <a:pt x="39" y="14"/>
                    </a:cubicBezTo>
                    <a:cubicBezTo>
                      <a:pt x="39" y="15"/>
                      <a:pt x="33" y="24"/>
                      <a:pt x="24" y="24"/>
                    </a:cubicBezTo>
                    <a:cubicBezTo>
                      <a:pt x="16" y="24"/>
                      <a:pt x="9" y="15"/>
                      <a:pt x="9" y="14"/>
                    </a:cubicBezTo>
                    <a:cubicBezTo>
                      <a:pt x="8" y="12"/>
                      <a:pt x="4" y="8"/>
                      <a:pt x="0" y="8"/>
                    </a:cubicBezTo>
                    <a:cubicBezTo>
                      <a:pt x="0" y="0"/>
                      <a:pt x="0" y="0"/>
                      <a:pt x="0" y="0"/>
                    </a:cubicBezTo>
                    <a:cubicBezTo>
                      <a:pt x="9" y="0"/>
                      <a:pt x="15" y="9"/>
                      <a:pt x="15" y="10"/>
                    </a:cubicBezTo>
                    <a:cubicBezTo>
                      <a:pt x="17" y="11"/>
                      <a:pt x="20" y="16"/>
                      <a:pt x="24" y="16"/>
                    </a:cubicBezTo>
                    <a:cubicBezTo>
                      <a:pt x="28" y="16"/>
                      <a:pt x="32" y="11"/>
                      <a:pt x="33" y="10"/>
                    </a:cubicBezTo>
                    <a:cubicBezTo>
                      <a:pt x="33" y="9"/>
                      <a:pt x="40" y="0"/>
                      <a:pt x="48" y="0"/>
                    </a:cubicBezTo>
                    <a:cubicBezTo>
                      <a:pt x="57" y="0"/>
                      <a:pt x="63" y="9"/>
                      <a:pt x="63" y="10"/>
                    </a:cubicBezTo>
                    <a:cubicBezTo>
                      <a:pt x="65" y="11"/>
                      <a:pt x="68" y="16"/>
                      <a:pt x="72" y="16"/>
                    </a:cubicBezTo>
                    <a:cubicBezTo>
                      <a:pt x="76" y="16"/>
                      <a:pt x="80" y="11"/>
                      <a:pt x="81" y="10"/>
                    </a:cubicBezTo>
                    <a:cubicBezTo>
                      <a:pt x="81" y="9"/>
                      <a:pt x="88" y="0"/>
                      <a:pt x="96" y="0"/>
                    </a:cubicBezTo>
                    <a:cubicBezTo>
                      <a:pt x="96" y="8"/>
                      <a:pt x="96" y="8"/>
                      <a:pt x="96" y="8"/>
                    </a:cubicBezTo>
                    <a:cubicBezTo>
                      <a:pt x="92" y="8"/>
                      <a:pt x="88" y="13"/>
                      <a:pt x="87" y="14"/>
                    </a:cubicBezTo>
                    <a:cubicBezTo>
                      <a:pt x="87" y="15"/>
                      <a:pt x="81" y="24"/>
                      <a:pt x="7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00" name="Line 67">
                <a:extLst>
                  <a:ext uri="{FF2B5EF4-FFF2-40B4-BE49-F238E27FC236}">
                    <a16:creationId xmlns="" xmlns:a16="http://schemas.microsoft.com/office/drawing/2014/main" id="{2C643494-8D48-4EF4-923C-8B68C6858E87}"/>
                  </a:ext>
                </a:extLst>
              </p:cNvPr>
              <p:cNvSpPr>
                <a:spLocks noChangeShapeType="1"/>
              </p:cNvSpPr>
              <p:nvPr/>
            </p:nvSpPr>
            <p:spPr bwMode="auto">
              <a:xfrm>
                <a:off x="3604" y="1849"/>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01" name="Line 68">
                <a:extLst>
                  <a:ext uri="{FF2B5EF4-FFF2-40B4-BE49-F238E27FC236}">
                    <a16:creationId xmlns="" xmlns:a16="http://schemas.microsoft.com/office/drawing/2014/main" id="{31C7D46B-F61F-4AC8-9793-A5F58CD85F26}"/>
                  </a:ext>
                </a:extLst>
              </p:cNvPr>
              <p:cNvSpPr>
                <a:spLocks noChangeShapeType="1"/>
              </p:cNvSpPr>
              <p:nvPr/>
            </p:nvSpPr>
            <p:spPr bwMode="auto">
              <a:xfrm>
                <a:off x="3604" y="1849"/>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02" name="Freeform 69">
                <a:extLst>
                  <a:ext uri="{FF2B5EF4-FFF2-40B4-BE49-F238E27FC236}">
                    <a16:creationId xmlns="" xmlns:a16="http://schemas.microsoft.com/office/drawing/2014/main" id="{6E4BF6C5-DC81-470B-9E55-8F2897085343}"/>
                  </a:ext>
                </a:extLst>
              </p:cNvPr>
              <p:cNvSpPr>
                <a:spLocks/>
              </p:cNvSpPr>
              <p:nvPr/>
            </p:nvSpPr>
            <p:spPr bwMode="auto">
              <a:xfrm>
                <a:off x="3561" y="1839"/>
                <a:ext cx="43" cy="43"/>
              </a:xfrm>
              <a:custGeom>
                <a:avLst/>
                <a:gdLst>
                  <a:gd name="T0" fmla="*/ 8 w 16"/>
                  <a:gd name="T1" fmla="*/ 16 h 16"/>
                  <a:gd name="T2" fmla="*/ 0 w 16"/>
                  <a:gd name="T3" fmla="*/ 16 h 16"/>
                  <a:gd name="T4" fmla="*/ 16 w 16"/>
                  <a:gd name="T5" fmla="*/ 0 h 16"/>
                  <a:gd name="T6" fmla="*/ 16 w 16"/>
                  <a:gd name="T7" fmla="*/ 8 h 16"/>
                  <a:gd name="T8" fmla="*/ 8 w 16"/>
                  <a:gd name="T9" fmla="*/ 16 h 16"/>
                </a:gdLst>
                <a:ahLst/>
                <a:cxnLst>
                  <a:cxn ang="0">
                    <a:pos x="T0" y="T1"/>
                  </a:cxn>
                  <a:cxn ang="0">
                    <a:pos x="T2" y="T3"/>
                  </a:cxn>
                  <a:cxn ang="0">
                    <a:pos x="T4" y="T5"/>
                  </a:cxn>
                  <a:cxn ang="0">
                    <a:pos x="T6" y="T7"/>
                  </a:cxn>
                  <a:cxn ang="0">
                    <a:pos x="T8" y="T9"/>
                  </a:cxn>
                </a:cxnLst>
                <a:rect l="0" t="0" r="r" b="b"/>
                <a:pathLst>
                  <a:path w="16" h="16">
                    <a:moveTo>
                      <a:pt x="8" y="16"/>
                    </a:moveTo>
                    <a:cubicBezTo>
                      <a:pt x="0" y="16"/>
                      <a:pt x="0" y="16"/>
                      <a:pt x="0" y="16"/>
                    </a:cubicBezTo>
                    <a:cubicBezTo>
                      <a:pt x="0" y="7"/>
                      <a:pt x="7" y="0"/>
                      <a:pt x="16" y="0"/>
                    </a:cubicBezTo>
                    <a:cubicBezTo>
                      <a:pt x="16" y="8"/>
                      <a:pt x="16" y="8"/>
                      <a:pt x="16" y="8"/>
                    </a:cubicBezTo>
                    <a:cubicBezTo>
                      <a:pt x="12" y="8"/>
                      <a:pt x="8" y="11"/>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03" name="Rectangle 70">
                <a:extLst>
                  <a:ext uri="{FF2B5EF4-FFF2-40B4-BE49-F238E27FC236}">
                    <a16:creationId xmlns="" xmlns:a16="http://schemas.microsoft.com/office/drawing/2014/main" id="{B2C950E8-38A6-474A-AB27-90D037D8964E}"/>
                  </a:ext>
                </a:extLst>
              </p:cNvPr>
              <p:cNvSpPr>
                <a:spLocks noChangeArrowheads="1"/>
              </p:cNvSpPr>
              <p:nvPr/>
            </p:nvSpPr>
            <p:spPr bwMode="auto">
              <a:xfrm>
                <a:off x="3561" y="1882"/>
                <a:ext cx="21" cy="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04" name="Rectangle 71">
                <a:extLst>
                  <a:ext uri="{FF2B5EF4-FFF2-40B4-BE49-F238E27FC236}">
                    <a16:creationId xmlns="" xmlns:a16="http://schemas.microsoft.com/office/drawing/2014/main" id="{EE56AC87-6CC7-495D-A1C1-1542B137BC4B}"/>
                  </a:ext>
                </a:extLst>
              </p:cNvPr>
              <p:cNvSpPr>
                <a:spLocks noChangeArrowheads="1"/>
              </p:cNvSpPr>
              <p:nvPr/>
            </p:nvSpPr>
            <p:spPr bwMode="auto">
              <a:xfrm>
                <a:off x="3561" y="2314"/>
                <a:ext cx="21" cy="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05" name="Rectangle 72">
                <a:extLst>
                  <a:ext uri="{FF2B5EF4-FFF2-40B4-BE49-F238E27FC236}">
                    <a16:creationId xmlns="" xmlns:a16="http://schemas.microsoft.com/office/drawing/2014/main" id="{D9B7BD11-43D1-4672-9A45-8FB90150AAA6}"/>
                  </a:ext>
                </a:extLst>
              </p:cNvPr>
              <p:cNvSpPr>
                <a:spLocks noChangeArrowheads="1"/>
              </p:cNvSpPr>
              <p:nvPr/>
            </p:nvSpPr>
            <p:spPr bwMode="auto">
              <a:xfrm>
                <a:off x="3561" y="2357"/>
                <a:ext cx="21" cy="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06" name="Rectangle 73">
                <a:extLst>
                  <a:ext uri="{FF2B5EF4-FFF2-40B4-BE49-F238E27FC236}">
                    <a16:creationId xmlns="" xmlns:a16="http://schemas.microsoft.com/office/drawing/2014/main" id="{B82499F6-7DC6-43E8-8DD4-CB81FA60E9E9}"/>
                  </a:ext>
                </a:extLst>
              </p:cNvPr>
              <p:cNvSpPr>
                <a:spLocks noChangeArrowheads="1"/>
              </p:cNvSpPr>
              <p:nvPr/>
            </p:nvSpPr>
            <p:spPr bwMode="auto">
              <a:xfrm>
                <a:off x="3561" y="2271"/>
                <a:ext cx="21" cy="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07" name="Rectangle 74">
                <a:extLst>
                  <a:ext uri="{FF2B5EF4-FFF2-40B4-BE49-F238E27FC236}">
                    <a16:creationId xmlns="" xmlns:a16="http://schemas.microsoft.com/office/drawing/2014/main" id="{3A3AF84E-4660-40C3-AB60-97D1BE6CE1A6}"/>
                  </a:ext>
                </a:extLst>
              </p:cNvPr>
              <p:cNvSpPr>
                <a:spLocks noChangeArrowheads="1"/>
              </p:cNvSpPr>
              <p:nvPr/>
            </p:nvSpPr>
            <p:spPr bwMode="auto">
              <a:xfrm>
                <a:off x="3561" y="2227"/>
                <a:ext cx="21" cy="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08" name="Freeform 75">
                <a:extLst>
                  <a:ext uri="{FF2B5EF4-FFF2-40B4-BE49-F238E27FC236}">
                    <a16:creationId xmlns="" xmlns:a16="http://schemas.microsoft.com/office/drawing/2014/main" id="{401FE47A-D85D-4D29-805C-F7AE8A5A1187}"/>
                  </a:ext>
                </a:extLst>
              </p:cNvPr>
              <p:cNvSpPr>
                <a:spLocks noEditPoints="1"/>
              </p:cNvSpPr>
              <p:nvPr/>
            </p:nvSpPr>
            <p:spPr bwMode="auto">
              <a:xfrm>
                <a:off x="3701" y="2227"/>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2 w 86"/>
                  <a:gd name="T11" fmla="*/ 44 h 65"/>
                  <a:gd name="T12" fmla="*/ 65 w 86"/>
                  <a:gd name="T13" fmla="*/ 44 h 65"/>
                  <a:gd name="T14" fmla="*/ 65 w 86"/>
                  <a:gd name="T15" fmla="*/ 22 h 65"/>
                  <a:gd name="T16" fmla="*/ 22 w 86"/>
                  <a:gd name="T17" fmla="*/ 22 h 65"/>
                  <a:gd name="T18" fmla="*/ 22 w 86"/>
                  <a:gd name="T19" fmla="*/ 4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2" y="44"/>
                    </a:moveTo>
                    <a:lnTo>
                      <a:pt x="65" y="44"/>
                    </a:lnTo>
                    <a:lnTo>
                      <a:pt x="65" y="22"/>
                    </a:lnTo>
                    <a:lnTo>
                      <a:pt x="22" y="22"/>
                    </a:lnTo>
                    <a:lnTo>
                      <a:pt x="2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09" name="Freeform 76">
                <a:extLst>
                  <a:ext uri="{FF2B5EF4-FFF2-40B4-BE49-F238E27FC236}">
                    <a16:creationId xmlns="" xmlns:a16="http://schemas.microsoft.com/office/drawing/2014/main" id="{FAEAA03B-31C8-4C01-8BC0-68365B2CDEE4}"/>
                  </a:ext>
                </a:extLst>
              </p:cNvPr>
              <p:cNvSpPr>
                <a:spLocks noEditPoints="1"/>
              </p:cNvSpPr>
              <p:nvPr/>
            </p:nvSpPr>
            <p:spPr bwMode="auto">
              <a:xfrm>
                <a:off x="3701" y="2314"/>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2 w 86"/>
                  <a:gd name="T11" fmla="*/ 43 h 65"/>
                  <a:gd name="T12" fmla="*/ 65 w 86"/>
                  <a:gd name="T13" fmla="*/ 43 h 65"/>
                  <a:gd name="T14" fmla="*/ 65 w 86"/>
                  <a:gd name="T15" fmla="*/ 21 h 65"/>
                  <a:gd name="T16" fmla="*/ 22 w 86"/>
                  <a:gd name="T17" fmla="*/ 21 h 65"/>
                  <a:gd name="T18" fmla="*/ 22 w 86"/>
                  <a:gd name="T19" fmla="*/ 4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2" y="43"/>
                    </a:moveTo>
                    <a:lnTo>
                      <a:pt x="65" y="43"/>
                    </a:lnTo>
                    <a:lnTo>
                      <a:pt x="65" y="21"/>
                    </a:lnTo>
                    <a:lnTo>
                      <a:pt x="22" y="21"/>
                    </a:lnTo>
                    <a:lnTo>
                      <a:pt x="22"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10" name="Freeform 77">
                <a:extLst>
                  <a:ext uri="{FF2B5EF4-FFF2-40B4-BE49-F238E27FC236}">
                    <a16:creationId xmlns="" xmlns:a16="http://schemas.microsoft.com/office/drawing/2014/main" id="{00F4B2E2-99F6-4080-84A3-3D1A78254A45}"/>
                  </a:ext>
                </a:extLst>
              </p:cNvPr>
              <p:cNvSpPr>
                <a:spLocks noEditPoints="1"/>
              </p:cNvSpPr>
              <p:nvPr/>
            </p:nvSpPr>
            <p:spPr bwMode="auto">
              <a:xfrm>
                <a:off x="3809" y="2227"/>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2 w 86"/>
                  <a:gd name="T11" fmla="*/ 44 h 65"/>
                  <a:gd name="T12" fmla="*/ 65 w 86"/>
                  <a:gd name="T13" fmla="*/ 44 h 65"/>
                  <a:gd name="T14" fmla="*/ 65 w 86"/>
                  <a:gd name="T15" fmla="*/ 22 h 65"/>
                  <a:gd name="T16" fmla="*/ 22 w 86"/>
                  <a:gd name="T17" fmla="*/ 22 h 65"/>
                  <a:gd name="T18" fmla="*/ 22 w 86"/>
                  <a:gd name="T19" fmla="*/ 4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2" y="44"/>
                    </a:moveTo>
                    <a:lnTo>
                      <a:pt x="65" y="44"/>
                    </a:lnTo>
                    <a:lnTo>
                      <a:pt x="65" y="22"/>
                    </a:lnTo>
                    <a:lnTo>
                      <a:pt x="22" y="22"/>
                    </a:lnTo>
                    <a:lnTo>
                      <a:pt x="2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11" name="Freeform 78">
                <a:extLst>
                  <a:ext uri="{FF2B5EF4-FFF2-40B4-BE49-F238E27FC236}">
                    <a16:creationId xmlns="" xmlns:a16="http://schemas.microsoft.com/office/drawing/2014/main" id="{5A57D45D-9624-4863-9303-B8325E65ACD5}"/>
                  </a:ext>
                </a:extLst>
              </p:cNvPr>
              <p:cNvSpPr>
                <a:spLocks noEditPoints="1"/>
              </p:cNvSpPr>
              <p:nvPr/>
            </p:nvSpPr>
            <p:spPr bwMode="auto">
              <a:xfrm>
                <a:off x="3809" y="2314"/>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2 w 86"/>
                  <a:gd name="T11" fmla="*/ 43 h 65"/>
                  <a:gd name="T12" fmla="*/ 65 w 86"/>
                  <a:gd name="T13" fmla="*/ 43 h 65"/>
                  <a:gd name="T14" fmla="*/ 65 w 86"/>
                  <a:gd name="T15" fmla="*/ 21 h 65"/>
                  <a:gd name="T16" fmla="*/ 22 w 86"/>
                  <a:gd name="T17" fmla="*/ 21 h 65"/>
                  <a:gd name="T18" fmla="*/ 22 w 86"/>
                  <a:gd name="T19" fmla="*/ 4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2" y="43"/>
                    </a:moveTo>
                    <a:lnTo>
                      <a:pt x="65" y="43"/>
                    </a:lnTo>
                    <a:lnTo>
                      <a:pt x="65" y="21"/>
                    </a:lnTo>
                    <a:lnTo>
                      <a:pt x="22" y="21"/>
                    </a:lnTo>
                    <a:lnTo>
                      <a:pt x="22"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12" name="Freeform 79">
                <a:extLst>
                  <a:ext uri="{FF2B5EF4-FFF2-40B4-BE49-F238E27FC236}">
                    <a16:creationId xmlns="" xmlns:a16="http://schemas.microsoft.com/office/drawing/2014/main" id="{B5FD3326-D212-42E5-BC3B-9825FB2A6BD5}"/>
                  </a:ext>
                </a:extLst>
              </p:cNvPr>
              <p:cNvSpPr>
                <a:spLocks noEditPoints="1"/>
              </p:cNvSpPr>
              <p:nvPr/>
            </p:nvSpPr>
            <p:spPr bwMode="auto">
              <a:xfrm>
                <a:off x="3917" y="2227"/>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1 w 86"/>
                  <a:gd name="T11" fmla="*/ 44 h 65"/>
                  <a:gd name="T12" fmla="*/ 65 w 86"/>
                  <a:gd name="T13" fmla="*/ 44 h 65"/>
                  <a:gd name="T14" fmla="*/ 65 w 86"/>
                  <a:gd name="T15" fmla="*/ 22 h 65"/>
                  <a:gd name="T16" fmla="*/ 21 w 86"/>
                  <a:gd name="T17" fmla="*/ 22 h 65"/>
                  <a:gd name="T18" fmla="*/ 21 w 86"/>
                  <a:gd name="T19" fmla="*/ 4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1" y="44"/>
                    </a:moveTo>
                    <a:lnTo>
                      <a:pt x="65" y="44"/>
                    </a:lnTo>
                    <a:lnTo>
                      <a:pt x="65" y="22"/>
                    </a:lnTo>
                    <a:lnTo>
                      <a:pt x="21" y="22"/>
                    </a:lnTo>
                    <a:lnTo>
                      <a:pt x="2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13" name="Freeform 80">
                <a:extLst>
                  <a:ext uri="{FF2B5EF4-FFF2-40B4-BE49-F238E27FC236}">
                    <a16:creationId xmlns="" xmlns:a16="http://schemas.microsoft.com/office/drawing/2014/main" id="{C81E1523-B81A-4D6D-89B6-0D81CC8FD83B}"/>
                  </a:ext>
                </a:extLst>
              </p:cNvPr>
              <p:cNvSpPr>
                <a:spLocks noEditPoints="1"/>
              </p:cNvSpPr>
              <p:nvPr/>
            </p:nvSpPr>
            <p:spPr bwMode="auto">
              <a:xfrm>
                <a:off x="3917" y="2314"/>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1 w 86"/>
                  <a:gd name="T11" fmla="*/ 43 h 65"/>
                  <a:gd name="T12" fmla="*/ 65 w 86"/>
                  <a:gd name="T13" fmla="*/ 43 h 65"/>
                  <a:gd name="T14" fmla="*/ 65 w 86"/>
                  <a:gd name="T15" fmla="*/ 21 h 65"/>
                  <a:gd name="T16" fmla="*/ 21 w 86"/>
                  <a:gd name="T17" fmla="*/ 21 h 65"/>
                  <a:gd name="T18" fmla="*/ 21 w 86"/>
                  <a:gd name="T19" fmla="*/ 4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1" y="43"/>
                    </a:moveTo>
                    <a:lnTo>
                      <a:pt x="65" y="43"/>
                    </a:lnTo>
                    <a:lnTo>
                      <a:pt x="65" y="21"/>
                    </a:lnTo>
                    <a:lnTo>
                      <a:pt x="21" y="21"/>
                    </a:lnTo>
                    <a:lnTo>
                      <a:pt x="21"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14" name="Freeform 81">
                <a:extLst>
                  <a:ext uri="{FF2B5EF4-FFF2-40B4-BE49-F238E27FC236}">
                    <a16:creationId xmlns="" xmlns:a16="http://schemas.microsoft.com/office/drawing/2014/main" id="{6AE02F75-7DE3-491E-AA1F-723FA7A16D58}"/>
                  </a:ext>
                </a:extLst>
              </p:cNvPr>
              <p:cNvSpPr>
                <a:spLocks noEditPoints="1"/>
              </p:cNvSpPr>
              <p:nvPr/>
            </p:nvSpPr>
            <p:spPr bwMode="auto">
              <a:xfrm>
                <a:off x="4025" y="2227"/>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1 w 86"/>
                  <a:gd name="T11" fmla="*/ 44 h 65"/>
                  <a:gd name="T12" fmla="*/ 65 w 86"/>
                  <a:gd name="T13" fmla="*/ 44 h 65"/>
                  <a:gd name="T14" fmla="*/ 65 w 86"/>
                  <a:gd name="T15" fmla="*/ 22 h 65"/>
                  <a:gd name="T16" fmla="*/ 21 w 86"/>
                  <a:gd name="T17" fmla="*/ 22 h 65"/>
                  <a:gd name="T18" fmla="*/ 21 w 86"/>
                  <a:gd name="T19" fmla="*/ 4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1" y="44"/>
                    </a:moveTo>
                    <a:lnTo>
                      <a:pt x="65" y="44"/>
                    </a:lnTo>
                    <a:lnTo>
                      <a:pt x="65" y="22"/>
                    </a:lnTo>
                    <a:lnTo>
                      <a:pt x="21" y="22"/>
                    </a:lnTo>
                    <a:lnTo>
                      <a:pt x="2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15" name="Freeform 82">
                <a:extLst>
                  <a:ext uri="{FF2B5EF4-FFF2-40B4-BE49-F238E27FC236}">
                    <a16:creationId xmlns="" xmlns:a16="http://schemas.microsoft.com/office/drawing/2014/main" id="{62DFFAB4-7FEC-45D6-97EE-11FD1B0259FB}"/>
                  </a:ext>
                </a:extLst>
              </p:cNvPr>
              <p:cNvSpPr>
                <a:spLocks noEditPoints="1"/>
              </p:cNvSpPr>
              <p:nvPr/>
            </p:nvSpPr>
            <p:spPr bwMode="auto">
              <a:xfrm>
                <a:off x="4025" y="2314"/>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1 w 86"/>
                  <a:gd name="T11" fmla="*/ 43 h 65"/>
                  <a:gd name="T12" fmla="*/ 65 w 86"/>
                  <a:gd name="T13" fmla="*/ 43 h 65"/>
                  <a:gd name="T14" fmla="*/ 65 w 86"/>
                  <a:gd name="T15" fmla="*/ 21 h 65"/>
                  <a:gd name="T16" fmla="*/ 21 w 86"/>
                  <a:gd name="T17" fmla="*/ 21 h 65"/>
                  <a:gd name="T18" fmla="*/ 21 w 86"/>
                  <a:gd name="T19" fmla="*/ 4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1" y="43"/>
                    </a:moveTo>
                    <a:lnTo>
                      <a:pt x="65" y="43"/>
                    </a:lnTo>
                    <a:lnTo>
                      <a:pt x="65" y="21"/>
                    </a:lnTo>
                    <a:lnTo>
                      <a:pt x="21" y="21"/>
                    </a:lnTo>
                    <a:lnTo>
                      <a:pt x="21"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16" name="Line 83">
                <a:extLst>
                  <a:ext uri="{FF2B5EF4-FFF2-40B4-BE49-F238E27FC236}">
                    <a16:creationId xmlns="" xmlns:a16="http://schemas.microsoft.com/office/drawing/2014/main" id="{7A2EF8AE-BF60-4D7F-9246-B4FBA9EC96F2}"/>
                  </a:ext>
                </a:extLst>
              </p:cNvPr>
              <p:cNvSpPr>
                <a:spLocks noChangeShapeType="1"/>
              </p:cNvSpPr>
              <p:nvPr/>
            </p:nvSpPr>
            <p:spPr bwMode="auto">
              <a:xfrm>
                <a:off x="4176" y="2433"/>
                <a:ext cx="0" cy="0"/>
              </a:xfrm>
              <a:prstGeom prst="line">
                <a:avLst/>
              </a:prstGeom>
              <a:grpFill/>
              <a:ln w="34925" cap="flat">
                <a:solidFill>
                  <a:srgbClr val="363F40"/>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18" name="Rectangle 84">
                <a:extLst>
                  <a:ext uri="{FF2B5EF4-FFF2-40B4-BE49-F238E27FC236}">
                    <a16:creationId xmlns="" xmlns:a16="http://schemas.microsoft.com/office/drawing/2014/main" id="{85F9A813-A2AE-4BAE-A535-E863025E22FF}"/>
                  </a:ext>
                </a:extLst>
              </p:cNvPr>
              <p:cNvSpPr>
                <a:spLocks noChangeArrowheads="1"/>
              </p:cNvSpPr>
              <p:nvPr/>
            </p:nvSpPr>
            <p:spPr bwMode="auto">
              <a:xfrm>
                <a:off x="3669" y="2422"/>
                <a:ext cx="475" cy="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19" name="Rectangle 85">
                <a:extLst>
                  <a:ext uri="{FF2B5EF4-FFF2-40B4-BE49-F238E27FC236}">
                    <a16:creationId xmlns="" xmlns:a16="http://schemas.microsoft.com/office/drawing/2014/main" id="{94138F25-E742-46C6-B9DC-12D9E9C74CBF}"/>
                  </a:ext>
                </a:extLst>
              </p:cNvPr>
              <p:cNvSpPr>
                <a:spLocks noChangeArrowheads="1"/>
              </p:cNvSpPr>
              <p:nvPr/>
            </p:nvSpPr>
            <p:spPr bwMode="auto">
              <a:xfrm>
                <a:off x="3539" y="1990"/>
                <a:ext cx="65" cy="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21" name="Freeform 86">
                <a:extLst>
                  <a:ext uri="{FF2B5EF4-FFF2-40B4-BE49-F238E27FC236}">
                    <a16:creationId xmlns="" xmlns:a16="http://schemas.microsoft.com/office/drawing/2014/main" id="{700DA523-47D1-4246-83DD-253460418CC1}"/>
                  </a:ext>
                </a:extLst>
              </p:cNvPr>
              <p:cNvSpPr>
                <a:spLocks/>
              </p:cNvSpPr>
              <p:nvPr/>
            </p:nvSpPr>
            <p:spPr bwMode="auto">
              <a:xfrm>
                <a:off x="3507" y="2422"/>
                <a:ext cx="140" cy="54"/>
              </a:xfrm>
              <a:custGeom>
                <a:avLst/>
                <a:gdLst>
                  <a:gd name="T0" fmla="*/ 140 w 140"/>
                  <a:gd name="T1" fmla="*/ 54 h 54"/>
                  <a:gd name="T2" fmla="*/ 118 w 140"/>
                  <a:gd name="T3" fmla="*/ 54 h 54"/>
                  <a:gd name="T4" fmla="*/ 118 w 140"/>
                  <a:gd name="T5" fmla="*/ 21 h 54"/>
                  <a:gd name="T6" fmla="*/ 0 w 140"/>
                  <a:gd name="T7" fmla="*/ 21 h 54"/>
                  <a:gd name="T8" fmla="*/ 0 w 140"/>
                  <a:gd name="T9" fmla="*/ 0 h 54"/>
                  <a:gd name="T10" fmla="*/ 140 w 140"/>
                  <a:gd name="T11" fmla="*/ 0 h 54"/>
                  <a:gd name="T12" fmla="*/ 140 w 140"/>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140" h="54">
                    <a:moveTo>
                      <a:pt x="140" y="54"/>
                    </a:moveTo>
                    <a:lnTo>
                      <a:pt x="118" y="54"/>
                    </a:lnTo>
                    <a:lnTo>
                      <a:pt x="118" y="21"/>
                    </a:lnTo>
                    <a:lnTo>
                      <a:pt x="0" y="21"/>
                    </a:lnTo>
                    <a:lnTo>
                      <a:pt x="0" y="0"/>
                    </a:lnTo>
                    <a:lnTo>
                      <a:pt x="140" y="0"/>
                    </a:lnTo>
                    <a:lnTo>
                      <a:pt x="14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grpSp>
        <p:nvGrpSpPr>
          <p:cNvPr id="447" name="Group 446">
            <a:extLst>
              <a:ext uri="{FF2B5EF4-FFF2-40B4-BE49-F238E27FC236}">
                <a16:creationId xmlns="" xmlns:a16="http://schemas.microsoft.com/office/drawing/2014/main" id="{DE609C50-4759-4B68-A601-BCFE08ADECA0}"/>
              </a:ext>
            </a:extLst>
          </p:cNvPr>
          <p:cNvGrpSpPr/>
          <p:nvPr/>
        </p:nvGrpSpPr>
        <p:grpSpPr>
          <a:xfrm>
            <a:off x="3574178" y="3054027"/>
            <a:ext cx="340482" cy="572400"/>
            <a:chOff x="7842970" y="3305625"/>
            <a:chExt cx="563042" cy="951347"/>
          </a:xfrm>
        </p:grpSpPr>
        <p:pic>
          <p:nvPicPr>
            <p:cNvPr id="448" name="Picture 447" descr="A picture containing thing, object&#10;&#10;Description generated with very high confidence">
              <a:extLst>
                <a:ext uri="{FF2B5EF4-FFF2-40B4-BE49-F238E27FC236}">
                  <a16:creationId xmlns="" xmlns:a16="http://schemas.microsoft.com/office/drawing/2014/main" id="{3A6396B6-68AE-43DE-83D2-8F8F40FEA56D}"/>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7842970" y="3305625"/>
              <a:ext cx="563042" cy="951347"/>
            </a:xfrm>
            <a:prstGeom prst="rect">
              <a:avLst/>
            </a:prstGeom>
          </p:spPr>
        </p:pic>
        <p:grpSp>
          <p:nvGrpSpPr>
            <p:cNvPr id="449" name="Group 64">
              <a:extLst>
                <a:ext uri="{FF2B5EF4-FFF2-40B4-BE49-F238E27FC236}">
                  <a16:creationId xmlns="" xmlns:a16="http://schemas.microsoft.com/office/drawing/2014/main" id="{9E804629-ED35-4423-9ED3-54BD4A85E0C7}"/>
                </a:ext>
              </a:extLst>
            </p:cNvPr>
            <p:cNvGrpSpPr>
              <a:grpSpLocks noChangeAspect="1"/>
            </p:cNvGrpSpPr>
            <p:nvPr/>
          </p:nvGrpSpPr>
          <p:grpSpPr bwMode="auto">
            <a:xfrm>
              <a:off x="8036708" y="3504271"/>
              <a:ext cx="175565" cy="164640"/>
              <a:chOff x="3496" y="1839"/>
              <a:chExt cx="691" cy="648"/>
            </a:xfrm>
            <a:solidFill>
              <a:srgbClr val="F26926"/>
            </a:solidFill>
          </p:grpSpPr>
          <p:sp>
            <p:nvSpPr>
              <p:cNvPr id="450" name="Freeform 65">
                <a:extLst>
                  <a:ext uri="{FF2B5EF4-FFF2-40B4-BE49-F238E27FC236}">
                    <a16:creationId xmlns="" xmlns:a16="http://schemas.microsoft.com/office/drawing/2014/main" id="{1875CC4C-13B0-44A3-B2F9-1978B0DEA452}"/>
                  </a:ext>
                </a:extLst>
              </p:cNvPr>
              <p:cNvSpPr>
                <a:spLocks noEditPoints="1"/>
              </p:cNvSpPr>
              <p:nvPr/>
            </p:nvSpPr>
            <p:spPr bwMode="auto">
              <a:xfrm>
                <a:off x="3496" y="1925"/>
                <a:ext cx="691" cy="562"/>
              </a:xfrm>
              <a:custGeom>
                <a:avLst/>
                <a:gdLst>
                  <a:gd name="T0" fmla="*/ 252 w 256"/>
                  <a:gd name="T1" fmla="*/ 208 h 208"/>
                  <a:gd name="T2" fmla="*/ 4 w 256"/>
                  <a:gd name="T3" fmla="*/ 208 h 208"/>
                  <a:gd name="T4" fmla="*/ 0 w 256"/>
                  <a:gd name="T5" fmla="*/ 204 h 208"/>
                  <a:gd name="T6" fmla="*/ 0 w 256"/>
                  <a:gd name="T7" fmla="*/ 88 h 208"/>
                  <a:gd name="T8" fmla="*/ 0 w 256"/>
                  <a:gd name="T9" fmla="*/ 87 h 208"/>
                  <a:gd name="T10" fmla="*/ 16 w 256"/>
                  <a:gd name="T11" fmla="*/ 3 h 208"/>
                  <a:gd name="T12" fmla="*/ 20 w 256"/>
                  <a:gd name="T13" fmla="*/ 0 h 208"/>
                  <a:gd name="T14" fmla="*/ 36 w 256"/>
                  <a:gd name="T15" fmla="*/ 0 h 208"/>
                  <a:gd name="T16" fmla="*/ 40 w 256"/>
                  <a:gd name="T17" fmla="*/ 3 h 208"/>
                  <a:gd name="T18" fmla="*/ 55 w 256"/>
                  <a:gd name="T19" fmla="*/ 80 h 208"/>
                  <a:gd name="T20" fmla="*/ 93 w 256"/>
                  <a:gd name="T21" fmla="*/ 45 h 208"/>
                  <a:gd name="T22" fmla="*/ 98 w 256"/>
                  <a:gd name="T23" fmla="*/ 44 h 208"/>
                  <a:gd name="T24" fmla="*/ 100 w 256"/>
                  <a:gd name="T25" fmla="*/ 48 h 208"/>
                  <a:gd name="T26" fmla="*/ 100 w 256"/>
                  <a:gd name="T27" fmla="*/ 83 h 208"/>
                  <a:gd name="T28" fmla="*/ 146 w 256"/>
                  <a:gd name="T29" fmla="*/ 45 h 208"/>
                  <a:gd name="T30" fmla="*/ 150 w 256"/>
                  <a:gd name="T31" fmla="*/ 44 h 208"/>
                  <a:gd name="T32" fmla="*/ 152 w 256"/>
                  <a:gd name="T33" fmla="*/ 48 h 208"/>
                  <a:gd name="T34" fmla="*/ 152 w 256"/>
                  <a:gd name="T35" fmla="*/ 83 h 208"/>
                  <a:gd name="T36" fmla="*/ 198 w 256"/>
                  <a:gd name="T37" fmla="*/ 45 h 208"/>
                  <a:gd name="T38" fmla="*/ 202 w 256"/>
                  <a:gd name="T39" fmla="*/ 44 h 208"/>
                  <a:gd name="T40" fmla="*/ 204 w 256"/>
                  <a:gd name="T41" fmla="*/ 48 h 208"/>
                  <a:gd name="T42" fmla="*/ 204 w 256"/>
                  <a:gd name="T43" fmla="*/ 83 h 208"/>
                  <a:gd name="T44" fmla="*/ 250 w 256"/>
                  <a:gd name="T45" fmla="*/ 45 h 208"/>
                  <a:gd name="T46" fmla="*/ 254 w 256"/>
                  <a:gd name="T47" fmla="*/ 44 h 208"/>
                  <a:gd name="T48" fmla="*/ 256 w 256"/>
                  <a:gd name="T49" fmla="*/ 48 h 208"/>
                  <a:gd name="T50" fmla="*/ 256 w 256"/>
                  <a:gd name="T51" fmla="*/ 204 h 208"/>
                  <a:gd name="T52" fmla="*/ 252 w 256"/>
                  <a:gd name="T53" fmla="*/ 208 h 208"/>
                  <a:gd name="T54" fmla="*/ 8 w 256"/>
                  <a:gd name="T55" fmla="*/ 200 h 208"/>
                  <a:gd name="T56" fmla="*/ 248 w 256"/>
                  <a:gd name="T57" fmla="*/ 200 h 208"/>
                  <a:gd name="T58" fmla="*/ 248 w 256"/>
                  <a:gd name="T59" fmla="*/ 56 h 208"/>
                  <a:gd name="T60" fmla="*/ 203 w 256"/>
                  <a:gd name="T61" fmla="*/ 95 h 208"/>
                  <a:gd name="T62" fmla="*/ 198 w 256"/>
                  <a:gd name="T63" fmla="*/ 95 h 208"/>
                  <a:gd name="T64" fmla="*/ 196 w 256"/>
                  <a:gd name="T65" fmla="*/ 92 h 208"/>
                  <a:gd name="T66" fmla="*/ 196 w 256"/>
                  <a:gd name="T67" fmla="*/ 56 h 208"/>
                  <a:gd name="T68" fmla="*/ 151 w 256"/>
                  <a:gd name="T69" fmla="*/ 95 h 208"/>
                  <a:gd name="T70" fmla="*/ 146 w 256"/>
                  <a:gd name="T71" fmla="*/ 95 h 208"/>
                  <a:gd name="T72" fmla="*/ 144 w 256"/>
                  <a:gd name="T73" fmla="*/ 92 h 208"/>
                  <a:gd name="T74" fmla="*/ 144 w 256"/>
                  <a:gd name="T75" fmla="*/ 56 h 208"/>
                  <a:gd name="T76" fmla="*/ 99 w 256"/>
                  <a:gd name="T77" fmla="*/ 95 h 208"/>
                  <a:gd name="T78" fmla="*/ 94 w 256"/>
                  <a:gd name="T79" fmla="*/ 95 h 208"/>
                  <a:gd name="T80" fmla="*/ 92 w 256"/>
                  <a:gd name="T81" fmla="*/ 92 h 208"/>
                  <a:gd name="T82" fmla="*/ 92 w 256"/>
                  <a:gd name="T83" fmla="*/ 57 h 208"/>
                  <a:gd name="T84" fmla="*/ 56 w 256"/>
                  <a:gd name="T85" fmla="*/ 90 h 208"/>
                  <a:gd name="T86" fmla="*/ 56 w 256"/>
                  <a:gd name="T87" fmla="*/ 176 h 208"/>
                  <a:gd name="T88" fmla="*/ 48 w 256"/>
                  <a:gd name="T89" fmla="*/ 176 h 208"/>
                  <a:gd name="T90" fmla="*/ 48 w 256"/>
                  <a:gd name="T91" fmla="*/ 88 h 208"/>
                  <a:gd name="T92" fmla="*/ 33 w 256"/>
                  <a:gd name="T93" fmla="*/ 8 h 208"/>
                  <a:gd name="T94" fmla="*/ 23 w 256"/>
                  <a:gd name="T95" fmla="*/ 8 h 208"/>
                  <a:gd name="T96" fmla="*/ 8 w 256"/>
                  <a:gd name="T97" fmla="*/ 88 h 208"/>
                  <a:gd name="T98" fmla="*/ 8 w 256"/>
                  <a:gd name="T99" fmla="*/ 20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6" h="208">
                    <a:moveTo>
                      <a:pt x="252" y="208"/>
                    </a:moveTo>
                    <a:cubicBezTo>
                      <a:pt x="4" y="208"/>
                      <a:pt x="4" y="208"/>
                      <a:pt x="4" y="208"/>
                    </a:cubicBezTo>
                    <a:cubicBezTo>
                      <a:pt x="2" y="208"/>
                      <a:pt x="0" y="206"/>
                      <a:pt x="0" y="204"/>
                    </a:cubicBezTo>
                    <a:cubicBezTo>
                      <a:pt x="0" y="88"/>
                      <a:pt x="0" y="88"/>
                      <a:pt x="0" y="88"/>
                    </a:cubicBezTo>
                    <a:cubicBezTo>
                      <a:pt x="0" y="88"/>
                      <a:pt x="0" y="87"/>
                      <a:pt x="0" y="87"/>
                    </a:cubicBezTo>
                    <a:cubicBezTo>
                      <a:pt x="16" y="3"/>
                      <a:pt x="16" y="3"/>
                      <a:pt x="16" y="3"/>
                    </a:cubicBezTo>
                    <a:cubicBezTo>
                      <a:pt x="17" y="1"/>
                      <a:pt x="18" y="0"/>
                      <a:pt x="20" y="0"/>
                    </a:cubicBezTo>
                    <a:cubicBezTo>
                      <a:pt x="36" y="0"/>
                      <a:pt x="36" y="0"/>
                      <a:pt x="36" y="0"/>
                    </a:cubicBezTo>
                    <a:cubicBezTo>
                      <a:pt x="38" y="0"/>
                      <a:pt x="40" y="1"/>
                      <a:pt x="40" y="3"/>
                    </a:cubicBezTo>
                    <a:cubicBezTo>
                      <a:pt x="55" y="80"/>
                      <a:pt x="55" y="80"/>
                      <a:pt x="55" y="80"/>
                    </a:cubicBezTo>
                    <a:cubicBezTo>
                      <a:pt x="93" y="45"/>
                      <a:pt x="93" y="45"/>
                      <a:pt x="93" y="45"/>
                    </a:cubicBezTo>
                    <a:cubicBezTo>
                      <a:pt x="95" y="44"/>
                      <a:pt x="96" y="43"/>
                      <a:pt x="98" y="44"/>
                    </a:cubicBezTo>
                    <a:cubicBezTo>
                      <a:pt x="99" y="45"/>
                      <a:pt x="100" y="46"/>
                      <a:pt x="100" y="48"/>
                    </a:cubicBezTo>
                    <a:cubicBezTo>
                      <a:pt x="100" y="83"/>
                      <a:pt x="100" y="83"/>
                      <a:pt x="100" y="83"/>
                    </a:cubicBezTo>
                    <a:cubicBezTo>
                      <a:pt x="146" y="45"/>
                      <a:pt x="146" y="45"/>
                      <a:pt x="146" y="45"/>
                    </a:cubicBezTo>
                    <a:cubicBezTo>
                      <a:pt x="147" y="44"/>
                      <a:pt x="148" y="43"/>
                      <a:pt x="150" y="44"/>
                    </a:cubicBezTo>
                    <a:cubicBezTo>
                      <a:pt x="151" y="45"/>
                      <a:pt x="152" y="46"/>
                      <a:pt x="152" y="48"/>
                    </a:cubicBezTo>
                    <a:cubicBezTo>
                      <a:pt x="152" y="83"/>
                      <a:pt x="152" y="83"/>
                      <a:pt x="152" y="83"/>
                    </a:cubicBezTo>
                    <a:cubicBezTo>
                      <a:pt x="198" y="45"/>
                      <a:pt x="198" y="45"/>
                      <a:pt x="198" y="45"/>
                    </a:cubicBezTo>
                    <a:cubicBezTo>
                      <a:pt x="199" y="44"/>
                      <a:pt x="200" y="43"/>
                      <a:pt x="202" y="44"/>
                    </a:cubicBezTo>
                    <a:cubicBezTo>
                      <a:pt x="203" y="45"/>
                      <a:pt x="204" y="46"/>
                      <a:pt x="204" y="48"/>
                    </a:cubicBezTo>
                    <a:cubicBezTo>
                      <a:pt x="204" y="83"/>
                      <a:pt x="204" y="83"/>
                      <a:pt x="204" y="83"/>
                    </a:cubicBezTo>
                    <a:cubicBezTo>
                      <a:pt x="250" y="45"/>
                      <a:pt x="250" y="45"/>
                      <a:pt x="250" y="45"/>
                    </a:cubicBezTo>
                    <a:cubicBezTo>
                      <a:pt x="251" y="44"/>
                      <a:pt x="252" y="43"/>
                      <a:pt x="254" y="44"/>
                    </a:cubicBezTo>
                    <a:cubicBezTo>
                      <a:pt x="255" y="45"/>
                      <a:pt x="256" y="46"/>
                      <a:pt x="256" y="48"/>
                    </a:cubicBezTo>
                    <a:cubicBezTo>
                      <a:pt x="256" y="204"/>
                      <a:pt x="256" y="204"/>
                      <a:pt x="256" y="204"/>
                    </a:cubicBezTo>
                    <a:cubicBezTo>
                      <a:pt x="256" y="206"/>
                      <a:pt x="254" y="208"/>
                      <a:pt x="252" y="208"/>
                    </a:cubicBezTo>
                    <a:close/>
                    <a:moveTo>
                      <a:pt x="8" y="200"/>
                    </a:moveTo>
                    <a:cubicBezTo>
                      <a:pt x="248" y="200"/>
                      <a:pt x="248" y="200"/>
                      <a:pt x="248" y="200"/>
                    </a:cubicBezTo>
                    <a:cubicBezTo>
                      <a:pt x="248" y="56"/>
                      <a:pt x="248" y="56"/>
                      <a:pt x="248" y="56"/>
                    </a:cubicBezTo>
                    <a:cubicBezTo>
                      <a:pt x="203" y="95"/>
                      <a:pt x="203" y="95"/>
                      <a:pt x="203" y="95"/>
                    </a:cubicBezTo>
                    <a:cubicBezTo>
                      <a:pt x="202" y="96"/>
                      <a:pt x="200" y="96"/>
                      <a:pt x="198" y="95"/>
                    </a:cubicBezTo>
                    <a:cubicBezTo>
                      <a:pt x="197" y="95"/>
                      <a:pt x="196" y="93"/>
                      <a:pt x="196" y="92"/>
                    </a:cubicBezTo>
                    <a:cubicBezTo>
                      <a:pt x="196" y="56"/>
                      <a:pt x="196" y="56"/>
                      <a:pt x="196" y="56"/>
                    </a:cubicBezTo>
                    <a:cubicBezTo>
                      <a:pt x="151" y="95"/>
                      <a:pt x="151" y="95"/>
                      <a:pt x="151" y="95"/>
                    </a:cubicBezTo>
                    <a:cubicBezTo>
                      <a:pt x="150" y="96"/>
                      <a:pt x="148" y="96"/>
                      <a:pt x="146" y="95"/>
                    </a:cubicBezTo>
                    <a:cubicBezTo>
                      <a:pt x="145" y="95"/>
                      <a:pt x="144" y="93"/>
                      <a:pt x="144" y="92"/>
                    </a:cubicBezTo>
                    <a:cubicBezTo>
                      <a:pt x="144" y="56"/>
                      <a:pt x="144" y="56"/>
                      <a:pt x="144" y="56"/>
                    </a:cubicBezTo>
                    <a:cubicBezTo>
                      <a:pt x="99" y="95"/>
                      <a:pt x="99" y="95"/>
                      <a:pt x="99" y="95"/>
                    </a:cubicBezTo>
                    <a:cubicBezTo>
                      <a:pt x="98" y="96"/>
                      <a:pt x="96" y="96"/>
                      <a:pt x="94" y="95"/>
                    </a:cubicBezTo>
                    <a:cubicBezTo>
                      <a:pt x="93" y="95"/>
                      <a:pt x="92" y="93"/>
                      <a:pt x="92" y="92"/>
                    </a:cubicBezTo>
                    <a:cubicBezTo>
                      <a:pt x="92" y="57"/>
                      <a:pt x="92" y="57"/>
                      <a:pt x="92" y="57"/>
                    </a:cubicBezTo>
                    <a:cubicBezTo>
                      <a:pt x="56" y="90"/>
                      <a:pt x="56" y="90"/>
                      <a:pt x="56" y="90"/>
                    </a:cubicBezTo>
                    <a:cubicBezTo>
                      <a:pt x="56" y="176"/>
                      <a:pt x="56" y="176"/>
                      <a:pt x="56" y="176"/>
                    </a:cubicBezTo>
                    <a:cubicBezTo>
                      <a:pt x="48" y="176"/>
                      <a:pt x="48" y="176"/>
                      <a:pt x="48" y="176"/>
                    </a:cubicBezTo>
                    <a:cubicBezTo>
                      <a:pt x="48" y="88"/>
                      <a:pt x="48" y="88"/>
                      <a:pt x="48" y="88"/>
                    </a:cubicBezTo>
                    <a:cubicBezTo>
                      <a:pt x="33" y="8"/>
                      <a:pt x="33" y="8"/>
                      <a:pt x="33" y="8"/>
                    </a:cubicBezTo>
                    <a:cubicBezTo>
                      <a:pt x="23" y="8"/>
                      <a:pt x="23" y="8"/>
                      <a:pt x="23" y="8"/>
                    </a:cubicBezTo>
                    <a:cubicBezTo>
                      <a:pt x="8" y="88"/>
                      <a:pt x="8" y="88"/>
                      <a:pt x="8" y="88"/>
                    </a:cubicBezTo>
                    <a:lnTo>
                      <a:pt x="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51" name="Freeform 66">
                <a:extLst>
                  <a:ext uri="{FF2B5EF4-FFF2-40B4-BE49-F238E27FC236}">
                    <a16:creationId xmlns="" xmlns:a16="http://schemas.microsoft.com/office/drawing/2014/main" id="{55320CD9-1B9A-427E-A56D-DAE3DEA0990D}"/>
                  </a:ext>
                </a:extLst>
              </p:cNvPr>
              <p:cNvSpPr>
                <a:spLocks/>
              </p:cNvSpPr>
              <p:nvPr/>
            </p:nvSpPr>
            <p:spPr bwMode="auto">
              <a:xfrm>
                <a:off x="3604" y="1839"/>
                <a:ext cx="259" cy="64"/>
              </a:xfrm>
              <a:custGeom>
                <a:avLst/>
                <a:gdLst>
                  <a:gd name="T0" fmla="*/ 72 w 96"/>
                  <a:gd name="T1" fmla="*/ 24 h 24"/>
                  <a:gd name="T2" fmla="*/ 57 w 96"/>
                  <a:gd name="T3" fmla="*/ 14 h 24"/>
                  <a:gd name="T4" fmla="*/ 48 w 96"/>
                  <a:gd name="T5" fmla="*/ 8 h 24"/>
                  <a:gd name="T6" fmla="*/ 39 w 96"/>
                  <a:gd name="T7" fmla="*/ 14 h 24"/>
                  <a:gd name="T8" fmla="*/ 24 w 96"/>
                  <a:gd name="T9" fmla="*/ 24 h 24"/>
                  <a:gd name="T10" fmla="*/ 9 w 96"/>
                  <a:gd name="T11" fmla="*/ 14 h 24"/>
                  <a:gd name="T12" fmla="*/ 0 w 96"/>
                  <a:gd name="T13" fmla="*/ 8 h 24"/>
                  <a:gd name="T14" fmla="*/ 0 w 96"/>
                  <a:gd name="T15" fmla="*/ 0 h 24"/>
                  <a:gd name="T16" fmla="*/ 15 w 96"/>
                  <a:gd name="T17" fmla="*/ 10 h 24"/>
                  <a:gd name="T18" fmla="*/ 24 w 96"/>
                  <a:gd name="T19" fmla="*/ 16 h 24"/>
                  <a:gd name="T20" fmla="*/ 33 w 96"/>
                  <a:gd name="T21" fmla="*/ 10 h 24"/>
                  <a:gd name="T22" fmla="*/ 48 w 96"/>
                  <a:gd name="T23" fmla="*/ 0 h 24"/>
                  <a:gd name="T24" fmla="*/ 63 w 96"/>
                  <a:gd name="T25" fmla="*/ 10 h 24"/>
                  <a:gd name="T26" fmla="*/ 72 w 96"/>
                  <a:gd name="T27" fmla="*/ 16 h 24"/>
                  <a:gd name="T28" fmla="*/ 81 w 96"/>
                  <a:gd name="T29" fmla="*/ 10 h 24"/>
                  <a:gd name="T30" fmla="*/ 96 w 96"/>
                  <a:gd name="T31" fmla="*/ 0 h 24"/>
                  <a:gd name="T32" fmla="*/ 96 w 96"/>
                  <a:gd name="T33" fmla="*/ 8 h 24"/>
                  <a:gd name="T34" fmla="*/ 87 w 96"/>
                  <a:gd name="T35" fmla="*/ 14 h 24"/>
                  <a:gd name="T36" fmla="*/ 72 w 96"/>
                  <a:gd name="T3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24">
                    <a:moveTo>
                      <a:pt x="72" y="24"/>
                    </a:moveTo>
                    <a:cubicBezTo>
                      <a:pt x="64" y="24"/>
                      <a:pt x="57" y="15"/>
                      <a:pt x="57" y="14"/>
                    </a:cubicBezTo>
                    <a:cubicBezTo>
                      <a:pt x="56" y="12"/>
                      <a:pt x="52" y="8"/>
                      <a:pt x="48" y="8"/>
                    </a:cubicBezTo>
                    <a:cubicBezTo>
                      <a:pt x="44" y="8"/>
                      <a:pt x="40" y="13"/>
                      <a:pt x="39" y="14"/>
                    </a:cubicBezTo>
                    <a:cubicBezTo>
                      <a:pt x="39" y="15"/>
                      <a:pt x="33" y="24"/>
                      <a:pt x="24" y="24"/>
                    </a:cubicBezTo>
                    <a:cubicBezTo>
                      <a:pt x="16" y="24"/>
                      <a:pt x="9" y="15"/>
                      <a:pt x="9" y="14"/>
                    </a:cubicBezTo>
                    <a:cubicBezTo>
                      <a:pt x="8" y="12"/>
                      <a:pt x="4" y="8"/>
                      <a:pt x="0" y="8"/>
                    </a:cubicBezTo>
                    <a:cubicBezTo>
                      <a:pt x="0" y="0"/>
                      <a:pt x="0" y="0"/>
                      <a:pt x="0" y="0"/>
                    </a:cubicBezTo>
                    <a:cubicBezTo>
                      <a:pt x="9" y="0"/>
                      <a:pt x="15" y="9"/>
                      <a:pt x="15" y="10"/>
                    </a:cubicBezTo>
                    <a:cubicBezTo>
                      <a:pt x="17" y="11"/>
                      <a:pt x="20" y="16"/>
                      <a:pt x="24" y="16"/>
                    </a:cubicBezTo>
                    <a:cubicBezTo>
                      <a:pt x="28" y="16"/>
                      <a:pt x="32" y="11"/>
                      <a:pt x="33" y="10"/>
                    </a:cubicBezTo>
                    <a:cubicBezTo>
                      <a:pt x="33" y="9"/>
                      <a:pt x="40" y="0"/>
                      <a:pt x="48" y="0"/>
                    </a:cubicBezTo>
                    <a:cubicBezTo>
                      <a:pt x="57" y="0"/>
                      <a:pt x="63" y="9"/>
                      <a:pt x="63" y="10"/>
                    </a:cubicBezTo>
                    <a:cubicBezTo>
                      <a:pt x="65" y="11"/>
                      <a:pt x="68" y="16"/>
                      <a:pt x="72" y="16"/>
                    </a:cubicBezTo>
                    <a:cubicBezTo>
                      <a:pt x="76" y="16"/>
                      <a:pt x="80" y="11"/>
                      <a:pt x="81" y="10"/>
                    </a:cubicBezTo>
                    <a:cubicBezTo>
                      <a:pt x="81" y="9"/>
                      <a:pt x="88" y="0"/>
                      <a:pt x="96" y="0"/>
                    </a:cubicBezTo>
                    <a:cubicBezTo>
                      <a:pt x="96" y="8"/>
                      <a:pt x="96" y="8"/>
                      <a:pt x="96" y="8"/>
                    </a:cubicBezTo>
                    <a:cubicBezTo>
                      <a:pt x="92" y="8"/>
                      <a:pt x="88" y="13"/>
                      <a:pt x="87" y="14"/>
                    </a:cubicBezTo>
                    <a:cubicBezTo>
                      <a:pt x="87" y="15"/>
                      <a:pt x="81" y="24"/>
                      <a:pt x="7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52" name="Line 67">
                <a:extLst>
                  <a:ext uri="{FF2B5EF4-FFF2-40B4-BE49-F238E27FC236}">
                    <a16:creationId xmlns="" xmlns:a16="http://schemas.microsoft.com/office/drawing/2014/main" id="{18691EE3-FA1A-4E95-A720-EC0FD4796998}"/>
                  </a:ext>
                </a:extLst>
              </p:cNvPr>
              <p:cNvSpPr>
                <a:spLocks noChangeShapeType="1"/>
              </p:cNvSpPr>
              <p:nvPr/>
            </p:nvSpPr>
            <p:spPr bwMode="auto">
              <a:xfrm>
                <a:off x="3604" y="1849"/>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53" name="Line 68">
                <a:extLst>
                  <a:ext uri="{FF2B5EF4-FFF2-40B4-BE49-F238E27FC236}">
                    <a16:creationId xmlns="" xmlns:a16="http://schemas.microsoft.com/office/drawing/2014/main" id="{6E8B7C47-4D1F-43E1-8F1E-31772131FA51}"/>
                  </a:ext>
                </a:extLst>
              </p:cNvPr>
              <p:cNvSpPr>
                <a:spLocks noChangeShapeType="1"/>
              </p:cNvSpPr>
              <p:nvPr/>
            </p:nvSpPr>
            <p:spPr bwMode="auto">
              <a:xfrm>
                <a:off x="3604" y="1849"/>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54" name="Freeform 69">
                <a:extLst>
                  <a:ext uri="{FF2B5EF4-FFF2-40B4-BE49-F238E27FC236}">
                    <a16:creationId xmlns="" xmlns:a16="http://schemas.microsoft.com/office/drawing/2014/main" id="{08A50FDA-5D45-454B-AA26-C2765C53A3E7}"/>
                  </a:ext>
                </a:extLst>
              </p:cNvPr>
              <p:cNvSpPr>
                <a:spLocks/>
              </p:cNvSpPr>
              <p:nvPr/>
            </p:nvSpPr>
            <p:spPr bwMode="auto">
              <a:xfrm>
                <a:off x="3561" y="1839"/>
                <a:ext cx="43" cy="43"/>
              </a:xfrm>
              <a:custGeom>
                <a:avLst/>
                <a:gdLst>
                  <a:gd name="T0" fmla="*/ 8 w 16"/>
                  <a:gd name="T1" fmla="*/ 16 h 16"/>
                  <a:gd name="T2" fmla="*/ 0 w 16"/>
                  <a:gd name="T3" fmla="*/ 16 h 16"/>
                  <a:gd name="T4" fmla="*/ 16 w 16"/>
                  <a:gd name="T5" fmla="*/ 0 h 16"/>
                  <a:gd name="T6" fmla="*/ 16 w 16"/>
                  <a:gd name="T7" fmla="*/ 8 h 16"/>
                  <a:gd name="T8" fmla="*/ 8 w 16"/>
                  <a:gd name="T9" fmla="*/ 16 h 16"/>
                </a:gdLst>
                <a:ahLst/>
                <a:cxnLst>
                  <a:cxn ang="0">
                    <a:pos x="T0" y="T1"/>
                  </a:cxn>
                  <a:cxn ang="0">
                    <a:pos x="T2" y="T3"/>
                  </a:cxn>
                  <a:cxn ang="0">
                    <a:pos x="T4" y="T5"/>
                  </a:cxn>
                  <a:cxn ang="0">
                    <a:pos x="T6" y="T7"/>
                  </a:cxn>
                  <a:cxn ang="0">
                    <a:pos x="T8" y="T9"/>
                  </a:cxn>
                </a:cxnLst>
                <a:rect l="0" t="0" r="r" b="b"/>
                <a:pathLst>
                  <a:path w="16" h="16">
                    <a:moveTo>
                      <a:pt x="8" y="16"/>
                    </a:moveTo>
                    <a:cubicBezTo>
                      <a:pt x="0" y="16"/>
                      <a:pt x="0" y="16"/>
                      <a:pt x="0" y="16"/>
                    </a:cubicBezTo>
                    <a:cubicBezTo>
                      <a:pt x="0" y="7"/>
                      <a:pt x="7" y="0"/>
                      <a:pt x="16" y="0"/>
                    </a:cubicBezTo>
                    <a:cubicBezTo>
                      <a:pt x="16" y="8"/>
                      <a:pt x="16" y="8"/>
                      <a:pt x="16" y="8"/>
                    </a:cubicBezTo>
                    <a:cubicBezTo>
                      <a:pt x="12" y="8"/>
                      <a:pt x="8" y="11"/>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55" name="Rectangle 70">
                <a:extLst>
                  <a:ext uri="{FF2B5EF4-FFF2-40B4-BE49-F238E27FC236}">
                    <a16:creationId xmlns="" xmlns:a16="http://schemas.microsoft.com/office/drawing/2014/main" id="{79652971-50B3-4F5B-BFEE-AE1585F94002}"/>
                  </a:ext>
                </a:extLst>
              </p:cNvPr>
              <p:cNvSpPr>
                <a:spLocks noChangeArrowheads="1"/>
              </p:cNvSpPr>
              <p:nvPr/>
            </p:nvSpPr>
            <p:spPr bwMode="auto">
              <a:xfrm>
                <a:off x="3561" y="1882"/>
                <a:ext cx="21" cy="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56" name="Rectangle 71">
                <a:extLst>
                  <a:ext uri="{FF2B5EF4-FFF2-40B4-BE49-F238E27FC236}">
                    <a16:creationId xmlns="" xmlns:a16="http://schemas.microsoft.com/office/drawing/2014/main" id="{81F35CDA-BD61-4EB2-AEDD-382DB0B6D07D}"/>
                  </a:ext>
                </a:extLst>
              </p:cNvPr>
              <p:cNvSpPr>
                <a:spLocks noChangeArrowheads="1"/>
              </p:cNvSpPr>
              <p:nvPr/>
            </p:nvSpPr>
            <p:spPr bwMode="auto">
              <a:xfrm>
                <a:off x="3561" y="2314"/>
                <a:ext cx="21" cy="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57" name="Rectangle 72">
                <a:extLst>
                  <a:ext uri="{FF2B5EF4-FFF2-40B4-BE49-F238E27FC236}">
                    <a16:creationId xmlns="" xmlns:a16="http://schemas.microsoft.com/office/drawing/2014/main" id="{36E36338-145F-4BC2-B77F-9BA33A6CB848}"/>
                  </a:ext>
                </a:extLst>
              </p:cNvPr>
              <p:cNvSpPr>
                <a:spLocks noChangeArrowheads="1"/>
              </p:cNvSpPr>
              <p:nvPr/>
            </p:nvSpPr>
            <p:spPr bwMode="auto">
              <a:xfrm>
                <a:off x="3561" y="2357"/>
                <a:ext cx="21" cy="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58" name="Rectangle 73">
                <a:extLst>
                  <a:ext uri="{FF2B5EF4-FFF2-40B4-BE49-F238E27FC236}">
                    <a16:creationId xmlns="" xmlns:a16="http://schemas.microsoft.com/office/drawing/2014/main" id="{FF5F4CA3-D3F6-4E91-B112-CAE962CBD201}"/>
                  </a:ext>
                </a:extLst>
              </p:cNvPr>
              <p:cNvSpPr>
                <a:spLocks noChangeArrowheads="1"/>
              </p:cNvSpPr>
              <p:nvPr/>
            </p:nvSpPr>
            <p:spPr bwMode="auto">
              <a:xfrm>
                <a:off x="3561" y="2271"/>
                <a:ext cx="21" cy="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59" name="Rectangle 74">
                <a:extLst>
                  <a:ext uri="{FF2B5EF4-FFF2-40B4-BE49-F238E27FC236}">
                    <a16:creationId xmlns="" xmlns:a16="http://schemas.microsoft.com/office/drawing/2014/main" id="{E794CAA2-348F-4203-A25E-BA16CA011F07}"/>
                  </a:ext>
                </a:extLst>
              </p:cNvPr>
              <p:cNvSpPr>
                <a:spLocks noChangeArrowheads="1"/>
              </p:cNvSpPr>
              <p:nvPr/>
            </p:nvSpPr>
            <p:spPr bwMode="auto">
              <a:xfrm>
                <a:off x="3561" y="2227"/>
                <a:ext cx="21" cy="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60" name="Freeform 75">
                <a:extLst>
                  <a:ext uri="{FF2B5EF4-FFF2-40B4-BE49-F238E27FC236}">
                    <a16:creationId xmlns="" xmlns:a16="http://schemas.microsoft.com/office/drawing/2014/main" id="{B8E9CD36-165E-451F-8242-435BB70C1603}"/>
                  </a:ext>
                </a:extLst>
              </p:cNvPr>
              <p:cNvSpPr>
                <a:spLocks noEditPoints="1"/>
              </p:cNvSpPr>
              <p:nvPr/>
            </p:nvSpPr>
            <p:spPr bwMode="auto">
              <a:xfrm>
                <a:off x="3701" y="2227"/>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2 w 86"/>
                  <a:gd name="T11" fmla="*/ 44 h 65"/>
                  <a:gd name="T12" fmla="*/ 65 w 86"/>
                  <a:gd name="T13" fmla="*/ 44 h 65"/>
                  <a:gd name="T14" fmla="*/ 65 w 86"/>
                  <a:gd name="T15" fmla="*/ 22 h 65"/>
                  <a:gd name="T16" fmla="*/ 22 w 86"/>
                  <a:gd name="T17" fmla="*/ 22 h 65"/>
                  <a:gd name="T18" fmla="*/ 22 w 86"/>
                  <a:gd name="T19" fmla="*/ 4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2" y="44"/>
                    </a:moveTo>
                    <a:lnTo>
                      <a:pt x="65" y="44"/>
                    </a:lnTo>
                    <a:lnTo>
                      <a:pt x="65" y="22"/>
                    </a:lnTo>
                    <a:lnTo>
                      <a:pt x="22" y="22"/>
                    </a:lnTo>
                    <a:lnTo>
                      <a:pt x="2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61" name="Freeform 76">
                <a:extLst>
                  <a:ext uri="{FF2B5EF4-FFF2-40B4-BE49-F238E27FC236}">
                    <a16:creationId xmlns="" xmlns:a16="http://schemas.microsoft.com/office/drawing/2014/main" id="{401CD29F-2949-46A3-8A2F-1DEE02898954}"/>
                  </a:ext>
                </a:extLst>
              </p:cNvPr>
              <p:cNvSpPr>
                <a:spLocks noEditPoints="1"/>
              </p:cNvSpPr>
              <p:nvPr/>
            </p:nvSpPr>
            <p:spPr bwMode="auto">
              <a:xfrm>
                <a:off x="3701" y="2314"/>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2 w 86"/>
                  <a:gd name="T11" fmla="*/ 43 h 65"/>
                  <a:gd name="T12" fmla="*/ 65 w 86"/>
                  <a:gd name="T13" fmla="*/ 43 h 65"/>
                  <a:gd name="T14" fmla="*/ 65 w 86"/>
                  <a:gd name="T15" fmla="*/ 21 h 65"/>
                  <a:gd name="T16" fmla="*/ 22 w 86"/>
                  <a:gd name="T17" fmla="*/ 21 h 65"/>
                  <a:gd name="T18" fmla="*/ 22 w 86"/>
                  <a:gd name="T19" fmla="*/ 4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2" y="43"/>
                    </a:moveTo>
                    <a:lnTo>
                      <a:pt x="65" y="43"/>
                    </a:lnTo>
                    <a:lnTo>
                      <a:pt x="65" y="21"/>
                    </a:lnTo>
                    <a:lnTo>
                      <a:pt x="22" y="21"/>
                    </a:lnTo>
                    <a:lnTo>
                      <a:pt x="22"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62" name="Freeform 77">
                <a:extLst>
                  <a:ext uri="{FF2B5EF4-FFF2-40B4-BE49-F238E27FC236}">
                    <a16:creationId xmlns="" xmlns:a16="http://schemas.microsoft.com/office/drawing/2014/main" id="{7C7B9C20-C6A2-4107-9B2C-44A26CEAFCDB}"/>
                  </a:ext>
                </a:extLst>
              </p:cNvPr>
              <p:cNvSpPr>
                <a:spLocks noEditPoints="1"/>
              </p:cNvSpPr>
              <p:nvPr/>
            </p:nvSpPr>
            <p:spPr bwMode="auto">
              <a:xfrm>
                <a:off x="3809" y="2227"/>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2 w 86"/>
                  <a:gd name="T11" fmla="*/ 44 h 65"/>
                  <a:gd name="T12" fmla="*/ 65 w 86"/>
                  <a:gd name="T13" fmla="*/ 44 h 65"/>
                  <a:gd name="T14" fmla="*/ 65 w 86"/>
                  <a:gd name="T15" fmla="*/ 22 h 65"/>
                  <a:gd name="T16" fmla="*/ 22 w 86"/>
                  <a:gd name="T17" fmla="*/ 22 h 65"/>
                  <a:gd name="T18" fmla="*/ 22 w 86"/>
                  <a:gd name="T19" fmla="*/ 4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2" y="44"/>
                    </a:moveTo>
                    <a:lnTo>
                      <a:pt x="65" y="44"/>
                    </a:lnTo>
                    <a:lnTo>
                      <a:pt x="65" y="22"/>
                    </a:lnTo>
                    <a:lnTo>
                      <a:pt x="22" y="22"/>
                    </a:lnTo>
                    <a:lnTo>
                      <a:pt x="22"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63" name="Freeform 78">
                <a:extLst>
                  <a:ext uri="{FF2B5EF4-FFF2-40B4-BE49-F238E27FC236}">
                    <a16:creationId xmlns="" xmlns:a16="http://schemas.microsoft.com/office/drawing/2014/main" id="{C627711B-E3D2-4081-9A21-86351AEC1BD0}"/>
                  </a:ext>
                </a:extLst>
              </p:cNvPr>
              <p:cNvSpPr>
                <a:spLocks noEditPoints="1"/>
              </p:cNvSpPr>
              <p:nvPr/>
            </p:nvSpPr>
            <p:spPr bwMode="auto">
              <a:xfrm>
                <a:off x="3809" y="2314"/>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2 w 86"/>
                  <a:gd name="T11" fmla="*/ 43 h 65"/>
                  <a:gd name="T12" fmla="*/ 65 w 86"/>
                  <a:gd name="T13" fmla="*/ 43 h 65"/>
                  <a:gd name="T14" fmla="*/ 65 w 86"/>
                  <a:gd name="T15" fmla="*/ 21 h 65"/>
                  <a:gd name="T16" fmla="*/ 22 w 86"/>
                  <a:gd name="T17" fmla="*/ 21 h 65"/>
                  <a:gd name="T18" fmla="*/ 22 w 86"/>
                  <a:gd name="T19" fmla="*/ 4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2" y="43"/>
                    </a:moveTo>
                    <a:lnTo>
                      <a:pt x="65" y="43"/>
                    </a:lnTo>
                    <a:lnTo>
                      <a:pt x="65" y="21"/>
                    </a:lnTo>
                    <a:lnTo>
                      <a:pt x="22" y="21"/>
                    </a:lnTo>
                    <a:lnTo>
                      <a:pt x="22"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64" name="Freeform 79">
                <a:extLst>
                  <a:ext uri="{FF2B5EF4-FFF2-40B4-BE49-F238E27FC236}">
                    <a16:creationId xmlns="" xmlns:a16="http://schemas.microsoft.com/office/drawing/2014/main" id="{87355E61-7673-4097-9037-854C100481F8}"/>
                  </a:ext>
                </a:extLst>
              </p:cNvPr>
              <p:cNvSpPr>
                <a:spLocks noEditPoints="1"/>
              </p:cNvSpPr>
              <p:nvPr/>
            </p:nvSpPr>
            <p:spPr bwMode="auto">
              <a:xfrm>
                <a:off x="3917" y="2227"/>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1 w 86"/>
                  <a:gd name="T11" fmla="*/ 44 h 65"/>
                  <a:gd name="T12" fmla="*/ 65 w 86"/>
                  <a:gd name="T13" fmla="*/ 44 h 65"/>
                  <a:gd name="T14" fmla="*/ 65 w 86"/>
                  <a:gd name="T15" fmla="*/ 22 h 65"/>
                  <a:gd name="T16" fmla="*/ 21 w 86"/>
                  <a:gd name="T17" fmla="*/ 22 h 65"/>
                  <a:gd name="T18" fmla="*/ 21 w 86"/>
                  <a:gd name="T19" fmla="*/ 4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1" y="44"/>
                    </a:moveTo>
                    <a:lnTo>
                      <a:pt x="65" y="44"/>
                    </a:lnTo>
                    <a:lnTo>
                      <a:pt x="65" y="22"/>
                    </a:lnTo>
                    <a:lnTo>
                      <a:pt x="21" y="22"/>
                    </a:lnTo>
                    <a:lnTo>
                      <a:pt x="2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65" name="Freeform 80">
                <a:extLst>
                  <a:ext uri="{FF2B5EF4-FFF2-40B4-BE49-F238E27FC236}">
                    <a16:creationId xmlns="" xmlns:a16="http://schemas.microsoft.com/office/drawing/2014/main" id="{55E2D605-1542-4651-AEAA-C906E5ECBA33}"/>
                  </a:ext>
                </a:extLst>
              </p:cNvPr>
              <p:cNvSpPr>
                <a:spLocks noEditPoints="1"/>
              </p:cNvSpPr>
              <p:nvPr/>
            </p:nvSpPr>
            <p:spPr bwMode="auto">
              <a:xfrm>
                <a:off x="3917" y="2314"/>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1 w 86"/>
                  <a:gd name="T11" fmla="*/ 43 h 65"/>
                  <a:gd name="T12" fmla="*/ 65 w 86"/>
                  <a:gd name="T13" fmla="*/ 43 h 65"/>
                  <a:gd name="T14" fmla="*/ 65 w 86"/>
                  <a:gd name="T15" fmla="*/ 21 h 65"/>
                  <a:gd name="T16" fmla="*/ 21 w 86"/>
                  <a:gd name="T17" fmla="*/ 21 h 65"/>
                  <a:gd name="T18" fmla="*/ 21 w 86"/>
                  <a:gd name="T19" fmla="*/ 4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1" y="43"/>
                    </a:moveTo>
                    <a:lnTo>
                      <a:pt x="65" y="43"/>
                    </a:lnTo>
                    <a:lnTo>
                      <a:pt x="65" y="21"/>
                    </a:lnTo>
                    <a:lnTo>
                      <a:pt x="21" y="21"/>
                    </a:lnTo>
                    <a:lnTo>
                      <a:pt x="21"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67" name="Freeform 81">
                <a:extLst>
                  <a:ext uri="{FF2B5EF4-FFF2-40B4-BE49-F238E27FC236}">
                    <a16:creationId xmlns="" xmlns:a16="http://schemas.microsoft.com/office/drawing/2014/main" id="{6B27B9E6-43DB-4400-A716-DA6139D0B8D6}"/>
                  </a:ext>
                </a:extLst>
              </p:cNvPr>
              <p:cNvSpPr>
                <a:spLocks noEditPoints="1"/>
              </p:cNvSpPr>
              <p:nvPr/>
            </p:nvSpPr>
            <p:spPr bwMode="auto">
              <a:xfrm>
                <a:off x="4025" y="2227"/>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1 w 86"/>
                  <a:gd name="T11" fmla="*/ 44 h 65"/>
                  <a:gd name="T12" fmla="*/ 65 w 86"/>
                  <a:gd name="T13" fmla="*/ 44 h 65"/>
                  <a:gd name="T14" fmla="*/ 65 w 86"/>
                  <a:gd name="T15" fmla="*/ 22 h 65"/>
                  <a:gd name="T16" fmla="*/ 21 w 86"/>
                  <a:gd name="T17" fmla="*/ 22 h 65"/>
                  <a:gd name="T18" fmla="*/ 21 w 86"/>
                  <a:gd name="T19" fmla="*/ 4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1" y="44"/>
                    </a:moveTo>
                    <a:lnTo>
                      <a:pt x="65" y="44"/>
                    </a:lnTo>
                    <a:lnTo>
                      <a:pt x="65" y="22"/>
                    </a:lnTo>
                    <a:lnTo>
                      <a:pt x="21" y="22"/>
                    </a:lnTo>
                    <a:lnTo>
                      <a:pt x="21"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68" name="Freeform 82">
                <a:extLst>
                  <a:ext uri="{FF2B5EF4-FFF2-40B4-BE49-F238E27FC236}">
                    <a16:creationId xmlns="" xmlns:a16="http://schemas.microsoft.com/office/drawing/2014/main" id="{6C1EF432-ED52-4D50-AD04-0563137F8FF0}"/>
                  </a:ext>
                </a:extLst>
              </p:cNvPr>
              <p:cNvSpPr>
                <a:spLocks noEditPoints="1"/>
              </p:cNvSpPr>
              <p:nvPr/>
            </p:nvSpPr>
            <p:spPr bwMode="auto">
              <a:xfrm>
                <a:off x="4025" y="2314"/>
                <a:ext cx="86" cy="65"/>
              </a:xfrm>
              <a:custGeom>
                <a:avLst/>
                <a:gdLst>
                  <a:gd name="T0" fmla="*/ 86 w 86"/>
                  <a:gd name="T1" fmla="*/ 65 h 65"/>
                  <a:gd name="T2" fmla="*/ 0 w 86"/>
                  <a:gd name="T3" fmla="*/ 65 h 65"/>
                  <a:gd name="T4" fmla="*/ 0 w 86"/>
                  <a:gd name="T5" fmla="*/ 0 h 65"/>
                  <a:gd name="T6" fmla="*/ 86 w 86"/>
                  <a:gd name="T7" fmla="*/ 0 h 65"/>
                  <a:gd name="T8" fmla="*/ 86 w 86"/>
                  <a:gd name="T9" fmla="*/ 65 h 65"/>
                  <a:gd name="T10" fmla="*/ 21 w 86"/>
                  <a:gd name="T11" fmla="*/ 43 h 65"/>
                  <a:gd name="T12" fmla="*/ 65 w 86"/>
                  <a:gd name="T13" fmla="*/ 43 h 65"/>
                  <a:gd name="T14" fmla="*/ 65 w 86"/>
                  <a:gd name="T15" fmla="*/ 21 h 65"/>
                  <a:gd name="T16" fmla="*/ 21 w 86"/>
                  <a:gd name="T17" fmla="*/ 21 h 65"/>
                  <a:gd name="T18" fmla="*/ 21 w 86"/>
                  <a:gd name="T19" fmla="*/ 4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65">
                    <a:moveTo>
                      <a:pt x="86" y="65"/>
                    </a:moveTo>
                    <a:lnTo>
                      <a:pt x="0" y="65"/>
                    </a:lnTo>
                    <a:lnTo>
                      <a:pt x="0" y="0"/>
                    </a:lnTo>
                    <a:lnTo>
                      <a:pt x="86" y="0"/>
                    </a:lnTo>
                    <a:lnTo>
                      <a:pt x="86" y="65"/>
                    </a:lnTo>
                    <a:close/>
                    <a:moveTo>
                      <a:pt x="21" y="43"/>
                    </a:moveTo>
                    <a:lnTo>
                      <a:pt x="65" y="43"/>
                    </a:lnTo>
                    <a:lnTo>
                      <a:pt x="65" y="21"/>
                    </a:lnTo>
                    <a:lnTo>
                      <a:pt x="21" y="21"/>
                    </a:lnTo>
                    <a:lnTo>
                      <a:pt x="21"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69" name="Line 83">
                <a:extLst>
                  <a:ext uri="{FF2B5EF4-FFF2-40B4-BE49-F238E27FC236}">
                    <a16:creationId xmlns="" xmlns:a16="http://schemas.microsoft.com/office/drawing/2014/main" id="{707B5F08-0E59-4D58-A135-86A50CD199E8}"/>
                  </a:ext>
                </a:extLst>
              </p:cNvPr>
              <p:cNvSpPr>
                <a:spLocks noChangeShapeType="1"/>
              </p:cNvSpPr>
              <p:nvPr/>
            </p:nvSpPr>
            <p:spPr bwMode="auto">
              <a:xfrm>
                <a:off x="4176" y="2433"/>
                <a:ext cx="0" cy="0"/>
              </a:xfrm>
              <a:prstGeom prst="line">
                <a:avLst/>
              </a:prstGeom>
              <a:grpFill/>
              <a:ln w="34925" cap="flat">
                <a:solidFill>
                  <a:srgbClr val="363F40"/>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70" name="Rectangle 84">
                <a:extLst>
                  <a:ext uri="{FF2B5EF4-FFF2-40B4-BE49-F238E27FC236}">
                    <a16:creationId xmlns="" xmlns:a16="http://schemas.microsoft.com/office/drawing/2014/main" id="{BB135A52-1A39-48AA-BDAE-8F283D28D3C7}"/>
                  </a:ext>
                </a:extLst>
              </p:cNvPr>
              <p:cNvSpPr>
                <a:spLocks noChangeArrowheads="1"/>
              </p:cNvSpPr>
              <p:nvPr/>
            </p:nvSpPr>
            <p:spPr bwMode="auto">
              <a:xfrm>
                <a:off x="3669" y="2422"/>
                <a:ext cx="475" cy="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71" name="Rectangle 85">
                <a:extLst>
                  <a:ext uri="{FF2B5EF4-FFF2-40B4-BE49-F238E27FC236}">
                    <a16:creationId xmlns="" xmlns:a16="http://schemas.microsoft.com/office/drawing/2014/main" id="{82217FD4-7849-4C10-83E6-A7AA5E6CF53D}"/>
                  </a:ext>
                </a:extLst>
              </p:cNvPr>
              <p:cNvSpPr>
                <a:spLocks noChangeArrowheads="1"/>
              </p:cNvSpPr>
              <p:nvPr/>
            </p:nvSpPr>
            <p:spPr bwMode="auto">
              <a:xfrm>
                <a:off x="3539" y="1990"/>
                <a:ext cx="65" cy="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472" name="Freeform 86">
                <a:extLst>
                  <a:ext uri="{FF2B5EF4-FFF2-40B4-BE49-F238E27FC236}">
                    <a16:creationId xmlns="" xmlns:a16="http://schemas.microsoft.com/office/drawing/2014/main" id="{5B62DDA5-FCAD-49D4-BBC6-B76C508D9DA3}"/>
                  </a:ext>
                </a:extLst>
              </p:cNvPr>
              <p:cNvSpPr>
                <a:spLocks/>
              </p:cNvSpPr>
              <p:nvPr/>
            </p:nvSpPr>
            <p:spPr bwMode="auto">
              <a:xfrm>
                <a:off x="3507" y="2422"/>
                <a:ext cx="140" cy="54"/>
              </a:xfrm>
              <a:custGeom>
                <a:avLst/>
                <a:gdLst>
                  <a:gd name="T0" fmla="*/ 140 w 140"/>
                  <a:gd name="T1" fmla="*/ 54 h 54"/>
                  <a:gd name="T2" fmla="*/ 118 w 140"/>
                  <a:gd name="T3" fmla="*/ 54 h 54"/>
                  <a:gd name="T4" fmla="*/ 118 w 140"/>
                  <a:gd name="T5" fmla="*/ 21 h 54"/>
                  <a:gd name="T6" fmla="*/ 0 w 140"/>
                  <a:gd name="T7" fmla="*/ 21 h 54"/>
                  <a:gd name="T8" fmla="*/ 0 w 140"/>
                  <a:gd name="T9" fmla="*/ 0 h 54"/>
                  <a:gd name="T10" fmla="*/ 140 w 140"/>
                  <a:gd name="T11" fmla="*/ 0 h 54"/>
                  <a:gd name="T12" fmla="*/ 140 w 140"/>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140" h="54">
                    <a:moveTo>
                      <a:pt x="140" y="54"/>
                    </a:moveTo>
                    <a:lnTo>
                      <a:pt x="118" y="54"/>
                    </a:lnTo>
                    <a:lnTo>
                      <a:pt x="118" y="21"/>
                    </a:lnTo>
                    <a:lnTo>
                      <a:pt x="0" y="21"/>
                    </a:lnTo>
                    <a:lnTo>
                      <a:pt x="0" y="0"/>
                    </a:lnTo>
                    <a:lnTo>
                      <a:pt x="140" y="0"/>
                    </a:lnTo>
                    <a:lnTo>
                      <a:pt x="14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grpSp>
      <p:sp>
        <p:nvSpPr>
          <p:cNvPr id="10" name="Retângulo 9">
            <a:extLst>
              <a:ext uri="{FF2B5EF4-FFF2-40B4-BE49-F238E27FC236}">
                <a16:creationId xmlns="" xmlns:a16="http://schemas.microsoft.com/office/drawing/2014/main" id="{B84B220C-C8F8-49FD-B517-BCED0A8C3AFA}"/>
              </a:ext>
            </a:extLst>
          </p:cNvPr>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7" name="TextBox 8">
            <a:extLst>
              <a:ext uri="{FF2B5EF4-FFF2-40B4-BE49-F238E27FC236}">
                <a16:creationId xmlns="" xmlns:a16="http://schemas.microsoft.com/office/drawing/2014/main" id="{105C8152-4840-46AC-A46E-F79F350CFF1A}"/>
              </a:ext>
            </a:extLst>
          </p:cNvPr>
          <p:cNvSpPr txBox="1"/>
          <p:nvPr/>
        </p:nvSpPr>
        <p:spPr>
          <a:xfrm>
            <a:off x="3552951" y="858210"/>
            <a:ext cx="5086098" cy="432426"/>
          </a:xfrm>
          <a:prstGeom prst="rect">
            <a:avLst/>
          </a:prstGeom>
          <a:noFill/>
        </p:spPr>
        <p:txBody>
          <a:bodyPr wrap="square"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pt-PT" sz="2600" b="0" i="0" u="none" strike="noStrike" kern="1200" cap="none" spc="60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PRODUCT &amp; SUPPLY</a:t>
            </a:r>
          </a:p>
        </p:txBody>
      </p:sp>
      <p:sp>
        <p:nvSpPr>
          <p:cNvPr id="58" name="TextBox 57">
            <a:extLst>
              <a:ext uri="{FF2B5EF4-FFF2-40B4-BE49-F238E27FC236}">
                <a16:creationId xmlns="" xmlns:a16="http://schemas.microsoft.com/office/drawing/2014/main" id="{BFE61438-D081-483A-B482-A183A29336BF}"/>
              </a:ext>
            </a:extLst>
          </p:cNvPr>
          <p:cNvSpPr txBox="1"/>
          <p:nvPr/>
        </p:nvSpPr>
        <p:spPr>
          <a:xfrm>
            <a:off x="3504431" y="354431"/>
            <a:ext cx="5183138" cy="615553"/>
          </a:xfrm>
          <a:prstGeom prst="rect">
            <a:avLst/>
          </a:prstGeom>
          <a:noFill/>
        </p:spPr>
        <p:txBody>
          <a:bodyPr wrap="square" rtlCol="0">
            <a:spAutoFit/>
            <a:scene3d>
              <a:camera prst="orthographicFront"/>
              <a:lightRig rig="threePt" dir="t"/>
            </a:scene3d>
            <a:sp3d>
              <a:bevelT w="0" h="0" prst="artDeco"/>
            </a:sp3d>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pt-PT" sz="40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BD FOCUSES ON</a:t>
            </a:r>
            <a:endParaRPr kumimoji="0" lang="pt-PT" sz="32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106" name="Mapa">
            <a:extLst>
              <a:ext uri="{FF2B5EF4-FFF2-40B4-BE49-F238E27FC236}">
                <a16:creationId xmlns="" xmlns:a16="http://schemas.microsoft.com/office/drawing/2014/main" id="{F0701E3A-0093-4CB7-BA6B-78AC645CFD3F}"/>
              </a:ext>
            </a:extLst>
          </p:cNvPr>
          <p:cNvGrpSpPr>
            <a:grpSpLocks noChangeAspect="1"/>
          </p:cNvGrpSpPr>
          <p:nvPr/>
        </p:nvGrpSpPr>
        <p:grpSpPr bwMode="auto">
          <a:xfrm>
            <a:off x="2791362" y="2184907"/>
            <a:ext cx="6176962" cy="4122859"/>
            <a:chOff x="681" y="48"/>
            <a:chExt cx="6324" cy="4221"/>
          </a:xfrm>
          <a:solidFill>
            <a:schemeClr val="bg1">
              <a:lumMod val="75000"/>
            </a:schemeClr>
          </a:solidFill>
        </p:grpSpPr>
        <p:sp>
          <p:nvSpPr>
            <p:cNvPr id="107" name="Freeform 5">
              <a:extLst>
                <a:ext uri="{FF2B5EF4-FFF2-40B4-BE49-F238E27FC236}">
                  <a16:creationId xmlns="" xmlns:a16="http://schemas.microsoft.com/office/drawing/2014/main" id="{3FBC597B-3288-4516-B488-48C1083D445E}"/>
                </a:ext>
              </a:extLst>
            </p:cNvPr>
            <p:cNvSpPr>
              <a:spLocks/>
            </p:cNvSpPr>
            <p:nvPr/>
          </p:nvSpPr>
          <p:spPr bwMode="auto">
            <a:xfrm>
              <a:off x="2455" y="764"/>
              <a:ext cx="774" cy="601"/>
            </a:xfrm>
            <a:custGeom>
              <a:avLst/>
              <a:gdLst>
                <a:gd name="T0" fmla="*/ 763 w 774"/>
                <a:gd name="T1" fmla="*/ 374 h 601"/>
                <a:gd name="T2" fmla="*/ 761 w 774"/>
                <a:gd name="T3" fmla="*/ 444 h 601"/>
                <a:gd name="T4" fmla="*/ 761 w 774"/>
                <a:gd name="T5" fmla="*/ 513 h 601"/>
                <a:gd name="T6" fmla="*/ 758 w 774"/>
                <a:gd name="T7" fmla="*/ 582 h 601"/>
                <a:gd name="T8" fmla="*/ 707 w 774"/>
                <a:gd name="T9" fmla="*/ 599 h 601"/>
                <a:gd name="T10" fmla="*/ 638 w 774"/>
                <a:gd name="T11" fmla="*/ 596 h 601"/>
                <a:gd name="T12" fmla="*/ 571 w 774"/>
                <a:gd name="T13" fmla="*/ 590 h 601"/>
                <a:gd name="T14" fmla="*/ 502 w 774"/>
                <a:gd name="T15" fmla="*/ 588 h 601"/>
                <a:gd name="T16" fmla="*/ 435 w 774"/>
                <a:gd name="T17" fmla="*/ 585 h 601"/>
                <a:gd name="T18" fmla="*/ 368 w 774"/>
                <a:gd name="T19" fmla="*/ 580 h 601"/>
                <a:gd name="T20" fmla="*/ 299 w 774"/>
                <a:gd name="T21" fmla="*/ 574 h 601"/>
                <a:gd name="T22" fmla="*/ 232 w 774"/>
                <a:gd name="T23" fmla="*/ 569 h 601"/>
                <a:gd name="T24" fmla="*/ 176 w 774"/>
                <a:gd name="T25" fmla="*/ 564 h 601"/>
                <a:gd name="T26" fmla="*/ 120 w 774"/>
                <a:gd name="T27" fmla="*/ 558 h 601"/>
                <a:gd name="T28" fmla="*/ 67 w 774"/>
                <a:gd name="T29" fmla="*/ 556 h 601"/>
                <a:gd name="T30" fmla="*/ 13 w 774"/>
                <a:gd name="T31" fmla="*/ 550 h 601"/>
                <a:gd name="T32" fmla="*/ 0 w 774"/>
                <a:gd name="T33" fmla="*/ 548 h 601"/>
                <a:gd name="T34" fmla="*/ 0 w 774"/>
                <a:gd name="T35" fmla="*/ 548 h 601"/>
                <a:gd name="T36" fmla="*/ 3 w 774"/>
                <a:gd name="T37" fmla="*/ 513 h 601"/>
                <a:gd name="T38" fmla="*/ 8 w 774"/>
                <a:gd name="T39" fmla="*/ 478 h 601"/>
                <a:gd name="T40" fmla="*/ 11 w 774"/>
                <a:gd name="T41" fmla="*/ 444 h 601"/>
                <a:gd name="T42" fmla="*/ 13 w 774"/>
                <a:gd name="T43" fmla="*/ 411 h 601"/>
                <a:gd name="T44" fmla="*/ 21 w 774"/>
                <a:gd name="T45" fmla="*/ 323 h 601"/>
                <a:gd name="T46" fmla="*/ 29 w 774"/>
                <a:gd name="T47" fmla="*/ 238 h 601"/>
                <a:gd name="T48" fmla="*/ 40 w 774"/>
                <a:gd name="T49" fmla="*/ 152 h 601"/>
                <a:gd name="T50" fmla="*/ 48 w 774"/>
                <a:gd name="T51" fmla="*/ 70 h 601"/>
                <a:gd name="T52" fmla="*/ 48 w 774"/>
                <a:gd name="T53" fmla="*/ 51 h 601"/>
                <a:gd name="T54" fmla="*/ 51 w 774"/>
                <a:gd name="T55" fmla="*/ 35 h 601"/>
                <a:gd name="T56" fmla="*/ 53 w 774"/>
                <a:gd name="T57" fmla="*/ 19 h 601"/>
                <a:gd name="T58" fmla="*/ 53 w 774"/>
                <a:gd name="T59" fmla="*/ 3 h 601"/>
                <a:gd name="T60" fmla="*/ 83 w 774"/>
                <a:gd name="T61" fmla="*/ 3 h 601"/>
                <a:gd name="T62" fmla="*/ 126 w 774"/>
                <a:gd name="T63" fmla="*/ 8 h 601"/>
                <a:gd name="T64" fmla="*/ 171 w 774"/>
                <a:gd name="T65" fmla="*/ 11 h 601"/>
                <a:gd name="T66" fmla="*/ 216 w 774"/>
                <a:gd name="T67" fmla="*/ 16 h 601"/>
                <a:gd name="T68" fmla="*/ 262 w 774"/>
                <a:gd name="T69" fmla="*/ 19 h 601"/>
                <a:gd name="T70" fmla="*/ 304 w 774"/>
                <a:gd name="T71" fmla="*/ 21 h 601"/>
                <a:gd name="T72" fmla="*/ 350 w 774"/>
                <a:gd name="T73" fmla="*/ 27 h 601"/>
                <a:gd name="T74" fmla="*/ 395 w 774"/>
                <a:gd name="T75" fmla="*/ 29 h 601"/>
                <a:gd name="T76" fmla="*/ 440 w 774"/>
                <a:gd name="T77" fmla="*/ 32 h 601"/>
                <a:gd name="T78" fmla="*/ 483 w 774"/>
                <a:gd name="T79" fmla="*/ 35 h 601"/>
                <a:gd name="T80" fmla="*/ 528 w 774"/>
                <a:gd name="T81" fmla="*/ 37 h 601"/>
                <a:gd name="T82" fmla="*/ 574 w 774"/>
                <a:gd name="T83" fmla="*/ 40 h 601"/>
                <a:gd name="T84" fmla="*/ 619 w 774"/>
                <a:gd name="T85" fmla="*/ 43 h 601"/>
                <a:gd name="T86" fmla="*/ 665 w 774"/>
                <a:gd name="T87" fmla="*/ 45 h 601"/>
                <a:gd name="T88" fmla="*/ 707 w 774"/>
                <a:gd name="T89" fmla="*/ 45 h 601"/>
                <a:gd name="T90" fmla="*/ 753 w 774"/>
                <a:gd name="T91" fmla="*/ 48 h 601"/>
                <a:gd name="T92" fmla="*/ 774 w 774"/>
                <a:gd name="T93" fmla="*/ 83 h 601"/>
                <a:gd name="T94" fmla="*/ 771 w 774"/>
                <a:gd name="T95" fmla="*/ 152 h 601"/>
                <a:gd name="T96" fmla="*/ 769 w 774"/>
                <a:gd name="T97" fmla="*/ 219 h 601"/>
                <a:gd name="T98" fmla="*/ 766 w 774"/>
                <a:gd name="T99" fmla="*/ 289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74" h="601">
                  <a:moveTo>
                    <a:pt x="766" y="323"/>
                  </a:moveTo>
                  <a:lnTo>
                    <a:pt x="766" y="339"/>
                  </a:lnTo>
                  <a:lnTo>
                    <a:pt x="766" y="358"/>
                  </a:lnTo>
                  <a:lnTo>
                    <a:pt x="763" y="374"/>
                  </a:lnTo>
                  <a:lnTo>
                    <a:pt x="763" y="393"/>
                  </a:lnTo>
                  <a:lnTo>
                    <a:pt x="763" y="409"/>
                  </a:lnTo>
                  <a:lnTo>
                    <a:pt x="763" y="428"/>
                  </a:lnTo>
                  <a:lnTo>
                    <a:pt x="761" y="444"/>
                  </a:lnTo>
                  <a:lnTo>
                    <a:pt x="761" y="462"/>
                  </a:lnTo>
                  <a:lnTo>
                    <a:pt x="761" y="478"/>
                  </a:lnTo>
                  <a:lnTo>
                    <a:pt x="761" y="497"/>
                  </a:lnTo>
                  <a:lnTo>
                    <a:pt x="761" y="513"/>
                  </a:lnTo>
                  <a:lnTo>
                    <a:pt x="758" y="532"/>
                  </a:lnTo>
                  <a:lnTo>
                    <a:pt x="758" y="548"/>
                  </a:lnTo>
                  <a:lnTo>
                    <a:pt x="758" y="566"/>
                  </a:lnTo>
                  <a:lnTo>
                    <a:pt x="758" y="582"/>
                  </a:lnTo>
                  <a:lnTo>
                    <a:pt x="758" y="601"/>
                  </a:lnTo>
                  <a:lnTo>
                    <a:pt x="739" y="599"/>
                  </a:lnTo>
                  <a:lnTo>
                    <a:pt x="723" y="599"/>
                  </a:lnTo>
                  <a:lnTo>
                    <a:pt x="707" y="599"/>
                  </a:lnTo>
                  <a:lnTo>
                    <a:pt x="689" y="599"/>
                  </a:lnTo>
                  <a:lnTo>
                    <a:pt x="673" y="596"/>
                  </a:lnTo>
                  <a:lnTo>
                    <a:pt x="654" y="596"/>
                  </a:lnTo>
                  <a:lnTo>
                    <a:pt x="638" y="596"/>
                  </a:lnTo>
                  <a:lnTo>
                    <a:pt x="622" y="593"/>
                  </a:lnTo>
                  <a:lnTo>
                    <a:pt x="603" y="593"/>
                  </a:lnTo>
                  <a:lnTo>
                    <a:pt x="587" y="593"/>
                  </a:lnTo>
                  <a:lnTo>
                    <a:pt x="571" y="590"/>
                  </a:lnTo>
                  <a:lnTo>
                    <a:pt x="552" y="590"/>
                  </a:lnTo>
                  <a:lnTo>
                    <a:pt x="536" y="590"/>
                  </a:lnTo>
                  <a:lnTo>
                    <a:pt x="520" y="588"/>
                  </a:lnTo>
                  <a:lnTo>
                    <a:pt x="502" y="588"/>
                  </a:lnTo>
                  <a:lnTo>
                    <a:pt x="486" y="588"/>
                  </a:lnTo>
                  <a:lnTo>
                    <a:pt x="470" y="585"/>
                  </a:lnTo>
                  <a:lnTo>
                    <a:pt x="451" y="585"/>
                  </a:lnTo>
                  <a:lnTo>
                    <a:pt x="435" y="585"/>
                  </a:lnTo>
                  <a:lnTo>
                    <a:pt x="419" y="582"/>
                  </a:lnTo>
                  <a:lnTo>
                    <a:pt x="400" y="582"/>
                  </a:lnTo>
                  <a:lnTo>
                    <a:pt x="384" y="580"/>
                  </a:lnTo>
                  <a:lnTo>
                    <a:pt x="368" y="580"/>
                  </a:lnTo>
                  <a:lnTo>
                    <a:pt x="350" y="577"/>
                  </a:lnTo>
                  <a:lnTo>
                    <a:pt x="334" y="577"/>
                  </a:lnTo>
                  <a:lnTo>
                    <a:pt x="318" y="574"/>
                  </a:lnTo>
                  <a:lnTo>
                    <a:pt x="299" y="574"/>
                  </a:lnTo>
                  <a:lnTo>
                    <a:pt x="283" y="574"/>
                  </a:lnTo>
                  <a:lnTo>
                    <a:pt x="267" y="572"/>
                  </a:lnTo>
                  <a:lnTo>
                    <a:pt x="248" y="572"/>
                  </a:lnTo>
                  <a:lnTo>
                    <a:pt x="232" y="569"/>
                  </a:lnTo>
                  <a:lnTo>
                    <a:pt x="216" y="569"/>
                  </a:lnTo>
                  <a:lnTo>
                    <a:pt x="203" y="566"/>
                  </a:lnTo>
                  <a:lnTo>
                    <a:pt x="190" y="566"/>
                  </a:lnTo>
                  <a:lnTo>
                    <a:pt x="176" y="564"/>
                  </a:lnTo>
                  <a:lnTo>
                    <a:pt x="160" y="564"/>
                  </a:lnTo>
                  <a:lnTo>
                    <a:pt x="147" y="561"/>
                  </a:lnTo>
                  <a:lnTo>
                    <a:pt x="134" y="561"/>
                  </a:lnTo>
                  <a:lnTo>
                    <a:pt x="120" y="558"/>
                  </a:lnTo>
                  <a:lnTo>
                    <a:pt x="107" y="558"/>
                  </a:lnTo>
                  <a:lnTo>
                    <a:pt x="93" y="558"/>
                  </a:lnTo>
                  <a:lnTo>
                    <a:pt x="80" y="556"/>
                  </a:lnTo>
                  <a:lnTo>
                    <a:pt x="67" y="556"/>
                  </a:lnTo>
                  <a:lnTo>
                    <a:pt x="53" y="553"/>
                  </a:lnTo>
                  <a:lnTo>
                    <a:pt x="40" y="553"/>
                  </a:lnTo>
                  <a:lnTo>
                    <a:pt x="27" y="550"/>
                  </a:lnTo>
                  <a:lnTo>
                    <a:pt x="13" y="550"/>
                  </a:lnTo>
                  <a:lnTo>
                    <a:pt x="0" y="548"/>
                  </a:lnTo>
                  <a:lnTo>
                    <a:pt x="0" y="548"/>
                  </a:lnTo>
                  <a:lnTo>
                    <a:pt x="0" y="548"/>
                  </a:lnTo>
                  <a:lnTo>
                    <a:pt x="0" y="548"/>
                  </a:lnTo>
                  <a:lnTo>
                    <a:pt x="0" y="548"/>
                  </a:lnTo>
                  <a:lnTo>
                    <a:pt x="0" y="548"/>
                  </a:lnTo>
                  <a:lnTo>
                    <a:pt x="0" y="548"/>
                  </a:lnTo>
                  <a:lnTo>
                    <a:pt x="0" y="548"/>
                  </a:lnTo>
                  <a:lnTo>
                    <a:pt x="0" y="540"/>
                  </a:lnTo>
                  <a:lnTo>
                    <a:pt x="3" y="532"/>
                  </a:lnTo>
                  <a:lnTo>
                    <a:pt x="3" y="521"/>
                  </a:lnTo>
                  <a:lnTo>
                    <a:pt x="3" y="513"/>
                  </a:lnTo>
                  <a:lnTo>
                    <a:pt x="5" y="505"/>
                  </a:lnTo>
                  <a:lnTo>
                    <a:pt x="5" y="497"/>
                  </a:lnTo>
                  <a:lnTo>
                    <a:pt x="5" y="489"/>
                  </a:lnTo>
                  <a:lnTo>
                    <a:pt x="8" y="478"/>
                  </a:lnTo>
                  <a:lnTo>
                    <a:pt x="8" y="470"/>
                  </a:lnTo>
                  <a:lnTo>
                    <a:pt x="8" y="462"/>
                  </a:lnTo>
                  <a:lnTo>
                    <a:pt x="8" y="454"/>
                  </a:lnTo>
                  <a:lnTo>
                    <a:pt x="11" y="444"/>
                  </a:lnTo>
                  <a:lnTo>
                    <a:pt x="11" y="436"/>
                  </a:lnTo>
                  <a:lnTo>
                    <a:pt x="11" y="428"/>
                  </a:lnTo>
                  <a:lnTo>
                    <a:pt x="13" y="420"/>
                  </a:lnTo>
                  <a:lnTo>
                    <a:pt x="13" y="411"/>
                  </a:lnTo>
                  <a:lnTo>
                    <a:pt x="16" y="390"/>
                  </a:lnTo>
                  <a:lnTo>
                    <a:pt x="19" y="369"/>
                  </a:lnTo>
                  <a:lnTo>
                    <a:pt x="21" y="345"/>
                  </a:lnTo>
                  <a:lnTo>
                    <a:pt x="21" y="323"/>
                  </a:lnTo>
                  <a:lnTo>
                    <a:pt x="24" y="302"/>
                  </a:lnTo>
                  <a:lnTo>
                    <a:pt x="27" y="281"/>
                  </a:lnTo>
                  <a:lnTo>
                    <a:pt x="29" y="259"/>
                  </a:lnTo>
                  <a:lnTo>
                    <a:pt x="29" y="238"/>
                  </a:lnTo>
                  <a:lnTo>
                    <a:pt x="32" y="216"/>
                  </a:lnTo>
                  <a:lnTo>
                    <a:pt x="35" y="195"/>
                  </a:lnTo>
                  <a:lnTo>
                    <a:pt x="37" y="174"/>
                  </a:lnTo>
                  <a:lnTo>
                    <a:pt x="40" y="152"/>
                  </a:lnTo>
                  <a:lnTo>
                    <a:pt x="40" y="131"/>
                  </a:lnTo>
                  <a:lnTo>
                    <a:pt x="43" y="112"/>
                  </a:lnTo>
                  <a:lnTo>
                    <a:pt x="45" y="91"/>
                  </a:lnTo>
                  <a:lnTo>
                    <a:pt x="48" y="70"/>
                  </a:lnTo>
                  <a:lnTo>
                    <a:pt x="48" y="64"/>
                  </a:lnTo>
                  <a:lnTo>
                    <a:pt x="48" y="62"/>
                  </a:lnTo>
                  <a:lnTo>
                    <a:pt x="48" y="56"/>
                  </a:lnTo>
                  <a:lnTo>
                    <a:pt x="48" y="51"/>
                  </a:lnTo>
                  <a:lnTo>
                    <a:pt x="51" y="48"/>
                  </a:lnTo>
                  <a:lnTo>
                    <a:pt x="51" y="43"/>
                  </a:lnTo>
                  <a:lnTo>
                    <a:pt x="51" y="40"/>
                  </a:lnTo>
                  <a:lnTo>
                    <a:pt x="51" y="35"/>
                  </a:lnTo>
                  <a:lnTo>
                    <a:pt x="51" y="32"/>
                  </a:lnTo>
                  <a:lnTo>
                    <a:pt x="51" y="27"/>
                  </a:lnTo>
                  <a:lnTo>
                    <a:pt x="53" y="24"/>
                  </a:lnTo>
                  <a:lnTo>
                    <a:pt x="53" y="19"/>
                  </a:lnTo>
                  <a:lnTo>
                    <a:pt x="53" y="16"/>
                  </a:lnTo>
                  <a:lnTo>
                    <a:pt x="53" y="11"/>
                  </a:lnTo>
                  <a:lnTo>
                    <a:pt x="53" y="5"/>
                  </a:lnTo>
                  <a:lnTo>
                    <a:pt x="53" y="3"/>
                  </a:lnTo>
                  <a:lnTo>
                    <a:pt x="53" y="0"/>
                  </a:lnTo>
                  <a:lnTo>
                    <a:pt x="59" y="0"/>
                  </a:lnTo>
                  <a:lnTo>
                    <a:pt x="72" y="3"/>
                  </a:lnTo>
                  <a:lnTo>
                    <a:pt x="83" y="3"/>
                  </a:lnTo>
                  <a:lnTo>
                    <a:pt x="93" y="3"/>
                  </a:lnTo>
                  <a:lnTo>
                    <a:pt x="104" y="5"/>
                  </a:lnTo>
                  <a:lnTo>
                    <a:pt x="115" y="5"/>
                  </a:lnTo>
                  <a:lnTo>
                    <a:pt x="126" y="8"/>
                  </a:lnTo>
                  <a:lnTo>
                    <a:pt x="139" y="8"/>
                  </a:lnTo>
                  <a:lnTo>
                    <a:pt x="150" y="8"/>
                  </a:lnTo>
                  <a:lnTo>
                    <a:pt x="160" y="11"/>
                  </a:lnTo>
                  <a:lnTo>
                    <a:pt x="171" y="11"/>
                  </a:lnTo>
                  <a:lnTo>
                    <a:pt x="182" y="13"/>
                  </a:lnTo>
                  <a:lnTo>
                    <a:pt x="195" y="13"/>
                  </a:lnTo>
                  <a:lnTo>
                    <a:pt x="206" y="13"/>
                  </a:lnTo>
                  <a:lnTo>
                    <a:pt x="216" y="16"/>
                  </a:lnTo>
                  <a:lnTo>
                    <a:pt x="227" y="16"/>
                  </a:lnTo>
                  <a:lnTo>
                    <a:pt x="238" y="16"/>
                  </a:lnTo>
                  <a:lnTo>
                    <a:pt x="248" y="19"/>
                  </a:lnTo>
                  <a:lnTo>
                    <a:pt x="262" y="19"/>
                  </a:lnTo>
                  <a:lnTo>
                    <a:pt x="272" y="19"/>
                  </a:lnTo>
                  <a:lnTo>
                    <a:pt x="283" y="21"/>
                  </a:lnTo>
                  <a:lnTo>
                    <a:pt x="294" y="21"/>
                  </a:lnTo>
                  <a:lnTo>
                    <a:pt x="304" y="21"/>
                  </a:lnTo>
                  <a:lnTo>
                    <a:pt x="318" y="24"/>
                  </a:lnTo>
                  <a:lnTo>
                    <a:pt x="328" y="24"/>
                  </a:lnTo>
                  <a:lnTo>
                    <a:pt x="339" y="24"/>
                  </a:lnTo>
                  <a:lnTo>
                    <a:pt x="350" y="27"/>
                  </a:lnTo>
                  <a:lnTo>
                    <a:pt x="360" y="27"/>
                  </a:lnTo>
                  <a:lnTo>
                    <a:pt x="374" y="27"/>
                  </a:lnTo>
                  <a:lnTo>
                    <a:pt x="384" y="29"/>
                  </a:lnTo>
                  <a:lnTo>
                    <a:pt x="395" y="29"/>
                  </a:lnTo>
                  <a:lnTo>
                    <a:pt x="406" y="29"/>
                  </a:lnTo>
                  <a:lnTo>
                    <a:pt x="416" y="29"/>
                  </a:lnTo>
                  <a:lnTo>
                    <a:pt x="427" y="32"/>
                  </a:lnTo>
                  <a:lnTo>
                    <a:pt x="440" y="32"/>
                  </a:lnTo>
                  <a:lnTo>
                    <a:pt x="451" y="32"/>
                  </a:lnTo>
                  <a:lnTo>
                    <a:pt x="462" y="35"/>
                  </a:lnTo>
                  <a:lnTo>
                    <a:pt x="472" y="35"/>
                  </a:lnTo>
                  <a:lnTo>
                    <a:pt x="483" y="35"/>
                  </a:lnTo>
                  <a:lnTo>
                    <a:pt x="496" y="35"/>
                  </a:lnTo>
                  <a:lnTo>
                    <a:pt x="507" y="37"/>
                  </a:lnTo>
                  <a:lnTo>
                    <a:pt x="518" y="37"/>
                  </a:lnTo>
                  <a:lnTo>
                    <a:pt x="528" y="37"/>
                  </a:lnTo>
                  <a:lnTo>
                    <a:pt x="539" y="37"/>
                  </a:lnTo>
                  <a:lnTo>
                    <a:pt x="552" y="40"/>
                  </a:lnTo>
                  <a:lnTo>
                    <a:pt x="563" y="40"/>
                  </a:lnTo>
                  <a:lnTo>
                    <a:pt x="574" y="40"/>
                  </a:lnTo>
                  <a:lnTo>
                    <a:pt x="584" y="40"/>
                  </a:lnTo>
                  <a:lnTo>
                    <a:pt x="595" y="43"/>
                  </a:lnTo>
                  <a:lnTo>
                    <a:pt x="608" y="43"/>
                  </a:lnTo>
                  <a:lnTo>
                    <a:pt x="619" y="43"/>
                  </a:lnTo>
                  <a:lnTo>
                    <a:pt x="630" y="43"/>
                  </a:lnTo>
                  <a:lnTo>
                    <a:pt x="640" y="43"/>
                  </a:lnTo>
                  <a:lnTo>
                    <a:pt x="651" y="45"/>
                  </a:lnTo>
                  <a:lnTo>
                    <a:pt x="665" y="45"/>
                  </a:lnTo>
                  <a:lnTo>
                    <a:pt x="675" y="45"/>
                  </a:lnTo>
                  <a:lnTo>
                    <a:pt x="686" y="45"/>
                  </a:lnTo>
                  <a:lnTo>
                    <a:pt x="697" y="45"/>
                  </a:lnTo>
                  <a:lnTo>
                    <a:pt x="707" y="45"/>
                  </a:lnTo>
                  <a:lnTo>
                    <a:pt x="718" y="48"/>
                  </a:lnTo>
                  <a:lnTo>
                    <a:pt x="731" y="48"/>
                  </a:lnTo>
                  <a:lnTo>
                    <a:pt x="742" y="48"/>
                  </a:lnTo>
                  <a:lnTo>
                    <a:pt x="753" y="48"/>
                  </a:lnTo>
                  <a:lnTo>
                    <a:pt x="763" y="48"/>
                  </a:lnTo>
                  <a:lnTo>
                    <a:pt x="774" y="48"/>
                  </a:lnTo>
                  <a:lnTo>
                    <a:pt x="774" y="67"/>
                  </a:lnTo>
                  <a:lnTo>
                    <a:pt x="774" y="83"/>
                  </a:lnTo>
                  <a:lnTo>
                    <a:pt x="774" y="102"/>
                  </a:lnTo>
                  <a:lnTo>
                    <a:pt x="774" y="118"/>
                  </a:lnTo>
                  <a:lnTo>
                    <a:pt x="771" y="134"/>
                  </a:lnTo>
                  <a:lnTo>
                    <a:pt x="771" y="152"/>
                  </a:lnTo>
                  <a:lnTo>
                    <a:pt x="771" y="168"/>
                  </a:lnTo>
                  <a:lnTo>
                    <a:pt x="771" y="187"/>
                  </a:lnTo>
                  <a:lnTo>
                    <a:pt x="771" y="203"/>
                  </a:lnTo>
                  <a:lnTo>
                    <a:pt x="769" y="219"/>
                  </a:lnTo>
                  <a:lnTo>
                    <a:pt x="769" y="238"/>
                  </a:lnTo>
                  <a:lnTo>
                    <a:pt x="769" y="254"/>
                  </a:lnTo>
                  <a:lnTo>
                    <a:pt x="769" y="273"/>
                  </a:lnTo>
                  <a:lnTo>
                    <a:pt x="766" y="289"/>
                  </a:lnTo>
                  <a:lnTo>
                    <a:pt x="766" y="307"/>
                  </a:lnTo>
                  <a:lnTo>
                    <a:pt x="766" y="323"/>
                  </a:lnTo>
                  <a:lnTo>
                    <a:pt x="766" y="323"/>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08" name="Freeform 6">
              <a:extLst>
                <a:ext uri="{FF2B5EF4-FFF2-40B4-BE49-F238E27FC236}">
                  <a16:creationId xmlns="" xmlns:a16="http://schemas.microsoft.com/office/drawing/2014/main" id="{996AD40C-4B32-4426-969A-6D1118B90CCC}"/>
                </a:ext>
              </a:extLst>
            </p:cNvPr>
            <p:cNvSpPr>
              <a:spLocks/>
            </p:cNvSpPr>
            <p:nvPr/>
          </p:nvSpPr>
          <p:spPr bwMode="auto">
            <a:xfrm>
              <a:off x="5574" y="1234"/>
              <a:ext cx="505" cy="495"/>
            </a:xfrm>
            <a:custGeom>
              <a:avLst/>
              <a:gdLst>
                <a:gd name="T0" fmla="*/ 342 w 505"/>
                <a:gd name="T1" fmla="*/ 153 h 495"/>
                <a:gd name="T2" fmla="*/ 355 w 505"/>
                <a:gd name="T3" fmla="*/ 134 h 495"/>
                <a:gd name="T4" fmla="*/ 377 w 505"/>
                <a:gd name="T5" fmla="*/ 123 h 495"/>
                <a:gd name="T6" fmla="*/ 382 w 505"/>
                <a:gd name="T7" fmla="*/ 112 h 495"/>
                <a:gd name="T8" fmla="*/ 390 w 505"/>
                <a:gd name="T9" fmla="*/ 107 h 495"/>
                <a:gd name="T10" fmla="*/ 395 w 505"/>
                <a:gd name="T11" fmla="*/ 112 h 495"/>
                <a:gd name="T12" fmla="*/ 422 w 505"/>
                <a:gd name="T13" fmla="*/ 104 h 495"/>
                <a:gd name="T14" fmla="*/ 441 w 505"/>
                <a:gd name="T15" fmla="*/ 88 h 495"/>
                <a:gd name="T16" fmla="*/ 481 w 505"/>
                <a:gd name="T17" fmla="*/ 88 h 495"/>
                <a:gd name="T18" fmla="*/ 489 w 505"/>
                <a:gd name="T19" fmla="*/ 96 h 495"/>
                <a:gd name="T20" fmla="*/ 497 w 505"/>
                <a:gd name="T21" fmla="*/ 107 h 495"/>
                <a:gd name="T22" fmla="*/ 502 w 505"/>
                <a:gd name="T23" fmla="*/ 145 h 495"/>
                <a:gd name="T24" fmla="*/ 438 w 505"/>
                <a:gd name="T25" fmla="*/ 120 h 495"/>
                <a:gd name="T26" fmla="*/ 435 w 505"/>
                <a:gd name="T27" fmla="*/ 147 h 495"/>
                <a:gd name="T28" fmla="*/ 435 w 505"/>
                <a:gd name="T29" fmla="*/ 161 h 495"/>
                <a:gd name="T30" fmla="*/ 422 w 505"/>
                <a:gd name="T31" fmla="*/ 190 h 495"/>
                <a:gd name="T32" fmla="*/ 411 w 505"/>
                <a:gd name="T33" fmla="*/ 203 h 495"/>
                <a:gd name="T34" fmla="*/ 398 w 505"/>
                <a:gd name="T35" fmla="*/ 222 h 495"/>
                <a:gd name="T36" fmla="*/ 377 w 505"/>
                <a:gd name="T37" fmla="*/ 235 h 495"/>
                <a:gd name="T38" fmla="*/ 369 w 505"/>
                <a:gd name="T39" fmla="*/ 259 h 495"/>
                <a:gd name="T40" fmla="*/ 342 w 505"/>
                <a:gd name="T41" fmla="*/ 278 h 495"/>
                <a:gd name="T42" fmla="*/ 318 w 505"/>
                <a:gd name="T43" fmla="*/ 265 h 495"/>
                <a:gd name="T44" fmla="*/ 315 w 505"/>
                <a:gd name="T45" fmla="*/ 286 h 495"/>
                <a:gd name="T46" fmla="*/ 307 w 505"/>
                <a:gd name="T47" fmla="*/ 308 h 495"/>
                <a:gd name="T48" fmla="*/ 299 w 505"/>
                <a:gd name="T49" fmla="*/ 329 h 495"/>
                <a:gd name="T50" fmla="*/ 275 w 505"/>
                <a:gd name="T51" fmla="*/ 388 h 495"/>
                <a:gd name="T52" fmla="*/ 278 w 505"/>
                <a:gd name="T53" fmla="*/ 412 h 495"/>
                <a:gd name="T54" fmla="*/ 275 w 505"/>
                <a:gd name="T55" fmla="*/ 425 h 495"/>
                <a:gd name="T56" fmla="*/ 254 w 505"/>
                <a:gd name="T57" fmla="*/ 441 h 495"/>
                <a:gd name="T58" fmla="*/ 227 w 505"/>
                <a:gd name="T59" fmla="*/ 454 h 495"/>
                <a:gd name="T60" fmla="*/ 219 w 505"/>
                <a:gd name="T61" fmla="*/ 449 h 495"/>
                <a:gd name="T62" fmla="*/ 214 w 505"/>
                <a:gd name="T63" fmla="*/ 460 h 495"/>
                <a:gd name="T64" fmla="*/ 179 w 505"/>
                <a:gd name="T65" fmla="*/ 481 h 495"/>
                <a:gd name="T66" fmla="*/ 163 w 505"/>
                <a:gd name="T67" fmla="*/ 473 h 495"/>
                <a:gd name="T68" fmla="*/ 147 w 505"/>
                <a:gd name="T69" fmla="*/ 484 h 495"/>
                <a:gd name="T70" fmla="*/ 118 w 505"/>
                <a:gd name="T71" fmla="*/ 489 h 495"/>
                <a:gd name="T72" fmla="*/ 104 w 505"/>
                <a:gd name="T73" fmla="*/ 481 h 495"/>
                <a:gd name="T74" fmla="*/ 94 w 505"/>
                <a:gd name="T75" fmla="*/ 468 h 495"/>
                <a:gd name="T76" fmla="*/ 91 w 505"/>
                <a:gd name="T77" fmla="*/ 457 h 495"/>
                <a:gd name="T78" fmla="*/ 67 w 505"/>
                <a:gd name="T79" fmla="*/ 452 h 495"/>
                <a:gd name="T80" fmla="*/ 48 w 505"/>
                <a:gd name="T81" fmla="*/ 441 h 495"/>
                <a:gd name="T82" fmla="*/ 30 w 505"/>
                <a:gd name="T83" fmla="*/ 414 h 495"/>
                <a:gd name="T84" fmla="*/ 14 w 505"/>
                <a:gd name="T85" fmla="*/ 398 h 495"/>
                <a:gd name="T86" fmla="*/ 3 w 505"/>
                <a:gd name="T87" fmla="*/ 374 h 495"/>
                <a:gd name="T88" fmla="*/ 6 w 505"/>
                <a:gd name="T89" fmla="*/ 364 h 495"/>
                <a:gd name="T90" fmla="*/ 8 w 505"/>
                <a:gd name="T91" fmla="*/ 345 h 495"/>
                <a:gd name="T92" fmla="*/ 40 w 505"/>
                <a:gd name="T93" fmla="*/ 308 h 495"/>
                <a:gd name="T94" fmla="*/ 38 w 505"/>
                <a:gd name="T95" fmla="*/ 270 h 495"/>
                <a:gd name="T96" fmla="*/ 64 w 505"/>
                <a:gd name="T97" fmla="*/ 262 h 495"/>
                <a:gd name="T98" fmla="*/ 70 w 505"/>
                <a:gd name="T99" fmla="*/ 259 h 495"/>
                <a:gd name="T100" fmla="*/ 70 w 505"/>
                <a:gd name="T101" fmla="*/ 243 h 495"/>
                <a:gd name="T102" fmla="*/ 83 w 505"/>
                <a:gd name="T103" fmla="*/ 211 h 495"/>
                <a:gd name="T104" fmla="*/ 107 w 505"/>
                <a:gd name="T105" fmla="*/ 193 h 495"/>
                <a:gd name="T106" fmla="*/ 139 w 505"/>
                <a:gd name="T107" fmla="*/ 169 h 495"/>
                <a:gd name="T108" fmla="*/ 158 w 505"/>
                <a:gd name="T109" fmla="*/ 129 h 495"/>
                <a:gd name="T110" fmla="*/ 160 w 505"/>
                <a:gd name="T111" fmla="*/ 104 h 495"/>
                <a:gd name="T112" fmla="*/ 163 w 505"/>
                <a:gd name="T113" fmla="*/ 80 h 495"/>
                <a:gd name="T114" fmla="*/ 168 w 505"/>
                <a:gd name="T115" fmla="*/ 40 h 495"/>
                <a:gd name="T116" fmla="*/ 158 w 505"/>
                <a:gd name="T117" fmla="*/ 8 h 495"/>
                <a:gd name="T118" fmla="*/ 171 w 505"/>
                <a:gd name="T119" fmla="*/ 3 h 495"/>
                <a:gd name="T120" fmla="*/ 222 w 505"/>
                <a:gd name="T121" fmla="*/ 123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5" h="495">
                  <a:moveTo>
                    <a:pt x="307" y="107"/>
                  </a:moveTo>
                  <a:lnTo>
                    <a:pt x="318" y="177"/>
                  </a:lnTo>
                  <a:lnTo>
                    <a:pt x="321" y="179"/>
                  </a:lnTo>
                  <a:lnTo>
                    <a:pt x="321" y="179"/>
                  </a:lnTo>
                  <a:lnTo>
                    <a:pt x="321" y="177"/>
                  </a:lnTo>
                  <a:lnTo>
                    <a:pt x="323" y="177"/>
                  </a:lnTo>
                  <a:lnTo>
                    <a:pt x="331" y="163"/>
                  </a:lnTo>
                  <a:lnTo>
                    <a:pt x="334" y="163"/>
                  </a:lnTo>
                  <a:lnTo>
                    <a:pt x="337" y="161"/>
                  </a:lnTo>
                  <a:lnTo>
                    <a:pt x="339" y="161"/>
                  </a:lnTo>
                  <a:lnTo>
                    <a:pt x="339" y="161"/>
                  </a:lnTo>
                  <a:lnTo>
                    <a:pt x="339" y="158"/>
                  </a:lnTo>
                  <a:lnTo>
                    <a:pt x="339" y="155"/>
                  </a:lnTo>
                  <a:lnTo>
                    <a:pt x="342" y="153"/>
                  </a:lnTo>
                  <a:lnTo>
                    <a:pt x="345" y="150"/>
                  </a:lnTo>
                  <a:lnTo>
                    <a:pt x="347" y="147"/>
                  </a:lnTo>
                  <a:lnTo>
                    <a:pt x="347" y="147"/>
                  </a:lnTo>
                  <a:lnTo>
                    <a:pt x="350" y="147"/>
                  </a:lnTo>
                  <a:lnTo>
                    <a:pt x="350" y="145"/>
                  </a:lnTo>
                  <a:lnTo>
                    <a:pt x="353" y="142"/>
                  </a:lnTo>
                  <a:lnTo>
                    <a:pt x="353" y="142"/>
                  </a:lnTo>
                  <a:lnTo>
                    <a:pt x="353" y="142"/>
                  </a:lnTo>
                  <a:lnTo>
                    <a:pt x="353" y="142"/>
                  </a:lnTo>
                  <a:lnTo>
                    <a:pt x="353" y="139"/>
                  </a:lnTo>
                  <a:lnTo>
                    <a:pt x="353" y="137"/>
                  </a:lnTo>
                  <a:lnTo>
                    <a:pt x="353" y="137"/>
                  </a:lnTo>
                  <a:lnTo>
                    <a:pt x="353" y="134"/>
                  </a:lnTo>
                  <a:lnTo>
                    <a:pt x="355" y="134"/>
                  </a:lnTo>
                  <a:lnTo>
                    <a:pt x="358" y="131"/>
                  </a:lnTo>
                  <a:lnTo>
                    <a:pt x="358" y="131"/>
                  </a:lnTo>
                  <a:lnTo>
                    <a:pt x="361" y="131"/>
                  </a:lnTo>
                  <a:lnTo>
                    <a:pt x="361" y="131"/>
                  </a:lnTo>
                  <a:lnTo>
                    <a:pt x="363" y="131"/>
                  </a:lnTo>
                  <a:lnTo>
                    <a:pt x="366" y="134"/>
                  </a:lnTo>
                  <a:lnTo>
                    <a:pt x="366" y="134"/>
                  </a:lnTo>
                  <a:lnTo>
                    <a:pt x="369" y="134"/>
                  </a:lnTo>
                  <a:lnTo>
                    <a:pt x="369" y="134"/>
                  </a:lnTo>
                  <a:lnTo>
                    <a:pt x="371" y="134"/>
                  </a:lnTo>
                  <a:lnTo>
                    <a:pt x="371" y="134"/>
                  </a:lnTo>
                  <a:lnTo>
                    <a:pt x="371" y="131"/>
                  </a:lnTo>
                  <a:lnTo>
                    <a:pt x="371" y="131"/>
                  </a:lnTo>
                  <a:lnTo>
                    <a:pt x="377" y="123"/>
                  </a:lnTo>
                  <a:lnTo>
                    <a:pt x="377" y="120"/>
                  </a:lnTo>
                  <a:lnTo>
                    <a:pt x="379" y="118"/>
                  </a:lnTo>
                  <a:lnTo>
                    <a:pt x="379" y="118"/>
                  </a:lnTo>
                  <a:lnTo>
                    <a:pt x="379" y="118"/>
                  </a:lnTo>
                  <a:lnTo>
                    <a:pt x="379" y="118"/>
                  </a:lnTo>
                  <a:lnTo>
                    <a:pt x="379" y="115"/>
                  </a:lnTo>
                  <a:lnTo>
                    <a:pt x="379" y="115"/>
                  </a:lnTo>
                  <a:lnTo>
                    <a:pt x="382" y="115"/>
                  </a:lnTo>
                  <a:lnTo>
                    <a:pt x="382" y="115"/>
                  </a:lnTo>
                  <a:lnTo>
                    <a:pt x="382" y="115"/>
                  </a:lnTo>
                  <a:lnTo>
                    <a:pt x="382" y="115"/>
                  </a:lnTo>
                  <a:lnTo>
                    <a:pt x="382" y="112"/>
                  </a:lnTo>
                  <a:lnTo>
                    <a:pt x="382" y="112"/>
                  </a:lnTo>
                  <a:lnTo>
                    <a:pt x="382" y="112"/>
                  </a:lnTo>
                  <a:lnTo>
                    <a:pt x="382" y="112"/>
                  </a:lnTo>
                  <a:lnTo>
                    <a:pt x="382" y="110"/>
                  </a:lnTo>
                  <a:lnTo>
                    <a:pt x="385" y="107"/>
                  </a:lnTo>
                  <a:lnTo>
                    <a:pt x="385" y="107"/>
                  </a:lnTo>
                  <a:lnTo>
                    <a:pt x="385" y="104"/>
                  </a:lnTo>
                  <a:lnTo>
                    <a:pt x="385" y="104"/>
                  </a:lnTo>
                  <a:lnTo>
                    <a:pt x="385" y="104"/>
                  </a:lnTo>
                  <a:lnTo>
                    <a:pt x="385" y="104"/>
                  </a:lnTo>
                  <a:lnTo>
                    <a:pt x="385" y="104"/>
                  </a:lnTo>
                  <a:lnTo>
                    <a:pt x="387" y="104"/>
                  </a:lnTo>
                  <a:lnTo>
                    <a:pt x="387" y="104"/>
                  </a:lnTo>
                  <a:lnTo>
                    <a:pt x="387" y="107"/>
                  </a:lnTo>
                  <a:lnTo>
                    <a:pt x="390" y="107"/>
                  </a:lnTo>
                  <a:lnTo>
                    <a:pt x="390" y="107"/>
                  </a:lnTo>
                  <a:lnTo>
                    <a:pt x="390" y="107"/>
                  </a:lnTo>
                  <a:lnTo>
                    <a:pt x="390" y="107"/>
                  </a:lnTo>
                  <a:lnTo>
                    <a:pt x="387" y="110"/>
                  </a:lnTo>
                  <a:lnTo>
                    <a:pt x="387" y="110"/>
                  </a:lnTo>
                  <a:lnTo>
                    <a:pt x="387" y="110"/>
                  </a:lnTo>
                  <a:lnTo>
                    <a:pt x="387" y="110"/>
                  </a:lnTo>
                  <a:lnTo>
                    <a:pt x="387" y="110"/>
                  </a:lnTo>
                  <a:lnTo>
                    <a:pt x="387" y="110"/>
                  </a:lnTo>
                  <a:lnTo>
                    <a:pt x="387" y="112"/>
                  </a:lnTo>
                  <a:lnTo>
                    <a:pt x="387" y="112"/>
                  </a:lnTo>
                  <a:lnTo>
                    <a:pt x="390" y="112"/>
                  </a:lnTo>
                  <a:lnTo>
                    <a:pt x="390" y="112"/>
                  </a:lnTo>
                  <a:lnTo>
                    <a:pt x="390" y="112"/>
                  </a:lnTo>
                  <a:lnTo>
                    <a:pt x="395" y="112"/>
                  </a:lnTo>
                  <a:lnTo>
                    <a:pt x="395" y="115"/>
                  </a:lnTo>
                  <a:lnTo>
                    <a:pt x="395" y="115"/>
                  </a:lnTo>
                  <a:lnTo>
                    <a:pt x="398" y="115"/>
                  </a:lnTo>
                  <a:lnTo>
                    <a:pt x="401" y="115"/>
                  </a:lnTo>
                  <a:lnTo>
                    <a:pt x="409" y="115"/>
                  </a:lnTo>
                  <a:lnTo>
                    <a:pt x="409" y="115"/>
                  </a:lnTo>
                  <a:lnTo>
                    <a:pt x="414" y="112"/>
                  </a:lnTo>
                  <a:lnTo>
                    <a:pt x="419" y="112"/>
                  </a:lnTo>
                  <a:lnTo>
                    <a:pt x="425" y="110"/>
                  </a:lnTo>
                  <a:lnTo>
                    <a:pt x="425" y="107"/>
                  </a:lnTo>
                  <a:lnTo>
                    <a:pt x="422" y="107"/>
                  </a:lnTo>
                  <a:lnTo>
                    <a:pt x="422" y="107"/>
                  </a:lnTo>
                  <a:lnTo>
                    <a:pt x="422" y="104"/>
                  </a:lnTo>
                  <a:lnTo>
                    <a:pt x="422" y="104"/>
                  </a:lnTo>
                  <a:lnTo>
                    <a:pt x="425" y="104"/>
                  </a:lnTo>
                  <a:lnTo>
                    <a:pt x="425" y="102"/>
                  </a:lnTo>
                  <a:lnTo>
                    <a:pt x="422" y="99"/>
                  </a:lnTo>
                  <a:lnTo>
                    <a:pt x="422" y="99"/>
                  </a:lnTo>
                  <a:lnTo>
                    <a:pt x="425" y="99"/>
                  </a:lnTo>
                  <a:lnTo>
                    <a:pt x="427" y="99"/>
                  </a:lnTo>
                  <a:lnTo>
                    <a:pt x="427" y="96"/>
                  </a:lnTo>
                  <a:lnTo>
                    <a:pt x="430" y="96"/>
                  </a:lnTo>
                  <a:lnTo>
                    <a:pt x="433" y="94"/>
                  </a:lnTo>
                  <a:lnTo>
                    <a:pt x="435" y="94"/>
                  </a:lnTo>
                  <a:lnTo>
                    <a:pt x="438" y="94"/>
                  </a:lnTo>
                  <a:lnTo>
                    <a:pt x="438" y="94"/>
                  </a:lnTo>
                  <a:lnTo>
                    <a:pt x="441" y="91"/>
                  </a:lnTo>
                  <a:lnTo>
                    <a:pt x="441" y="88"/>
                  </a:lnTo>
                  <a:lnTo>
                    <a:pt x="443" y="86"/>
                  </a:lnTo>
                  <a:lnTo>
                    <a:pt x="443" y="83"/>
                  </a:lnTo>
                  <a:lnTo>
                    <a:pt x="446" y="83"/>
                  </a:lnTo>
                  <a:lnTo>
                    <a:pt x="446" y="83"/>
                  </a:lnTo>
                  <a:lnTo>
                    <a:pt x="451" y="83"/>
                  </a:lnTo>
                  <a:lnTo>
                    <a:pt x="457" y="83"/>
                  </a:lnTo>
                  <a:lnTo>
                    <a:pt x="467" y="91"/>
                  </a:lnTo>
                  <a:lnTo>
                    <a:pt x="470" y="91"/>
                  </a:lnTo>
                  <a:lnTo>
                    <a:pt x="473" y="91"/>
                  </a:lnTo>
                  <a:lnTo>
                    <a:pt x="475" y="91"/>
                  </a:lnTo>
                  <a:lnTo>
                    <a:pt x="475" y="91"/>
                  </a:lnTo>
                  <a:lnTo>
                    <a:pt x="478" y="91"/>
                  </a:lnTo>
                  <a:lnTo>
                    <a:pt x="481" y="91"/>
                  </a:lnTo>
                  <a:lnTo>
                    <a:pt x="481" y="88"/>
                  </a:lnTo>
                  <a:lnTo>
                    <a:pt x="481" y="88"/>
                  </a:lnTo>
                  <a:lnTo>
                    <a:pt x="483" y="88"/>
                  </a:lnTo>
                  <a:lnTo>
                    <a:pt x="483" y="88"/>
                  </a:lnTo>
                  <a:lnTo>
                    <a:pt x="486" y="88"/>
                  </a:lnTo>
                  <a:lnTo>
                    <a:pt x="489" y="91"/>
                  </a:lnTo>
                  <a:lnTo>
                    <a:pt x="489" y="91"/>
                  </a:lnTo>
                  <a:lnTo>
                    <a:pt x="486" y="94"/>
                  </a:lnTo>
                  <a:lnTo>
                    <a:pt x="483" y="96"/>
                  </a:lnTo>
                  <a:lnTo>
                    <a:pt x="483" y="96"/>
                  </a:lnTo>
                  <a:lnTo>
                    <a:pt x="486" y="102"/>
                  </a:lnTo>
                  <a:lnTo>
                    <a:pt x="489" y="102"/>
                  </a:lnTo>
                  <a:lnTo>
                    <a:pt x="489" y="99"/>
                  </a:lnTo>
                  <a:lnTo>
                    <a:pt x="489" y="99"/>
                  </a:lnTo>
                  <a:lnTo>
                    <a:pt x="489" y="96"/>
                  </a:lnTo>
                  <a:lnTo>
                    <a:pt x="489" y="96"/>
                  </a:lnTo>
                  <a:lnTo>
                    <a:pt x="491" y="99"/>
                  </a:lnTo>
                  <a:lnTo>
                    <a:pt x="491" y="99"/>
                  </a:lnTo>
                  <a:lnTo>
                    <a:pt x="489" y="102"/>
                  </a:lnTo>
                  <a:lnTo>
                    <a:pt x="489" y="102"/>
                  </a:lnTo>
                  <a:lnTo>
                    <a:pt x="491" y="104"/>
                  </a:lnTo>
                  <a:lnTo>
                    <a:pt x="494" y="102"/>
                  </a:lnTo>
                  <a:lnTo>
                    <a:pt x="494" y="102"/>
                  </a:lnTo>
                  <a:lnTo>
                    <a:pt x="497" y="102"/>
                  </a:lnTo>
                  <a:lnTo>
                    <a:pt x="497" y="102"/>
                  </a:lnTo>
                  <a:lnTo>
                    <a:pt x="497" y="102"/>
                  </a:lnTo>
                  <a:lnTo>
                    <a:pt x="494" y="104"/>
                  </a:lnTo>
                  <a:lnTo>
                    <a:pt x="494" y="107"/>
                  </a:lnTo>
                  <a:lnTo>
                    <a:pt x="497" y="107"/>
                  </a:lnTo>
                  <a:lnTo>
                    <a:pt x="494" y="110"/>
                  </a:lnTo>
                  <a:lnTo>
                    <a:pt x="497" y="110"/>
                  </a:lnTo>
                  <a:lnTo>
                    <a:pt x="502" y="112"/>
                  </a:lnTo>
                  <a:lnTo>
                    <a:pt x="502" y="115"/>
                  </a:lnTo>
                  <a:lnTo>
                    <a:pt x="502" y="115"/>
                  </a:lnTo>
                  <a:lnTo>
                    <a:pt x="502" y="120"/>
                  </a:lnTo>
                  <a:lnTo>
                    <a:pt x="502" y="120"/>
                  </a:lnTo>
                  <a:lnTo>
                    <a:pt x="505" y="123"/>
                  </a:lnTo>
                  <a:lnTo>
                    <a:pt x="505" y="123"/>
                  </a:lnTo>
                  <a:lnTo>
                    <a:pt x="505" y="126"/>
                  </a:lnTo>
                  <a:lnTo>
                    <a:pt x="505" y="126"/>
                  </a:lnTo>
                  <a:lnTo>
                    <a:pt x="505" y="131"/>
                  </a:lnTo>
                  <a:lnTo>
                    <a:pt x="502" y="137"/>
                  </a:lnTo>
                  <a:lnTo>
                    <a:pt x="502" y="145"/>
                  </a:lnTo>
                  <a:lnTo>
                    <a:pt x="499" y="147"/>
                  </a:lnTo>
                  <a:lnTo>
                    <a:pt x="499" y="150"/>
                  </a:lnTo>
                  <a:lnTo>
                    <a:pt x="499" y="153"/>
                  </a:lnTo>
                  <a:lnTo>
                    <a:pt x="499" y="150"/>
                  </a:lnTo>
                  <a:lnTo>
                    <a:pt x="497" y="150"/>
                  </a:lnTo>
                  <a:lnTo>
                    <a:pt x="491" y="147"/>
                  </a:lnTo>
                  <a:lnTo>
                    <a:pt x="483" y="145"/>
                  </a:lnTo>
                  <a:lnTo>
                    <a:pt x="475" y="139"/>
                  </a:lnTo>
                  <a:lnTo>
                    <a:pt x="470" y="137"/>
                  </a:lnTo>
                  <a:lnTo>
                    <a:pt x="462" y="131"/>
                  </a:lnTo>
                  <a:lnTo>
                    <a:pt x="454" y="129"/>
                  </a:lnTo>
                  <a:lnTo>
                    <a:pt x="449" y="126"/>
                  </a:lnTo>
                  <a:lnTo>
                    <a:pt x="441" y="120"/>
                  </a:lnTo>
                  <a:lnTo>
                    <a:pt x="438" y="120"/>
                  </a:lnTo>
                  <a:lnTo>
                    <a:pt x="438" y="120"/>
                  </a:lnTo>
                  <a:lnTo>
                    <a:pt x="435" y="123"/>
                  </a:lnTo>
                  <a:lnTo>
                    <a:pt x="435" y="126"/>
                  </a:lnTo>
                  <a:lnTo>
                    <a:pt x="435" y="126"/>
                  </a:lnTo>
                  <a:lnTo>
                    <a:pt x="435" y="129"/>
                  </a:lnTo>
                  <a:lnTo>
                    <a:pt x="438" y="131"/>
                  </a:lnTo>
                  <a:lnTo>
                    <a:pt x="438" y="134"/>
                  </a:lnTo>
                  <a:lnTo>
                    <a:pt x="438" y="137"/>
                  </a:lnTo>
                  <a:lnTo>
                    <a:pt x="438" y="137"/>
                  </a:lnTo>
                  <a:lnTo>
                    <a:pt x="438" y="137"/>
                  </a:lnTo>
                  <a:lnTo>
                    <a:pt x="438" y="142"/>
                  </a:lnTo>
                  <a:lnTo>
                    <a:pt x="435" y="145"/>
                  </a:lnTo>
                  <a:lnTo>
                    <a:pt x="435" y="147"/>
                  </a:lnTo>
                  <a:lnTo>
                    <a:pt x="435" y="147"/>
                  </a:lnTo>
                  <a:lnTo>
                    <a:pt x="435" y="147"/>
                  </a:lnTo>
                  <a:lnTo>
                    <a:pt x="435" y="147"/>
                  </a:lnTo>
                  <a:lnTo>
                    <a:pt x="435" y="150"/>
                  </a:lnTo>
                  <a:lnTo>
                    <a:pt x="435" y="150"/>
                  </a:lnTo>
                  <a:lnTo>
                    <a:pt x="435" y="150"/>
                  </a:lnTo>
                  <a:lnTo>
                    <a:pt x="435" y="153"/>
                  </a:lnTo>
                  <a:lnTo>
                    <a:pt x="435" y="153"/>
                  </a:lnTo>
                  <a:lnTo>
                    <a:pt x="435" y="155"/>
                  </a:lnTo>
                  <a:lnTo>
                    <a:pt x="435" y="155"/>
                  </a:lnTo>
                  <a:lnTo>
                    <a:pt x="435" y="158"/>
                  </a:lnTo>
                  <a:lnTo>
                    <a:pt x="435" y="158"/>
                  </a:lnTo>
                  <a:lnTo>
                    <a:pt x="435" y="158"/>
                  </a:lnTo>
                  <a:lnTo>
                    <a:pt x="435" y="161"/>
                  </a:lnTo>
                  <a:lnTo>
                    <a:pt x="435" y="161"/>
                  </a:lnTo>
                  <a:lnTo>
                    <a:pt x="435" y="161"/>
                  </a:lnTo>
                  <a:lnTo>
                    <a:pt x="435" y="161"/>
                  </a:lnTo>
                  <a:lnTo>
                    <a:pt x="435" y="163"/>
                  </a:lnTo>
                  <a:lnTo>
                    <a:pt x="433" y="169"/>
                  </a:lnTo>
                  <a:lnTo>
                    <a:pt x="430" y="171"/>
                  </a:lnTo>
                  <a:lnTo>
                    <a:pt x="427" y="177"/>
                  </a:lnTo>
                  <a:lnTo>
                    <a:pt x="425" y="182"/>
                  </a:lnTo>
                  <a:lnTo>
                    <a:pt x="425" y="182"/>
                  </a:lnTo>
                  <a:lnTo>
                    <a:pt x="425" y="182"/>
                  </a:lnTo>
                  <a:lnTo>
                    <a:pt x="425" y="182"/>
                  </a:lnTo>
                  <a:lnTo>
                    <a:pt x="425" y="182"/>
                  </a:lnTo>
                  <a:lnTo>
                    <a:pt x="425" y="185"/>
                  </a:lnTo>
                  <a:lnTo>
                    <a:pt x="425" y="185"/>
                  </a:lnTo>
                  <a:lnTo>
                    <a:pt x="422" y="190"/>
                  </a:lnTo>
                  <a:lnTo>
                    <a:pt x="422" y="190"/>
                  </a:lnTo>
                  <a:lnTo>
                    <a:pt x="422" y="190"/>
                  </a:lnTo>
                  <a:lnTo>
                    <a:pt x="419" y="193"/>
                  </a:lnTo>
                  <a:lnTo>
                    <a:pt x="419" y="193"/>
                  </a:lnTo>
                  <a:lnTo>
                    <a:pt x="419" y="193"/>
                  </a:lnTo>
                  <a:lnTo>
                    <a:pt x="417" y="193"/>
                  </a:lnTo>
                  <a:lnTo>
                    <a:pt x="417" y="195"/>
                  </a:lnTo>
                  <a:lnTo>
                    <a:pt x="417" y="198"/>
                  </a:lnTo>
                  <a:lnTo>
                    <a:pt x="417" y="198"/>
                  </a:lnTo>
                  <a:lnTo>
                    <a:pt x="417" y="198"/>
                  </a:lnTo>
                  <a:lnTo>
                    <a:pt x="414" y="201"/>
                  </a:lnTo>
                  <a:lnTo>
                    <a:pt x="411" y="201"/>
                  </a:lnTo>
                  <a:lnTo>
                    <a:pt x="411" y="201"/>
                  </a:lnTo>
                  <a:lnTo>
                    <a:pt x="411" y="203"/>
                  </a:lnTo>
                  <a:lnTo>
                    <a:pt x="411" y="201"/>
                  </a:lnTo>
                  <a:lnTo>
                    <a:pt x="409" y="201"/>
                  </a:lnTo>
                  <a:lnTo>
                    <a:pt x="409" y="201"/>
                  </a:lnTo>
                  <a:lnTo>
                    <a:pt x="409" y="201"/>
                  </a:lnTo>
                  <a:lnTo>
                    <a:pt x="409" y="201"/>
                  </a:lnTo>
                  <a:lnTo>
                    <a:pt x="409" y="201"/>
                  </a:lnTo>
                  <a:lnTo>
                    <a:pt x="409" y="201"/>
                  </a:lnTo>
                  <a:lnTo>
                    <a:pt x="406" y="201"/>
                  </a:lnTo>
                  <a:lnTo>
                    <a:pt x="406" y="206"/>
                  </a:lnTo>
                  <a:lnTo>
                    <a:pt x="403" y="211"/>
                  </a:lnTo>
                  <a:lnTo>
                    <a:pt x="401" y="217"/>
                  </a:lnTo>
                  <a:lnTo>
                    <a:pt x="398" y="222"/>
                  </a:lnTo>
                  <a:lnTo>
                    <a:pt x="398" y="222"/>
                  </a:lnTo>
                  <a:lnTo>
                    <a:pt x="398" y="222"/>
                  </a:lnTo>
                  <a:lnTo>
                    <a:pt x="395" y="222"/>
                  </a:lnTo>
                  <a:lnTo>
                    <a:pt x="393" y="222"/>
                  </a:lnTo>
                  <a:lnTo>
                    <a:pt x="387" y="219"/>
                  </a:lnTo>
                  <a:lnTo>
                    <a:pt x="382" y="217"/>
                  </a:lnTo>
                  <a:lnTo>
                    <a:pt x="382" y="217"/>
                  </a:lnTo>
                  <a:lnTo>
                    <a:pt x="382" y="219"/>
                  </a:lnTo>
                  <a:lnTo>
                    <a:pt x="379" y="225"/>
                  </a:lnTo>
                  <a:lnTo>
                    <a:pt x="377" y="227"/>
                  </a:lnTo>
                  <a:lnTo>
                    <a:pt x="377" y="227"/>
                  </a:lnTo>
                  <a:lnTo>
                    <a:pt x="377" y="227"/>
                  </a:lnTo>
                  <a:lnTo>
                    <a:pt x="377" y="230"/>
                  </a:lnTo>
                  <a:lnTo>
                    <a:pt x="377" y="230"/>
                  </a:lnTo>
                  <a:lnTo>
                    <a:pt x="377" y="233"/>
                  </a:lnTo>
                  <a:lnTo>
                    <a:pt x="377" y="235"/>
                  </a:lnTo>
                  <a:lnTo>
                    <a:pt x="374" y="235"/>
                  </a:lnTo>
                  <a:lnTo>
                    <a:pt x="377" y="243"/>
                  </a:lnTo>
                  <a:lnTo>
                    <a:pt x="377" y="243"/>
                  </a:lnTo>
                  <a:lnTo>
                    <a:pt x="374" y="243"/>
                  </a:lnTo>
                  <a:lnTo>
                    <a:pt x="374" y="246"/>
                  </a:lnTo>
                  <a:lnTo>
                    <a:pt x="374" y="246"/>
                  </a:lnTo>
                  <a:lnTo>
                    <a:pt x="371" y="249"/>
                  </a:lnTo>
                  <a:lnTo>
                    <a:pt x="371" y="249"/>
                  </a:lnTo>
                  <a:lnTo>
                    <a:pt x="371" y="251"/>
                  </a:lnTo>
                  <a:lnTo>
                    <a:pt x="371" y="251"/>
                  </a:lnTo>
                  <a:lnTo>
                    <a:pt x="371" y="254"/>
                  </a:lnTo>
                  <a:lnTo>
                    <a:pt x="369" y="257"/>
                  </a:lnTo>
                  <a:lnTo>
                    <a:pt x="369" y="259"/>
                  </a:lnTo>
                  <a:lnTo>
                    <a:pt x="369" y="259"/>
                  </a:lnTo>
                  <a:lnTo>
                    <a:pt x="369" y="259"/>
                  </a:lnTo>
                  <a:lnTo>
                    <a:pt x="369" y="259"/>
                  </a:lnTo>
                  <a:lnTo>
                    <a:pt x="369" y="265"/>
                  </a:lnTo>
                  <a:lnTo>
                    <a:pt x="369" y="265"/>
                  </a:lnTo>
                  <a:lnTo>
                    <a:pt x="369" y="267"/>
                  </a:lnTo>
                  <a:lnTo>
                    <a:pt x="366" y="270"/>
                  </a:lnTo>
                  <a:lnTo>
                    <a:pt x="366" y="275"/>
                  </a:lnTo>
                  <a:lnTo>
                    <a:pt x="361" y="281"/>
                  </a:lnTo>
                  <a:lnTo>
                    <a:pt x="361" y="281"/>
                  </a:lnTo>
                  <a:lnTo>
                    <a:pt x="361" y="281"/>
                  </a:lnTo>
                  <a:lnTo>
                    <a:pt x="361" y="281"/>
                  </a:lnTo>
                  <a:lnTo>
                    <a:pt x="353" y="281"/>
                  </a:lnTo>
                  <a:lnTo>
                    <a:pt x="347" y="281"/>
                  </a:lnTo>
                  <a:lnTo>
                    <a:pt x="342" y="278"/>
                  </a:lnTo>
                  <a:lnTo>
                    <a:pt x="337" y="278"/>
                  </a:lnTo>
                  <a:lnTo>
                    <a:pt x="337" y="278"/>
                  </a:lnTo>
                  <a:lnTo>
                    <a:pt x="337" y="278"/>
                  </a:lnTo>
                  <a:lnTo>
                    <a:pt x="337" y="278"/>
                  </a:lnTo>
                  <a:lnTo>
                    <a:pt x="337" y="275"/>
                  </a:lnTo>
                  <a:lnTo>
                    <a:pt x="337" y="275"/>
                  </a:lnTo>
                  <a:lnTo>
                    <a:pt x="337" y="275"/>
                  </a:lnTo>
                  <a:lnTo>
                    <a:pt x="337" y="275"/>
                  </a:lnTo>
                  <a:lnTo>
                    <a:pt x="337" y="275"/>
                  </a:lnTo>
                  <a:lnTo>
                    <a:pt x="329" y="267"/>
                  </a:lnTo>
                  <a:lnTo>
                    <a:pt x="329" y="267"/>
                  </a:lnTo>
                  <a:lnTo>
                    <a:pt x="329" y="267"/>
                  </a:lnTo>
                  <a:lnTo>
                    <a:pt x="329" y="267"/>
                  </a:lnTo>
                  <a:lnTo>
                    <a:pt x="318" y="265"/>
                  </a:lnTo>
                  <a:lnTo>
                    <a:pt x="318" y="265"/>
                  </a:lnTo>
                  <a:lnTo>
                    <a:pt x="318" y="267"/>
                  </a:lnTo>
                  <a:lnTo>
                    <a:pt x="318" y="267"/>
                  </a:lnTo>
                  <a:lnTo>
                    <a:pt x="318" y="270"/>
                  </a:lnTo>
                  <a:lnTo>
                    <a:pt x="318" y="270"/>
                  </a:lnTo>
                  <a:lnTo>
                    <a:pt x="318" y="273"/>
                  </a:lnTo>
                  <a:lnTo>
                    <a:pt x="318" y="273"/>
                  </a:lnTo>
                  <a:lnTo>
                    <a:pt x="318" y="273"/>
                  </a:lnTo>
                  <a:lnTo>
                    <a:pt x="318" y="275"/>
                  </a:lnTo>
                  <a:lnTo>
                    <a:pt x="318" y="275"/>
                  </a:lnTo>
                  <a:lnTo>
                    <a:pt x="315" y="278"/>
                  </a:lnTo>
                  <a:lnTo>
                    <a:pt x="315" y="281"/>
                  </a:lnTo>
                  <a:lnTo>
                    <a:pt x="315" y="281"/>
                  </a:lnTo>
                  <a:lnTo>
                    <a:pt x="315" y="286"/>
                  </a:lnTo>
                  <a:lnTo>
                    <a:pt x="315" y="289"/>
                  </a:lnTo>
                  <a:lnTo>
                    <a:pt x="315" y="289"/>
                  </a:lnTo>
                  <a:lnTo>
                    <a:pt x="315" y="291"/>
                  </a:lnTo>
                  <a:lnTo>
                    <a:pt x="315" y="294"/>
                  </a:lnTo>
                  <a:lnTo>
                    <a:pt x="315" y="297"/>
                  </a:lnTo>
                  <a:lnTo>
                    <a:pt x="313" y="299"/>
                  </a:lnTo>
                  <a:lnTo>
                    <a:pt x="313" y="299"/>
                  </a:lnTo>
                  <a:lnTo>
                    <a:pt x="310" y="299"/>
                  </a:lnTo>
                  <a:lnTo>
                    <a:pt x="310" y="299"/>
                  </a:lnTo>
                  <a:lnTo>
                    <a:pt x="310" y="302"/>
                  </a:lnTo>
                  <a:lnTo>
                    <a:pt x="310" y="302"/>
                  </a:lnTo>
                  <a:lnTo>
                    <a:pt x="310" y="305"/>
                  </a:lnTo>
                  <a:lnTo>
                    <a:pt x="310" y="305"/>
                  </a:lnTo>
                  <a:lnTo>
                    <a:pt x="307" y="308"/>
                  </a:lnTo>
                  <a:lnTo>
                    <a:pt x="307" y="308"/>
                  </a:lnTo>
                  <a:lnTo>
                    <a:pt x="310" y="310"/>
                  </a:lnTo>
                  <a:lnTo>
                    <a:pt x="310" y="310"/>
                  </a:lnTo>
                  <a:lnTo>
                    <a:pt x="310" y="310"/>
                  </a:lnTo>
                  <a:lnTo>
                    <a:pt x="310" y="313"/>
                  </a:lnTo>
                  <a:lnTo>
                    <a:pt x="310" y="313"/>
                  </a:lnTo>
                  <a:lnTo>
                    <a:pt x="310" y="313"/>
                  </a:lnTo>
                  <a:lnTo>
                    <a:pt x="307" y="316"/>
                  </a:lnTo>
                  <a:lnTo>
                    <a:pt x="305" y="318"/>
                  </a:lnTo>
                  <a:lnTo>
                    <a:pt x="305" y="318"/>
                  </a:lnTo>
                  <a:lnTo>
                    <a:pt x="302" y="324"/>
                  </a:lnTo>
                  <a:lnTo>
                    <a:pt x="299" y="329"/>
                  </a:lnTo>
                  <a:lnTo>
                    <a:pt x="299" y="329"/>
                  </a:lnTo>
                  <a:lnTo>
                    <a:pt x="299" y="329"/>
                  </a:lnTo>
                  <a:lnTo>
                    <a:pt x="299" y="332"/>
                  </a:lnTo>
                  <a:lnTo>
                    <a:pt x="299" y="332"/>
                  </a:lnTo>
                  <a:lnTo>
                    <a:pt x="299" y="332"/>
                  </a:lnTo>
                  <a:lnTo>
                    <a:pt x="299" y="342"/>
                  </a:lnTo>
                  <a:lnTo>
                    <a:pt x="297" y="348"/>
                  </a:lnTo>
                  <a:lnTo>
                    <a:pt x="294" y="353"/>
                  </a:lnTo>
                  <a:lnTo>
                    <a:pt x="291" y="358"/>
                  </a:lnTo>
                  <a:lnTo>
                    <a:pt x="286" y="366"/>
                  </a:lnTo>
                  <a:lnTo>
                    <a:pt x="283" y="372"/>
                  </a:lnTo>
                  <a:lnTo>
                    <a:pt x="281" y="377"/>
                  </a:lnTo>
                  <a:lnTo>
                    <a:pt x="275" y="385"/>
                  </a:lnTo>
                  <a:lnTo>
                    <a:pt x="275" y="385"/>
                  </a:lnTo>
                  <a:lnTo>
                    <a:pt x="275" y="388"/>
                  </a:lnTo>
                  <a:lnTo>
                    <a:pt x="275" y="388"/>
                  </a:lnTo>
                  <a:lnTo>
                    <a:pt x="273" y="396"/>
                  </a:lnTo>
                  <a:lnTo>
                    <a:pt x="270" y="404"/>
                  </a:lnTo>
                  <a:lnTo>
                    <a:pt x="270" y="404"/>
                  </a:lnTo>
                  <a:lnTo>
                    <a:pt x="270" y="406"/>
                  </a:lnTo>
                  <a:lnTo>
                    <a:pt x="270" y="406"/>
                  </a:lnTo>
                  <a:lnTo>
                    <a:pt x="270" y="406"/>
                  </a:lnTo>
                  <a:lnTo>
                    <a:pt x="273" y="406"/>
                  </a:lnTo>
                  <a:lnTo>
                    <a:pt x="273" y="406"/>
                  </a:lnTo>
                  <a:lnTo>
                    <a:pt x="278" y="409"/>
                  </a:lnTo>
                  <a:lnTo>
                    <a:pt x="278" y="409"/>
                  </a:lnTo>
                  <a:lnTo>
                    <a:pt x="278" y="409"/>
                  </a:lnTo>
                  <a:lnTo>
                    <a:pt x="278" y="412"/>
                  </a:lnTo>
                  <a:lnTo>
                    <a:pt x="278" y="412"/>
                  </a:lnTo>
                  <a:lnTo>
                    <a:pt x="278" y="412"/>
                  </a:lnTo>
                  <a:lnTo>
                    <a:pt x="278" y="414"/>
                  </a:lnTo>
                  <a:lnTo>
                    <a:pt x="275" y="414"/>
                  </a:lnTo>
                  <a:lnTo>
                    <a:pt x="273" y="417"/>
                  </a:lnTo>
                  <a:lnTo>
                    <a:pt x="273" y="417"/>
                  </a:lnTo>
                  <a:lnTo>
                    <a:pt x="273" y="417"/>
                  </a:lnTo>
                  <a:lnTo>
                    <a:pt x="273" y="420"/>
                  </a:lnTo>
                  <a:lnTo>
                    <a:pt x="270" y="420"/>
                  </a:lnTo>
                  <a:lnTo>
                    <a:pt x="270" y="422"/>
                  </a:lnTo>
                  <a:lnTo>
                    <a:pt x="270" y="422"/>
                  </a:lnTo>
                  <a:lnTo>
                    <a:pt x="273" y="422"/>
                  </a:lnTo>
                  <a:lnTo>
                    <a:pt x="273" y="422"/>
                  </a:lnTo>
                  <a:lnTo>
                    <a:pt x="273" y="422"/>
                  </a:lnTo>
                  <a:lnTo>
                    <a:pt x="273" y="425"/>
                  </a:lnTo>
                  <a:lnTo>
                    <a:pt x="275" y="425"/>
                  </a:lnTo>
                  <a:lnTo>
                    <a:pt x="275" y="425"/>
                  </a:lnTo>
                  <a:lnTo>
                    <a:pt x="275" y="428"/>
                  </a:lnTo>
                  <a:lnTo>
                    <a:pt x="273" y="428"/>
                  </a:lnTo>
                  <a:lnTo>
                    <a:pt x="262" y="438"/>
                  </a:lnTo>
                  <a:lnTo>
                    <a:pt x="259" y="441"/>
                  </a:lnTo>
                  <a:lnTo>
                    <a:pt x="259" y="441"/>
                  </a:lnTo>
                  <a:lnTo>
                    <a:pt x="256" y="441"/>
                  </a:lnTo>
                  <a:lnTo>
                    <a:pt x="256" y="441"/>
                  </a:lnTo>
                  <a:lnTo>
                    <a:pt x="256" y="441"/>
                  </a:lnTo>
                  <a:lnTo>
                    <a:pt x="256" y="441"/>
                  </a:lnTo>
                  <a:lnTo>
                    <a:pt x="256" y="441"/>
                  </a:lnTo>
                  <a:lnTo>
                    <a:pt x="254" y="441"/>
                  </a:lnTo>
                  <a:lnTo>
                    <a:pt x="254" y="441"/>
                  </a:lnTo>
                  <a:lnTo>
                    <a:pt x="254" y="441"/>
                  </a:lnTo>
                  <a:lnTo>
                    <a:pt x="254" y="438"/>
                  </a:lnTo>
                  <a:lnTo>
                    <a:pt x="254" y="438"/>
                  </a:lnTo>
                  <a:lnTo>
                    <a:pt x="254" y="438"/>
                  </a:lnTo>
                  <a:lnTo>
                    <a:pt x="254" y="438"/>
                  </a:lnTo>
                  <a:lnTo>
                    <a:pt x="251" y="438"/>
                  </a:lnTo>
                  <a:lnTo>
                    <a:pt x="251" y="438"/>
                  </a:lnTo>
                  <a:lnTo>
                    <a:pt x="248" y="438"/>
                  </a:lnTo>
                  <a:lnTo>
                    <a:pt x="246" y="438"/>
                  </a:lnTo>
                  <a:lnTo>
                    <a:pt x="243" y="441"/>
                  </a:lnTo>
                  <a:lnTo>
                    <a:pt x="238" y="446"/>
                  </a:lnTo>
                  <a:lnTo>
                    <a:pt x="232" y="449"/>
                  </a:lnTo>
                  <a:lnTo>
                    <a:pt x="227" y="454"/>
                  </a:lnTo>
                  <a:lnTo>
                    <a:pt x="227" y="454"/>
                  </a:lnTo>
                  <a:lnTo>
                    <a:pt x="227" y="454"/>
                  </a:lnTo>
                  <a:lnTo>
                    <a:pt x="227" y="454"/>
                  </a:lnTo>
                  <a:lnTo>
                    <a:pt x="227" y="454"/>
                  </a:lnTo>
                  <a:lnTo>
                    <a:pt x="227" y="454"/>
                  </a:lnTo>
                  <a:lnTo>
                    <a:pt x="224" y="454"/>
                  </a:lnTo>
                  <a:lnTo>
                    <a:pt x="224" y="452"/>
                  </a:lnTo>
                  <a:lnTo>
                    <a:pt x="224" y="452"/>
                  </a:lnTo>
                  <a:lnTo>
                    <a:pt x="224" y="452"/>
                  </a:lnTo>
                  <a:lnTo>
                    <a:pt x="222" y="452"/>
                  </a:lnTo>
                  <a:lnTo>
                    <a:pt x="222" y="452"/>
                  </a:lnTo>
                  <a:lnTo>
                    <a:pt x="222" y="452"/>
                  </a:lnTo>
                  <a:lnTo>
                    <a:pt x="222" y="452"/>
                  </a:lnTo>
                  <a:lnTo>
                    <a:pt x="222" y="449"/>
                  </a:lnTo>
                  <a:lnTo>
                    <a:pt x="219" y="449"/>
                  </a:lnTo>
                  <a:lnTo>
                    <a:pt x="219" y="449"/>
                  </a:lnTo>
                  <a:lnTo>
                    <a:pt x="216" y="449"/>
                  </a:lnTo>
                  <a:lnTo>
                    <a:pt x="216" y="449"/>
                  </a:lnTo>
                  <a:lnTo>
                    <a:pt x="214" y="449"/>
                  </a:lnTo>
                  <a:lnTo>
                    <a:pt x="214" y="452"/>
                  </a:lnTo>
                  <a:lnTo>
                    <a:pt x="214" y="452"/>
                  </a:lnTo>
                  <a:lnTo>
                    <a:pt x="211" y="452"/>
                  </a:lnTo>
                  <a:lnTo>
                    <a:pt x="211" y="454"/>
                  </a:lnTo>
                  <a:lnTo>
                    <a:pt x="211" y="454"/>
                  </a:lnTo>
                  <a:lnTo>
                    <a:pt x="211" y="454"/>
                  </a:lnTo>
                  <a:lnTo>
                    <a:pt x="211" y="454"/>
                  </a:lnTo>
                  <a:lnTo>
                    <a:pt x="211" y="457"/>
                  </a:lnTo>
                  <a:lnTo>
                    <a:pt x="211" y="457"/>
                  </a:lnTo>
                  <a:lnTo>
                    <a:pt x="214" y="460"/>
                  </a:lnTo>
                  <a:lnTo>
                    <a:pt x="214" y="460"/>
                  </a:lnTo>
                  <a:lnTo>
                    <a:pt x="214" y="462"/>
                  </a:lnTo>
                  <a:lnTo>
                    <a:pt x="214" y="462"/>
                  </a:lnTo>
                  <a:lnTo>
                    <a:pt x="214" y="465"/>
                  </a:lnTo>
                  <a:lnTo>
                    <a:pt x="214" y="465"/>
                  </a:lnTo>
                  <a:lnTo>
                    <a:pt x="206" y="470"/>
                  </a:lnTo>
                  <a:lnTo>
                    <a:pt x="206" y="470"/>
                  </a:lnTo>
                  <a:lnTo>
                    <a:pt x="206" y="470"/>
                  </a:lnTo>
                  <a:lnTo>
                    <a:pt x="203" y="470"/>
                  </a:lnTo>
                  <a:lnTo>
                    <a:pt x="203" y="470"/>
                  </a:lnTo>
                  <a:lnTo>
                    <a:pt x="200" y="470"/>
                  </a:lnTo>
                  <a:lnTo>
                    <a:pt x="198" y="473"/>
                  </a:lnTo>
                  <a:lnTo>
                    <a:pt x="198" y="473"/>
                  </a:lnTo>
                  <a:lnTo>
                    <a:pt x="187" y="476"/>
                  </a:lnTo>
                  <a:lnTo>
                    <a:pt x="179" y="481"/>
                  </a:lnTo>
                  <a:lnTo>
                    <a:pt x="176" y="484"/>
                  </a:lnTo>
                  <a:lnTo>
                    <a:pt x="176" y="481"/>
                  </a:lnTo>
                  <a:lnTo>
                    <a:pt x="176" y="481"/>
                  </a:lnTo>
                  <a:lnTo>
                    <a:pt x="176" y="481"/>
                  </a:lnTo>
                  <a:lnTo>
                    <a:pt x="176" y="481"/>
                  </a:lnTo>
                  <a:lnTo>
                    <a:pt x="176" y="481"/>
                  </a:lnTo>
                  <a:lnTo>
                    <a:pt x="174" y="481"/>
                  </a:lnTo>
                  <a:lnTo>
                    <a:pt x="174" y="479"/>
                  </a:lnTo>
                  <a:lnTo>
                    <a:pt x="168" y="476"/>
                  </a:lnTo>
                  <a:lnTo>
                    <a:pt x="166" y="476"/>
                  </a:lnTo>
                  <a:lnTo>
                    <a:pt x="166" y="476"/>
                  </a:lnTo>
                  <a:lnTo>
                    <a:pt x="163" y="473"/>
                  </a:lnTo>
                  <a:lnTo>
                    <a:pt x="163" y="473"/>
                  </a:lnTo>
                  <a:lnTo>
                    <a:pt x="163" y="473"/>
                  </a:lnTo>
                  <a:lnTo>
                    <a:pt x="160" y="473"/>
                  </a:lnTo>
                  <a:lnTo>
                    <a:pt x="160" y="473"/>
                  </a:lnTo>
                  <a:lnTo>
                    <a:pt x="158" y="473"/>
                  </a:lnTo>
                  <a:lnTo>
                    <a:pt x="158" y="473"/>
                  </a:lnTo>
                  <a:lnTo>
                    <a:pt x="158" y="476"/>
                  </a:lnTo>
                  <a:lnTo>
                    <a:pt x="158" y="476"/>
                  </a:lnTo>
                  <a:lnTo>
                    <a:pt x="158" y="479"/>
                  </a:lnTo>
                  <a:lnTo>
                    <a:pt x="158" y="479"/>
                  </a:lnTo>
                  <a:lnTo>
                    <a:pt x="155" y="481"/>
                  </a:lnTo>
                  <a:lnTo>
                    <a:pt x="155" y="481"/>
                  </a:lnTo>
                  <a:lnTo>
                    <a:pt x="155" y="484"/>
                  </a:lnTo>
                  <a:lnTo>
                    <a:pt x="150" y="484"/>
                  </a:lnTo>
                  <a:lnTo>
                    <a:pt x="147" y="484"/>
                  </a:lnTo>
                  <a:lnTo>
                    <a:pt x="147" y="484"/>
                  </a:lnTo>
                  <a:lnTo>
                    <a:pt x="147" y="487"/>
                  </a:lnTo>
                  <a:lnTo>
                    <a:pt x="142" y="492"/>
                  </a:lnTo>
                  <a:lnTo>
                    <a:pt x="142" y="495"/>
                  </a:lnTo>
                  <a:lnTo>
                    <a:pt x="142" y="495"/>
                  </a:lnTo>
                  <a:lnTo>
                    <a:pt x="139" y="495"/>
                  </a:lnTo>
                  <a:lnTo>
                    <a:pt x="131" y="495"/>
                  </a:lnTo>
                  <a:lnTo>
                    <a:pt x="131" y="495"/>
                  </a:lnTo>
                  <a:lnTo>
                    <a:pt x="126" y="495"/>
                  </a:lnTo>
                  <a:lnTo>
                    <a:pt x="123" y="492"/>
                  </a:lnTo>
                  <a:lnTo>
                    <a:pt x="123" y="492"/>
                  </a:lnTo>
                  <a:lnTo>
                    <a:pt x="120" y="492"/>
                  </a:lnTo>
                  <a:lnTo>
                    <a:pt x="118" y="489"/>
                  </a:lnTo>
                  <a:lnTo>
                    <a:pt x="118" y="489"/>
                  </a:lnTo>
                  <a:lnTo>
                    <a:pt x="118" y="489"/>
                  </a:lnTo>
                  <a:lnTo>
                    <a:pt x="118" y="487"/>
                  </a:lnTo>
                  <a:lnTo>
                    <a:pt x="118" y="487"/>
                  </a:lnTo>
                  <a:lnTo>
                    <a:pt x="115" y="487"/>
                  </a:lnTo>
                  <a:lnTo>
                    <a:pt x="112" y="487"/>
                  </a:lnTo>
                  <a:lnTo>
                    <a:pt x="112" y="487"/>
                  </a:lnTo>
                  <a:lnTo>
                    <a:pt x="110" y="489"/>
                  </a:lnTo>
                  <a:lnTo>
                    <a:pt x="110" y="487"/>
                  </a:lnTo>
                  <a:lnTo>
                    <a:pt x="107" y="487"/>
                  </a:lnTo>
                  <a:lnTo>
                    <a:pt x="107" y="487"/>
                  </a:lnTo>
                  <a:lnTo>
                    <a:pt x="107" y="487"/>
                  </a:lnTo>
                  <a:lnTo>
                    <a:pt x="107" y="487"/>
                  </a:lnTo>
                  <a:lnTo>
                    <a:pt x="104" y="484"/>
                  </a:lnTo>
                  <a:lnTo>
                    <a:pt x="104" y="484"/>
                  </a:lnTo>
                  <a:lnTo>
                    <a:pt x="104" y="481"/>
                  </a:lnTo>
                  <a:lnTo>
                    <a:pt x="102" y="481"/>
                  </a:lnTo>
                  <a:lnTo>
                    <a:pt x="96" y="479"/>
                  </a:lnTo>
                  <a:lnTo>
                    <a:pt x="96" y="479"/>
                  </a:lnTo>
                  <a:lnTo>
                    <a:pt x="96" y="479"/>
                  </a:lnTo>
                  <a:lnTo>
                    <a:pt x="96" y="476"/>
                  </a:lnTo>
                  <a:lnTo>
                    <a:pt x="96" y="476"/>
                  </a:lnTo>
                  <a:lnTo>
                    <a:pt x="94" y="476"/>
                  </a:lnTo>
                  <a:lnTo>
                    <a:pt x="94" y="473"/>
                  </a:lnTo>
                  <a:lnTo>
                    <a:pt x="94" y="470"/>
                  </a:lnTo>
                  <a:lnTo>
                    <a:pt x="94" y="470"/>
                  </a:lnTo>
                  <a:lnTo>
                    <a:pt x="94" y="470"/>
                  </a:lnTo>
                  <a:lnTo>
                    <a:pt x="94" y="470"/>
                  </a:lnTo>
                  <a:lnTo>
                    <a:pt x="94" y="468"/>
                  </a:lnTo>
                  <a:lnTo>
                    <a:pt x="94" y="468"/>
                  </a:lnTo>
                  <a:lnTo>
                    <a:pt x="94" y="468"/>
                  </a:lnTo>
                  <a:lnTo>
                    <a:pt x="88" y="465"/>
                  </a:lnTo>
                  <a:lnTo>
                    <a:pt x="88" y="465"/>
                  </a:lnTo>
                  <a:lnTo>
                    <a:pt x="88" y="465"/>
                  </a:lnTo>
                  <a:lnTo>
                    <a:pt x="88" y="465"/>
                  </a:lnTo>
                  <a:lnTo>
                    <a:pt x="88" y="462"/>
                  </a:lnTo>
                  <a:lnTo>
                    <a:pt x="88" y="462"/>
                  </a:lnTo>
                  <a:lnTo>
                    <a:pt x="91" y="460"/>
                  </a:lnTo>
                  <a:lnTo>
                    <a:pt x="91" y="460"/>
                  </a:lnTo>
                  <a:lnTo>
                    <a:pt x="91" y="460"/>
                  </a:lnTo>
                  <a:lnTo>
                    <a:pt x="91" y="460"/>
                  </a:lnTo>
                  <a:lnTo>
                    <a:pt x="91" y="460"/>
                  </a:lnTo>
                  <a:lnTo>
                    <a:pt x="91" y="457"/>
                  </a:lnTo>
                  <a:lnTo>
                    <a:pt x="91" y="457"/>
                  </a:lnTo>
                  <a:lnTo>
                    <a:pt x="88" y="457"/>
                  </a:lnTo>
                  <a:lnTo>
                    <a:pt x="88" y="457"/>
                  </a:lnTo>
                  <a:lnTo>
                    <a:pt x="88" y="454"/>
                  </a:lnTo>
                  <a:lnTo>
                    <a:pt x="86" y="454"/>
                  </a:lnTo>
                  <a:lnTo>
                    <a:pt x="86" y="454"/>
                  </a:lnTo>
                  <a:lnTo>
                    <a:pt x="80" y="457"/>
                  </a:lnTo>
                  <a:lnTo>
                    <a:pt x="80" y="457"/>
                  </a:lnTo>
                  <a:lnTo>
                    <a:pt x="70" y="454"/>
                  </a:lnTo>
                  <a:lnTo>
                    <a:pt x="70" y="454"/>
                  </a:lnTo>
                  <a:lnTo>
                    <a:pt x="67" y="454"/>
                  </a:lnTo>
                  <a:lnTo>
                    <a:pt x="67" y="452"/>
                  </a:lnTo>
                  <a:lnTo>
                    <a:pt x="67" y="452"/>
                  </a:lnTo>
                  <a:lnTo>
                    <a:pt x="67" y="452"/>
                  </a:lnTo>
                  <a:lnTo>
                    <a:pt x="67" y="452"/>
                  </a:lnTo>
                  <a:lnTo>
                    <a:pt x="67" y="449"/>
                  </a:lnTo>
                  <a:lnTo>
                    <a:pt x="67" y="449"/>
                  </a:lnTo>
                  <a:lnTo>
                    <a:pt x="62" y="446"/>
                  </a:lnTo>
                  <a:lnTo>
                    <a:pt x="62" y="446"/>
                  </a:lnTo>
                  <a:lnTo>
                    <a:pt x="62" y="446"/>
                  </a:lnTo>
                  <a:lnTo>
                    <a:pt x="59" y="446"/>
                  </a:lnTo>
                  <a:lnTo>
                    <a:pt x="59" y="446"/>
                  </a:lnTo>
                  <a:lnTo>
                    <a:pt x="56" y="444"/>
                  </a:lnTo>
                  <a:lnTo>
                    <a:pt x="56" y="444"/>
                  </a:lnTo>
                  <a:lnTo>
                    <a:pt x="56" y="444"/>
                  </a:lnTo>
                  <a:lnTo>
                    <a:pt x="54" y="444"/>
                  </a:lnTo>
                  <a:lnTo>
                    <a:pt x="48" y="441"/>
                  </a:lnTo>
                  <a:lnTo>
                    <a:pt x="48" y="441"/>
                  </a:lnTo>
                  <a:lnTo>
                    <a:pt x="48" y="441"/>
                  </a:lnTo>
                  <a:lnTo>
                    <a:pt x="48" y="438"/>
                  </a:lnTo>
                  <a:lnTo>
                    <a:pt x="46" y="436"/>
                  </a:lnTo>
                  <a:lnTo>
                    <a:pt x="46" y="433"/>
                  </a:lnTo>
                  <a:lnTo>
                    <a:pt x="46" y="433"/>
                  </a:lnTo>
                  <a:lnTo>
                    <a:pt x="43" y="433"/>
                  </a:lnTo>
                  <a:lnTo>
                    <a:pt x="43" y="430"/>
                  </a:lnTo>
                  <a:lnTo>
                    <a:pt x="32" y="425"/>
                  </a:lnTo>
                  <a:lnTo>
                    <a:pt x="32" y="422"/>
                  </a:lnTo>
                  <a:lnTo>
                    <a:pt x="32" y="422"/>
                  </a:lnTo>
                  <a:lnTo>
                    <a:pt x="32" y="422"/>
                  </a:lnTo>
                  <a:lnTo>
                    <a:pt x="32" y="417"/>
                  </a:lnTo>
                  <a:lnTo>
                    <a:pt x="30" y="417"/>
                  </a:lnTo>
                  <a:lnTo>
                    <a:pt x="30" y="414"/>
                  </a:lnTo>
                  <a:lnTo>
                    <a:pt x="30" y="414"/>
                  </a:lnTo>
                  <a:lnTo>
                    <a:pt x="30" y="414"/>
                  </a:lnTo>
                  <a:lnTo>
                    <a:pt x="27" y="414"/>
                  </a:lnTo>
                  <a:lnTo>
                    <a:pt x="22" y="412"/>
                  </a:lnTo>
                  <a:lnTo>
                    <a:pt x="22" y="409"/>
                  </a:lnTo>
                  <a:lnTo>
                    <a:pt x="22" y="409"/>
                  </a:lnTo>
                  <a:lnTo>
                    <a:pt x="22" y="409"/>
                  </a:lnTo>
                  <a:lnTo>
                    <a:pt x="22" y="406"/>
                  </a:lnTo>
                  <a:lnTo>
                    <a:pt x="24" y="406"/>
                  </a:lnTo>
                  <a:lnTo>
                    <a:pt x="24" y="406"/>
                  </a:lnTo>
                  <a:lnTo>
                    <a:pt x="22" y="404"/>
                  </a:lnTo>
                  <a:lnTo>
                    <a:pt x="22" y="404"/>
                  </a:lnTo>
                  <a:lnTo>
                    <a:pt x="22" y="404"/>
                  </a:lnTo>
                  <a:lnTo>
                    <a:pt x="22" y="404"/>
                  </a:lnTo>
                  <a:lnTo>
                    <a:pt x="14" y="398"/>
                  </a:lnTo>
                  <a:lnTo>
                    <a:pt x="14" y="398"/>
                  </a:lnTo>
                  <a:lnTo>
                    <a:pt x="14" y="396"/>
                  </a:lnTo>
                  <a:lnTo>
                    <a:pt x="11" y="393"/>
                  </a:lnTo>
                  <a:lnTo>
                    <a:pt x="11" y="393"/>
                  </a:lnTo>
                  <a:lnTo>
                    <a:pt x="0" y="382"/>
                  </a:lnTo>
                  <a:lnTo>
                    <a:pt x="0" y="382"/>
                  </a:lnTo>
                  <a:lnTo>
                    <a:pt x="0" y="380"/>
                  </a:lnTo>
                  <a:lnTo>
                    <a:pt x="0" y="380"/>
                  </a:lnTo>
                  <a:lnTo>
                    <a:pt x="0" y="380"/>
                  </a:lnTo>
                  <a:lnTo>
                    <a:pt x="0" y="380"/>
                  </a:lnTo>
                  <a:lnTo>
                    <a:pt x="0" y="380"/>
                  </a:lnTo>
                  <a:lnTo>
                    <a:pt x="3" y="377"/>
                  </a:lnTo>
                  <a:lnTo>
                    <a:pt x="3" y="377"/>
                  </a:lnTo>
                  <a:lnTo>
                    <a:pt x="3" y="374"/>
                  </a:lnTo>
                  <a:lnTo>
                    <a:pt x="3" y="374"/>
                  </a:lnTo>
                  <a:lnTo>
                    <a:pt x="3" y="374"/>
                  </a:lnTo>
                  <a:lnTo>
                    <a:pt x="3" y="372"/>
                  </a:lnTo>
                  <a:lnTo>
                    <a:pt x="3" y="372"/>
                  </a:lnTo>
                  <a:lnTo>
                    <a:pt x="3" y="372"/>
                  </a:lnTo>
                  <a:lnTo>
                    <a:pt x="3" y="369"/>
                  </a:lnTo>
                  <a:lnTo>
                    <a:pt x="3" y="369"/>
                  </a:lnTo>
                  <a:lnTo>
                    <a:pt x="6" y="369"/>
                  </a:lnTo>
                  <a:lnTo>
                    <a:pt x="6" y="369"/>
                  </a:lnTo>
                  <a:lnTo>
                    <a:pt x="6" y="369"/>
                  </a:lnTo>
                  <a:lnTo>
                    <a:pt x="6" y="369"/>
                  </a:lnTo>
                  <a:lnTo>
                    <a:pt x="6" y="366"/>
                  </a:lnTo>
                  <a:lnTo>
                    <a:pt x="6" y="366"/>
                  </a:lnTo>
                  <a:lnTo>
                    <a:pt x="6" y="364"/>
                  </a:lnTo>
                  <a:lnTo>
                    <a:pt x="6" y="361"/>
                  </a:lnTo>
                  <a:lnTo>
                    <a:pt x="6" y="361"/>
                  </a:lnTo>
                  <a:lnTo>
                    <a:pt x="3" y="358"/>
                  </a:lnTo>
                  <a:lnTo>
                    <a:pt x="3" y="358"/>
                  </a:lnTo>
                  <a:lnTo>
                    <a:pt x="0" y="353"/>
                  </a:lnTo>
                  <a:lnTo>
                    <a:pt x="0" y="353"/>
                  </a:lnTo>
                  <a:lnTo>
                    <a:pt x="0" y="353"/>
                  </a:lnTo>
                  <a:lnTo>
                    <a:pt x="0" y="350"/>
                  </a:lnTo>
                  <a:lnTo>
                    <a:pt x="0" y="348"/>
                  </a:lnTo>
                  <a:lnTo>
                    <a:pt x="0" y="345"/>
                  </a:lnTo>
                  <a:lnTo>
                    <a:pt x="0" y="345"/>
                  </a:lnTo>
                  <a:lnTo>
                    <a:pt x="0" y="345"/>
                  </a:lnTo>
                  <a:lnTo>
                    <a:pt x="3" y="348"/>
                  </a:lnTo>
                  <a:lnTo>
                    <a:pt x="8" y="345"/>
                  </a:lnTo>
                  <a:lnTo>
                    <a:pt x="16" y="340"/>
                  </a:lnTo>
                  <a:lnTo>
                    <a:pt x="24" y="340"/>
                  </a:lnTo>
                  <a:lnTo>
                    <a:pt x="27" y="337"/>
                  </a:lnTo>
                  <a:lnTo>
                    <a:pt x="30" y="334"/>
                  </a:lnTo>
                  <a:lnTo>
                    <a:pt x="30" y="332"/>
                  </a:lnTo>
                  <a:lnTo>
                    <a:pt x="30" y="318"/>
                  </a:lnTo>
                  <a:lnTo>
                    <a:pt x="30" y="316"/>
                  </a:lnTo>
                  <a:lnTo>
                    <a:pt x="32" y="316"/>
                  </a:lnTo>
                  <a:lnTo>
                    <a:pt x="38" y="316"/>
                  </a:lnTo>
                  <a:lnTo>
                    <a:pt x="40" y="313"/>
                  </a:lnTo>
                  <a:lnTo>
                    <a:pt x="40" y="310"/>
                  </a:lnTo>
                  <a:lnTo>
                    <a:pt x="40" y="310"/>
                  </a:lnTo>
                  <a:lnTo>
                    <a:pt x="40" y="308"/>
                  </a:lnTo>
                  <a:lnTo>
                    <a:pt x="40" y="308"/>
                  </a:lnTo>
                  <a:lnTo>
                    <a:pt x="38" y="305"/>
                  </a:lnTo>
                  <a:lnTo>
                    <a:pt x="38" y="302"/>
                  </a:lnTo>
                  <a:lnTo>
                    <a:pt x="38" y="299"/>
                  </a:lnTo>
                  <a:lnTo>
                    <a:pt x="38" y="297"/>
                  </a:lnTo>
                  <a:lnTo>
                    <a:pt x="35" y="294"/>
                  </a:lnTo>
                  <a:lnTo>
                    <a:pt x="35" y="294"/>
                  </a:lnTo>
                  <a:lnTo>
                    <a:pt x="32" y="291"/>
                  </a:lnTo>
                  <a:lnTo>
                    <a:pt x="32" y="289"/>
                  </a:lnTo>
                  <a:lnTo>
                    <a:pt x="35" y="286"/>
                  </a:lnTo>
                  <a:lnTo>
                    <a:pt x="38" y="283"/>
                  </a:lnTo>
                  <a:lnTo>
                    <a:pt x="38" y="281"/>
                  </a:lnTo>
                  <a:lnTo>
                    <a:pt x="38" y="278"/>
                  </a:lnTo>
                  <a:lnTo>
                    <a:pt x="38" y="275"/>
                  </a:lnTo>
                  <a:lnTo>
                    <a:pt x="38" y="270"/>
                  </a:lnTo>
                  <a:lnTo>
                    <a:pt x="40" y="267"/>
                  </a:lnTo>
                  <a:lnTo>
                    <a:pt x="43" y="259"/>
                  </a:lnTo>
                  <a:lnTo>
                    <a:pt x="46" y="254"/>
                  </a:lnTo>
                  <a:lnTo>
                    <a:pt x="48" y="251"/>
                  </a:lnTo>
                  <a:lnTo>
                    <a:pt x="51" y="251"/>
                  </a:lnTo>
                  <a:lnTo>
                    <a:pt x="54" y="251"/>
                  </a:lnTo>
                  <a:lnTo>
                    <a:pt x="54" y="254"/>
                  </a:lnTo>
                  <a:lnTo>
                    <a:pt x="59" y="254"/>
                  </a:lnTo>
                  <a:lnTo>
                    <a:pt x="59" y="257"/>
                  </a:lnTo>
                  <a:lnTo>
                    <a:pt x="62" y="259"/>
                  </a:lnTo>
                  <a:lnTo>
                    <a:pt x="62" y="259"/>
                  </a:lnTo>
                  <a:lnTo>
                    <a:pt x="62" y="262"/>
                  </a:lnTo>
                  <a:lnTo>
                    <a:pt x="64" y="262"/>
                  </a:lnTo>
                  <a:lnTo>
                    <a:pt x="64" y="262"/>
                  </a:lnTo>
                  <a:lnTo>
                    <a:pt x="64" y="262"/>
                  </a:lnTo>
                  <a:lnTo>
                    <a:pt x="62" y="265"/>
                  </a:lnTo>
                  <a:lnTo>
                    <a:pt x="62" y="265"/>
                  </a:lnTo>
                  <a:lnTo>
                    <a:pt x="62" y="265"/>
                  </a:lnTo>
                  <a:lnTo>
                    <a:pt x="62" y="267"/>
                  </a:lnTo>
                  <a:lnTo>
                    <a:pt x="62" y="267"/>
                  </a:lnTo>
                  <a:lnTo>
                    <a:pt x="62" y="267"/>
                  </a:lnTo>
                  <a:lnTo>
                    <a:pt x="62" y="270"/>
                  </a:lnTo>
                  <a:lnTo>
                    <a:pt x="64" y="270"/>
                  </a:lnTo>
                  <a:lnTo>
                    <a:pt x="67" y="267"/>
                  </a:lnTo>
                  <a:lnTo>
                    <a:pt x="70" y="265"/>
                  </a:lnTo>
                  <a:lnTo>
                    <a:pt x="70" y="265"/>
                  </a:lnTo>
                  <a:lnTo>
                    <a:pt x="70" y="259"/>
                  </a:lnTo>
                  <a:lnTo>
                    <a:pt x="70" y="259"/>
                  </a:lnTo>
                  <a:lnTo>
                    <a:pt x="72" y="257"/>
                  </a:lnTo>
                  <a:lnTo>
                    <a:pt x="72" y="257"/>
                  </a:lnTo>
                  <a:lnTo>
                    <a:pt x="75" y="259"/>
                  </a:lnTo>
                  <a:lnTo>
                    <a:pt x="75" y="259"/>
                  </a:lnTo>
                  <a:lnTo>
                    <a:pt x="78" y="259"/>
                  </a:lnTo>
                  <a:lnTo>
                    <a:pt x="78" y="257"/>
                  </a:lnTo>
                  <a:lnTo>
                    <a:pt x="78" y="257"/>
                  </a:lnTo>
                  <a:lnTo>
                    <a:pt x="75" y="254"/>
                  </a:lnTo>
                  <a:lnTo>
                    <a:pt x="75" y="249"/>
                  </a:lnTo>
                  <a:lnTo>
                    <a:pt x="75" y="246"/>
                  </a:lnTo>
                  <a:lnTo>
                    <a:pt x="72" y="246"/>
                  </a:lnTo>
                  <a:lnTo>
                    <a:pt x="72" y="246"/>
                  </a:lnTo>
                  <a:lnTo>
                    <a:pt x="72" y="243"/>
                  </a:lnTo>
                  <a:lnTo>
                    <a:pt x="70" y="243"/>
                  </a:lnTo>
                  <a:lnTo>
                    <a:pt x="70" y="243"/>
                  </a:lnTo>
                  <a:lnTo>
                    <a:pt x="70" y="241"/>
                  </a:lnTo>
                  <a:lnTo>
                    <a:pt x="70" y="241"/>
                  </a:lnTo>
                  <a:lnTo>
                    <a:pt x="70" y="241"/>
                  </a:lnTo>
                  <a:lnTo>
                    <a:pt x="75" y="238"/>
                  </a:lnTo>
                  <a:lnTo>
                    <a:pt x="75" y="235"/>
                  </a:lnTo>
                  <a:lnTo>
                    <a:pt x="75" y="233"/>
                  </a:lnTo>
                  <a:lnTo>
                    <a:pt x="75" y="227"/>
                  </a:lnTo>
                  <a:lnTo>
                    <a:pt x="75" y="225"/>
                  </a:lnTo>
                  <a:lnTo>
                    <a:pt x="75" y="225"/>
                  </a:lnTo>
                  <a:lnTo>
                    <a:pt x="78" y="217"/>
                  </a:lnTo>
                  <a:lnTo>
                    <a:pt x="80" y="211"/>
                  </a:lnTo>
                  <a:lnTo>
                    <a:pt x="80" y="211"/>
                  </a:lnTo>
                  <a:lnTo>
                    <a:pt x="83" y="211"/>
                  </a:lnTo>
                  <a:lnTo>
                    <a:pt x="86" y="209"/>
                  </a:lnTo>
                  <a:lnTo>
                    <a:pt x="88" y="209"/>
                  </a:lnTo>
                  <a:lnTo>
                    <a:pt x="88" y="209"/>
                  </a:lnTo>
                  <a:lnTo>
                    <a:pt x="88" y="209"/>
                  </a:lnTo>
                  <a:lnTo>
                    <a:pt x="88" y="209"/>
                  </a:lnTo>
                  <a:lnTo>
                    <a:pt x="91" y="209"/>
                  </a:lnTo>
                  <a:lnTo>
                    <a:pt x="91" y="206"/>
                  </a:lnTo>
                  <a:lnTo>
                    <a:pt x="91" y="201"/>
                  </a:lnTo>
                  <a:lnTo>
                    <a:pt x="91" y="198"/>
                  </a:lnTo>
                  <a:lnTo>
                    <a:pt x="99" y="190"/>
                  </a:lnTo>
                  <a:lnTo>
                    <a:pt x="99" y="190"/>
                  </a:lnTo>
                  <a:lnTo>
                    <a:pt x="104" y="187"/>
                  </a:lnTo>
                  <a:lnTo>
                    <a:pt x="107" y="190"/>
                  </a:lnTo>
                  <a:lnTo>
                    <a:pt x="107" y="193"/>
                  </a:lnTo>
                  <a:lnTo>
                    <a:pt x="110" y="193"/>
                  </a:lnTo>
                  <a:lnTo>
                    <a:pt x="112" y="195"/>
                  </a:lnTo>
                  <a:lnTo>
                    <a:pt x="115" y="195"/>
                  </a:lnTo>
                  <a:lnTo>
                    <a:pt x="118" y="190"/>
                  </a:lnTo>
                  <a:lnTo>
                    <a:pt x="120" y="190"/>
                  </a:lnTo>
                  <a:lnTo>
                    <a:pt x="123" y="187"/>
                  </a:lnTo>
                  <a:lnTo>
                    <a:pt x="123" y="187"/>
                  </a:lnTo>
                  <a:lnTo>
                    <a:pt x="126" y="185"/>
                  </a:lnTo>
                  <a:lnTo>
                    <a:pt x="128" y="185"/>
                  </a:lnTo>
                  <a:lnTo>
                    <a:pt x="131" y="179"/>
                  </a:lnTo>
                  <a:lnTo>
                    <a:pt x="131" y="179"/>
                  </a:lnTo>
                  <a:lnTo>
                    <a:pt x="136" y="177"/>
                  </a:lnTo>
                  <a:lnTo>
                    <a:pt x="136" y="174"/>
                  </a:lnTo>
                  <a:lnTo>
                    <a:pt x="139" y="169"/>
                  </a:lnTo>
                  <a:lnTo>
                    <a:pt x="142" y="163"/>
                  </a:lnTo>
                  <a:lnTo>
                    <a:pt x="152" y="153"/>
                  </a:lnTo>
                  <a:lnTo>
                    <a:pt x="158" y="147"/>
                  </a:lnTo>
                  <a:lnTo>
                    <a:pt x="158" y="147"/>
                  </a:lnTo>
                  <a:lnTo>
                    <a:pt x="160" y="142"/>
                  </a:lnTo>
                  <a:lnTo>
                    <a:pt x="160" y="142"/>
                  </a:lnTo>
                  <a:lnTo>
                    <a:pt x="158" y="139"/>
                  </a:lnTo>
                  <a:lnTo>
                    <a:pt x="158" y="139"/>
                  </a:lnTo>
                  <a:lnTo>
                    <a:pt x="158" y="139"/>
                  </a:lnTo>
                  <a:lnTo>
                    <a:pt x="160" y="137"/>
                  </a:lnTo>
                  <a:lnTo>
                    <a:pt x="160" y="134"/>
                  </a:lnTo>
                  <a:lnTo>
                    <a:pt x="160" y="131"/>
                  </a:lnTo>
                  <a:lnTo>
                    <a:pt x="158" y="131"/>
                  </a:lnTo>
                  <a:lnTo>
                    <a:pt x="158" y="129"/>
                  </a:lnTo>
                  <a:lnTo>
                    <a:pt x="155" y="129"/>
                  </a:lnTo>
                  <a:lnTo>
                    <a:pt x="155" y="126"/>
                  </a:lnTo>
                  <a:lnTo>
                    <a:pt x="158" y="126"/>
                  </a:lnTo>
                  <a:lnTo>
                    <a:pt x="158" y="123"/>
                  </a:lnTo>
                  <a:lnTo>
                    <a:pt x="158" y="120"/>
                  </a:lnTo>
                  <a:lnTo>
                    <a:pt x="158" y="118"/>
                  </a:lnTo>
                  <a:lnTo>
                    <a:pt x="160" y="118"/>
                  </a:lnTo>
                  <a:lnTo>
                    <a:pt x="160" y="115"/>
                  </a:lnTo>
                  <a:lnTo>
                    <a:pt x="160" y="112"/>
                  </a:lnTo>
                  <a:lnTo>
                    <a:pt x="160" y="112"/>
                  </a:lnTo>
                  <a:lnTo>
                    <a:pt x="160" y="110"/>
                  </a:lnTo>
                  <a:lnTo>
                    <a:pt x="160" y="110"/>
                  </a:lnTo>
                  <a:lnTo>
                    <a:pt x="160" y="107"/>
                  </a:lnTo>
                  <a:lnTo>
                    <a:pt x="160" y="104"/>
                  </a:lnTo>
                  <a:lnTo>
                    <a:pt x="160" y="104"/>
                  </a:lnTo>
                  <a:lnTo>
                    <a:pt x="163" y="107"/>
                  </a:lnTo>
                  <a:lnTo>
                    <a:pt x="163" y="104"/>
                  </a:lnTo>
                  <a:lnTo>
                    <a:pt x="163" y="104"/>
                  </a:lnTo>
                  <a:lnTo>
                    <a:pt x="163" y="102"/>
                  </a:lnTo>
                  <a:lnTo>
                    <a:pt x="163" y="102"/>
                  </a:lnTo>
                  <a:lnTo>
                    <a:pt x="163" y="102"/>
                  </a:lnTo>
                  <a:lnTo>
                    <a:pt x="163" y="99"/>
                  </a:lnTo>
                  <a:lnTo>
                    <a:pt x="163" y="96"/>
                  </a:lnTo>
                  <a:lnTo>
                    <a:pt x="163" y="94"/>
                  </a:lnTo>
                  <a:lnTo>
                    <a:pt x="163" y="91"/>
                  </a:lnTo>
                  <a:lnTo>
                    <a:pt x="163" y="86"/>
                  </a:lnTo>
                  <a:lnTo>
                    <a:pt x="163" y="83"/>
                  </a:lnTo>
                  <a:lnTo>
                    <a:pt x="163" y="80"/>
                  </a:lnTo>
                  <a:lnTo>
                    <a:pt x="166" y="75"/>
                  </a:lnTo>
                  <a:lnTo>
                    <a:pt x="166" y="72"/>
                  </a:lnTo>
                  <a:lnTo>
                    <a:pt x="166" y="67"/>
                  </a:lnTo>
                  <a:lnTo>
                    <a:pt x="166" y="64"/>
                  </a:lnTo>
                  <a:lnTo>
                    <a:pt x="166" y="56"/>
                  </a:lnTo>
                  <a:lnTo>
                    <a:pt x="168" y="56"/>
                  </a:lnTo>
                  <a:lnTo>
                    <a:pt x="171" y="54"/>
                  </a:lnTo>
                  <a:lnTo>
                    <a:pt x="171" y="54"/>
                  </a:lnTo>
                  <a:lnTo>
                    <a:pt x="171" y="48"/>
                  </a:lnTo>
                  <a:lnTo>
                    <a:pt x="171" y="48"/>
                  </a:lnTo>
                  <a:lnTo>
                    <a:pt x="171" y="46"/>
                  </a:lnTo>
                  <a:lnTo>
                    <a:pt x="168" y="43"/>
                  </a:lnTo>
                  <a:lnTo>
                    <a:pt x="168" y="40"/>
                  </a:lnTo>
                  <a:lnTo>
                    <a:pt x="168" y="40"/>
                  </a:lnTo>
                  <a:lnTo>
                    <a:pt x="168" y="40"/>
                  </a:lnTo>
                  <a:lnTo>
                    <a:pt x="168" y="40"/>
                  </a:lnTo>
                  <a:lnTo>
                    <a:pt x="168" y="38"/>
                  </a:lnTo>
                  <a:lnTo>
                    <a:pt x="168" y="38"/>
                  </a:lnTo>
                  <a:lnTo>
                    <a:pt x="166" y="38"/>
                  </a:lnTo>
                  <a:lnTo>
                    <a:pt x="166" y="35"/>
                  </a:lnTo>
                  <a:lnTo>
                    <a:pt x="168" y="30"/>
                  </a:lnTo>
                  <a:lnTo>
                    <a:pt x="168" y="27"/>
                  </a:lnTo>
                  <a:lnTo>
                    <a:pt x="166" y="24"/>
                  </a:lnTo>
                  <a:lnTo>
                    <a:pt x="166" y="22"/>
                  </a:lnTo>
                  <a:lnTo>
                    <a:pt x="163" y="19"/>
                  </a:lnTo>
                  <a:lnTo>
                    <a:pt x="158" y="14"/>
                  </a:lnTo>
                  <a:lnTo>
                    <a:pt x="158" y="11"/>
                  </a:lnTo>
                  <a:lnTo>
                    <a:pt x="158" y="8"/>
                  </a:lnTo>
                  <a:lnTo>
                    <a:pt x="160" y="8"/>
                  </a:lnTo>
                  <a:lnTo>
                    <a:pt x="160" y="6"/>
                  </a:lnTo>
                  <a:lnTo>
                    <a:pt x="166" y="6"/>
                  </a:lnTo>
                  <a:lnTo>
                    <a:pt x="166" y="6"/>
                  </a:lnTo>
                  <a:lnTo>
                    <a:pt x="171" y="3"/>
                  </a:lnTo>
                  <a:lnTo>
                    <a:pt x="171" y="0"/>
                  </a:lnTo>
                  <a:lnTo>
                    <a:pt x="171" y="0"/>
                  </a:lnTo>
                  <a:lnTo>
                    <a:pt x="171" y="0"/>
                  </a:lnTo>
                  <a:lnTo>
                    <a:pt x="171" y="0"/>
                  </a:lnTo>
                  <a:lnTo>
                    <a:pt x="171" y="0"/>
                  </a:lnTo>
                  <a:lnTo>
                    <a:pt x="171" y="3"/>
                  </a:lnTo>
                  <a:lnTo>
                    <a:pt x="171" y="3"/>
                  </a:lnTo>
                  <a:lnTo>
                    <a:pt x="171" y="3"/>
                  </a:lnTo>
                  <a:lnTo>
                    <a:pt x="171" y="3"/>
                  </a:lnTo>
                  <a:lnTo>
                    <a:pt x="174" y="14"/>
                  </a:lnTo>
                  <a:lnTo>
                    <a:pt x="176" y="24"/>
                  </a:lnTo>
                  <a:lnTo>
                    <a:pt x="179" y="35"/>
                  </a:lnTo>
                  <a:lnTo>
                    <a:pt x="179" y="46"/>
                  </a:lnTo>
                  <a:lnTo>
                    <a:pt x="182" y="56"/>
                  </a:lnTo>
                  <a:lnTo>
                    <a:pt x="184" y="67"/>
                  </a:lnTo>
                  <a:lnTo>
                    <a:pt x="187" y="78"/>
                  </a:lnTo>
                  <a:lnTo>
                    <a:pt x="187" y="91"/>
                  </a:lnTo>
                  <a:lnTo>
                    <a:pt x="190" y="99"/>
                  </a:lnTo>
                  <a:lnTo>
                    <a:pt x="192" y="110"/>
                  </a:lnTo>
                  <a:lnTo>
                    <a:pt x="192" y="118"/>
                  </a:lnTo>
                  <a:lnTo>
                    <a:pt x="195" y="129"/>
                  </a:lnTo>
                  <a:lnTo>
                    <a:pt x="208" y="126"/>
                  </a:lnTo>
                  <a:lnTo>
                    <a:pt x="222" y="123"/>
                  </a:lnTo>
                  <a:lnTo>
                    <a:pt x="238" y="120"/>
                  </a:lnTo>
                  <a:lnTo>
                    <a:pt x="251" y="118"/>
                  </a:lnTo>
                  <a:lnTo>
                    <a:pt x="265" y="115"/>
                  </a:lnTo>
                  <a:lnTo>
                    <a:pt x="278" y="112"/>
                  </a:lnTo>
                  <a:lnTo>
                    <a:pt x="294" y="110"/>
                  </a:lnTo>
                  <a:lnTo>
                    <a:pt x="307" y="107"/>
                  </a:lnTo>
                  <a:lnTo>
                    <a:pt x="307" y="107"/>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09" name="Freeform 7">
              <a:extLst>
                <a:ext uri="{FF2B5EF4-FFF2-40B4-BE49-F238E27FC236}">
                  <a16:creationId xmlns="" xmlns:a16="http://schemas.microsoft.com/office/drawing/2014/main" id="{EF62BC0E-F82B-447C-A2F2-38AD69B1DC2C}"/>
                </a:ext>
              </a:extLst>
            </p:cNvPr>
            <p:cNvSpPr>
              <a:spLocks noEditPoints="1"/>
            </p:cNvSpPr>
            <p:nvPr/>
          </p:nvSpPr>
          <p:spPr bwMode="auto">
            <a:xfrm>
              <a:off x="4371" y="497"/>
              <a:ext cx="619" cy="622"/>
            </a:xfrm>
            <a:custGeom>
              <a:avLst/>
              <a:gdLst>
                <a:gd name="T0" fmla="*/ 219 w 619"/>
                <a:gd name="T1" fmla="*/ 29 h 622"/>
                <a:gd name="T2" fmla="*/ 224 w 619"/>
                <a:gd name="T3" fmla="*/ 16 h 622"/>
                <a:gd name="T4" fmla="*/ 181 w 619"/>
                <a:gd name="T5" fmla="*/ 21 h 622"/>
                <a:gd name="T6" fmla="*/ 544 w 619"/>
                <a:gd name="T7" fmla="*/ 278 h 622"/>
                <a:gd name="T8" fmla="*/ 515 w 619"/>
                <a:gd name="T9" fmla="*/ 318 h 622"/>
                <a:gd name="T10" fmla="*/ 515 w 619"/>
                <a:gd name="T11" fmla="*/ 294 h 622"/>
                <a:gd name="T12" fmla="*/ 542 w 619"/>
                <a:gd name="T13" fmla="*/ 256 h 622"/>
                <a:gd name="T14" fmla="*/ 534 w 619"/>
                <a:gd name="T15" fmla="*/ 230 h 622"/>
                <a:gd name="T16" fmla="*/ 534 w 619"/>
                <a:gd name="T17" fmla="*/ 200 h 622"/>
                <a:gd name="T18" fmla="*/ 515 w 619"/>
                <a:gd name="T19" fmla="*/ 206 h 622"/>
                <a:gd name="T20" fmla="*/ 520 w 619"/>
                <a:gd name="T21" fmla="*/ 187 h 622"/>
                <a:gd name="T22" fmla="*/ 518 w 619"/>
                <a:gd name="T23" fmla="*/ 166 h 622"/>
                <a:gd name="T24" fmla="*/ 507 w 619"/>
                <a:gd name="T25" fmla="*/ 155 h 622"/>
                <a:gd name="T26" fmla="*/ 491 w 619"/>
                <a:gd name="T27" fmla="*/ 152 h 622"/>
                <a:gd name="T28" fmla="*/ 483 w 619"/>
                <a:gd name="T29" fmla="*/ 133 h 622"/>
                <a:gd name="T30" fmla="*/ 462 w 619"/>
                <a:gd name="T31" fmla="*/ 128 h 622"/>
                <a:gd name="T32" fmla="*/ 443 w 619"/>
                <a:gd name="T33" fmla="*/ 125 h 622"/>
                <a:gd name="T34" fmla="*/ 424 w 619"/>
                <a:gd name="T35" fmla="*/ 125 h 622"/>
                <a:gd name="T36" fmla="*/ 406 w 619"/>
                <a:gd name="T37" fmla="*/ 125 h 622"/>
                <a:gd name="T38" fmla="*/ 317 w 619"/>
                <a:gd name="T39" fmla="*/ 104 h 622"/>
                <a:gd name="T40" fmla="*/ 264 w 619"/>
                <a:gd name="T41" fmla="*/ 77 h 622"/>
                <a:gd name="T42" fmla="*/ 248 w 619"/>
                <a:gd name="T43" fmla="*/ 72 h 622"/>
                <a:gd name="T44" fmla="*/ 205 w 619"/>
                <a:gd name="T45" fmla="*/ 53 h 622"/>
                <a:gd name="T46" fmla="*/ 189 w 619"/>
                <a:gd name="T47" fmla="*/ 64 h 622"/>
                <a:gd name="T48" fmla="*/ 203 w 619"/>
                <a:gd name="T49" fmla="*/ 27 h 622"/>
                <a:gd name="T50" fmla="*/ 189 w 619"/>
                <a:gd name="T51" fmla="*/ 21 h 622"/>
                <a:gd name="T52" fmla="*/ 173 w 619"/>
                <a:gd name="T53" fmla="*/ 29 h 622"/>
                <a:gd name="T54" fmla="*/ 160 w 619"/>
                <a:gd name="T55" fmla="*/ 37 h 622"/>
                <a:gd name="T56" fmla="*/ 75 w 619"/>
                <a:gd name="T57" fmla="*/ 61 h 622"/>
                <a:gd name="T58" fmla="*/ 61 w 619"/>
                <a:gd name="T59" fmla="*/ 67 h 622"/>
                <a:gd name="T60" fmla="*/ 53 w 619"/>
                <a:gd name="T61" fmla="*/ 101 h 622"/>
                <a:gd name="T62" fmla="*/ 45 w 619"/>
                <a:gd name="T63" fmla="*/ 158 h 622"/>
                <a:gd name="T64" fmla="*/ 21 w 619"/>
                <a:gd name="T65" fmla="*/ 174 h 622"/>
                <a:gd name="T66" fmla="*/ 16 w 619"/>
                <a:gd name="T67" fmla="*/ 224 h 622"/>
                <a:gd name="T68" fmla="*/ 16 w 619"/>
                <a:gd name="T69" fmla="*/ 264 h 622"/>
                <a:gd name="T70" fmla="*/ 21 w 619"/>
                <a:gd name="T71" fmla="*/ 310 h 622"/>
                <a:gd name="T72" fmla="*/ 59 w 619"/>
                <a:gd name="T73" fmla="*/ 353 h 622"/>
                <a:gd name="T74" fmla="*/ 141 w 619"/>
                <a:gd name="T75" fmla="*/ 419 h 622"/>
                <a:gd name="T76" fmla="*/ 173 w 619"/>
                <a:gd name="T77" fmla="*/ 433 h 622"/>
                <a:gd name="T78" fmla="*/ 189 w 619"/>
                <a:gd name="T79" fmla="*/ 457 h 622"/>
                <a:gd name="T80" fmla="*/ 192 w 619"/>
                <a:gd name="T81" fmla="*/ 494 h 622"/>
                <a:gd name="T82" fmla="*/ 203 w 619"/>
                <a:gd name="T83" fmla="*/ 540 h 622"/>
                <a:gd name="T84" fmla="*/ 221 w 619"/>
                <a:gd name="T85" fmla="*/ 598 h 622"/>
                <a:gd name="T86" fmla="*/ 267 w 619"/>
                <a:gd name="T87" fmla="*/ 622 h 622"/>
                <a:gd name="T88" fmla="*/ 323 w 619"/>
                <a:gd name="T89" fmla="*/ 620 h 622"/>
                <a:gd name="T90" fmla="*/ 563 w 619"/>
                <a:gd name="T91" fmla="*/ 585 h 622"/>
                <a:gd name="T92" fmla="*/ 555 w 619"/>
                <a:gd name="T93" fmla="*/ 534 h 622"/>
                <a:gd name="T94" fmla="*/ 547 w 619"/>
                <a:gd name="T95" fmla="*/ 499 h 622"/>
                <a:gd name="T96" fmla="*/ 558 w 619"/>
                <a:gd name="T97" fmla="*/ 427 h 622"/>
                <a:gd name="T98" fmla="*/ 555 w 619"/>
                <a:gd name="T99" fmla="*/ 387 h 622"/>
                <a:gd name="T100" fmla="*/ 566 w 619"/>
                <a:gd name="T101" fmla="*/ 337 h 622"/>
                <a:gd name="T102" fmla="*/ 205 w 619"/>
                <a:gd name="T103" fmla="*/ 24 h 622"/>
                <a:gd name="T104" fmla="*/ 237 w 619"/>
                <a:gd name="T105" fmla="*/ 3 h 622"/>
                <a:gd name="T106" fmla="*/ 616 w 619"/>
                <a:gd name="T107" fmla="*/ 187 h 622"/>
                <a:gd name="T108" fmla="*/ 619 w 619"/>
                <a:gd name="T109" fmla="*/ 198 h 622"/>
                <a:gd name="T110" fmla="*/ 598 w 619"/>
                <a:gd name="T111" fmla="*/ 208 h 622"/>
                <a:gd name="T112" fmla="*/ 582 w 619"/>
                <a:gd name="T113" fmla="*/ 227 h 622"/>
                <a:gd name="T114" fmla="*/ 574 w 619"/>
                <a:gd name="T115" fmla="*/ 270 h 622"/>
                <a:gd name="T116" fmla="*/ 598 w 619"/>
                <a:gd name="T117" fmla="*/ 238 h 622"/>
                <a:gd name="T118" fmla="*/ 600 w 619"/>
                <a:gd name="T119" fmla="*/ 224 h 622"/>
                <a:gd name="T120" fmla="*/ 608 w 619"/>
                <a:gd name="T121" fmla="*/ 211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19" h="622">
                  <a:moveTo>
                    <a:pt x="200" y="43"/>
                  </a:moveTo>
                  <a:lnTo>
                    <a:pt x="203" y="45"/>
                  </a:lnTo>
                  <a:lnTo>
                    <a:pt x="203" y="48"/>
                  </a:lnTo>
                  <a:lnTo>
                    <a:pt x="208" y="43"/>
                  </a:lnTo>
                  <a:lnTo>
                    <a:pt x="213" y="43"/>
                  </a:lnTo>
                  <a:lnTo>
                    <a:pt x="213" y="40"/>
                  </a:lnTo>
                  <a:lnTo>
                    <a:pt x="213" y="40"/>
                  </a:lnTo>
                  <a:lnTo>
                    <a:pt x="213" y="37"/>
                  </a:lnTo>
                  <a:lnTo>
                    <a:pt x="216" y="35"/>
                  </a:lnTo>
                  <a:lnTo>
                    <a:pt x="219" y="35"/>
                  </a:lnTo>
                  <a:lnTo>
                    <a:pt x="221" y="35"/>
                  </a:lnTo>
                  <a:lnTo>
                    <a:pt x="221" y="32"/>
                  </a:lnTo>
                  <a:lnTo>
                    <a:pt x="221" y="32"/>
                  </a:lnTo>
                  <a:lnTo>
                    <a:pt x="219" y="29"/>
                  </a:lnTo>
                  <a:lnTo>
                    <a:pt x="219" y="29"/>
                  </a:lnTo>
                  <a:lnTo>
                    <a:pt x="213" y="32"/>
                  </a:lnTo>
                  <a:lnTo>
                    <a:pt x="211" y="35"/>
                  </a:lnTo>
                  <a:lnTo>
                    <a:pt x="211" y="37"/>
                  </a:lnTo>
                  <a:lnTo>
                    <a:pt x="203" y="40"/>
                  </a:lnTo>
                  <a:lnTo>
                    <a:pt x="200" y="43"/>
                  </a:lnTo>
                  <a:close/>
                  <a:moveTo>
                    <a:pt x="219" y="24"/>
                  </a:moveTo>
                  <a:lnTo>
                    <a:pt x="221" y="24"/>
                  </a:lnTo>
                  <a:lnTo>
                    <a:pt x="224" y="24"/>
                  </a:lnTo>
                  <a:lnTo>
                    <a:pt x="224" y="24"/>
                  </a:lnTo>
                  <a:lnTo>
                    <a:pt x="224" y="21"/>
                  </a:lnTo>
                  <a:lnTo>
                    <a:pt x="224" y="21"/>
                  </a:lnTo>
                  <a:lnTo>
                    <a:pt x="224" y="19"/>
                  </a:lnTo>
                  <a:lnTo>
                    <a:pt x="227" y="19"/>
                  </a:lnTo>
                  <a:lnTo>
                    <a:pt x="227" y="16"/>
                  </a:lnTo>
                  <a:lnTo>
                    <a:pt x="224" y="16"/>
                  </a:lnTo>
                  <a:lnTo>
                    <a:pt x="221" y="19"/>
                  </a:lnTo>
                  <a:lnTo>
                    <a:pt x="216" y="19"/>
                  </a:lnTo>
                  <a:lnTo>
                    <a:pt x="213" y="21"/>
                  </a:lnTo>
                  <a:lnTo>
                    <a:pt x="213" y="24"/>
                  </a:lnTo>
                  <a:lnTo>
                    <a:pt x="213" y="24"/>
                  </a:lnTo>
                  <a:lnTo>
                    <a:pt x="219" y="24"/>
                  </a:lnTo>
                  <a:close/>
                  <a:moveTo>
                    <a:pt x="181" y="21"/>
                  </a:moveTo>
                  <a:lnTo>
                    <a:pt x="184" y="19"/>
                  </a:lnTo>
                  <a:lnTo>
                    <a:pt x="184" y="19"/>
                  </a:lnTo>
                  <a:lnTo>
                    <a:pt x="187" y="16"/>
                  </a:lnTo>
                  <a:lnTo>
                    <a:pt x="184" y="13"/>
                  </a:lnTo>
                  <a:lnTo>
                    <a:pt x="184" y="16"/>
                  </a:lnTo>
                  <a:lnTo>
                    <a:pt x="181" y="19"/>
                  </a:lnTo>
                  <a:lnTo>
                    <a:pt x="181" y="19"/>
                  </a:lnTo>
                  <a:lnTo>
                    <a:pt x="181" y="21"/>
                  </a:lnTo>
                  <a:close/>
                  <a:moveTo>
                    <a:pt x="579" y="275"/>
                  </a:moveTo>
                  <a:lnTo>
                    <a:pt x="576" y="275"/>
                  </a:lnTo>
                  <a:lnTo>
                    <a:pt x="574" y="272"/>
                  </a:lnTo>
                  <a:lnTo>
                    <a:pt x="568" y="267"/>
                  </a:lnTo>
                  <a:lnTo>
                    <a:pt x="566" y="267"/>
                  </a:lnTo>
                  <a:lnTo>
                    <a:pt x="563" y="267"/>
                  </a:lnTo>
                  <a:lnTo>
                    <a:pt x="563" y="270"/>
                  </a:lnTo>
                  <a:lnTo>
                    <a:pt x="560" y="270"/>
                  </a:lnTo>
                  <a:lnTo>
                    <a:pt x="555" y="272"/>
                  </a:lnTo>
                  <a:lnTo>
                    <a:pt x="555" y="275"/>
                  </a:lnTo>
                  <a:lnTo>
                    <a:pt x="555" y="272"/>
                  </a:lnTo>
                  <a:lnTo>
                    <a:pt x="552" y="272"/>
                  </a:lnTo>
                  <a:lnTo>
                    <a:pt x="550" y="275"/>
                  </a:lnTo>
                  <a:lnTo>
                    <a:pt x="547" y="275"/>
                  </a:lnTo>
                  <a:lnTo>
                    <a:pt x="544" y="278"/>
                  </a:lnTo>
                  <a:lnTo>
                    <a:pt x="542" y="286"/>
                  </a:lnTo>
                  <a:lnTo>
                    <a:pt x="539" y="291"/>
                  </a:lnTo>
                  <a:lnTo>
                    <a:pt x="542" y="294"/>
                  </a:lnTo>
                  <a:lnTo>
                    <a:pt x="539" y="296"/>
                  </a:lnTo>
                  <a:lnTo>
                    <a:pt x="539" y="299"/>
                  </a:lnTo>
                  <a:lnTo>
                    <a:pt x="539" y="299"/>
                  </a:lnTo>
                  <a:lnTo>
                    <a:pt x="536" y="302"/>
                  </a:lnTo>
                  <a:lnTo>
                    <a:pt x="531" y="304"/>
                  </a:lnTo>
                  <a:lnTo>
                    <a:pt x="526" y="310"/>
                  </a:lnTo>
                  <a:lnTo>
                    <a:pt x="523" y="310"/>
                  </a:lnTo>
                  <a:lnTo>
                    <a:pt x="523" y="312"/>
                  </a:lnTo>
                  <a:lnTo>
                    <a:pt x="523" y="318"/>
                  </a:lnTo>
                  <a:lnTo>
                    <a:pt x="520" y="318"/>
                  </a:lnTo>
                  <a:lnTo>
                    <a:pt x="518" y="318"/>
                  </a:lnTo>
                  <a:lnTo>
                    <a:pt x="515" y="318"/>
                  </a:lnTo>
                  <a:lnTo>
                    <a:pt x="512" y="318"/>
                  </a:lnTo>
                  <a:lnTo>
                    <a:pt x="512" y="315"/>
                  </a:lnTo>
                  <a:lnTo>
                    <a:pt x="510" y="315"/>
                  </a:lnTo>
                  <a:lnTo>
                    <a:pt x="510" y="312"/>
                  </a:lnTo>
                  <a:lnTo>
                    <a:pt x="512" y="310"/>
                  </a:lnTo>
                  <a:lnTo>
                    <a:pt x="512" y="307"/>
                  </a:lnTo>
                  <a:lnTo>
                    <a:pt x="512" y="304"/>
                  </a:lnTo>
                  <a:lnTo>
                    <a:pt x="512" y="304"/>
                  </a:lnTo>
                  <a:lnTo>
                    <a:pt x="512" y="302"/>
                  </a:lnTo>
                  <a:lnTo>
                    <a:pt x="515" y="302"/>
                  </a:lnTo>
                  <a:lnTo>
                    <a:pt x="515" y="302"/>
                  </a:lnTo>
                  <a:lnTo>
                    <a:pt x="512" y="299"/>
                  </a:lnTo>
                  <a:lnTo>
                    <a:pt x="512" y="299"/>
                  </a:lnTo>
                  <a:lnTo>
                    <a:pt x="512" y="294"/>
                  </a:lnTo>
                  <a:lnTo>
                    <a:pt x="515" y="294"/>
                  </a:lnTo>
                  <a:lnTo>
                    <a:pt x="515" y="291"/>
                  </a:lnTo>
                  <a:lnTo>
                    <a:pt x="518" y="288"/>
                  </a:lnTo>
                  <a:lnTo>
                    <a:pt x="518" y="288"/>
                  </a:lnTo>
                  <a:lnTo>
                    <a:pt x="518" y="286"/>
                  </a:lnTo>
                  <a:lnTo>
                    <a:pt x="518" y="286"/>
                  </a:lnTo>
                  <a:lnTo>
                    <a:pt x="518" y="283"/>
                  </a:lnTo>
                  <a:lnTo>
                    <a:pt x="520" y="283"/>
                  </a:lnTo>
                  <a:lnTo>
                    <a:pt x="520" y="280"/>
                  </a:lnTo>
                  <a:lnTo>
                    <a:pt x="526" y="272"/>
                  </a:lnTo>
                  <a:lnTo>
                    <a:pt x="526" y="270"/>
                  </a:lnTo>
                  <a:lnTo>
                    <a:pt x="526" y="267"/>
                  </a:lnTo>
                  <a:lnTo>
                    <a:pt x="526" y="262"/>
                  </a:lnTo>
                  <a:lnTo>
                    <a:pt x="531" y="259"/>
                  </a:lnTo>
                  <a:lnTo>
                    <a:pt x="539" y="256"/>
                  </a:lnTo>
                  <a:lnTo>
                    <a:pt x="542" y="256"/>
                  </a:lnTo>
                  <a:lnTo>
                    <a:pt x="544" y="254"/>
                  </a:lnTo>
                  <a:lnTo>
                    <a:pt x="544" y="251"/>
                  </a:lnTo>
                  <a:lnTo>
                    <a:pt x="544" y="248"/>
                  </a:lnTo>
                  <a:lnTo>
                    <a:pt x="544" y="246"/>
                  </a:lnTo>
                  <a:lnTo>
                    <a:pt x="544" y="246"/>
                  </a:lnTo>
                  <a:lnTo>
                    <a:pt x="544" y="243"/>
                  </a:lnTo>
                  <a:lnTo>
                    <a:pt x="547" y="240"/>
                  </a:lnTo>
                  <a:lnTo>
                    <a:pt x="547" y="238"/>
                  </a:lnTo>
                  <a:lnTo>
                    <a:pt x="542" y="238"/>
                  </a:lnTo>
                  <a:lnTo>
                    <a:pt x="539" y="235"/>
                  </a:lnTo>
                  <a:lnTo>
                    <a:pt x="539" y="235"/>
                  </a:lnTo>
                  <a:lnTo>
                    <a:pt x="539" y="235"/>
                  </a:lnTo>
                  <a:lnTo>
                    <a:pt x="536" y="232"/>
                  </a:lnTo>
                  <a:lnTo>
                    <a:pt x="536" y="230"/>
                  </a:lnTo>
                  <a:lnTo>
                    <a:pt x="534" y="230"/>
                  </a:lnTo>
                  <a:lnTo>
                    <a:pt x="534" y="227"/>
                  </a:lnTo>
                  <a:lnTo>
                    <a:pt x="531" y="227"/>
                  </a:lnTo>
                  <a:lnTo>
                    <a:pt x="531" y="222"/>
                  </a:lnTo>
                  <a:lnTo>
                    <a:pt x="534" y="222"/>
                  </a:lnTo>
                  <a:lnTo>
                    <a:pt x="534" y="216"/>
                  </a:lnTo>
                  <a:lnTo>
                    <a:pt x="536" y="208"/>
                  </a:lnTo>
                  <a:lnTo>
                    <a:pt x="536" y="208"/>
                  </a:lnTo>
                  <a:lnTo>
                    <a:pt x="539" y="206"/>
                  </a:lnTo>
                  <a:lnTo>
                    <a:pt x="539" y="206"/>
                  </a:lnTo>
                  <a:lnTo>
                    <a:pt x="539" y="206"/>
                  </a:lnTo>
                  <a:lnTo>
                    <a:pt x="539" y="203"/>
                  </a:lnTo>
                  <a:lnTo>
                    <a:pt x="536" y="203"/>
                  </a:lnTo>
                  <a:lnTo>
                    <a:pt x="536" y="203"/>
                  </a:lnTo>
                  <a:lnTo>
                    <a:pt x="536" y="200"/>
                  </a:lnTo>
                  <a:lnTo>
                    <a:pt x="534" y="200"/>
                  </a:lnTo>
                  <a:lnTo>
                    <a:pt x="534" y="200"/>
                  </a:lnTo>
                  <a:lnTo>
                    <a:pt x="534" y="200"/>
                  </a:lnTo>
                  <a:lnTo>
                    <a:pt x="526" y="206"/>
                  </a:lnTo>
                  <a:lnTo>
                    <a:pt x="526" y="206"/>
                  </a:lnTo>
                  <a:lnTo>
                    <a:pt x="526" y="206"/>
                  </a:lnTo>
                  <a:lnTo>
                    <a:pt x="523" y="206"/>
                  </a:lnTo>
                  <a:lnTo>
                    <a:pt x="520" y="206"/>
                  </a:lnTo>
                  <a:lnTo>
                    <a:pt x="520" y="206"/>
                  </a:lnTo>
                  <a:lnTo>
                    <a:pt x="520" y="206"/>
                  </a:lnTo>
                  <a:lnTo>
                    <a:pt x="520" y="206"/>
                  </a:lnTo>
                  <a:lnTo>
                    <a:pt x="518" y="208"/>
                  </a:lnTo>
                  <a:lnTo>
                    <a:pt x="518" y="208"/>
                  </a:lnTo>
                  <a:lnTo>
                    <a:pt x="515" y="206"/>
                  </a:lnTo>
                  <a:lnTo>
                    <a:pt x="515" y="206"/>
                  </a:lnTo>
                  <a:lnTo>
                    <a:pt x="515" y="206"/>
                  </a:lnTo>
                  <a:lnTo>
                    <a:pt x="515" y="203"/>
                  </a:lnTo>
                  <a:lnTo>
                    <a:pt x="515" y="200"/>
                  </a:lnTo>
                  <a:lnTo>
                    <a:pt x="515" y="200"/>
                  </a:lnTo>
                  <a:lnTo>
                    <a:pt x="515" y="198"/>
                  </a:lnTo>
                  <a:lnTo>
                    <a:pt x="515" y="198"/>
                  </a:lnTo>
                  <a:lnTo>
                    <a:pt x="515" y="195"/>
                  </a:lnTo>
                  <a:lnTo>
                    <a:pt x="515" y="195"/>
                  </a:lnTo>
                  <a:lnTo>
                    <a:pt x="515" y="195"/>
                  </a:lnTo>
                  <a:lnTo>
                    <a:pt x="518" y="192"/>
                  </a:lnTo>
                  <a:lnTo>
                    <a:pt x="520" y="192"/>
                  </a:lnTo>
                  <a:lnTo>
                    <a:pt x="520" y="190"/>
                  </a:lnTo>
                  <a:lnTo>
                    <a:pt x="520" y="190"/>
                  </a:lnTo>
                  <a:lnTo>
                    <a:pt x="520" y="187"/>
                  </a:lnTo>
                  <a:lnTo>
                    <a:pt x="520" y="187"/>
                  </a:lnTo>
                  <a:lnTo>
                    <a:pt x="520" y="187"/>
                  </a:lnTo>
                  <a:lnTo>
                    <a:pt x="520" y="187"/>
                  </a:lnTo>
                  <a:lnTo>
                    <a:pt x="520" y="182"/>
                  </a:lnTo>
                  <a:lnTo>
                    <a:pt x="518" y="179"/>
                  </a:lnTo>
                  <a:lnTo>
                    <a:pt x="518" y="179"/>
                  </a:lnTo>
                  <a:lnTo>
                    <a:pt x="518" y="176"/>
                  </a:lnTo>
                  <a:lnTo>
                    <a:pt x="520" y="176"/>
                  </a:lnTo>
                  <a:lnTo>
                    <a:pt x="520" y="176"/>
                  </a:lnTo>
                  <a:lnTo>
                    <a:pt x="520" y="176"/>
                  </a:lnTo>
                  <a:lnTo>
                    <a:pt x="520" y="176"/>
                  </a:lnTo>
                  <a:lnTo>
                    <a:pt x="520" y="174"/>
                  </a:lnTo>
                  <a:lnTo>
                    <a:pt x="520" y="174"/>
                  </a:lnTo>
                  <a:lnTo>
                    <a:pt x="520" y="171"/>
                  </a:lnTo>
                  <a:lnTo>
                    <a:pt x="520" y="171"/>
                  </a:lnTo>
                  <a:lnTo>
                    <a:pt x="518" y="168"/>
                  </a:lnTo>
                  <a:lnTo>
                    <a:pt x="518" y="166"/>
                  </a:lnTo>
                  <a:lnTo>
                    <a:pt x="518" y="166"/>
                  </a:lnTo>
                  <a:lnTo>
                    <a:pt x="518" y="166"/>
                  </a:lnTo>
                  <a:lnTo>
                    <a:pt x="518" y="163"/>
                  </a:lnTo>
                  <a:lnTo>
                    <a:pt x="518" y="163"/>
                  </a:lnTo>
                  <a:lnTo>
                    <a:pt x="518" y="163"/>
                  </a:lnTo>
                  <a:lnTo>
                    <a:pt x="518" y="163"/>
                  </a:lnTo>
                  <a:lnTo>
                    <a:pt x="518" y="163"/>
                  </a:lnTo>
                  <a:lnTo>
                    <a:pt x="518" y="160"/>
                  </a:lnTo>
                  <a:lnTo>
                    <a:pt x="515" y="160"/>
                  </a:lnTo>
                  <a:lnTo>
                    <a:pt x="515" y="158"/>
                  </a:lnTo>
                  <a:lnTo>
                    <a:pt x="512" y="158"/>
                  </a:lnTo>
                  <a:lnTo>
                    <a:pt x="510" y="158"/>
                  </a:lnTo>
                  <a:lnTo>
                    <a:pt x="510" y="155"/>
                  </a:lnTo>
                  <a:lnTo>
                    <a:pt x="510" y="155"/>
                  </a:lnTo>
                  <a:lnTo>
                    <a:pt x="507" y="155"/>
                  </a:lnTo>
                  <a:lnTo>
                    <a:pt x="507" y="155"/>
                  </a:lnTo>
                  <a:lnTo>
                    <a:pt x="507" y="152"/>
                  </a:lnTo>
                  <a:lnTo>
                    <a:pt x="507" y="152"/>
                  </a:lnTo>
                  <a:lnTo>
                    <a:pt x="502" y="152"/>
                  </a:lnTo>
                  <a:lnTo>
                    <a:pt x="499" y="152"/>
                  </a:lnTo>
                  <a:lnTo>
                    <a:pt x="499" y="152"/>
                  </a:lnTo>
                  <a:lnTo>
                    <a:pt x="499" y="152"/>
                  </a:lnTo>
                  <a:lnTo>
                    <a:pt x="499" y="152"/>
                  </a:lnTo>
                  <a:lnTo>
                    <a:pt x="496" y="149"/>
                  </a:lnTo>
                  <a:lnTo>
                    <a:pt x="496" y="149"/>
                  </a:lnTo>
                  <a:lnTo>
                    <a:pt x="496" y="149"/>
                  </a:lnTo>
                  <a:lnTo>
                    <a:pt x="496" y="149"/>
                  </a:lnTo>
                  <a:lnTo>
                    <a:pt x="494" y="152"/>
                  </a:lnTo>
                  <a:lnTo>
                    <a:pt x="491" y="152"/>
                  </a:lnTo>
                  <a:lnTo>
                    <a:pt x="491" y="152"/>
                  </a:lnTo>
                  <a:lnTo>
                    <a:pt x="488" y="152"/>
                  </a:lnTo>
                  <a:lnTo>
                    <a:pt x="488" y="149"/>
                  </a:lnTo>
                  <a:lnTo>
                    <a:pt x="486" y="149"/>
                  </a:lnTo>
                  <a:lnTo>
                    <a:pt x="486" y="149"/>
                  </a:lnTo>
                  <a:lnTo>
                    <a:pt x="483" y="149"/>
                  </a:lnTo>
                  <a:lnTo>
                    <a:pt x="483" y="147"/>
                  </a:lnTo>
                  <a:lnTo>
                    <a:pt x="483" y="147"/>
                  </a:lnTo>
                  <a:lnTo>
                    <a:pt x="483" y="147"/>
                  </a:lnTo>
                  <a:lnTo>
                    <a:pt x="483" y="144"/>
                  </a:lnTo>
                  <a:lnTo>
                    <a:pt x="486" y="141"/>
                  </a:lnTo>
                  <a:lnTo>
                    <a:pt x="486" y="141"/>
                  </a:lnTo>
                  <a:lnTo>
                    <a:pt x="486" y="141"/>
                  </a:lnTo>
                  <a:lnTo>
                    <a:pt x="486" y="139"/>
                  </a:lnTo>
                  <a:lnTo>
                    <a:pt x="486" y="139"/>
                  </a:lnTo>
                  <a:lnTo>
                    <a:pt x="483" y="133"/>
                  </a:lnTo>
                  <a:lnTo>
                    <a:pt x="483" y="133"/>
                  </a:lnTo>
                  <a:lnTo>
                    <a:pt x="480" y="131"/>
                  </a:lnTo>
                  <a:lnTo>
                    <a:pt x="480" y="131"/>
                  </a:lnTo>
                  <a:lnTo>
                    <a:pt x="478" y="131"/>
                  </a:lnTo>
                  <a:lnTo>
                    <a:pt x="475" y="131"/>
                  </a:lnTo>
                  <a:lnTo>
                    <a:pt x="475" y="128"/>
                  </a:lnTo>
                  <a:lnTo>
                    <a:pt x="475" y="128"/>
                  </a:lnTo>
                  <a:lnTo>
                    <a:pt x="472" y="131"/>
                  </a:lnTo>
                  <a:lnTo>
                    <a:pt x="472" y="131"/>
                  </a:lnTo>
                  <a:lnTo>
                    <a:pt x="472" y="131"/>
                  </a:lnTo>
                  <a:lnTo>
                    <a:pt x="470" y="131"/>
                  </a:lnTo>
                  <a:lnTo>
                    <a:pt x="467" y="128"/>
                  </a:lnTo>
                  <a:lnTo>
                    <a:pt x="467" y="128"/>
                  </a:lnTo>
                  <a:lnTo>
                    <a:pt x="464" y="128"/>
                  </a:lnTo>
                  <a:lnTo>
                    <a:pt x="462" y="128"/>
                  </a:lnTo>
                  <a:lnTo>
                    <a:pt x="462" y="128"/>
                  </a:lnTo>
                  <a:lnTo>
                    <a:pt x="459" y="128"/>
                  </a:lnTo>
                  <a:lnTo>
                    <a:pt x="456" y="125"/>
                  </a:lnTo>
                  <a:lnTo>
                    <a:pt x="456" y="125"/>
                  </a:lnTo>
                  <a:lnTo>
                    <a:pt x="456" y="125"/>
                  </a:lnTo>
                  <a:lnTo>
                    <a:pt x="454" y="128"/>
                  </a:lnTo>
                  <a:lnTo>
                    <a:pt x="451" y="128"/>
                  </a:lnTo>
                  <a:lnTo>
                    <a:pt x="451" y="128"/>
                  </a:lnTo>
                  <a:lnTo>
                    <a:pt x="448" y="125"/>
                  </a:lnTo>
                  <a:lnTo>
                    <a:pt x="446" y="125"/>
                  </a:lnTo>
                  <a:lnTo>
                    <a:pt x="446" y="125"/>
                  </a:lnTo>
                  <a:lnTo>
                    <a:pt x="446" y="125"/>
                  </a:lnTo>
                  <a:lnTo>
                    <a:pt x="446" y="125"/>
                  </a:lnTo>
                  <a:lnTo>
                    <a:pt x="443" y="125"/>
                  </a:lnTo>
                  <a:lnTo>
                    <a:pt x="443" y="125"/>
                  </a:lnTo>
                  <a:lnTo>
                    <a:pt x="440" y="125"/>
                  </a:lnTo>
                  <a:lnTo>
                    <a:pt x="440" y="123"/>
                  </a:lnTo>
                  <a:lnTo>
                    <a:pt x="438" y="123"/>
                  </a:lnTo>
                  <a:lnTo>
                    <a:pt x="438" y="125"/>
                  </a:lnTo>
                  <a:lnTo>
                    <a:pt x="438" y="125"/>
                  </a:lnTo>
                  <a:lnTo>
                    <a:pt x="435" y="125"/>
                  </a:lnTo>
                  <a:lnTo>
                    <a:pt x="435" y="125"/>
                  </a:lnTo>
                  <a:lnTo>
                    <a:pt x="435" y="125"/>
                  </a:lnTo>
                  <a:lnTo>
                    <a:pt x="435" y="125"/>
                  </a:lnTo>
                  <a:lnTo>
                    <a:pt x="432" y="125"/>
                  </a:lnTo>
                  <a:lnTo>
                    <a:pt x="432" y="125"/>
                  </a:lnTo>
                  <a:lnTo>
                    <a:pt x="430" y="128"/>
                  </a:lnTo>
                  <a:lnTo>
                    <a:pt x="430" y="128"/>
                  </a:lnTo>
                  <a:lnTo>
                    <a:pt x="430" y="128"/>
                  </a:lnTo>
                  <a:lnTo>
                    <a:pt x="424" y="125"/>
                  </a:lnTo>
                  <a:lnTo>
                    <a:pt x="422" y="125"/>
                  </a:lnTo>
                  <a:lnTo>
                    <a:pt x="422" y="125"/>
                  </a:lnTo>
                  <a:lnTo>
                    <a:pt x="419" y="125"/>
                  </a:lnTo>
                  <a:lnTo>
                    <a:pt x="419" y="125"/>
                  </a:lnTo>
                  <a:lnTo>
                    <a:pt x="419" y="125"/>
                  </a:lnTo>
                  <a:lnTo>
                    <a:pt x="416" y="125"/>
                  </a:lnTo>
                  <a:lnTo>
                    <a:pt x="416" y="125"/>
                  </a:lnTo>
                  <a:lnTo>
                    <a:pt x="414" y="125"/>
                  </a:lnTo>
                  <a:lnTo>
                    <a:pt x="414" y="125"/>
                  </a:lnTo>
                  <a:lnTo>
                    <a:pt x="414" y="125"/>
                  </a:lnTo>
                  <a:lnTo>
                    <a:pt x="411" y="125"/>
                  </a:lnTo>
                  <a:lnTo>
                    <a:pt x="411" y="125"/>
                  </a:lnTo>
                  <a:lnTo>
                    <a:pt x="408" y="125"/>
                  </a:lnTo>
                  <a:lnTo>
                    <a:pt x="408" y="125"/>
                  </a:lnTo>
                  <a:lnTo>
                    <a:pt x="406" y="125"/>
                  </a:lnTo>
                  <a:lnTo>
                    <a:pt x="400" y="123"/>
                  </a:lnTo>
                  <a:lnTo>
                    <a:pt x="392" y="120"/>
                  </a:lnTo>
                  <a:lnTo>
                    <a:pt x="387" y="117"/>
                  </a:lnTo>
                  <a:lnTo>
                    <a:pt x="382" y="115"/>
                  </a:lnTo>
                  <a:lnTo>
                    <a:pt x="379" y="115"/>
                  </a:lnTo>
                  <a:lnTo>
                    <a:pt x="373" y="112"/>
                  </a:lnTo>
                  <a:lnTo>
                    <a:pt x="373" y="112"/>
                  </a:lnTo>
                  <a:lnTo>
                    <a:pt x="371" y="112"/>
                  </a:lnTo>
                  <a:lnTo>
                    <a:pt x="365" y="112"/>
                  </a:lnTo>
                  <a:lnTo>
                    <a:pt x="360" y="109"/>
                  </a:lnTo>
                  <a:lnTo>
                    <a:pt x="352" y="109"/>
                  </a:lnTo>
                  <a:lnTo>
                    <a:pt x="344" y="109"/>
                  </a:lnTo>
                  <a:lnTo>
                    <a:pt x="336" y="107"/>
                  </a:lnTo>
                  <a:lnTo>
                    <a:pt x="325" y="107"/>
                  </a:lnTo>
                  <a:lnTo>
                    <a:pt x="317" y="104"/>
                  </a:lnTo>
                  <a:lnTo>
                    <a:pt x="309" y="101"/>
                  </a:lnTo>
                  <a:lnTo>
                    <a:pt x="299" y="101"/>
                  </a:lnTo>
                  <a:lnTo>
                    <a:pt x="293" y="99"/>
                  </a:lnTo>
                  <a:lnTo>
                    <a:pt x="285" y="99"/>
                  </a:lnTo>
                  <a:lnTo>
                    <a:pt x="283" y="99"/>
                  </a:lnTo>
                  <a:lnTo>
                    <a:pt x="277" y="99"/>
                  </a:lnTo>
                  <a:lnTo>
                    <a:pt x="277" y="99"/>
                  </a:lnTo>
                  <a:lnTo>
                    <a:pt x="275" y="96"/>
                  </a:lnTo>
                  <a:lnTo>
                    <a:pt x="275" y="96"/>
                  </a:lnTo>
                  <a:lnTo>
                    <a:pt x="275" y="96"/>
                  </a:lnTo>
                  <a:lnTo>
                    <a:pt x="272" y="93"/>
                  </a:lnTo>
                  <a:lnTo>
                    <a:pt x="269" y="91"/>
                  </a:lnTo>
                  <a:lnTo>
                    <a:pt x="267" y="85"/>
                  </a:lnTo>
                  <a:lnTo>
                    <a:pt x="267" y="80"/>
                  </a:lnTo>
                  <a:lnTo>
                    <a:pt x="264" y="77"/>
                  </a:lnTo>
                  <a:lnTo>
                    <a:pt x="264" y="77"/>
                  </a:lnTo>
                  <a:lnTo>
                    <a:pt x="261" y="75"/>
                  </a:lnTo>
                  <a:lnTo>
                    <a:pt x="261" y="75"/>
                  </a:lnTo>
                  <a:lnTo>
                    <a:pt x="259" y="75"/>
                  </a:lnTo>
                  <a:lnTo>
                    <a:pt x="259" y="75"/>
                  </a:lnTo>
                  <a:lnTo>
                    <a:pt x="256" y="75"/>
                  </a:lnTo>
                  <a:lnTo>
                    <a:pt x="256" y="75"/>
                  </a:lnTo>
                  <a:lnTo>
                    <a:pt x="256" y="72"/>
                  </a:lnTo>
                  <a:lnTo>
                    <a:pt x="253" y="72"/>
                  </a:lnTo>
                  <a:lnTo>
                    <a:pt x="253" y="72"/>
                  </a:lnTo>
                  <a:lnTo>
                    <a:pt x="251" y="72"/>
                  </a:lnTo>
                  <a:lnTo>
                    <a:pt x="251" y="69"/>
                  </a:lnTo>
                  <a:lnTo>
                    <a:pt x="251" y="69"/>
                  </a:lnTo>
                  <a:lnTo>
                    <a:pt x="248" y="69"/>
                  </a:lnTo>
                  <a:lnTo>
                    <a:pt x="248" y="72"/>
                  </a:lnTo>
                  <a:lnTo>
                    <a:pt x="245" y="72"/>
                  </a:lnTo>
                  <a:lnTo>
                    <a:pt x="245" y="72"/>
                  </a:lnTo>
                  <a:lnTo>
                    <a:pt x="245" y="72"/>
                  </a:lnTo>
                  <a:lnTo>
                    <a:pt x="243" y="72"/>
                  </a:lnTo>
                  <a:lnTo>
                    <a:pt x="243" y="72"/>
                  </a:lnTo>
                  <a:lnTo>
                    <a:pt x="243" y="69"/>
                  </a:lnTo>
                  <a:lnTo>
                    <a:pt x="243" y="67"/>
                  </a:lnTo>
                  <a:lnTo>
                    <a:pt x="243" y="67"/>
                  </a:lnTo>
                  <a:lnTo>
                    <a:pt x="240" y="69"/>
                  </a:lnTo>
                  <a:lnTo>
                    <a:pt x="237" y="69"/>
                  </a:lnTo>
                  <a:lnTo>
                    <a:pt x="235" y="67"/>
                  </a:lnTo>
                  <a:lnTo>
                    <a:pt x="227" y="64"/>
                  </a:lnTo>
                  <a:lnTo>
                    <a:pt x="216" y="61"/>
                  </a:lnTo>
                  <a:lnTo>
                    <a:pt x="208" y="56"/>
                  </a:lnTo>
                  <a:lnTo>
                    <a:pt x="205" y="53"/>
                  </a:lnTo>
                  <a:lnTo>
                    <a:pt x="208" y="53"/>
                  </a:lnTo>
                  <a:lnTo>
                    <a:pt x="208" y="56"/>
                  </a:lnTo>
                  <a:lnTo>
                    <a:pt x="208" y="56"/>
                  </a:lnTo>
                  <a:lnTo>
                    <a:pt x="208" y="56"/>
                  </a:lnTo>
                  <a:lnTo>
                    <a:pt x="205" y="56"/>
                  </a:lnTo>
                  <a:lnTo>
                    <a:pt x="205" y="59"/>
                  </a:lnTo>
                  <a:lnTo>
                    <a:pt x="205" y="59"/>
                  </a:lnTo>
                  <a:lnTo>
                    <a:pt x="208" y="59"/>
                  </a:lnTo>
                  <a:lnTo>
                    <a:pt x="208" y="61"/>
                  </a:lnTo>
                  <a:lnTo>
                    <a:pt x="205" y="64"/>
                  </a:lnTo>
                  <a:lnTo>
                    <a:pt x="192" y="69"/>
                  </a:lnTo>
                  <a:lnTo>
                    <a:pt x="189" y="69"/>
                  </a:lnTo>
                  <a:lnTo>
                    <a:pt x="187" y="69"/>
                  </a:lnTo>
                  <a:lnTo>
                    <a:pt x="189" y="67"/>
                  </a:lnTo>
                  <a:lnTo>
                    <a:pt x="189" y="64"/>
                  </a:lnTo>
                  <a:lnTo>
                    <a:pt x="195" y="56"/>
                  </a:lnTo>
                  <a:lnTo>
                    <a:pt x="195" y="53"/>
                  </a:lnTo>
                  <a:lnTo>
                    <a:pt x="195" y="53"/>
                  </a:lnTo>
                  <a:lnTo>
                    <a:pt x="195" y="51"/>
                  </a:lnTo>
                  <a:lnTo>
                    <a:pt x="195" y="51"/>
                  </a:lnTo>
                  <a:lnTo>
                    <a:pt x="195" y="48"/>
                  </a:lnTo>
                  <a:lnTo>
                    <a:pt x="195" y="45"/>
                  </a:lnTo>
                  <a:lnTo>
                    <a:pt x="195" y="43"/>
                  </a:lnTo>
                  <a:lnTo>
                    <a:pt x="197" y="40"/>
                  </a:lnTo>
                  <a:lnTo>
                    <a:pt x="197" y="40"/>
                  </a:lnTo>
                  <a:lnTo>
                    <a:pt x="200" y="32"/>
                  </a:lnTo>
                  <a:lnTo>
                    <a:pt x="203" y="32"/>
                  </a:lnTo>
                  <a:lnTo>
                    <a:pt x="203" y="29"/>
                  </a:lnTo>
                  <a:lnTo>
                    <a:pt x="200" y="29"/>
                  </a:lnTo>
                  <a:lnTo>
                    <a:pt x="203" y="27"/>
                  </a:lnTo>
                  <a:lnTo>
                    <a:pt x="203" y="27"/>
                  </a:lnTo>
                  <a:lnTo>
                    <a:pt x="203" y="27"/>
                  </a:lnTo>
                  <a:lnTo>
                    <a:pt x="200" y="24"/>
                  </a:lnTo>
                  <a:lnTo>
                    <a:pt x="200" y="21"/>
                  </a:lnTo>
                  <a:lnTo>
                    <a:pt x="200" y="21"/>
                  </a:lnTo>
                  <a:lnTo>
                    <a:pt x="197" y="21"/>
                  </a:lnTo>
                  <a:lnTo>
                    <a:pt x="195" y="21"/>
                  </a:lnTo>
                  <a:lnTo>
                    <a:pt x="195" y="21"/>
                  </a:lnTo>
                  <a:lnTo>
                    <a:pt x="195" y="19"/>
                  </a:lnTo>
                  <a:lnTo>
                    <a:pt x="195" y="19"/>
                  </a:lnTo>
                  <a:lnTo>
                    <a:pt x="195" y="19"/>
                  </a:lnTo>
                  <a:lnTo>
                    <a:pt x="192" y="19"/>
                  </a:lnTo>
                  <a:lnTo>
                    <a:pt x="192" y="19"/>
                  </a:lnTo>
                  <a:lnTo>
                    <a:pt x="189" y="19"/>
                  </a:lnTo>
                  <a:lnTo>
                    <a:pt x="189" y="21"/>
                  </a:lnTo>
                  <a:lnTo>
                    <a:pt x="189" y="21"/>
                  </a:lnTo>
                  <a:lnTo>
                    <a:pt x="189" y="21"/>
                  </a:lnTo>
                  <a:lnTo>
                    <a:pt x="189" y="21"/>
                  </a:lnTo>
                  <a:lnTo>
                    <a:pt x="187" y="24"/>
                  </a:lnTo>
                  <a:lnTo>
                    <a:pt x="187" y="24"/>
                  </a:lnTo>
                  <a:lnTo>
                    <a:pt x="184" y="24"/>
                  </a:lnTo>
                  <a:lnTo>
                    <a:pt x="184" y="21"/>
                  </a:lnTo>
                  <a:lnTo>
                    <a:pt x="181" y="21"/>
                  </a:lnTo>
                  <a:lnTo>
                    <a:pt x="181" y="24"/>
                  </a:lnTo>
                  <a:lnTo>
                    <a:pt x="181" y="24"/>
                  </a:lnTo>
                  <a:lnTo>
                    <a:pt x="181" y="24"/>
                  </a:lnTo>
                  <a:lnTo>
                    <a:pt x="181" y="24"/>
                  </a:lnTo>
                  <a:lnTo>
                    <a:pt x="176" y="27"/>
                  </a:lnTo>
                  <a:lnTo>
                    <a:pt x="176" y="27"/>
                  </a:lnTo>
                  <a:lnTo>
                    <a:pt x="173" y="29"/>
                  </a:lnTo>
                  <a:lnTo>
                    <a:pt x="173" y="29"/>
                  </a:lnTo>
                  <a:lnTo>
                    <a:pt x="173" y="29"/>
                  </a:lnTo>
                  <a:lnTo>
                    <a:pt x="173" y="29"/>
                  </a:lnTo>
                  <a:lnTo>
                    <a:pt x="171" y="32"/>
                  </a:lnTo>
                  <a:lnTo>
                    <a:pt x="171" y="32"/>
                  </a:lnTo>
                  <a:lnTo>
                    <a:pt x="171" y="32"/>
                  </a:lnTo>
                  <a:lnTo>
                    <a:pt x="168" y="35"/>
                  </a:lnTo>
                  <a:lnTo>
                    <a:pt x="168" y="35"/>
                  </a:lnTo>
                  <a:lnTo>
                    <a:pt x="165" y="35"/>
                  </a:lnTo>
                  <a:lnTo>
                    <a:pt x="165" y="35"/>
                  </a:lnTo>
                  <a:lnTo>
                    <a:pt x="165" y="35"/>
                  </a:lnTo>
                  <a:lnTo>
                    <a:pt x="165" y="35"/>
                  </a:lnTo>
                  <a:lnTo>
                    <a:pt x="165" y="32"/>
                  </a:lnTo>
                  <a:lnTo>
                    <a:pt x="163" y="35"/>
                  </a:lnTo>
                  <a:lnTo>
                    <a:pt x="160" y="37"/>
                  </a:lnTo>
                  <a:lnTo>
                    <a:pt x="160" y="35"/>
                  </a:lnTo>
                  <a:lnTo>
                    <a:pt x="160" y="32"/>
                  </a:lnTo>
                  <a:lnTo>
                    <a:pt x="157" y="35"/>
                  </a:lnTo>
                  <a:lnTo>
                    <a:pt x="152" y="37"/>
                  </a:lnTo>
                  <a:lnTo>
                    <a:pt x="144" y="43"/>
                  </a:lnTo>
                  <a:lnTo>
                    <a:pt x="141" y="48"/>
                  </a:lnTo>
                  <a:lnTo>
                    <a:pt x="139" y="48"/>
                  </a:lnTo>
                  <a:lnTo>
                    <a:pt x="131" y="51"/>
                  </a:lnTo>
                  <a:lnTo>
                    <a:pt x="123" y="53"/>
                  </a:lnTo>
                  <a:lnTo>
                    <a:pt x="101" y="61"/>
                  </a:lnTo>
                  <a:lnTo>
                    <a:pt x="88" y="64"/>
                  </a:lnTo>
                  <a:lnTo>
                    <a:pt x="85" y="64"/>
                  </a:lnTo>
                  <a:lnTo>
                    <a:pt x="77" y="61"/>
                  </a:lnTo>
                  <a:lnTo>
                    <a:pt x="77" y="61"/>
                  </a:lnTo>
                  <a:lnTo>
                    <a:pt x="75" y="61"/>
                  </a:lnTo>
                  <a:lnTo>
                    <a:pt x="72" y="59"/>
                  </a:lnTo>
                  <a:lnTo>
                    <a:pt x="69" y="56"/>
                  </a:lnTo>
                  <a:lnTo>
                    <a:pt x="69" y="56"/>
                  </a:lnTo>
                  <a:lnTo>
                    <a:pt x="69" y="56"/>
                  </a:lnTo>
                  <a:lnTo>
                    <a:pt x="67" y="59"/>
                  </a:lnTo>
                  <a:lnTo>
                    <a:pt x="67" y="59"/>
                  </a:lnTo>
                  <a:lnTo>
                    <a:pt x="64" y="61"/>
                  </a:lnTo>
                  <a:lnTo>
                    <a:pt x="64" y="61"/>
                  </a:lnTo>
                  <a:lnTo>
                    <a:pt x="64" y="61"/>
                  </a:lnTo>
                  <a:lnTo>
                    <a:pt x="64" y="61"/>
                  </a:lnTo>
                  <a:lnTo>
                    <a:pt x="61" y="64"/>
                  </a:lnTo>
                  <a:lnTo>
                    <a:pt x="61" y="64"/>
                  </a:lnTo>
                  <a:lnTo>
                    <a:pt x="61" y="64"/>
                  </a:lnTo>
                  <a:lnTo>
                    <a:pt x="61" y="64"/>
                  </a:lnTo>
                  <a:lnTo>
                    <a:pt x="61" y="67"/>
                  </a:lnTo>
                  <a:lnTo>
                    <a:pt x="61" y="69"/>
                  </a:lnTo>
                  <a:lnTo>
                    <a:pt x="61" y="69"/>
                  </a:lnTo>
                  <a:lnTo>
                    <a:pt x="61" y="69"/>
                  </a:lnTo>
                  <a:lnTo>
                    <a:pt x="59" y="69"/>
                  </a:lnTo>
                  <a:lnTo>
                    <a:pt x="59" y="72"/>
                  </a:lnTo>
                  <a:lnTo>
                    <a:pt x="59" y="72"/>
                  </a:lnTo>
                  <a:lnTo>
                    <a:pt x="56" y="72"/>
                  </a:lnTo>
                  <a:lnTo>
                    <a:pt x="53" y="72"/>
                  </a:lnTo>
                  <a:lnTo>
                    <a:pt x="53" y="72"/>
                  </a:lnTo>
                  <a:lnTo>
                    <a:pt x="53" y="72"/>
                  </a:lnTo>
                  <a:lnTo>
                    <a:pt x="53" y="72"/>
                  </a:lnTo>
                  <a:lnTo>
                    <a:pt x="53" y="75"/>
                  </a:lnTo>
                  <a:lnTo>
                    <a:pt x="53" y="83"/>
                  </a:lnTo>
                  <a:lnTo>
                    <a:pt x="53" y="91"/>
                  </a:lnTo>
                  <a:lnTo>
                    <a:pt x="53" y="101"/>
                  </a:lnTo>
                  <a:lnTo>
                    <a:pt x="56" y="109"/>
                  </a:lnTo>
                  <a:lnTo>
                    <a:pt x="56" y="117"/>
                  </a:lnTo>
                  <a:lnTo>
                    <a:pt x="56" y="125"/>
                  </a:lnTo>
                  <a:lnTo>
                    <a:pt x="56" y="133"/>
                  </a:lnTo>
                  <a:lnTo>
                    <a:pt x="56" y="144"/>
                  </a:lnTo>
                  <a:lnTo>
                    <a:pt x="56" y="144"/>
                  </a:lnTo>
                  <a:lnTo>
                    <a:pt x="59" y="149"/>
                  </a:lnTo>
                  <a:lnTo>
                    <a:pt x="56" y="149"/>
                  </a:lnTo>
                  <a:lnTo>
                    <a:pt x="53" y="152"/>
                  </a:lnTo>
                  <a:lnTo>
                    <a:pt x="53" y="152"/>
                  </a:lnTo>
                  <a:lnTo>
                    <a:pt x="53" y="155"/>
                  </a:lnTo>
                  <a:lnTo>
                    <a:pt x="51" y="158"/>
                  </a:lnTo>
                  <a:lnTo>
                    <a:pt x="51" y="158"/>
                  </a:lnTo>
                  <a:lnTo>
                    <a:pt x="48" y="158"/>
                  </a:lnTo>
                  <a:lnTo>
                    <a:pt x="45" y="158"/>
                  </a:lnTo>
                  <a:lnTo>
                    <a:pt x="45" y="158"/>
                  </a:lnTo>
                  <a:lnTo>
                    <a:pt x="43" y="158"/>
                  </a:lnTo>
                  <a:lnTo>
                    <a:pt x="40" y="163"/>
                  </a:lnTo>
                  <a:lnTo>
                    <a:pt x="40" y="163"/>
                  </a:lnTo>
                  <a:lnTo>
                    <a:pt x="35" y="163"/>
                  </a:lnTo>
                  <a:lnTo>
                    <a:pt x="35" y="163"/>
                  </a:lnTo>
                  <a:lnTo>
                    <a:pt x="35" y="166"/>
                  </a:lnTo>
                  <a:lnTo>
                    <a:pt x="32" y="166"/>
                  </a:lnTo>
                  <a:lnTo>
                    <a:pt x="32" y="166"/>
                  </a:lnTo>
                  <a:lnTo>
                    <a:pt x="32" y="166"/>
                  </a:lnTo>
                  <a:lnTo>
                    <a:pt x="32" y="168"/>
                  </a:lnTo>
                  <a:lnTo>
                    <a:pt x="32" y="168"/>
                  </a:lnTo>
                  <a:lnTo>
                    <a:pt x="29" y="168"/>
                  </a:lnTo>
                  <a:lnTo>
                    <a:pt x="27" y="168"/>
                  </a:lnTo>
                  <a:lnTo>
                    <a:pt x="21" y="174"/>
                  </a:lnTo>
                  <a:lnTo>
                    <a:pt x="21" y="174"/>
                  </a:lnTo>
                  <a:lnTo>
                    <a:pt x="19" y="176"/>
                  </a:lnTo>
                  <a:lnTo>
                    <a:pt x="16" y="179"/>
                  </a:lnTo>
                  <a:lnTo>
                    <a:pt x="11" y="187"/>
                  </a:lnTo>
                  <a:lnTo>
                    <a:pt x="11" y="190"/>
                  </a:lnTo>
                  <a:lnTo>
                    <a:pt x="8" y="195"/>
                  </a:lnTo>
                  <a:lnTo>
                    <a:pt x="0" y="203"/>
                  </a:lnTo>
                  <a:lnTo>
                    <a:pt x="0" y="206"/>
                  </a:lnTo>
                  <a:lnTo>
                    <a:pt x="0" y="208"/>
                  </a:lnTo>
                  <a:lnTo>
                    <a:pt x="0" y="216"/>
                  </a:lnTo>
                  <a:lnTo>
                    <a:pt x="3" y="222"/>
                  </a:lnTo>
                  <a:lnTo>
                    <a:pt x="5" y="222"/>
                  </a:lnTo>
                  <a:lnTo>
                    <a:pt x="11" y="222"/>
                  </a:lnTo>
                  <a:lnTo>
                    <a:pt x="16" y="224"/>
                  </a:lnTo>
                  <a:lnTo>
                    <a:pt x="16" y="224"/>
                  </a:lnTo>
                  <a:lnTo>
                    <a:pt x="19" y="230"/>
                  </a:lnTo>
                  <a:lnTo>
                    <a:pt x="19" y="232"/>
                  </a:lnTo>
                  <a:lnTo>
                    <a:pt x="21" y="235"/>
                  </a:lnTo>
                  <a:lnTo>
                    <a:pt x="24" y="238"/>
                  </a:lnTo>
                  <a:lnTo>
                    <a:pt x="24" y="238"/>
                  </a:lnTo>
                  <a:lnTo>
                    <a:pt x="27" y="240"/>
                  </a:lnTo>
                  <a:lnTo>
                    <a:pt x="27" y="243"/>
                  </a:lnTo>
                  <a:lnTo>
                    <a:pt x="24" y="248"/>
                  </a:lnTo>
                  <a:lnTo>
                    <a:pt x="21" y="251"/>
                  </a:lnTo>
                  <a:lnTo>
                    <a:pt x="21" y="254"/>
                  </a:lnTo>
                  <a:lnTo>
                    <a:pt x="21" y="256"/>
                  </a:lnTo>
                  <a:lnTo>
                    <a:pt x="19" y="256"/>
                  </a:lnTo>
                  <a:lnTo>
                    <a:pt x="19" y="259"/>
                  </a:lnTo>
                  <a:lnTo>
                    <a:pt x="16" y="262"/>
                  </a:lnTo>
                  <a:lnTo>
                    <a:pt x="16" y="264"/>
                  </a:lnTo>
                  <a:lnTo>
                    <a:pt x="19" y="270"/>
                  </a:lnTo>
                  <a:lnTo>
                    <a:pt x="16" y="272"/>
                  </a:lnTo>
                  <a:lnTo>
                    <a:pt x="16" y="275"/>
                  </a:lnTo>
                  <a:lnTo>
                    <a:pt x="16" y="275"/>
                  </a:lnTo>
                  <a:lnTo>
                    <a:pt x="19" y="280"/>
                  </a:lnTo>
                  <a:lnTo>
                    <a:pt x="19" y="283"/>
                  </a:lnTo>
                  <a:lnTo>
                    <a:pt x="19" y="286"/>
                  </a:lnTo>
                  <a:lnTo>
                    <a:pt x="19" y="286"/>
                  </a:lnTo>
                  <a:lnTo>
                    <a:pt x="16" y="288"/>
                  </a:lnTo>
                  <a:lnTo>
                    <a:pt x="16" y="288"/>
                  </a:lnTo>
                  <a:lnTo>
                    <a:pt x="16" y="291"/>
                  </a:lnTo>
                  <a:lnTo>
                    <a:pt x="19" y="299"/>
                  </a:lnTo>
                  <a:lnTo>
                    <a:pt x="19" y="304"/>
                  </a:lnTo>
                  <a:lnTo>
                    <a:pt x="21" y="310"/>
                  </a:lnTo>
                  <a:lnTo>
                    <a:pt x="21" y="310"/>
                  </a:lnTo>
                  <a:lnTo>
                    <a:pt x="19" y="312"/>
                  </a:lnTo>
                  <a:lnTo>
                    <a:pt x="19" y="315"/>
                  </a:lnTo>
                  <a:lnTo>
                    <a:pt x="19" y="318"/>
                  </a:lnTo>
                  <a:lnTo>
                    <a:pt x="19" y="320"/>
                  </a:lnTo>
                  <a:lnTo>
                    <a:pt x="19" y="323"/>
                  </a:lnTo>
                  <a:lnTo>
                    <a:pt x="16" y="334"/>
                  </a:lnTo>
                  <a:lnTo>
                    <a:pt x="19" y="337"/>
                  </a:lnTo>
                  <a:lnTo>
                    <a:pt x="24" y="339"/>
                  </a:lnTo>
                  <a:lnTo>
                    <a:pt x="32" y="345"/>
                  </a:lnTo>
                  <a:lnTo>
                    <a:pt x="35" y="347"/>
                  </a:lnTo>
                  <a:lnTo>
                    <a:pt x="35" y="347"/>
                  </a:lnTo>
                  <a:lnTo>
                    <a:pt x="37" y="350"/>
                  </a:lnTo>
                  <a:lnTo>
                    <a:pt x="37" y="350"/>
                  </a:lnTo>
                  <a:lnTo>
                    <a:pt x="43" y="353"/>
                  </a:lnTo>
                  <a:lnTo>
                    <a:pt x="59" y="353"/>
                  </a:lnTo>
                  <a:lnTo>
                    <a:pt x="61" y="355"/>
                  </a:lnTo>
                  <a:lnTo>
                    <a:pt x="64" y="358"/>
                  </a:lnTo>
                  <a:lnTo>
                    <a:pt x="69" y="361"/>
                  </a:lnTo>
                  <a:lnTo>
                    <a:pt x="72" y="366"/>
                  </a:lnTo>
                  <a:lnTo>
                    <a:pt x="72" y="369"/>
                  </a:lnTo>
                  <a:lnTo>
                    <a:pt x="75" y="369"/>
                  </a:lnTo>
                  <a:lnTo>
                    <a:pt x="75" y="369"/>
                  </a:lnTo>
                  <a:lnTo>
                    <a:pt x="88" y="371"/>
                  </a:lnTo>
                  <a:lnTo>
                    <a:pt x="93" y="371"/>
                  </a:lnTo>
                  <a:lnTo>
                    <a:pt x="109" y="385"/>
                  </a:lnTo>
                  <a:lnTo>
                    <a:pt x="115" y="390"/>
                  </a:lnTo>
                  <a:lnTo>
                    <a:pt x="123" y="403"/>
                  </a:lnTo>
                  <a:lnTo>
                    <a:pt x="125" y="406"/>
                  </a:lnTo>
                  <a:lnTo>
                    <a:pt x="128" y="409"/>
                  </a:lnTo>
                  <a:lnTo>
                    <a:pt x="141" y="419"/>
                  </a:lnTo>
                  <a:lnTo>
                    <a:pt x="144" y="419"/>
                  </a:lnTo>
                  <a:lnTo>
                    <a:pt x="144" y="419"/>
                  </a:lnTo>
                  <a:lnTo>
                    <a:pt x="155" y="419"/>
                  </a:lnTo>
                  <a:lnTo>
                    <a:pt x="155" y="419"/>
                  </a:lnTo>
                  <a:lnTo>
                    <a:pt x="163" y="422"/>
                  </a:lnTo>
                  <a:lnTo>
                    <a:pt x="163" y="422"/>
                  </a:lnTo>
                  <a:lnTo>
                    <a:pt x="163" y="422"/>
                  </a:lnTo>
                  <a:lnTo>
                    <a:pt x="168" y="422"/>
                  </a:lnTo>
                  <a:lnTo>
                    <a:pt x="168" y="425"/>
                  </a:lnTo>
                  <a:lnTo>
                    <a:pt x="168" y="425"/>
                  </a:lnTo>
                  <a:lnTo>
                    <a:pt x="171" y="425"/>
                  </a:lnTo>
                  <a:lnTo>
                    <a:pt x="171" y="425"/>
                  </a:lnTo>
                  <a:lnTo>
                    <a:pt x="171" y="427"/>
                  </a:lnTo>
                  <a:lnTo>
                    <a:pt x="171" y="430"/>
                  </a:lnTo>
                  <a:lnTo>
                    <a:pt x="173" y="433"/>
                  </a:lnTo>
                  <a:lnTo>
                    <a:pt x="173" y="433"/>
                  </a:lnTo>
                  <a:lnTo>
                    <a:pt x="179" y="435"/>
                  </a:lnTo>
                  <a:lnTo>
                    <a:pt x="181" y="435"/>
                  </a:lnTo>
                  <a:lnTo>
                    <a:pt x="181" y="435"/>
                  </a:lnTo>
                  <a:lnTo>
                    <a:pt x="181" y="438"/>
                  </a:lnTo>
                  <a:lnTo>
                    <a:pt x="184" y="438"/>
                  </a:lnTo>
                  <a:lnTo>
                    <a:pt x="184" y="443"/>
                  </a:lnTo>
                  <a:lnTo>
                    <a:pt x="184" y="446"/>
                  </a:lnTo>
                  <a:lnTo>
                    <a:pt x="184" y="449"/>
                  </a:lnTo>
                  <a:lnTo>
                    <a:pt x="184" y="451"/>
                  </a:lnTo>
                  <a:lnTo>
                    <a:pt x="184" y="451"/>
                  </a:lnTo>
                  <a:lnTo>
                    <a:pt x="184" y="454"/>
                  </a:lnTo>
                  <a:lnTo>
                    <a:pt x="187" y="454"/>
                  </a:lnTo>
                  <a:lnTo>
                    <a:pt x="187" y="454"/>
                  </a:lnTo>
                  <a:lnTo>
                    <a:pt x="189" y="457"/>
                  </a:lnTo>
                  <a:lnTo>
                    <a:pt x="189" y="457"/>
                  </a:lnTo>
                  <a:lnTo>
                    <a:pt x="189" y="459"/>
                  </a:lnTo>
                  <a:lnTo>
                    <a:pt x="189" y="462"/>
                  </a:lnTo>
                  <a:lnTo>
                    <a:pt x="189" y="470"/>
                  </a:lnTo>
                  <a:lnTo>
                    <a:pt x="189" y="473"/>
                  </a:lnTo>
                  <a:lnTo>
                    <a:pt x="189" y="475"/>
                  </a:lnTo>
                  <a:lnTo>
                    <a:pt x="189" y="475"/>
                  </a:lnTo>
                  <a:lnTo>
                    <a:pt x="189" y="481"/>
                  </a:lnTo>
                  <a:lnTo>
                    <a:pt x="189" y="483"/>
                  </a:lnTo>
                  <a:lnTo>
                    <a:pt x="192" y="486"/>
                  </a:lnTo>
                  <a:lnTo>
                    <a:pt x="192" y="489"/>
                  </a:lnTo>
                  <a:lnTo>
                    <a:pt x="192" y="489"/>
                  </a:lnTo>
                  <a:lnTo>
                    <a:pt x="192" y="494"/>
                  </a:lnTo>
                  <a:lnTo>
                    <a:pt x="192" y="494"/>
                  </a:lnTo>
                  <a:lnTo>
                    <a:pt x="192" y="494"/>
                  </a:lnTo>
                  <a:lnTo>
                    <a:pt x="192" y="497"/>
                  </a:lnTo>
                  <a:lnTo>
                    <a:pt x="192" y="499"/>
                  </a:lnTo>
                  <a:lnTo>
                    <a:pt x="192" y="499"/>
                  </a:lnTo>
                  <a:lnTo>
                    <a:pt x="195" y="502"/>
                  </a:lnTo>
                  <a:lnTo>
                    <a:pt x="195" y="505"/>
                  </a:lnTo>
                  <a:lnTo>
                    <a:pt x="195" y="505"/>
                  </a:lnTo>
                  <a:lnTo>
                    <a:pt x="195" y="510"/>
                  </a:lnTo>
                  <a:lnTo>
                    <a:pt x="197" y="510"/>
                  </a:lnTo>
                  <a:lnTo>
                    <a:pt x="197" y="510"/>
                  </a:lnTo>
                  <a:lnTo>
                    <a:pt x="208" y="513"/>
                  </a:lnTo>
                  <a:lnTo>
                    <a:pt x="211" y="516"/>
                  </a:lnTo>
                  <a:lnTo>
                    <a:pt x="211" y="521"/>
                  </a:lnTo>
                  <a:lnTo>
                    <a:pt x="208" y="526"/>
                  </a:lnTo>
                  <a:lnTo>
                    <a:pt x="205" y="534"/>
                  </a:lnTo>
                  <a:lnTo>
                    <a:pt x="203" y="540"/>
                  </a:lnTo>
                  <a:lnTo>
                    <a:pt x="205" y="548"/>
                  </a:lnTo>
                  <a:lnTo>
                    <a:pt x="205" y="553"/>
                  </a:lnTo>
                  <a:lnTo>
                    <a:pt x="205" y="558"/>
                  </a:lnTo>
                  <a:lnTo>
                    <a:pt x="205" y="561"/>
                  </a:lnTo>
                  <a:lnTo>
                    <a:pt x="208" y="561"/>
                  </a:lnTo>
                  <a:lnTo>
                    <a:pt x="208" y="569"/>
                  </a:lnTo>
                  <a:lnTo>
                    <a:pt x="208" y="572"/>
                  </a:lnTo>
                  <a:lnTo>
                    <a:pt x="211" y="572"/>
                  </a:lnTo>
                  <a:lnTo>
                    <a:pt x="213" y="577"/>
                  </a:lnTo>
                  <a:lnTo>
                    <a:pt x="213" y="577"/>
                  </a:lnTo>
                  <a:lnTo>
                    <a:pt x="216" y="580"/>
                  </a:lnTo>
                  <a:lnTo>
                    <a:pt x="216" y="588"/>
                  </a:lnTo>
                  <a:lnTo>
                    <a:pt x="216" y="588"/>
                  </a:lnTo>
                  <a:lnTo>
                    <a:pt x="221" y="596"/>
                  </a:lnTo>
                  <a:lnTo>
                    <a:pt x="221" y="598"/>
                  </a:lnTo>
                  <a:lnTo>
                    <a:pt x="224" y="598"/>
                  </a:lnTo>
                  <a:lnTo>
                    <a:pt x="229" y="601"/>
                  </a:lnTo>
                  <a:lnTo>
                    <a:pt x="248" y="601"/>
                  </a:lnTo>
                  <a:lnTo>
                    <a:pt x="253" y="604"/>
                  </a:lnTo>
                  <a:lnTo>
                    <a:pt x="256" y="604"/>
                  </a:lnTo>
                  <a:lnTo>
                    <a:pt x="259" y="604"/>
                  </a:lnTo>
                  <a:lnTo>
                    <a:pt x="259" y="606"/>
                  </a:lnTo>
                  <a:lnTo>
                    <a:pt x="261" y="612"/>
                  </a:lnTo>
                  <a:lnTo>
                    <a:pt x="264" y="614"/>
                  </a:lnTo>
                  <a:lnTo>
                    <a:pt x="267" y="617"/>
                  </a:lnTo>
                  <a:lnTo>
                    <a:pt x="267" y="620"/>
                  </a:lnTo>
                  <a:lnTo>
                    <a:pt x="267" y="620"/>
                  </a:lnTo>
                  <a:lnTo>
                    <a:pt x="267" y="622"/>
                  </a:lnTo>
                  <a:lnTo>
                    <a:pt x="267" y="622"/>
                  </a:lnTo>
                  <a:lnTo>
                    <a:pt x="267" y="622"/>
                  </a:lnTo>
                  <a:lnTo>
                    <a:pt x="267" y="622"/>
                  </a:lnTo>
                  <a:lnTo>
                    <a:pt x="267" y="622"/>
                  </a:lnTo>
                  <a:lnTo>
                    <a:pt x="267" y="622"/>
                  </a:lnTo>
                  <a:lnTo>
                    <a:pt x="267" y="622"/>
                  </a:lnTo>
                  <a:lnTo>
                    <a:pt x="267" y="622"/>
                  </a:lnTo>
                  <a:lnTo>
                    <a:pt x="267" y="622"/>
                  </a:lnTo>
                  <a:lnTo>
                    <a:pt x="267" y="622"/>
                  </a:lnTo>
                  <a:lnTo>
                    <a:pt x="267" y="622"/>
                  </a:lnTo>
                  <a:lnTo>
                    <a:pt x="267" y="622"/>
                  </a:lnTo>
                  <a:lnTo>
                    <a:pt x="267" y="622"/>
                  </a:lnTo>
                  <a:lnTo>
                    <a:pt x="267" y="622"/>
                  </a:lnTo>
                  <a:lnTo>
                    <a:pt x="267" y="622"/>
                  </a:lnTo>
                  <a:lnTo>
                    <a:pt x="285" y="622"/>
                  </a:lnTo>
                  <a:lnTo>
                    <a:pt x="304" y="620"/>
                  </a:lnTo>
                  <a:lnTo>
                    <a:pt x="323" y="620"/>
                  </a:lnTo>
                  <a:lnTo>
                    <a:pt x="341" y="617"/>
                  </a:lnTo>
                  <a:lnTo>
                    <a:pt x="360" y="617"/>
                  </a:lnTo>
                  <a:lnTo>
                    <a:pt x="379" y="614"/>
                  </a:lnTo>
                  <a:lnTo>
                    <a:pt x="398" y="612"/>
                  </a:lnTo>
                  <a:lnTo>
                    <a:pt x="416" y="612"/>
                  </a:lnTo>
                  <a:lnTo>
                    <a:pt x="435" y="609"/>
                  </a:lnTo>
                  <a:lnTo>
                    <a:pt x="454" y="609"/>
                  </a:lnTo>
                  <a:lnTo>
                    <a:pt x="472" y="606"/>
                  </a:lnTo>
                  <a:lnTo>
                    <a:pt x="491" y="604"/>
                  </a:lnTo>
                  <a:lnTo>
                    <a:pt x="510" y="604"/>
                  </a:lnTo>
                  <a:lnTo>
                    <a:pt x="528" y="601"/>
                  </a:lnTo>
                  <a:lnTo>
                    <a:pt x="547" y="598"/>
                  </a:lnTo>
                  <a:lnTo>
                    <a:pt x="566" y="598"/>
                  </a:lnTo>
                  <a:lnTo>
                    <a:pt x="563" y="588"/>
                  </a:lnTo>
                  <a:lnTo>
                    <a:pt x="563" y="585"/>
                  </a:lnTo>
                  <a:lnTo>
                    <a:pt x="566" y="582"/>
                  </a:lnTo>
                  <a:lnTo>
                    <a:pt x="566" y="582"/>
                  </a:lnTo>
                  <a:lnTo>
                    <a:pt x="563" y="580"/>
                  </a:lnTo>
                  <a:lnTo>
                    <a:pt x="563" y="577"/>
                  </a:lnTo>
                  <a:lnTo>
                    <a:pt x="563" y="577"/>
                  </a:lnTo>
                  <a:lnTo>
                    <a:pt x="563" y="574"/>
                  </a:lnTo>
                  <a:lnTo>
                    <a:pt x="563" y="572"/>
                  </a:lnTo>
                  <a:lnTo>
                    <a:pt x="566" y="569"/>
                  </a:lnTo>
                  <a:lnTo>
                    <a:pt x="566" y="558"/>
                  </a:lnTo>
                  <a:lnTo>
                    <a:pt x="566" y="556"/>
                  </a:lnTo>
                  <a:lnTo>
                    <a:pt x="563" y="553"/>
                  </a:lnTo>
                  <a:lnTo>
                    <a:pt x="558" y="548"/>
                  </a:lnTo>
                  <a:lnTo>
                    <a:pt x="558" y="545"/>
                  </a:lnTo>
                  <a:lnTo>
                    <a:pt x="558" y="545"/>
                  </a:lnTo>
                  <a:lnTo>
                    <a:pt x="555" y="534"/>
                  </a:lnTo>
                  <a:lnTo>
                    <a:pt x="555" y="532"/>
                  </a:lnTo>
                  <a:lnTo>
                    <a:pt x="552" y="529"/>
                  </a:lnTo>
                  <a:lnTo>
                    <a:pt x="550" y="526"/>
                  </a:lnTo>
                  <a:lnTo>
                    <a:pt x="547" y="526"/>
                  </a:lnTo>
                  <a:lnTo>
                    <a:pt x="547" y="524"/>
                  </a:lnTo>
                  <a:lnTo>
                    <a:pt x="550" y="518"/>
                  </a:lnTo>
                  <a:lnTo>
                    <a:pt x="550" y="516"/>
                  </a:lnTo>
                  <a:lnTo>
                    <a:pt x="550" y="516"/>
                  </a:lnTo>
                  <a:lnTo>
                    <a:pt x="550" y="516"/>
                  </a:lnTo>
                  <a:lnTo>
                    <a:pt x="547" y="513"/>
                  </a:lnTo>
                  <a:lnTo>
                    <a:pt x="547" y="510"/>
                  </a:lnTo>
                  <a:lnTo>
                    <a:pt x="547" y="508"/>
                  </a:lnTo>
                  <a:lnTo>
                    <a:pt x="547" y="508"/>
                  </a:lnTo>
                  <a:lnTo>
                    <a:pt x="547" y="505"/>
                  </a:lnTo>
                  <a:lnTo>
                    <a:pt x="547" y="499"/>
                  </a:lnTo>
                  <a:lnTo>
                    <a:pt x="544" y="499"/>
                  </a:lnTo>
                  <a:lnTo>
                    <a:pt x="544" y="497"/>
                  </a:lnTo>
                  <a:lnTo>
                    <a:pt x="544" y="491"/>
                  </a:lnTo>
                  <a:lnTo>
                    <a:pt x="544" y="481"/>
                  </a:lnTo>
                  <a:lnTo>
                    <a:pt x="544" y="478"/>
                  </a:lnTo>
                  <a:lnTo>
                    <a:pt x="550" y="465"/>
                  </a:lnTo>
                  <a:lnTo>
                    <a:pt x="552" y="457"/>
                  </a:lnTo>
                  <a:lnTo>
                    <a:pt x="550" y="454"/>
                  </a:lnTo>
                  <a:lnTo>
                    <a:pt x="550" y="451"/>
                  </a:lnTo>
                  <a:lnTo>
                    <a:pt x="552" y="449"/>
                  </a:lnTo>
                  <a:lnTo>
                    <a:pt x="555" y="435"/>
                  </a:lnTo>
                  <a:lnTo>
                    <a:pt x="558" y="430"/>
                  </a:lnTo>
                  <a:lnTo>
                    <a:pt x="558" y="427"/>
                  </a:lnTo>
                  <a:lnTo>
                    <a:pt x="558" y="427"/>
                  </a:lnTo>
                  <a:lnTo>
                    <a:pt x="558" y="427"/>
                  </a:lnTo>
                  <a:lnTo>
                    <a:pt x="558" y="425"/>
                  </a:lnTo>
                  <a:lnTo>
                    <a:pt x="558" y="425"/>
                  </a:lnTo>
                  <a:lnTo>
                    <a:pt x="558" y="422"/>
                  </a:lnTo>
                  <a:lnTo>
                    <a:pt x="558" y="422"/>
                  </a:lnTo>
                  <a:lnTo>
                    <a:pt x="558" y="419"/>
                  </a:lnTo>
                  <a:lnTo>
                    <a:pt x="555" y="417"/>
                  </a:lnTo>
                  <a:lnTo>
                    <a:pt x="555" y="417"/>
                  </a:lnTo>
                  <a:lnTo>
                    <a:pt x="552" y="414"/>
                  </a:lnTo>
                  <a:lnTo>
                    <a:pt x="552" y="411"/>
                  </a:lnTo>
                  <a:lnTo>
                    <a:pt x="552" y="401"/>
                  </a:lnTo>
                  <a:lnTo>
                    <a:pt x="552" y="398"/>
                  </a:lnTo>
                  <a:lnTo>
                    <a:pt x="555" y="395"/>
                  </a:lnTo>
                  <a:lnTo>
                    <a:pt x="555" y="395"/>
                  </a:lnTo>
                  <a:lnTo>
                    <a:pt x="555" y="390"/>
                  </a:lnTo>
                  <a:lnTo>
                    <a:pt x="555" y="387"/>
                  </a:lnTo>
                  <a:lnTo>
                    <a:pt x="558" y="374"/>
                  </a:lnTo>
                  <a:lnTo>
                    <a:pt x="560" y="374"/>
                  </a:lnTo>
                  <a:lnTo>
                    <a:pt x="560" y="371"/>
                  </a:lnTo>
                  <a:lnTo>
                    <a:pt x="568" y="369"/>
                  </a:lnTo>
                  <a:lnTo>
                    <a:pt x="568" y="366"/>
                  </a:lnTo>
                  <a:lnTo>
                    <a:pt x="571" y="363"/>
                  </a:lnTo>
                  <a:lnTo>
                    <a:pt x="571" y="361"/>
                  </a:lnTo>
                  <a:lnTo>
                    <a:pt x="571" y="358"/>
                  </a:lnTo>
                  <a:lnTo>
                    <a:pt x="571" y="355"/>
                  </a:lnTo>
                  <a:lnTo>
                    <a:pt x="566" y="350"/>
                  </a:lnTo>
                  <a:lnTo>
                    <a:pt x="566" y="345"/>
                  </a:lnTo>
                  <a:lnTo>
                    <a:pt x="566" y="345"/>
                  </a:lnTo>
                  <a:lnTo>
                    <a:pt x="566" y="342"/>
                  </a:lnTo>
                  <a:lnTo>
                    <a:pt x="566" y="339"/>
                  </a:lnTo>
                  <a:lnTo>
                    <a:pt x="566" y="337"/>
                  </a:lnTo>
                  <a:lnTo>
                    <a:pt x="566" y="334"/>
                  </a:lnTo>
                  <a:lnTo>
                    <a:pt x="566" y="331"/>
                  </a:lnTo>
                  <a:lnTo>
                    <a:pt x="568" y="315"/>
                  </a:lnTo>
                  <a:lnTo>
                    <a:pt x="568" y="310"/>
                  </a:lnTo>
                  <a:lnTo>
                    <a:pt x="571" y="304"/>
                  </a:lnTo>
                  <a:lnTo>
                    <a:pt x="576" y="296"/>
                  </a:lnTo>
                  <a:lnTo>
                    <a:pt x="576" y="294"/>
                  </a:lnTo>
                  <a:lnTo>
                    <a:pt x="576" y="291"/>
                  </a:lnTo>
                  <a:lnTo>
                    <a:pt x="579" y="291"/>
                  </a:lnTo>
                  <a:lnTo>
                    <a:pt x="579" y="291"/>
                  </a:lnTo>
                  <a:lnTo>
                    <a:pt x="579" y="288"/>
                  </a:lnTo>
                  <a:lnTo>
                    <a:pt x="579" y="278"/>
                  </a:lnTo>
                  <a:lnTo>
                    <a:pt x="579" y="275"/>
                  </a:lnTo>
                  <a:lnTo>
                    <a:pt x="579" y="275"/>
                  </a:lnTo>
                  <a:close/>
                  <a:moveTo>
                    <a:pt x="205" y="24"/>
                  </a:moveTo>
                  <a:lnTo>
                    <a:pt x="208" y="24"/>
                  </a:lnTo>
                  <a:lnTo>
                    <a:pt x="208" y="24"/>
                  </a:lnTo>
                  <a:lnTo>
                    <a:pt x="208" y="21"/>
                  </a:lnTo>
                  <a:lnTo>
                    <a:pt x="208" y="19"/>
                  </a:lnTo>
                  <a:lnTo>
                    <a:pt x="205" y="19"/>
                  </a:lnTo>
                  <a:lnTo>
                    <a:pt x="205" y="19"/>
                  </a:lnTo>
                  <a:lnTo>
                    <a:pt x="203" y="19"/>
                  </a:lnTo>
                  <a:lnTo>
                    <a:pt x="203" y="19"/>
                  </a:lnTo>
                  <a:lnTo>
                    <a:pt x="203" y="19"/>
                  </a:lnTo>
                  <a:lnTo>
                    <a:pt x="203" y="21"/>
                  </a:lnTo>
                  <a:lnTo>
                    <a:pt x="203" y="21"/>
                  </a:lnTo>
                  <a:lnTo>
                    <a:pt x="205" y="24"/>
                  </a:lnTo>
                  <a:lnTo>
                    <a:pt x="205" y="24"/>
                  </a:lnTo>
                  <a:close/>
                  <a:moveTo>
                    <a:pt x="237" y="5"/>
                  </a:moveTo>
                  <a:lnTo>
                    <a:pt x="237" y="3"/>
                  </a:lnTo>
                  <a:lnTo>
                    <a:pt x="237" y="3"/>
                  </a:lnTo>
                  <a:lnTo>
                    <a:pt x="237" y="0"/>
                  </a:lnTo>
                  <a:lnTo>
                    <a:pt x="237" y="0"/>
                  </a:lnTo>
                  <a:lnTo>
                    <a:pt x="237" y="0"/>
                  </a:lnTo>
                  <a:lnTo>
                    <a:pt x="235" y="0"/>
                  </a:lnTo>
                  <a:lnTo>
                    <a:pt x="232" y="3"/>
                  </a:lnTo>
                  <a:lnTo>
                    <a:pt x="232" y="8"/>
                  </a:lnTo>
                  <a:lnTo>
                    <a:pt x="232" y="11"/>
                  </a:lnTo>
                  <a:lnTo>
                    <a:pt x="235" y="8"/>
                  </a:lnTo>
                  <a:lnTo>
                    <a:pt x="237" y="5"/>
                  </a:lnTo>
                  <a:close/>
                  <a:moveTo>
                    <a:pt x="619" y="195"/>
                  </a:moveTo>
                  <a:lnTo>
                    <a:pt x="619" y="195"/>
                  </a:lnTo>
                  <a:lnTo>
                    <a:pt x="619" y="192"/>
                  </a:lnTo>
                  <a:lnTo>
                    <a:pt x="619" y="190"/>
                  </a:lnTo>
                  <a:lnTo>
                    <a:pt x="616" y="187"/>
                  </a:lnTo>
                  <a:lnTo>
                    <a:pt x="616" y="187"/>
                  </a:lnTo>
                  <a:lnTo>
                    <a:pt x="614" y="190"/>
                  </a:lnTo>
                  <a:lnTo>
                    <a:pt x="611" y="190"/>
                  </a:lnTo>
                  <a:lnTo>
                    <a:pt x="611" y="187"/>
                  </a:lnTo>
                  <a:lnTo>
                    <a:pt x="608" y="187"/>
                  </a:lnTo>
                  <a:lnTo>
                    <a:pt x="608" y="187"/>
                  </a:lnTo>
                  <a:lnTo>
                    <a:pt x="608" y="190"/>
                  </a:lnTo>
                  <a:lnTo>
                    <a:pt x="608" y="192"/>
                  </a:lnTo>
                  <a:lnTo>
                    <a:pt x="608" y="195"/>
                  </a:lnTo>
                  <a:lnTo>
                    <a:pt x="608" y="198"/>
                  </a:lnTo>
                  <a:lnTo>
                    <a:pt x="608" y="198"/>
                  </a:lnTo>
                  <a:lnTo>
                    <a:pt x="608" y="198"/>
                  </a:lnTo>
                  <a:lnTo>
                    <a:pt x="611" y="198"/>
                  </a:lnTo>
                  <a:lnTo>
                    <a:pt x="611" y="198"/>
                  </a:lnTo>
                  <a:lnTo>
                    <a:pt x="619" y="198"/>
                  </a:lnTo>
                  <a:lnTo>
                    <a:pt x="619" y="198"/>
                  </a:lnTo>
                  <a:lnTo>
                    <a:pt x="619" y="195"/>
                  </a:lnTo>
                  <a:close/>
                  <a:moveTo>
                    <a:pt x="608" y="211"/>
                  </a:moveTo>
                  <a:lnTo>
                    <a:pt x="606" y="208"/>
                  </a:lnTo>
                  <a:lnTo>
                    <a:pt x="608" y="208"/>
                  </a:lnTo>
                  <a:lnTo>
                    <a:pt x="608" y="206"/>
                  </a:lnTo>
                  <a:lnTo>
                    <a:pt x="606" y="206"/>
                  </a:lnTo>
                  <a:lnTo>
                    <a:pt x="603" y="206"/>
                  </a:lnTo>
                  <a:lnTo>
                    <a:pt x="600" y="206"/>
                  </a:lnTo>
                  <a:lnTo>
                    <a:pt x="600" y="206"/>
                  </a:lnTo>
                  <a:lnTo>
                    <a:pt x="598" y="206"/>
                  </a:lnTo>
                  <a:lnTo>
                    <a:pt x="598" y="206"/>
                  </a:lnTo>
                  <a:lnTo>
                    <a:pt x="598" y="206"/>
                  </a:lnTo>
                  <a:lnTo>
                    <a:pt x="598" y="208"/>
                  </a:lnTo>
                  <a:lnTo>
                    <a:pt x="598" y="208"/>
                  </a:lnTo>
                  <a:lnTo>
                    <a:pt x="598" y="211"/>
                  </a:lnTo>
                  <a:lnTo>
                    <a:pt x="595" y="211"/>
                  </a:lnTo>
                  <a:lnTo>
                    <a:pt x="595" y="211"/>
                  </a:lnTo>
                  <a:lnTo>
                    <a:pt x="595" y="211"/>
                  </a:lnTo>
                  <a:lnTo>
                    <a:pt x="595" y="216"/>
                  </a:lnTo>
                  <a:lnTo>
                    <a:pt x="592" y="219"/>
                  </a:lnTo>
                  <a:lnTo>
                    <a:pt x="592" y="222"/>
                  </a:lnTo>
                  <a:lnTo>
                    <a:pt x="590" y="222"/>
                  </a:lnTo>
                  <a:lnTo>
                    <a:pt x="590" y="224"/>
                  </a:lnTo>
                  <a:lnTo>
                    <a:pt x="590" y="224"/>
                  </a:lnTo>
                  <a:lnTo>
                    <a:pt x="587" y="224"/>
                  </a:lnTo>
                  <a:lnTo>
                    <a:pt x="584" y="224"/>
                  </a:lnTo>
                  <a:lnTo>
                    <a:pt x="584" y="224"/>
                  </a:lnTo>
                  <a:lnTo>
                    <a:pt x="582" y="227"/>
                  </a:lnTo>
                  <a:lnTo>
                    <a:pt x="582" y="227"/>
                  </a:lnTo>
                  <a:lnTo>
                    <a:pt x="582" y="230"/>
                  </a:lnTo>
                  <a:lnTo>
                    <a:pt x="582" y="235"/>
                  </a:lnTo>
                  <a:lnTo>
                    <a:pt x="582" y="238"/>
                  </a:lnTo>
                  <a:lnTo>
                    <a:pt x="579" y="238"/>
                  </a:lnTo>
                  <a:lnTo>
                    <a:pt x="579" y="240"/>
                  </a:lnTo>
                  <a:lnTo>
                    <a:pt x="579" y="240"/>
                  </a:lnTo>
                  <a:lnTo>
                    <a:pt x="579" y="240"/>
                  </a:lnTo>
                  <a:lnTo>
                    <a:pt x="579" y="243"/>
                  </a:lnTo>
                  <a:lnTo>
                    <a:pt x="579" y="243"/>
                  </a:lnTo>
                  <a:lnTo>
                    <a:pt x="579" y="243"/>
                  </a:lnTo>
                  <a:lnTo>
                    <a:pt x="574" y="251"/>
                  </a:lnTo>
                  <a:lnTo>
                    <a:pt x="571" y="254"/>
                  </a:lnTo>
                  <a:lnTo>
                    <a:pt x="571" y="262"/>
                  </a:lnTo>
                  <a:lnTo>
                    <a:pt x="571" y="267"/>
                  </a:lnTo>
                  <a:lnTo>
                    <a:pt x="574" y="270"/>
                  </a:lnTo>
                  <a:lnTo>
                    <a:pt x="579" y="275"/>
                  </a:lnTo>
                  <a:lnTo>
                    <a:pt x="582" y="272"/>
                  </a:lnTo>
                  <a:lnTo>
                    <a:pt x="584" y="272"/>
                  </a:lnTo>
                  <a:lnTo>
                    <a:pt x="590" y="264"/>
                  </a:lnTo>
                  <a:lnTo>
                    <a:pt x="590" y="264"/>
                  </a:lnTo>
                  <a:lnTo>
                    <a:pt x="590" y="262"/>
                  </a:lnTo>
                  <a:lnTo>
                    <a:pt x="590" y="259"/>
                  </a:lnTo>
                  <a:lnTo>
                    <a:pt x="590" y="259"/>
                  </a:lnTo>
                  <a:lnTo>
                    <a:pt x="592" y="256"/>
                  </a:lnTo>
                  <a:lnTo>
                    <a:pt x="592" y="256"/>
                  </a:lnTo>
                  <a:lnTo>
                    <a:pt x="590" y="254"/>
                  </a:lnTo>
                  <a:lnTo>
                    <a:pt x="592" y="248"/>
                  </a:lnTo>
                  <a:lnTo>
                    <a:pt x="595" y="243"/>
                  </a:lnTo>
                  <a:lnTo>
                    <a:pt x="595" y="238"/>
                  </a:lnTo>
                  <a:lnTo>
                    <a:pt x="598" y="238"/>
                  </a:lnTo>
                  <a:lnTo>
                    <a:pt x="598" y="238"/>
                  </a:lnTo>
                  <a:lnTo>
                    <a:pt x="598" y="238"/>
                  </a:lnTo>
                  <a:lnTo>
                    <a:pt x="600" y="238"/>
                  </a:lnTo>
                  <a:lnTo>
                    <a:pt x="600" y="238"/>
                  </a:lnTo>
                  <a:lnTo>
                    <a:pt x="600" y="238"/>
                  </a:lnTo>
                  <a:lnTo>
                    <a:pt x="600" y="235"/>
                  </a:lnTo>
                  <a:lnTo>
                    <a:pt x="600" y="235"/>
                  </a:lnTo>
                  <a:lnTo>
                    <a:pt x="600" y="232"/>
                  </a:lnTo>
                  <a:lnTo>
                    <a:pt x="600" y="232"/>
                  </a:lnTo>
                  <a:lnTo>
                    <a:pt x="603" y="232"/>
                  </a:lnTo>
                  <a:lnTo>
                    <a:pt x="603" y="232"/>
                  </a:lnTo>
                  <a:lnTo>
                    <a:pt x="603" y="230"/>
                  </a:lnTo>
                  <a:lnTo>
                    <a:pt x="600" y="227"/>
                  </a:lnTo>
                  <a:lnTo>
                    <a:pt x="598" y="224"/>
                  </a:lnTo>
                  <a:lnTo>
                    <a:pt x="600" y="224"/>
                  </a:lnTo>
                  <a:lnTo>
                    <a:pt x="600" y="224"/>
                  </a:lnTo>
                  <a:lnTo>
                    <a:pt x="603" y="227"/>
                  </a:lnTo>
                  <a:lnTo>
                    <a:pt x="603" y="224"/>
                  </a:lnTo>
                  <a:lnTo>
                    <a:pt x="603" y="222"/>
                  </a:lnTo>
                  <a:lnTo>
                    <a:pt x="600" y="222"/>
                  </a:lnTo>
                  <a:lnTo>
                    <a:pt x="600" y="219"/>
                  </a:lnTo>
                  <a:lnTo>
                    <a:pt x="603" y="216"/>
                  </a:lnTo>
                  <a:lnTo>
                    <a:pt x="603" y="214"/>
                  </a:lnTo>
                  <a:lnTo>
                    <a:pt x="600" y="214"/>
                  </a:lnTo>
                  <a:lnTo>
                    <a:pt x="600" y="214"/>
                  </a:lnTo>
                  <a:lnTo>
                    <a:pt x="603" y="214"/>
                  </a:lnTo>
                  <a:lnTo>
                    <a:pt x="603" y="214"/>
                  </a:lnTo>
                  <a:lnTo>
                    <a:pt x="608" y="216"/>
                  </a:lnTo>
                  <a:lnTo>
                    <a:pt x="608" y="211"/>
                  </a:lnTo>
                  <a:lnTo>
                    <a:pt x="608" y="211"/>
                  </a:lnTo>
                  <a:lnTo>
                    <a:pt x="608" y="211"/>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10" name="Freeform 8">
              <a:extLst>
                <a:ext uri="{FF2B5EF4-FFF2-40B4-BE49-F238E27FC236}">
                  <a16:creationId xmlns="" xmlns:a16="http://schemas.microsoft.com/office/drawing/2014/main" id="{58A53027-0D39-4462-A6DF-FECCC78AA3B3}"/>
                </a:ext>
              </a:extLst>
            </p:cNvPr>
            <p:cNvSpPr>
              <a:spLocks noEditPoints="1"/>
            </p:cNvSpPr>
            <p:nvPr/>
          </p:nvSpPr>
          <p:spPr bwMode="auto">
            <a:xfrm>
              <a:off x="1214" y="48"/>
              <a:ext cx="766" cy="505"/>
            </a:xfrm>
            <a:custGeom>
              <a:avLst/>
              <a:gdLst>
                <a:gd name="T0" fmla="*/ 192 w 766"/>
                <a:gd name="T1" fmla="*/ 75 h 505"/>
                <a:gd name="T2" fmla="*/ 179 w 766"/>
                <a:gd name="T3" fmla="*/ 48 h 505"/>
                <a:gd name="T4" fmla="*/ 195 w 766"/>
                <a:gd name="T5" fmla="*/ 45 h 505"/>
                <a:gd name="T6" fmla="*/ 195 w 766"/>
                <a:gd name="T7" fmla="*/ 123 h 505"/>
                <a:gd name="T8" fmla="*/ 195 w 766"/>
                <a:gd name="T9" fmla="*/ 35 h 505"/>
                <a:gd name="T10" fmla="*/ 187 w 766"/>
                <a:gd name="T11" fmla="*/ 56 h 505"/>
                <a:gd name="T12" fmla="*/ 195 w 766"/>
                <a:gd name="T13" fmla="*/ 102 h 505"/>
                <a:gd name="T14" fmla="*/ 216 w 766"/>
                <a:gd name="T15" fmla="*/ 144 h 505"/>
                <a:gd name="T16" fmla="*/ 211 w 766"/>
                <a:gd name="T17" fmla="*/ 134 h 505"/>
                <a:gd name="T18" fmla="*/ 214 w 766"/>
                <a:gd name="T19" fmla="*/ 99 h 505"/>
                <a:gd name="T20" fmla="*/ 214 w 766"/>
                <a:gd name="T21" fmla="*/ 45 h 505"/>
                <a:gd name="T22" fmla="*/ 211 w 766"/>
                <a:gd name="T23" fmla="*/ 56 h 505"/>
                <a:gd name="T24" fmla="*/ 208 w 766"/>
                <a:gd name="T25" fmla="*/ 224 h 505"/>
                <a:gd name="T26" fmla="*/ 195 w 766"/>
                <a:gd name="T27" fmla="*/ 227 h 505"/>
                <a:gd name="T28" fmla="*/ 203 w 766"/>
                <a:gd name="T29" fmla="*/ 190 h 505"/>
                <a:gd name="T30" fmla="*/ 166 w 766"/>
                <a:gd name="T31" fmla="*/ 249 h 505"/>
                <a:gd name="T32" fmla="*/ 150 w 766"/>
                <a:gd name="T33" fmla="*/ 235 h 505"/>
                <a:gd name="T34" fmla="*/ 27 w 766"/>
                <a:gd name="T35" fmla="*/ 305 h 505"/>
                <a:gd name="T36" fmla="*/ 182 w 766"/>
                <a:gd name="T37" fmla="*/ 35 h 505"/>
                <a:gd name="T38" fmla="*/ 174 w 766"/>
                <a:gd name="T39" fmla="*/ 72 h 505"/>
                <a:gd name="T40" fmla="*/ 713 w 766"/>
                <a:gd name="T41" fmla="*/ 99 h 505"/>
                <a:gd name="T42" fmla="*/ 216 w 766"/>
                <a:gd name="T43" fmla="*/ 8 h 505"/>
                <a:gd name="T44" fmla="*/ 216 w 766"/>
                <a:gd name="T45" fmla="*/ 43 h 505"/>
                <a:gd name="T46" fmla="*/ 224 w 766"/>
                <a:gd name="T47" fmla="*/ 61 h 505"/>
                <a:gd name="T48" fmla="*/ 206 w 766"/>
                <a:gd name="T49" fmla="*/ 72 h 505"/>
                <a:gd name="T50" fmla="*/ 224 w 766"/>
                <a:gd name="T51" fmla="*/ 94 h 505"/>
                <a:gd name="T52" fmla="*/ 227 w 766"/>
                <a:gd name="T53" fmla="*/ 136 h 505"/>
                <a:gd name="T54" fmla="*/ 238 w 766"/>
                <a:gd name="T55" fmla="*/ 142 h 505"/>
                <a:gd name="T56" fmla="*/ 216 w 766"/>
                <a:gd name="T57" fmla="*/ 168 h 505"/>
                <a:gd name="T58" fmla="*/ 211 w 766"/>
                <a:gd name="T59" fmla="*/ 198 h 505"/>
                <a:gd name="T60" fmla="*/ 192 w 766"/>
                <a:gd name="T61" fmla="*/ 232 h 505"/>
                <a:gd name="T62" fmla="*/ 150 w 766"/>
                <a:gd name="T63" fmla="*/ 246 h 505"/>
                <a:gd name="T64" fmla="*/ 144 w 766"/>
                <a:gd name="T65" fmla="*/ 243 h 505"/>
                <a:gd name="T66" fmla="*/ 166 w 766"/>
                <a:gd name="T67" fmla="*/ 214 h 505"/>
                <a:gd name="T68" fmla="*/ 168 w 766"/>
                <a:gd name="T69" fmla="*/ 232 h 505"/>
                <a:gd name="T70" fmla="*/ 187 w 766"/>
                <a:gd name="T71" fmla="*/ 232 h 505"/>
                <a:gd name="T72" fmla="*/ 187 w 766"/>
                <a:gd name="T73" fmla="*/ 192 h 505"/>
                <a:gd name="T74" fmla="*/ 206 w 766"/>
                <a:gd name="T75" fmla="*/ 176 h 505"/>
                <a:gd name="T76" fmla="*/ 198 w 766"/>
                <a:gd name="T77" fmla="*/ 160 h 505"/>
                <a:gd name="T78" fmla="*/ 163 w 766"/>
                <a:gd name="T79" fmla="*/ 208 h 505"/>
                <a:gd name="T80" fmla="*/ 174 w 766"/>
                <a:gd name="T81" fmla="*/ 155 h 505"/>
                <a:gd name="T82" fmla="*/ 192 w 766"/>
                <a:gd name="T83" fmla="*/ 155 h 505"/>
                <a:gd name="T84" fmla="*/ 179 w 766"/>
                <a:gd name="T85" fmla="*/ 120 h 505"/>
                <a:gd name="T86" fmla="*/ 160 w 766"/>
                <a:gd name="T87" fmla="*/ 115 h 505"/>
                <a:gd name="T88" fmla="*/ 91 w 766"/>
                <a:gd name="T89" fmla="*/ 94 h 505"/>
                <a:gd name="T90" fmla="*/ 8 w 766"/>
                <a:gd name="T91" fmla="*/ 64 h 505"/>
                <a:gd name="T92" fmla="*/ 19 w 766"/>
                <a:gd name="T93" fmla="*/ 134 h 505"/>
                <a:gd name="T94" fmla="*/ 19 w 766"/>
                <a:gd name="T95" fmla="*/ 246 h 505"/>
                <a:gd name="T96" fmla="*/ 43 w 766"/>
                <a:gd name="T97" fmla="*/ 246 h 505"/>
                <a:gd name="T98" fmla="*/ 22 w 766"/>
                <a:gd name="T99" fmla="*/ 254 h 505"/>
                <a:gd name="T100" fmla="*/ 48 w 766"/>
                <a:gd name="T101" fmla="*/ 291 h 505"/>
                <a:gd name="T102" fmla="*/ 30 w 766"/>
                <a:gd name="T103" fmla="*/ 313 h 505"/>
                <a:gd name="T104" fmla="*/ 22 w 766"/>
                <a:gd name="T105" fmla="*/ 289 h 505"/>
                <a:gd name="T106" fmla="*/ 19 w 766"/>
                <a:gd name="T107" fmla="*/ 334 h 505"/>
                <a:gd name="T108" fmla="*/ 83 w 766"/>
                <a:gd name="T109" fmla="*/ 366 h 505"/>
                <a:gd name="T110" fmla="*/ 126 w 766"/>
                <a:gd name="T111" fmla="*/ 419 h 505"/>
                <a:gd name="T112" fmla="*/ 214 w 766"/>
                <a:gd name="T113" fmla="*/ 457 h 505"/>
                <a:gd name="T114" fmla="*/ 321 w 766"/>
                <a:gd name="T115" fmla="*/ 481 h 505"/>
                <a:gd name="T116" fmla="*/ 443 w 766"/>
                <a:gd name="T117" fmla="*/ 473 h 505"/>
                <a:gd name="T118" fmla="*/ 721 w 766"/>
                <a:gd name="T119" fmla="*/ 505 h 505"/>
                <a:gd name="T120" fmla="*/ 747 w 766"/>
                <a:gd name="T121" fmla="*/ 232 h 505"/>
                <a:gd name="T122" fmla="*/ 166 w 766"/>
                <a:gd name="T123" fmla="*/ 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6" h="505">
                  <a:moveTo>
                    <a:pt x="198" y="67"/>
                  </a:moveTo>
                  <a:lnTo>
                    <a:pt x="195" y="67"/>
                  </a:lnTo>
                  <a:lnTo>
                    <a:pt x="195" y="67"/>
                  </a:lnTo>
                  <a:lnTo>
                    <a:pt x="192" y="67"/>
                  </a:lnTo>
                  <a:lnTo>
                    <a:pt x="192" y="67"/>
                  </a:lnTo>
                  <a:lnTo>
                    <a:pt x="195" y="67"/>
                  </a:lnTo>
                  <a:lnTo>
                    <a:pt x="195" y="70"/>
                  </a:lnTo>
                  <a:lnTo>
                    <a:pt x="195" y="70"/>
                  </a:lnTo>
                  <a:lnTo>
                    <a:pt x="195" y="70"/>
                  </a:lnTo>
                  <a:lnTo>
                    <a:pt x="195" y="72"/>
                  </a:lnTo>
                  <a:lnTo>
                    <a:pt x="195" y="72"/>
                  </a:lnTo>
                  <a:lnTo>
                    <a:pt x="195" y="72"/>
                  </a:lnTo>
                  <a:lnTo>
                    <a:pt x="195" y="70"/>
                  </a:lnTo>
                  <a:lnTo>
                    <a:pt x="198" y="70"/>
                  </a:lnTo>
                  <a:lnTo>
                    <a:pt x="198" y="70"/>
                  </a:lnTo>
                  <a:lnTo>
                    <a:pt x="198" y="67"/>
                  </a:lnTo>
                  <a:lnTo>
                    <a:pt x="198" y="67"/>
                  </a:lnTo>
                  <a:lnTo>
                    <a:pt x="198" y="67"/>
                  </a:lnTo>
                  <a:lnTo>
                    <a:pt x="198" y="67"/>
                  </a:lnTo>
                  <a:lnTo>
                    <a:pt x="198" y="67"/>
                  </a:lnTo>
                  <a:close/>
                  <a:moveTo>
                    <a:pt x="192" y="80"/>
                  </a:moveTo>
                  <a:lnTo>
                    <a:pt x="192" y="78"/>
                  </a:lnTo>
                  <a:lnTo>
                    <a:pt x="195" y="78"/>
                  </a:lnTo>
                  <a:lnTo>
                    <a:pt x="195" y="75"/>
                  </a:lnTo>
                  <a:lnTo>
                    <a:pt x="195" y="72"/>
                  </a:lnTo>
                  <a:lnTo>
                    <a:pt x="192" y="75"/>
                  </a:lnTo>
                  <a:lnTo>
                    <a:pt x="192" y="72"/>
                  </a:lnTo>
                  <a:lnTo>
                    <a:pt x="190" y="72"/>
                  </a:lnTo>
                  <a:lnTo>
                    <a:pt x="190" y="70"/>
                  </a:lnTo>
                  <a:lnTo>
                    <a:pt x="192" y="64"/>
                  </a:lnTo>
                  <a:lnTo>
                    <a:pt x="192" y="61"/>
                  </a:lnTo>
                  <a:lnTo>
                    <a:pt x="192" y="59"/>
                  </a:lnTo>
                  <a:lnTo>
                    <a:pt x="190" y="59"/>
                  </a:lnTo>
                  <a:lnTo>
                    <a:pt x="187" y="61"/>
                  </a:lnTo>
                  <a:lnTo>
                    <a:pt x="187" y="61"/>
                  </a:lnTo>
                  <a:lnTo>
                    <a:pt x="187" y="61"/>
                  </a:lnTo>
                  <a:lnTo>
                    <a:pt x="187" y="64"/>
                  </a:lnTo>
                  <a:lnTo>
                    <a:pt x="187" y="64"/>
                  </a:lnTo>
                  <a:lnTo>
                    <a:pt x="184" y="67"/>
                  </a:lnTo>
                  <a:lnTo>
                    <a:pt x="184" y="67"/>
                  </a:lnTo>
                  <a:lnTo>
                    <a:pt x="182" y="70"/>
                  </a:lnTo>
                  <a:lnTo>
                    <a:pt x="182" y="72"/>
                  </a:lnTo>
                  <a:lnTo>
                    <a:pt x="184" y="72"/>
                  </a:lnTo>
                  <a:lnTo>
                    <a:pt x="187" y="75"/>
                  </a:lnTo>
                  <a:lnTo>
                    <a:pt x="187" y="75"/>
                  </a:lnTo>
                  <a:lnTo>
                    <a:pt x="187" y="78"/>
                  </a:lnTo>
                  <a:lnTo>
                    <a:pt x="192" y="80"/>
                  </a:lnTo>
                  <a:close/>
                  <a:moveTo>
                    <a:pt x="184" y="43"/>
                  </a:moveTo>
                  <a:lnTo>
                    <a:pt x="182" y="45"/>
                  </a:lnTo>
                  <a:lnTo>
                    <a:pt x="179" y="45"/>
                  </a:lnTo>
                  <a:lnTo>
                    <a:pt x="179" y="45"/>
                  </a:lnTo>
                  <a:lnTo>
                    <a:pt x="179" y="48"/>
                  </a:lnTo>
                  <a:lnTo>
                    <a:pt x="179" y="48"/>
                  </a:lnTo>
                  <a:lnTo>
                    <a:pt x="179" y="51"/>
                  </a:lnTo>
                  <a:lnTo>
                    <a:pt x="182" y="53"/>
                  </a:lnTo>
                  <a:lnTo>
                    <a:pt x="182" y="51"/>
                  </a:lnTo>
                  <a:lnTo>
                    <a:pt x="182" y="51"/>
                  </a:lnTo>
                  <a:lnTo>
                    <a:pt x="182" y="48"/>
                  </a:lnTo>
                  <a:lnTo>
                    <a:pt x="184" y="48"/>
                  </a:lnTo>
                  <a:lnTo>
                    <a:pt x="184" y="48"/>
                  </a:lnTo>
                  <a:lnTo>
                    <a:pt x="187" y="51"/>
                  </a:lnTo>
                  <a:lnTo>
                    <a:pt x="187" y="51"/>
                  </a:lnTo>
                  <a:lnTo>
                    <a:pt x="187" y="53"/>
                  </a:lnTo>
                  <a:lnTo>
                    <a:pt x="187" y="53"/>
                  </a:lnTo>
                  <a:lnTo>
                    <a:pt x="187" y="56"/>
                  </a:lnTo>
                  <a:lnTo>
                    <a:pt x="190" y="56"/>
                  </a:lnTo>
                  <a:lnTo>
                    <a:pt x="192" y="56"/>
                  </a:lnTo>
                  <a:lnTo>
                    <a:pt x="195" y="53"/>
                  </a:lnTo>
                  <a:lnTo>
                    <a:pt x="190" y="45"/>
                  </a:lnTo>
                  <a:lnTo>
                    <a:pt x="192" y="45"/>
                  </a:lnTo>
                  <a:lnTo>
                    <a:pt x="192" y="45"/>
                  </a:lnTo>
                  <a:lnTo>
                    <a:pt x="192" y="43"/>
                  </a:lnTo>
                  <a:lnTo>
                    <a:pt x="192" y="43"/>
                  </a:lnTo>
                  <a:lnTo>
                    <a:pt x="192" y="40"/>
                  </a:lnTo>
                  <a:lnTo>
                    <a:pt x="192" y="40"/>
                  </a:lnTo>
                  <a:lnTo>
                    <a:pt x="195" y="43"/>
                  </a:lnTo>
                  <a:lnTo>
                    <a:pt x="195" y="43"/>
                  </a:lnTo>
                  <a:lnTo>
                    <a:pt x="195" y="45"/>
                  </a:lnTo>
                  <a:lnTo>
                    <a:pt x="195" y="48"/>
                  </a:lnTo>
                  <a:lnTo>
                    <a:pt x="195" y="53"/>
                  </a:lnTo>
                  <a:lnTo>
                    <a:pt x="198" y="53"/>
                  </a:lnTo>
                  <a:lnTo>
                    <a:pt x="198" y="53"/>
                  </a:lnTo>
                  <a:lnTo>
                    <a:pt x="200" y="53"/>
                  </a:lnTo>
                  <a:lnTo>
                    <a:pt x="200" y="53"/>
                  </a:lnTo>
                  <a:lnTo>
                    <a:pt x="200" y="53"/>
                  </a:lnTo>
                  <a:lnTo>
                    <a:pt x="200" y="53"/>
                  </a:lnTo>
                  <a:lnTo>
                    <a:pt x="206" y="51"/>
                  </a:lnTo>
                  <a:lnTo>
                    <a:pt x="206" y="51"/>
                  </a:lnTo>
                  <a:lnTo>
                    <a:pt x="206" y="48"/>
                  </a:lnTo>
                  <a:lnTo>
                    <a:pt x="198" y="40"/>
                  </a:lnTo>
                  <a:lnTo>
                    <a:pt x="192" y="40"/>
                  </a:lnTo>
                  <a:lnTo>
                    <a:pt x="192" y="40"/>
                  </a:lnTo>
                  <a:lnTo>
                    <a:pt x="190" y="40"/>
                  </a:lnTo>
                  <a:lnTo>
                    <a:pt x="184" y="43"/>
                  </a:lnTo>
                  <a:lnTo>
                    <a:pt x="184" y="43"/>
                  </a:lnTo>
                  <a:close/>
                  <a:moveTo>
                    <a:pt x="190" y="128"/>
                  </a:moveTo>
                  <a:lnTo>
                    <a:pt x="192" y="131"/>
                  </a:lnTo>
                  <a:lnTo>
                    <a:pt x="192" y="134"/>
                  </a:lnTo>
                  <a:lnTo>
                    <a:pt x="192" y="136"/>
                  </a:lnTo>
                  <a:lnTo>
                    <a:pt x="195" y="136"/>
                  </a:lnTo>
                  <a:lnTo>
                    <a:pt x="195" y="134"/>
                  </a:lnTo>
                  <a:lnTo>
                    <a:pt x="198" y="131"/>
                  </a:lnTo>
                  <a:lnTo>
                    <a:pt x="195" y="128"/>
                  </a:lnTo>
                  <a:lnTo>
                    <a:pt x="195" y="123"/>
                  </a:lnTo>
                  <a:lnTo>
                    <a:pt x="195" y="123"/>
                  </a:lnTo>
                  <a:lnTo>
                    <a:pt x="195" y="123"/>
                  </a:lnTo>
                  <a:lnTo>
                    <a:pt x="192" y="123"/>
                  </a:lnTo>
                  <a:lnTo>
                    <a:pt x="195" y="126"/>
                  </a:lnTo>
                  <a:lnTo>
                    <a:pt x="195" y="128"/>
                  </a:lnTo>
                  <a:lnTo>
                    <a:pt x="195" y="131"/>
                  </a:lnTo>
                  <a:lnTo>
                    <a:pt x="192" y="131"/>
                  </a:lnTo>
                  <a:lnTo>
                    <a:pt x="192" y="128"/>
                  </a:lnTo>
                  <a:lnTo>
                    <a:pt x="192" y="126"/>
                  </a:lnTo>
                  <a:lnTo>
                    <a:pt x="192" y="126"/>
                  </a:lnTo>
                  <a:lnTo>
                    <a:pt x="192" y="126"/>
                  </a:lnTo>
                  <a:lnTo>
                    <a:pt x="192" y="126"/>
                  </a:lnTo>
                  <a:lnTo>
                    <a:pt x="190" y="128"/>
                  </a:lnTo>
                  <a:close/>
                  <a:moveTo>
                    <a:pt x="192" y="32"/>
                  </a:moveTo>
                  <a:lnTo>
                    <a:pt x="192" y="32"/>
                  </a:lnTo>
                  <a:lnTo>
                    <a:pt x="192" y="35"/>
                  </a:lnTo>
                  <a:lnTo>
                    <a:pt x="192" y="35"/>
                  </a:lnTo>
                  <a:lnTo>
                    <a:pt x="192" y="35"/>
                  </a:lnTo>
                  <a:lnTo>
                    <a:pt x="192" y="35"/>
                  </a:lnTo>
                  <a:lnTo>
                    <a:pt x="192" y="35"/>
                  </a:lnTo>
                  <a:lnTo>
                    <a:pt x="195" y="35"/>
                  </a:lnTo>
                  <a:lnTo>
                    <a:pt x="192" y="35"/>
                  </a:lnTo>
                  <a:lnTo>
                    <a:pt x="195" y="35"/>
                  </a:lnTo>
                  <a:lnTo>
                    <a:pt x="195" y="35"/>
                  </a:lnTo>
                  <a:lnTo>
                    <a:pt x="195" y="35"/>
                  </a:lnTo>
                  <a:lnTo>
                    <a:pt x="195" y="35"/>
                  </a:lnTo>
                  <a:lnTo>
                    <a:pt x="195" y="35"/>
                  </a:lnTo>
                  <a:lnTo>
                    <a:pt x="192" y="32"/>
                  </a:lnTo>
                  <a:lnTo>
                    <a:pt x="195" y="32"/>
                  </a:lnTo>
                  <a:lnTo>
                    <a:pt x="195" y="32"/>
                  </a:lnTo>
                  <a:lnTo>
                    <a:pt x="195" y="32"/>
                  </a:lnTo>
                  <a:lnTo>
                    <a:pt x="195" y="32"/>
                  </a:lnTo>
                  <a:lnTo>
                    <a:pt x="195" y="32"/>
                  </a:lnTo>
                  <a:lnTo>
                    <a:pt x="192" y="32"/>
                  </a:lnTo>
                  <a:lnTo>
                    <a:pt x="192" y="32"/>
                  </a:lnTo>
                  <a:lnTo>
                    <a:pt x="192" y="32"/>
                  </a:lnTo>
                  <a:lnTo>
                    <a:pt x="192" y="32"/>
                  </a:lnTo>
                  <a:lnTo>
                    <a:pt x="192" y="32"/>
                  </a:lnTo>
                  <a:close/>
                  <a:moveTo>
                    <a:pt x="182" y="59"/>
                  </a:moveTo>
                  <a:lnTo>
                    <a:pt x="182" y="59"/>
                  </a:lnTo>
                  <a:lnTo>
                    <a:pt x="184" y="59"/>
                  </a:lnTo>
                  <a:lnTo>
                    <a:pt x="184" y="59"/>
                  </a:lnTo>
                  <a:lnTo>
                    <a:pt x="184" y="59"/>
                  </a:lnTo>
                  <a:lnTo>
                    <a:pt x="184" y="59"/>
                  </a:lnTo>
                  <a:lnTo>
                    <a:pt x="184" y="59"/>
                  </a:lnTo>
                  <a:lnTo>
                    <a:pt x="187" y="59"/>
                  </a:lnTo>
                  <a:lnTo>
                    <a:pt x="187" y="59"/>
                  </a:lnTo>
                  <a:lnTo>
                    <a:pt x="187" y="59"/>
                  </a:lnTo>
                  <a:lnTo>
                    <a:pt x="187" y="59"/>
                  </a:lnTo>
                  <a:lnTo>
                    <a:pt x="187" y="59"/>
                  </a:lnTo>
                  <a:lnTo>
                    <a:pt x="187" y="56"/>
                  </a:lnTo>
                  <a:lnTo>
                    <a:pt x="187" y="56"/>
                  </a:lnTo>
                  <a:lnTo>
                    <a:pt x="187" y="56"/>
                  </a:lnTo>
                  <a:lnTo>
                    <a:pt x="187" y="56"/>
                  </a:lnTo>
                  <a:lnTo>
                    <a:pt x="187" y="56"/>
                  </a:lnTo>
                  <a:lnTo>
                    <a:pt x="187" y="56"/>
                  </a:lnTo>
                  <a:lnTo>
                    <a:pt x="187" y="56"/>
                  </a:lnTo>
                  <a:lnTo>
                    <a:pt x="184" y="56"/>
                  </a:lnTo>
                  <a:lnTo>
                    <a:pt x="187" y="56"/>
                  </a:lnTo>
                  <a:lnTo>
                    <a:pt x="187" y="56"/>
                  </a:lnTo>
                  <a:lnTo>
                    <a:pt x="184" y="53"/>
                  </a:lnTo>
                  <a:lnTo>
                    <a:pt x="184" y="53"/>
                  </a:lnTo>
                  <a:lnTo>
                    <a:pt x="179" y="53"/>
                  </a:lnTo>
                  <a:lnTo>
                    <a:pt x="179" y="53"/>
                  </a:lnTo>
                  <a:lnTo>
                    <a:pt x="179" y="53"/>
                  </a:lnTo>
                  <a:lnTo>
                    <a:pt x="179" y="53"/>
                  </a:lnTo>
                  <a:lnTo>
                    <a:pt x="179" y="56"/>
                  </a:lnTo>
                  <a:lnTo>
                    <a:pt x="179" y="56"/>
                  </a:lnTo>
                  <a:lnTo>
                    <a:pt x="182" y="56"/>
                  </a:lnTo>
                  <a:lnTo>
                    <a:pt x="182" y="56"/>
                  </a:lnTo>
                  <a:lnTo>
                    <a:pt x="182" y="59"/>
                  </a:lnTo>
                  <a:close/>
                  <a:moveTo>
                    <a:pt x="214" y="86"/>
                  </a:moveTo>
                  <a:lnTo>
                    <a:pt x="214" y="86"/>
                  </a:lnTo>
                  <a:lnTo>
                    <a:pt x="211" y="88"/>
                  </a:lnTo>
                  <a:lnTo>
                    <a:pt x="211" y="88"/>
                  </a:lnTo>
                  <a:lnTo>
                    <a:pt x="208" y="88"/>
                  </a:lnTo>
                  <a:lnTo>
                    <a:pt x="206" y="91"/>
                  </a:lnTo>
                  <a:lnTo>
                    <a:pt x="195" y="102"/>
                  </a:lnTo>
                  <a:lnTo>
                    <a:pt x="195" y="104"/>
                  </a:lnTo>
                  <a:lnTo>
                    <a:pt x="195" y="110"/>
                  </a:lnTo>
                  <a:lnTo>
                    <a:pt x="195" y="110"/>
                  </a:lnTo>
                  <a:lnTo>
                    <a:pt x="195" y="112"/>
                  </a:lnTo>
                  <a:lnTo>
                    <a:pt x="198" y="112"/>
                  </a:lnTo>
                  <a:lnTo>
                    <a:pt x="198" y="112"/>
                  </a:lnTo>
                  <a:lnTo>
                    <a:pt x="198" y="112"/>
                  </a:lnTo>
                  <a:lnTo>
                    <a:pt x="200" y="118"/>
                  </a:lnTo>
                  <a:lnTo>
                    <a:pt x="203" y="118"/>
                  </a:lnTo>
                  <a:lnTo>
                    <a:pt x="206" y="118"/>
                  </a:lnTo>
                  <a:lnTo>
                    <a:pt x="206" y="118"/>
                  </a:lnTo>
                  <a:lnTo>
                    <a:pt x="206" y="120"/>
                  </a:lnTo>
                  <a:lnTo>
                    <a:pt x="203" y="128"/>
                  </a:lnTo>
                  <a:lnTo>
                    <a:pt x="203" y="131"/>
                  </a:lnTo>
                  <a:lnTo>
                    <a:pt x="206" y="134"/>
                  </a:lnTo>
                  <a:lnTo>
                    <a:pt x="203" y="136"/>
                  </a:lnTo>
                  <a:lnTo>
                    <a:pt x="206" y="139"/>
                  </a:lnTo>
                  <a:lnTo>
                    <a:pt x="206" y="142"/>
                  </a:lnTo>
                  <a:lnTo>
                    <a:pt x="208" y="142"/>
                  </a:lnTo>
                  <a:lnTo>
                    <a:pt x="208" y="144"/>
                  </a:lnTo>
                  <a:lnTo>
                    <a:pt x="208" y="144"/>
                  </a:lnTo>
                  <a:lnTo>
                    <a:pt x="211" y="144"/>
                  </a:lnTo>
                  <a:lnTo>
                    <a:pt x="211" y="144"/>
                  </a:lnTo>
                  <a:lnTo>
                    <a:pt x="214" y="142"/>
                  </a:lnTo>
                  <a:lnTo>
                    <a:pt x="214" y="142"/>
                  </a:lnTo>
                  <a:lnTo>
                    <a:pt x="216" y="144"/>
                  </a:lnTo>
                  <a:lnTo>
                    <a:pt x="216" y="147"/>
                  </a:lnTo>
                  <a:lnTo>
                    <a:pt x="216" y="150"/>
                  </a:lnTo>
                  <a:lnTo>
                    <a:pt x="216" y="152"/>
                  </a:lnTo>
                  <a:lnTo>
                    <a:pt x="216" y="155"/>
                  </a:lnTo>
                  <a:lnTo>
                    <a:pt x="216" y="155"/>
                  </a:lnTo>
                  <a:lnTo>
                    <a:pt x="219" y="152"/>
                  </a:lnTo>
                  <a:lnTo>
                    <a:pt x="222" y="155"/>
                  </a:lnTo>
                  <a:lnTo>
                    <a:pt x="219" y="155"/>
                  </a:lnTo>
                  <a:lnTo>
                    <a:pt x="219" y="155"/>
                  </a:lnTo>
                  <a:lnTo>
                    <a:pt x="222" y="155"/>
                  </a:lnTo>
                  <a:lnTo>
                    <a:pt x="222" y="155"/>
                  </a:lnTo>
                  <a:lnTo>
                    <a:pt x="222" y="155"/>
                  </a:lnTo>
                  <a:lnTo>
                    <a:pt x="222" y="155"/>
                  </a:lnTo>
                  <a:lnTo>
                    <a:pt x="224" y="152"/>
                  </a:lnTo>
                  <a:lnTo>
                    <a:pt x="224" y="150"/>
                  </a:lnTo>
                  <a:lnTo>
                    <a:pt x="227" y="150"/>
                  </a:lnTo>
                  <a:lnTo>
                    <a:pt x="227" y="150"/>
                  </a:lnTo>
                  <a:lnTo>
                    <a:pt x="224" y="147"/>
                  </a:lnTo>
                  <a:lnTo>
                    <a:pt x="224" y="144"/>
                  </a:lnTo>
                  <a:lnTo>
                    <a:pt x="224" y="142"/>
                  </a:lnTo>
                  <a:lnTo>
                    <a:pt x="219" y="134"/>
                  </a:lnTo>
                  <a:lnTo>
                    <a:pt x="216" y="134"/>
                  </a:lnTo>
                  <a:lnTo>
                    <a:pt x="216" y="131"/>
                  </a:lnTo>
                  <a:lnTo>
                    <a:pt x="214" y="128"/>
                  </a:lnTo>
                  <a:lnTo>
                    <a:pt x="211" y="131"/>
                  </a:lnTo>
                  <a:lnTo>
                    <a:pt x="211" y="134"/>
                  </a:lnTo>
                  <a:lnTo>
                    <a:pt x="214" y="136"/>
                  </a:lnTo>
                  <a:lnTo>
                    <a:pt x="211" y="139"/>
                  </a:lnTo>
                  <a:lnTo>
                    <a:pt x="208" y="139"/>
                  </a:lnTo>
                  <a:lnTo>
                    <a:pt x="208" y="136"/>
                  </a:lnTo>
                  <a:lnTo>
                    <a:pt x="208" y="131"/>
                  </a:lnTo>
                  <a:lnTo>
                    <a:pt x="211" y="123"/>
                  </a:lnTo>
                  <a:lnTo>
                    <a:pt x="211" y="118"/>
                  </a:lnTo>
                  <a:lnTo>
                    <a:pt x="211" y="115"/>
                  </a:lnTo>
                  <a:lnTo>
                    <a:pt x="208" y="112"/>
                  </a:lnTo>
                  <a:lnTo>
                    <a:pt x="206" y="110"/>
                  </a:lnTo>
                  <a:lnTo>
                    <a:pt x="206" y="110"/>
                  </a:lnTo>
                  <a:lnTo>
                    <a:pt x="203" y="107"/>
                  </a:lnTo>
                  <a:lnTo>
                    <a:pt x="203" y="107"/>
                  </a:lnTo>
                  <a:lnTo>
                    <a:pt x="200" y="107"/>
                  </a:lnTo>
                  <a:lnTo>
                    <a:pt x="198" y="107"/>
                  </a:lnTo>
                  <a:lnTo>
                    <a:pt x="198" y="104"/>
                  </a:lnTo>
                  <a:lnTo>
                    <a:pt x="203" y="107"/>
                  </a:lnTo>
                  <a:lnTo>
                    <a:pt x="206" y="104"/>
                  </a:lnTo>
                  <a:lnTo>
                    <a:pt x="206" y="104"/>
                  </a:lnTo>
                  <a:lnTo>
                    <a:pt x="206" y="102"/>
                  </a:lnTo>
                  <a:lnTo>
                    <a:pt x="206" y="99"/>
                  </a:lnTo>
                  <a:lnTo>
                    <a:pt x="208" y="104"/>
                  </a:lnTo>
                  <a:lnTo>
                    <a:pt x="208" y="102"/>
                  </a:lnTo>
                  <a:lnTo>
                    <a:pt x="211" y="99"/>
                  </a:lnTo>
                  <a:lnTo>
                    <a:pt x="211" y="99"/>
                  </a:lnTo>
                  <a:lnTo>
                    <a:pt x="214" y="99"/>
                  </a:lnTo>
                  <a:lnTo>
                    <a:pt x="214" y="102"/>
                  </a:lnTo>
                  <a:lnTo>
                    <a:pt x="216" y="102"/>
                  </a:lnTo>
                  <a:lnTo>
                    <a:pt x="216" y="102"/>
                  </a:lnTo>
                  <a:lnTo>
                    <a:pt x="219" y="102"/>
                  </a:lnTo>
                  <a:lnTo>
                    <a:pt x="219" y="99"/>
                  </a:lnTo>
                  <a:lnTo>
                    <a:pt x="214" y="94"/>
                  </a:lnTo>
                  <a:lnTo>
                    <a:pt x="214" y="91"/>
                  </a:lnTo>
                  <a:lnTo>
                    <a:pt x="214" y="88"/>
                  </a:lnTo>
                  <a:lnTo>
                    <a:pt x="214" y="88"/>
                  </a:lnTo>
                  <a:lnTo>
                    <a:pt x="214" y="88"/>
                  </a:lnTo>
                  <a:lnTo>
                    <a:pt x="214" y="86"/>
                  </a:lnTo>
                  <a:close/>
                  <a:moveTo>
                    <a:pt x="219" y="45"/>
                  </a:moveTo>
                  <a:lnTo>
                    <a:pt x="219" y="45"/>
                  </a:lnTo>
                  <a:lnTo>
                    <a:pt x="216" y="45"/>
                  </a:lnTo>
                  <a:lnTo>
                    <a:pt x="216" y="45"/>
                  </a:lnTo>
                  <a:lnTo>
                    <a:pt x="216" y="45"/>
                  </a:lnTo>
                  <a:lnTo>
                    <a:pt x="219" y="48"/>
                  </a:lnTo>
                  <a:lnTo>
                    <a:pt x="222" y="48"/>
                  </a:lnTo>
                  <a:lnTo>
                    <a:pt x="222" y="45"/>
                  </a:lnTo>
                  <a:lnTo>
                    <a:pt x="222" y="45"/>
                  </a:lnTo>
                  <a:lnTo>
                    <a:pt x="219" y="43"/>
                  </a:lnTo>
                  <a:lnTo>
                    <a:pt x="219" y="45"/>
                  </a:lnTo>
                  <a:lnTo>
                    <a:pt x="219" y="45"/>
                  </a:lnTo>
                  <a:lnTo>
                    <a:pt x="219" y="45"/>
                  </a:lnTo>
                  <a:lnTo>
                    <a:pt x="219" y="45"/>
                  </a:lnTo>
                  <a:close/>
                  <a:moveTo>
                    <a:pt x="214" y="45"/>
                  </a:moveTo>
                  <a:lnTo>
                    <a:pt x="214" y="40"/>
                  </a:lnTo>
                  <a:lnTo>
                    <a:pt x="211" y="40"/>
                  </a:lnTo>
                  <a:lnTo>
                    <a:pt x="211" y="40"/>
                  </a:lnTo>
                  <a:lnTo>
                    <a:pt x="211" y="43"/>
                  </a:lnTo>
                  <a:lnTo>
                    <a:pt x="211" y="43"/>
                  </a:lnTo>
                  <a:lnTo>
                    <a:pt x="214" y="48"/>
                  </a:lnTo>
                  <a:lnTo>
                    <a:pt x="214" y="51"/>
                  </a:lnTo>
                  <a:lnTo>
                    <a:pt x="216" y="51"/>
                  </a:lnTo>
                  <a:lnTo>
                    <a:pt x="216" y="53"/>
                  </a:lnTo>
                  <a:lnTo>
                    <a:pt x="219" y="53"/>
                  </a:lnTo>
                  <a:lnTo>
                    <a:pt x="219" y="53"/>
                  </a:lnTo>
                  <a:lnTo>
                    <a:pt x="219" y="53"/>
                  </a:lnTo>
                  <a:lnTo>
                    <a:pt x="219" y="51"/>
                  </a:lnTo>
                  <a:lnTo>
                    <a:pt x="219" y="48"/>
                  </a:lnTo>
                  <a:lnTo>
                    <a:pt x="219" y="48"/>
                  </a:lnTo>
                  <a:lnTo>
                    <a:pt x="216" y="48"/>
                  </a:lnTo>
                  <a:lnTo>
                    <a:pt x="216" y="45"/>
                  </a:lnTo>
                  <a:lnTo>
                    <a:pt x="214" y="45"/>
                  </a:lnTo>
                  <a:close/>
                  <a:moveTo>
                    <a:pt x="211" y="56"/>
                  </a:moveTo>
                  <a:lnTo>
                    <a:pt x="211" y="56"/>
                  </a:lnTo>
                  <a:lnTo>
                    <a:pt x="214" y="59"/>
                  </a:lnTo>
                  <a:lnTo>
                    <a:pt x="214" y="56"/>
                  </a:lnTo>
                  <a:lnTo>
                    <a:pt x="214" y="56"/>
                  </a:lnTo>
                  <a:lnTo>
                    <a:pt x="214" y="56"/>
                  </a:lnTo>
                  <a:lnTo>
                    <a:pt x="211" y="56"/>
                  </a:lnTo>
                  <a:lnTo>
                    <a:pt x="211" y="56"/>
                  </a:lnTo>
                  <a:close/>
                  <a:moveTo>
                    <a:pt x="208" y="59"/>
                  </a:moveTo>
                  <a:lnTo>
                    <a:pt x="208" y="59"/>
                  </a:lnTo>
                  <a:lnTo>
                    <a:pt x="208" y="56"/>
                  </a:lnTo>
                  <a:lnTo>
                    <a:pt x="206" y="56"/>
                  </a:lnTo>
                  <a:lnTo>
                    <a:pt x="206" y="59"/>
                  </a:lnTo>
                  <a:lnTo>
                    <a:pt x="206" y="61"/>
                  </a:lnTo>
                  <a:lnTo>
                    <a:pt x="206" y="64"/>
                  </a:lnTo>
                  <a:lnTo>
                    <a:pt x="206" y="64"/>
                  </a:lnTo>
                  <a:lnTo>
                    <a:pt x="208" y="67"/>
                  </a:lnTo>
                  <a:lnTo>
                    <a:pt x="208" y="67"/>
                  </a:lnTo>
                  <a:lnTo>
                    <a:pt x="208" y="64"/>
                  </a:lnTo>
                  <a:lnTo>
                    <a:pt x="208" y="64"/>
                  </a:lnTo>
                  <a:lnTo>
                    <a:pt x="211" y="64"/>
                  </a:lnTo>
                  <a:lnTo>
                    <a:pt x="211" y="61"/>
                  </a:lnTo>
                  <a:lnTo>
                    <a:pt x="211" y="61"/>
                  </a:lnTo>
                  <a:lnTo>
                    <a:pt x="208" y="59"/>
                  </a:lnTo>
                  <a:lnTo>
                    <a:pt x="208" y="59"/>
                  </a:lnTo>
                  <a:close/>
                  <a:moveTo>
                    <a:pt x="200" y="224"/>
                  </a:moveTo>
                  <a:lnTo>
                    <a:pt x="198" y="224"/>
                  </a:lnTo>
                  <a:lnTo>
                    <a:pt x="198" y="224"/>
                  </a:lnTo>
                  <a:lnTo>
                    <a:pt x="198" y="227"/>
                  </a:lnTo>
                  <a:lnTo>
                    <a:pt x="198" y="230"/>
                  </a:lnTo>
                  <a:lnTo>
                    <a:pt x="200" y="227"/>
                  </a:lnTo>
                  <a:lnTo>
                    <a:pt x="203" y="224"/>
                  </a:lnTo>
                  <a:lnTo>
                    <a:pt x="208" y="224"/>
                  </a:lnTo>
                  <a:lnTo>
                    <a:pt x="208" y="224"/>
                  </a:lnTo>
                  <a:lnTo>
                    <a:pt x="208" y="222"/>
                  </a:lnTo>
                  <a:lnTo>
                    <a:pt x="206" y="222"/>
                  </a:lnTo>
                  <a:lnTo>
                    <a:pt x="203" y="219"/>
                  </a:lnTo>
                  <a:lnTo>
                    <a:pt x="203" y="216"/>
                  </a:lnTo>
                  <a:lnTo>
                    <a:pt x="203" y="216"/>
                  </a:lnTo>
                  <a:lnTo>
                    <a:pt x="203" y="214"/>
                  </a:lnTo>
                  <a:lnTo>
                    <a:pt x="203" y="211"/>
                  </a:lnTo>
                  <a:lnTo>
                    <a:pt x="203" y="211"/>
                  </a:lnTo>
                  <a:lnTo>
                    <a:pt x="203" y="211"/>
                  </a:lnTo>
                  <a:lnTo>
                    <a:pt x="203" y="208"/>
                  </a:lnTo>
                  <a:lnTo>
                    <a:pt x="203" y="208"/>
                  </a:lnTo>
                  <a:lnTo>
                    <a:pt x="203" y="208"/>
                  </a:lnTo>
                  <a:lnTo>
                    <a:pt x="200" y="208"/>
                  </a:lnTo>
                  <a:lnTo>
                    <a:pt x="198" y="211"/>
                  </a:lnTo>
                  <a:lnTo>
                    <a:pt x="198" y="211"/>
                  </a:lnTo>
                  <a:lnTo>
                    <a:pt x="195" y="222"/>
                  </a:lnTo>
                  <a:lnTo>
                    <a:pt x="192" y="222"/>
                  </a:lnTo>
                  <a:lnTo>
                    <a:pt x="192" y="224"/>
                  </a:lnTo>
                  <a:lnTo>
                    <a:pt x="192" y="224"/>
                  </a:lnTo>
                  <a:lnTo>
                    <a:pt x="192" y="227"/>
                  </a:lnTo>
                  <a:lnTo>
                    <a:pt x="192" y="227"/>
                  </a:lnTo>
                  <a:lnTo>
                    <a:pt x="192" y="227"/>
                  </a:lnTo>
                  <a:lnTo>
                    <a:pt x="195" y="230"/>
                  </a:lnTo>
                  <a:lnTo>
                    <a:pt x="195" y="227"/>
                  </a:lnTo>
                  <a:lnTo>
                    <a:pt x="195" y="227"/>
                  </a:lnTo>
                  <a:lnTo>
                    <a:pt x="195" y="227"/>
                  </a:lnTo>
                  <a:lnTo>
                    <a:pt x="198" y="224"/>
                  </a:lnTo>
                  <a:lnTo>
                    <a:pt x="198" y="222"/>
                  </a:lnTo>
                  <a:lnTo>
                    <a:pt x="198" y="222"/>
                  </a:lnTo>
                  <a:lnTo>
                    <a:pt x="200" y="222"/>
                  </a:lnTo>
                  <a:lnTo>
                    <a:pt x="200" y="222"/>
                  </a:lnTo>
                  <a:lnTo>
                    <a:pt x="200" y="222"/>
                  </a:lnTo>
                  <a:lnTo>
                    <a:pt x="203" y="222"/>
                  </a:lnTo>
                  <a:lnTo>
                    <a:pt x="200" y="222"/>
                  </a:lnTo>
                  <a:lnTo>
                    <a:pt x="200" y="224"/>
                  </a:lnTo>
                  <a:close/>
                  <a:moveTo>
                    <a:pt x="195" y="192"/>
                  </a:moveTo>
                  <a:lnTo>
                    <a:pt x="195" y="192"/>
                  </a:lnTo>
                  <a:lnTo>
                    <a:pt x="195" y="192"/>
                  </a:lnTo>
                  <a:lnTo>
                    <a:pt x="198" y="192"/>
                  </a:lnTo>
                  <a:lnTo>
                    <a:pt x="198" y="195"/>
                  </a:lnTo>
                  <a:lnTo>
                    <a:pt x="200" y="198"/>
                  </a:lnTo>
                  <a:lnTo>
                    <a:pt x="203" y="195"/>
                  </a:lnTo>
                  <a:lnTo>
                    <a:pt x="203" y="195"/>
                  </a:lnTo>
                  <a:lnTo>
                    <a:pt x="203" y="195"/>
                  </a:lnTo>
                  <a:lnTo>
                    <a:pt x="203" y="195"/>
                  </a:lnTo>
                  <a:lnTo>
                    <a:pt x="203" y="192"/>
                  </a:lnTo>
                  <a:lnTo>
                    <a:pt x="203" y="192"/>
                  </a:lnTo>
                  <a:lnTo>
                    <a:pt x="203" y="192"/>
                  </a:lnTo>
                  <a:lnTo>
                    <a:pt x="203" y="190"/>
                  </a:lnTo>
                  <a:lnTo>
                    <a:pt x="200" y="190"/>
                  </a:lnTo>
                  <a:lnTo>
                    <a:pt x="203" y="190"/>
                  </a:lnTo>
                  <a:lnTo>
                    <a:pt x="203" y="190"/>
                  </a:lnTo>
                  <a:lnTo>
                    <a:pt x="203" y="187"/>
                  </a:lnTo>
                  <a:lnTo>
                    <a:pt x="203" y="187"/>
                  </a:lnTo>
                  <a:lnTo>
                    <a:pt x="203" y="184"/>
                  </a:lnTo>
                  <a:lnTo>
                    <a:pt x="203" y="179"/>
                  </a:lnTo>
                  <a:lnTo>
                    <a:pt x="203" y="179"/>
                  </a:lnTo>
                  <a:lnTo>
                    <a:pt x="203" y="179"/>
                  </a:lnTo>
                  <a:lnTo>
                    <a:pt x="200" y="176"/>
                  </a:lnTo>
                  <a:lnTo>
                    <a:pt x="200" y="176"/>
                  </a:lnTo>
                  <a:lnTo>
                    <a:pt x="200" y="176"/>
                  </a:lnTo>
                  <a:lnTo>
                    <a:pt x="198" y="179"/>
                  </a:lnTo>
                  <a:lnTo>
                    <a:pt x="198" y="179"/>
                  </a:lnTo>
                  <a:lnTo>
                    <a:pt x="198" y="182"/>
                  </a:lnTo>
                  <a:lnTo>
                    <a:pt x="195" y="182"/>
                  </a:lnTo>
                  <a:lnTo>
                    <a:pt x="195" y="184"/>
                  </a:lnTo>
                  <a:lnTo>
                    <a:pt x="195" y="184"/>
                  </a:lnTo>
                  <a:lnTo>
                    <a:pt x="195" y="187"/>
                  </a:lnTo>
                  <a:lnTo>
                    <a:pt x="195" y="187"/>
                  </a:lnTo>
                  <a:lnTo>
                    <a:pt x="195" y="190"/>
                  </a:lnTo>
                  <a:lnTo>
                    <a:pt x="195" y="192"/>
                  </a:lnTo>
                  <a:close/>
                  <a:moveTo>
                    <a:pt x="171" y="243"/>
                  </a:moveTo>
                  <a:lnTo>
                    <a:pt x="168" y="243"/>
                  </a:lnTo>
                  <a:lnTo>
                    <a:pt x="168" y="246"/>
                  </a:lnTo>
                  <a:lnTo>
                    <a:pt x="168" y="246"/>
                  </a:lnTo>
                  <a:lnTo>
                    <a:pt x="166" y="246"/>
                  </a:lnTo>
                  <a:lnTo>
                    <a:pt x="166" y="246"/>
                  </a:lnTo>
                  <a:lnTo>
                    <a:pt x="166" y="249"/>
                  </a:lnTo>
                  <a:lnTo>
                    <a:pt x="166" y="249"/>
                  </a:lnTo>
                  <a:lnTo>
                    <a:pt x="166" y="251"/>
                  </a:lnTo>
                  <a:lnTo>
                    <a:pt x="168" y="251"/>
                  </a:lnTo>
                  <a:lnTo>
                    <a:pt x="168" y="251"/>
                  </a:lnTo>
                  <a:lnTo>
                    <a:pt x="168" y="251"/>
                  </a:lnTo>
                  <a:lnTo>
                    <a:pt x="171" y="251"/>
                  </a:lnTo>
                  <a:lnTo>
                    <a:pt x="171" y="251"/>
                  </a:lnTo>
                  <a:lnTo>
                    <a:pt x="174" y="249"/>
                  </a:lnTo>
                  <a:lnTo>
                    <a:pt x="174" y="246"/>
                  </a:lnTo>
                  <a:lnTo>
                    <a:pt x="174" y="246"/>
                  </a:lnTo>
                  <a:lnTo>
                    <a:pt x="171" y="246"/>
                  </a:lnTo>
                  <a:lnTo>
                    <a:pt x="171" y="243"/>
                  </a:lnTo>
                  <a:close/>
                  <a:moveTo>
                    <a:pt x="158" y="230"/>
                  </a:moveTo>
                  <a:lnTo>
                    <a:pt x="158" y="227"/>
                  </a:lnTo>
                  <a:lnTo>
                    <a:pt x="158" y="227"/>
                  </a:lnTo>
                  <a:lnTo>
                    <a:pt x="160" y="227"/>
                  </a:lnTo>
                  <a:lnTo>
                    <a:pt x="158" y="227"/>
                  </a:lnTo>
                  <a:lnTo>
                    <a:pt x="158" y="227"/>
                  </a:lnTo>
                  <a:lnTo>
                    <a:pt x="155" y="227"/>
                  </a:lnTo>
                  <a:lnTo>
                    <a:pt x="155" y="227"/>
                  </a:lnTo>
                  <a:lnTo>
                    <a:pt x="152" y="227"/>
                  </a:lnTo>
                  <a:lnTo>
                    <a:pt x="152" y="227"/>
                  </a:lnTo>
                  <a:lnTo>
                    <a:pt x="152" y="230"/>
                  </a:lnTo>
                  <a:lnTo>
                    <a:pt x="150" y="232"/>
                  </a:lnTo>
                  <a:lnTo>
                    <a:pt x="150" y="232"/>
                  </a:lnTo>
                  <a:lnTo>
                    <a:pt x="150" y="235"/>
                  </a:lnTo>
                  <a:lnTo>
                    <a:pt x="152" y="238"/>
                  </a:lnTo>
                  <a:lnTo>
                    <a:pt x="152" y="238"/>
                  </a:lnTo>
                  <a:lnTo>
                    <a:pt x="152" y="238"/>
                  </a:lnTo>
                  <a:lnTo>
                    <a:pt x="152" y="240"/>
                  </a:lnTo>
                  <a:lnTo>
                    <a:pt x="152" y="240"/>
                  </a:lnTo>
                  <a:lnTo>
                    <a:pt x="152" y="243"/>
                  </a:lnTo>
                  <a:lnTo>
                    <a:pt x="155" y="240"/>
                  </a:lnTo>
                  <a:lnTo>
                    <a:pt x="158" y="240"/>
                  </a:lnTo>
                  <a:lnTo>
                    <a:pt x="158" y="238"/>
                  </a:lnTo>
                  <a:lnTo>
                    <a:pt x="158" y="235"/>
                  </a:lnTo>
                  <a:lnTo>
                    <a:pt x="158" y="235"/>
                  </a:lnTo>
                  <a:lnTo>
                    <a:pt x="155" y="232"/>
                  </a:lnTo>
                  <a:lnTo>
                    <a:pt x="155" y="230"/>
                  </a:lnTo>
                  <a:lnTo>
                    <a:pt x="158" y="230"/>
                  </a:lnTo>
                  <a:close/>
                  <a:moveTo>
                    <a:pt x="24" y="310"/>
                  </a:moveTo>
                  <a:lnTo>
                    <a:pt x="24" y="310"/>
                  </a:lnTo>
                  <a:lnTo>
                    <a:pt x="24" y="313"/>
                  </a:lnTo>
                  <a:lnTo>
                    <a:pt x="27" y="318"/>
                  </a:lnTo>
                  <a:lnTo>
                    <a:pt x="27" y="315"/>
                  </a:lnTo>
                  <a:lnTo>
                    <a:pt x="27" y="315"/>
                  </a:lnTo>
                  <a:lnTo>
                    <a:pt x="30" y="313"/>
                  </a:lnTo>
                  <a:lnTo>
                    <a:pt x="30" y="310"/>
                  </a:lnTo>
                  <a:lnTo>
                    <a:pt x="27" y="307"/>
                  </a:lnTo>
                  <a:lnTo>
                    <a:pt x="27" y="307"/>
                  </a:lnTo>
                  <a:lnTo>
                    <a:pt x="27" y="307"/>
                  </a:lnTo>
                  <a:lnTo>
                    <a:pt x="27" y="305"/>
                  </a:lnTo>
                  <a:lnTo>
                    <a:pt x="27" y="305"/>
                  </a:lnTo>
                  <a:lnTo>
                    <a:pt x="24" y="307"/>
                  </a:lnTo>
                  <a:lnTo>
                    <a:pt x="24" y="307"/>
                  </a:lnTo>
                  <a:lnTo>
                    <a:pt x="24" y="310"/>
                  </a:lnTo>
                  <a:lnTo>
                    <a:pt x="24" y="310"/>
                  </a:lnTo>
                  <a:close/>
                  <a:moveTo>
                    <a:pt x="166" y="43"/>
                  </a:moveTo>
                  <a:lnTo>
                    <a:pt x="168" y="43"/>
                  </a:lnTo>
                  <a:lnTo>
                    <a:pt x="168" y="45"/>
                  </a:lnTo>
                  <a:lnTo>
                    <a:pt x="171" y="45"/>
                  </a:lnTo>
                  <a:lnTo>
                    <a:pt x="171" y="45"/>
                  </a:lnTo>
                  <a:lnTo>
                    <a:pt x="171" y="45"/>
                  </a:lnTo>
                  <a:lnTo>
                    <a:pt x="171" y="45"/>
                  </a:lnTo>
                  <a:lnTo>
                    <a:pt x="171" y="45"/>
                  </a:lnTo>
                  <a:lnTo>
                    <a:pt x="168" y="43"/>
                  </a:lnTo>
                  <a:lnTo>
                    <a:pt x="168" y="43"/>
                  </a:lnTo>
                  <a:lnTo>
                    <a:pt x="168" y="43"/>
                  </a:lnTo>
                  <a:lnTo>
                    <a:pt x="166" y="43"/>
                  </a:lnTo>
                  <a:lnTo>
                    <a:pt x="166" y="43"/>
                  </a:lnTo>
                  <a:close/>
                  <a:moveTo>
                    <a:pt x="179" y="40"/>
                  </a:moveTo>
                  <a:lnTo>
                    <a:pt x="179" y="40"/>
                  </a:lnTo>
                  <a:lnTo>
                    <a:pt x="179" y="40"/>
                  </a:lnTo>
                  <a:lnTo>
                    <a:pt x="182" y="40"/>
                  </a:lnTo>
                  <a:lnTo>
                    <a:pt x="182" y="40"/>
                  </a:lnTo>
                  <a:lnTo>
                    <a:pt x="182" y="40"/>
                  </a:lnTo>
                  <a:lnTo>
                    <a:pt x="182" y="37"/>
                  </a:lnTo>
                  <a:lnTo>
                    <a:pt x="182" y="35"/>
                  </a:lnTo>
                  <a:lnTo>
                    <a:pt x="179" y="35"/>
                  </a:lnTo>
                  <a:lnTo>
                    <a:pt x="179" y="37"/>
                  </a:lnTo>
                  <a:lnTo>
                    <a:pt x="176" y="37"/>
                  </a:lnTo>
                  <a:lnTo>
                    <a:pt x="176" y="37"/>
                  </a:lnTo>
                  <a:lnTo>
                    <a:pt x="179" y="40"/>
                  </a:lnTo>
                  <a:lnTo>
                    <a:pt x="179" y="40"/>
                  </a:lnTo>
                  <a:close/>
                  <a:moveTo>
                    <a:pt x="168" y="48"/>
                  </a:moveTo>
                  <a:lnTo>
                    <a:pt x="166" y="48"/>
                  </a:lnTo>
                  <a:lnTo>
                    <a:pt x="163" y="48"/>
                  </a:lnTo>
                  <a:lnTo>
                    <a:pt x="163" y="51"/>
                  </a:lnTo>
                  <a:lnTo>
                    <a:pt x="163" y="51"/>
                  </a:lnTo>
                  <a:lnTo>
                    <a:pt x="163" y="56"/>
                  </a:lnTo>
                  <a:lnTo>
                    <a:pt x="163" y="61"/>
                  </a:lnTo>
                  <a:lnTo>
                    <a:pt x="163" y="61"/>
                  </a:lnTo>
                  <a:lnTo>
                    <a:pt x="163" y="64"/>
                  </a:lnTo>
                  <a:lnTo>
                    <a:pt x="166" y="64"/>
                  </a:lnTo>
                  <a:lnTo>
                    <a:pt x="166" y="64"/>
                  </a:lnTo>
                  <a:lnTo>
                    <a:pt x="168" y="67"/>
                  </a:lnTo>
                  <a:lnTo>
                    <a:pt x="168" y="67"/>
                  </a:lnTo>
                  <a:lnTo>
                    <a:pt x="171" y="67"/>
                  </a:lnTo>
                  <a:lnTo>
                    <a:pt x="171" y="67"/>
                  </a:lnTo>
                  <a:lnTo>
                    <a:pt x="171" y="67"/>
                  </a:lnTo>
                  <a:lnTo>
                    <a:pt x="174" y="70"/>
                  </a:lnTo>
                  <a:lnTo>
                    <a:pt x="174" y="70"/>
                  </a:lnTo>
                  <a:lnTo>
                    <a:pt x="174" y="70"/>
                  </a:lnTo>
                  <a:lnTo>
                    <a:pt x="174" y="72"/>
                  </a:lnTo>
                  <a:lnTo>
                    <a:pt x="176" y="72"/>
                  </a:lnTo>
                  <a:lnTo>
                    <a:pt x="176" y="72"/>
                  </a:lnTo>
                  <a:lnTo>
                    <a:pt x="179" y="72"/>
                  </a:lnTo>
                  <a:lnTo>
                    <a:pt x="179" y="72"/>
                  </a:lnTo>
                  <a:lnTo>
                    <a:pt x="179" y="72"/>
                  </a:lnTo>
                  <a:lnTo>
                    <a:pt x="179" y="70"/>
                  </a:lnTo>
                  <a:lnTo>
                    <a:pt x="176" y="70"/>
                  </a:lnTo>
                  <a:lnTo>
                    <a:pt x="176" y="70"/>
                  </a:lnTo>
                  <a:lnTo>
                    <a:pt x="176" y="64"/>
                  </a:lnTo>
                  <a:lnTo>
                    <a:pt x="176" y="64"/>
                  </a:lnTo>
                  <a:lnTo>
                    <a:pt x="176" y="64"/>
                  </a:lnTo>
                  <a:lnTo>
                    <a:pt x="176" y="64"/>
                  </a:lnTo>
                  <a:lnTo>
                    <a:pt x="179" y="64"/>
                  </a:lnTo>
                  <a:lnTo>
                    <a:pt x="179" y="64"/>
                  </a:lnTo>
                  <a:lnTo>
                    <a:pt x="179" y="61"/>
                  </a:lnTo>
                  <a:lnTo>
                    <a:pt x="182" y="61"/>
                  </a:lnTo>
                  <a:lnTo>
                    <a:pt x="179" y="59"/>
                  </a:lnTo>
                  <a:lnTo>
                    <a:pt x="176" y="56"/>
                  </a:lnTo>
                  <a:lnTo>
                    <a:pt x="174" y="53"/>
                  </a:lnTo>
                  <a:lnTo>
                    <a:pt x="174" y="53"/>
                  </a:lnTo>
                  <a:lnTo>
                    <a:pt x="171" y="51"/>
                  </a:lnTo>
                  <a:lnTo>
                    <a:pt x="171" y="48"/>
                  </a:lnTo>
                  <a:lnTo>
                    <a:pt x="168" y="48"/>
                  </a:lnTo>
                  <a:close/>
                  <a:moveTo>
                    <a:pt x="755" y="104"/>
                  </a:moveTo>
                  <a:lnTo>
                    <a:pt x="734" y="102"/>
                  </a:lnTo>
                  <a:lnTo>
                    <a:pt x="713" y="99"/>
                  </a:lnTo>
                  <a:lnTo>
                    <a:pt x="691" y="94"/>
                  </a:lnTo>
                  <a:lnTo>
                    <a:pt x="670" y="91"/>
                  </a:lnTo>
                  <a:lnTo>
                    <a:pt x="649" y="88"/>
                  </a:lnTo>
                  <a:lnTo>
                    <a:pt x="627" y="83"/>
                  </a:lnTo>
                  <a:lnTo>
                    <a:pt x="606" y="80"/>
                  </a:lnTo>
                  <a:lnTo>
                    <a:pt x="585" y="78"/>
                  </a:lnTo>
                  <a:lnTo>
                    <a:pt x="563" y="72"/>
                  </a:lnTo>
                  <a:lnTo>
                    <a:pt x="542" y="70"/>
                  </a:lnTo>
                  <a:lnTo>
                    <a:pt x="521" y="64"/>
                  </a:lnTo>
                  <a:lnTo>
                    <a:pt x="499" y="61"/>
                  </a:lnTo>
                  <a:lnTo>
                    <a:pt x="478" y="59"/>
                  </a:lnTo>
                  <a:lnTo>
                    <a:pt x="457" y="53"/>
                  </a:lnTo>
                  <a:lnTo>
                    <a:pt x="435" y="51"/>
                  </a:lnTo>
                  <a:lnTo>
                    <a:pt x="414" y="45"/>
                  </a:lnTo>
                  <a:lnTo>
                    <a:pt x="393" y="43"/>
                  </a:lnTo>
                  <a:lnTo>
                    <a:pt x="371" y="37"/>
                  </a:lnTo>
                  <a:lnTo>
                    <a:pt x="353" y="32"/>
                  </a:lnTo>
                  <a:lnTo>
                    <a:pt x="331" y="29"/>
                  </a:lnTo>
                  <a:lnTo>
                    <a:pt x="310" y="24"/>
                  </a:lnTo>
                  <a:lnTo>
                    <a:pt x="289" y="21"/>
                  </a:lnTo>
                  <a:lnTo>
                    <a:pt x="267" y="16"/>
                  </a:lnTo>
                  <a:lnTo>
                    <a:pt x="246" y="13"/>
                  </a:lnTo>
                  <a:lnTo>
                    <a:pt x="224" y="8"/>
                  </a:lnTo>
                  <a:lnTo>
                    <a:pt x="214" y="5"/>
                  </a:lnTo>
                  <a:lnTo>
                    <a:pt x="214" y="5"/>
                  </a:lnTo>
                  <a:lnTo>
                    <a:pt x="216" y="8"/>
                  </a:lnTo>
                  <a:lnTo>
                    <a:pt x="216" y="11"/>
                  </a:lnTo>
                  <a:lnTo>
                    <a:pt x="211" y="8"/>
                  </a:lnTo>
                  <a:lnTo>
                    <a:pt x="208" y="8"/>
                  </a:lnTo>
                  <a:lnTo>
                    <a:pt x="208" y="11"/>
                  </a:lnTo>
                  <a:lnTo>
                    <a:pt x="208" y="13"/>
                  </a:lnTo>
                  <a:lnTo>
                    <a:pt x="214" y="13"/>
                  </a:lnTo>
                  <a:lnTo>
                    <a:pt x="214" y="16"/>
                  </a:lnTo>
                  <a:lnTo>
                    <a:pt x="214" y="16"/>
                  </a:lnTo>
                  <a:lnTo>
                    <a:pt x="211" y="16"/>
                  </a:lnTo>
                  <a:lnTo>
                    <a:pt x="211" y="19"/>
                  </a:lnTo>
                  <a:lnTo>
                    <a:pt x="211" y="19"/>
                  </a:lnTo>
                  <a:lnTo>
                    <a:pt x="211" y="21"/>
                  </a:lnTo>
                  <a:lnTo>
                    <a:pt x="211" y="21"/>
                  </a:lnTo>
                  <a:lnTo>
                    <a:pt x="214" y="27"/>
                  </a:lnTo>
                  <a:lnTo>
                    <a:pt x="216" y="29"/>
                  </a:lnTo>
                  <a:lnTo>
                    <a:pt x="216" y="29"/>
                  </a:lnTo>
                  <a:lnTo>
                    <a:pt x="214" y="35"/>
                  </a:lnTo>
                  <a:lnTo>
                    <a:pt x="216" y="32"/>
                  </a:lnTo>
                  <a:lnTo>
                    <a:pt x="216" y="32"/>
                  </a:lnTo>
                  <a:lnTo>
                    <a:pt x="219" y="35"/>
                  </a:lnTo>
                  <a:lnTo>
                    <a:pt x="219" y="37"/>
                  </a:lnTo>
                  <a:lnTo>
                    <a:pt x="219" y="37"/>
                  </a:lnTo>
                  <a:lnTo>
                    <a:pt x="216" y="40"/>
                  </a:lnTo>
                  <a:lnTo>
                    <a:pt x="216" y="40"/>
                  </a:lnTo>
                  <a:lnTo>
                    <a:pt x="216" y="43"/>
                  </a:lnTo>
                  <a:lnTo>
                    <a:pt x="216" y="43"/>
                  </a:lnTo>
                  <a:lnTo>
                    <a:pt x="216" y="43"/>
                  </a:lnTo>
                  <a:lnTo>
                    <a:pt x="219" y="43"/>
                  </a:lnTo>
                  <a:lnTo>
                    <a:pt x="222" y="40"/>
                  </a:lnTo>
                  <a:lnTo>
                    <a:pt x="224" y="37"/>
                  </a:lnTo>
                  <a:lnTo>
                    <a:pt x="227" y="37"/>
                  </a:lnTo>
                  <a:lnTo>
                    <a:pt x="227" y="37"/>
                  </a:lnTo>
                  <a:lnTo>
                    <a:pt x="230" y="40"/>
                  </a:lnTo>
                  <a:lnTo>
                    <a:pt x="232" y="43"/>
                  </a:lnTo>
                  <a:lnTo>
                    <a:pt x="232" y="43"/>
                  </a:lnTo>
                  <a:lnTo>
                    <a:pt x="230" y="48"/>
                  </a:lnTo>
                  <a:lnTo>
                    <a:pt x="230" y="51"/>
                  </a:lnTo>
                  <a:lnTo>
                    <a:pt x="230" y="51"/>
                  </a:lnTo>
                  <a:lnTo>
                    <a:pt x="230" y="51"/>
                  </a:lnTo>
                  <a:lnTo>
                    <a:pt x="230" y="56"/>
                  </a:lnTo>
                  <a:lnTo>
                    <a:pt x="230" y="56"/>
                  </a:lnTo>
                  <a:lnTo>
                    <a:pt x="232" y="59"/>
                  </a:lnTo>
                  <a:lnTo>
                    <a:pt x="232" y="59"/>
                  </a:lnTo>
                  <a:lnTo>
                    <a:pt x="232" y="59"/>
                  </a:lnTo>
                  <a:lnTo>
                    <a:pt x="232" y="59"/>
                  </a:lnTo>
                  <a:lnTo>
                    <a:pt x="235" y="64"/>
                  </a:lnTo>
                  <a:lnTo>
                    <a:pt x="235" y="67"/>
                  </a:lnTo>
                  <a:lnTo>
                    <a:pt x="232" y="67"/>
                  </a:lnTo>
                  <a:lnTo>
                    <a:pt x="230" y="70"/>
                  </a:lnTo>
                  <a:lnTo>
                    <a:pt x="230" y="67"/>
                  </a:lnTo>
                  <a:lnTo>
                    <a:pt x="227" y="64"/>
                  </a:lnTo>
                  <a:lnTo>
                    <a:pt x="224" y="61"/>
                  </a:lnTo>
                  <a:lnTo>
                    <a:pt x="222" y="61"/>
                  </a:lnTo>
                  <a:lnTo>
                    <a:pt x="222" y="64"/>
                  </a:lnTo>
                  <a:lnTo>
                    <a:pt x="227" y="67"/>
                  </a:lnTo>
                  <a:lnTo>
                    <a:pt x="227" y="70"/>
                  </a:lnTo>
                  <a:lnTo>
                    <a:pt x="227" y="72"/>
                  </a:lnTo>
                  <a:lnTo>
                    <a:pt x="227" y="75"/>
                  </a:lnTo>
                  <a:lnTo>
                    <a:pt x="227" y="78"/>
                  </a:lnTo>
                  <a:lnTo>
                    <a:pt x="227" y="78"/>
                  </a:lnTo>
                  <a:lnTo>
                    <a:pt x="227" y="80"/>
                  </a:lnTo>
                  <a:lnTo>
                    <a:pt x="227" y="80"/>
                  </a:lnTo>
                  <a:lnTo>
                    <a:pt x="227" y="80"/>
                  </a:lnTo>
                  <a:lnTo>
                    <a:pt x="224" y="83"/>
                  </a:lnTo>
                  <a:lnTo>
                    <a:pt x="224" y="80"/>
                  </a:lnTo>
                  <a:lnTo>
                    <a:pt x="222" y="80"/>
                  </a:lnTo>
                  <a:lnTo>
                    <a:pt x="222" y="78"/>
                  </a:lnTo>
                  <a:lnTo>
                    <a:pt x="219" y="75"/>
                  </a:lnTo>
                  <a:lnTo>
                    <a:pt x="216" y="75"/>
                  </a:lnTo>
                  <a:lnTo>
                    <a:pt x="216" y="80"/>
                  </a:lnTo>
                  <a:lnTo>
                    <a:pt x="216" y="78"/>
                  </a:lnTo>
                  <a:lnTo>
                    <a:pt x="214" y="72"/>
                  </a:lnTo>
                  <a:lnTo>
                    <a:pt x="214" y="70"/>
                  </a:lnTo>
                  <a:lnTo>
                    <a:pt x="211" y="72"/>
                  </a:lnTo>
                  <a:lnTo>
                    <a:pt x="208" y="72"/>
                  </a:lnTo>
                  <a:lnTo>
                    <a:pt x="208" y="72"/>
                  </a:lnTo>
                  <a:lnTo>
                    <a:pt x="206" y="72"/>
                  </a:lnTo>
                  <a:lnTo>
                    <a:pt x="206" y="72"/>
                  </a:lnTo>
                  <a:lnTo>
                    <a:pt x="206" y="75"/>
                  </a:lnTo>
                  <a:lnTo>
                    <a:pt x="208" y="75"/>
                  </a:lnTo>
                  <a:lnTo>
                    <a:pt x="208" y="75"/>
                  </a:lnTo>
                  <a:lnTo>
                    <a:pt x="208" y="78"/>
                  </a:lnTo>
                  <a:lnTo>
                    <a:pt x="208" y="80"/>
                  </a:lnTo>
                  <a:lnTo>
                    <a:pt x="206" y="80"/>
                  </a:lnTo>
                  <a:lnTo>
                    <a:pt x="206" y="80"/>
                  </a:lnTo>
                  <a:lnTo>
                    <a:pt x="206" y="83"/>
                  </a:lnTo>
                  <a:lnTo>
                    <a:pt x="208" y="83"/>
                  </a:lnTo>
                  <a:lnTo>
                    <a:pt x="208" y="86"/>
                  </a:lnTo>
                  <a:lnTo>
                    <a:pt x="211" y="86"/>
                  </a:lnTo>
                  <a:lnTo>
                    <a:pt x="211" y="86"/>
                  </a:lnTo>
                  <a:lnTo>
                    <a:pt x="214" y="83"/>
                  </a:lnTo>
                  <a:lnTo>
                    <a:pt x="216" y="83"/>
                  </a:lnTo>
                  <a:lnTo>
                    <a:pt x="216" y="83"/>
                  </a:lnTo>
                  <a:lnTo>
                    <a:pt x="216" y="83"/>
                  </a:lnTo>
                  <a:lnTo>
                    <a:pt x="219" y="83"/>
                  </a:lnTo>
                  <a:lnTo>
                    <a:pt x="219" y="83"/>
                  </a:lnTo>
                  <a:lnTo>
                    <a:pt x="216" y="86"/>
                  </a:lnTo>
                  <a:lnTo>
                    <a:pt x="216" y="86"/>
                  </a:lnTo>
                  <a:lnTo>
                    <a:pt x="219" y="88"/>
                  </a:lnTo>
                  <a:lnTo>
                    <a:pt x="219" y="91"/>
                  </a:lnTo>
                  <a:lnTo>
                    <a:pt x="219" y="91"/>
                  </a:lnTo>
                  <a:lnTo>
                    <a:pt x="222" y="94"/>
                  </a:lnTo>
                  <a:lnTo>
                    <a:pt x="224" y="94"/>
                  </a:lnTo>
                  <a:lnTo>
                    <a:pt x="224" y="94"/>
                  </a:lnTo>
                  <a:lnTo>
                    <a:pt x="227" y="96"/>
                  </a:lnTo>
                  <a:lnTo>
                    <a:pt x="230" y="99"/>
                  </a:lnTo>
                  <a:lnTo>
                    <a:pt x="232" y="102"/>
                  </a:lnTo>
                  <a:lnTo>
                    <a:pt x="232" y="104"/>
                  </a:lnTo>
                  <a:lnTo>
                    <a:pt x="232" y="104"/>
                  </a:lnTo>
                  <a:lnTo>
                    <a:pt x="232" y="107"/>
                  </a:lnTo>
                  <a:lnTo>
                    <a:pt x="232" y="107"/>
                  </a:lnTo>
                  <a:lnTo>
                    <a:pt x="230" y="110"/>
                  </a:lnTo>
                  <a:lnTo>
                    <a:pt x="230" y="110"/>
                  </a:lnTo>
                  <a:lnTo>
                    <a:pt x="230" y="112"/>
                  </a:lnTo>
                  <a:lnTo>
                    <a:pt x="230" y="112"/>
                  </a:lnTo>
                  <a:lnTo>
                    <a:pt x="227" y="110"/>
                  </a:lnTo>
                  <a:lnTo>
                    <a:pt x="227" y="110"/>
                  </a:lnTo>
                  <a:lnTo>
                    <a:pt x="227" y="107"/>
                  </a:lnTo>
                  <a:lnTo>
                    <a:pt x="224" y="107"/>
                  </a:lnTo>
                  <a:lnTo>
                    <a:pt x="222" y="107"/>
                  </a:lnTo>
                  <a:lnTo>
                    <a:pt x="219" y="107"/>
                  </a:lnTo>
                  <a:lnTo>
                    <a:pt x="216" y="110"/>
                  </a:lnTo>
                  <a:lnTo>
                    <a:pt x="216" y="112"/>
                  </a:lnTo>
                  <a:lnTo>
                    <a:pt x="214" y="115"/>
                  </a:lnTo>
                  <a:lnTo>
                    <a:pt x="214" y="118"/>
                  </a:lnTo>
                  <a:lnTo>
                    <a:pt x="216" y="120"/>
                  </a:lnTo>
                  <a:lnTo>
                    <a:pt x="216" y="123"/>
                  </a:lnTo>
                  <a:lnTo>
                    <a:pt x="224" y="131"/>
                  </a:lnTo>
                  <a:lnTo>
                    <a:pt x="224" y="131"/>
                  </a:lnTo>
                  <a:lnTo>
                    <a:pt x="227" y="136"/>
                  </a:lnTo>
                  <a:lnTo>
                    <a:pt x="227" y="136"/>
                  </a:lnTo>
                  <a:lnTo>
                    <a:pt x="230" y="136"/>
                  </a:lnTo>
                  <a:lnTo>
                    <a:pt x="227" y="131"/>
                  </a:lnTo>
                  <a:lnTo>
                    <a:pt x="227" y="131"/>
                  </a:lnTo>
                  <a:lnTo>
                    <a:pt x="224" y="128"/>
                  </a:lnTo>
                  <a:lnTo>
                    <a:pt x="224" y="128"/>
                  </a:lnTo>
                  <a:lnTo>
                    <a:pt x="222" y="126"/>
                  </a:lnTo>
                  <a:lnTo>
                    <a:pt x="222" y="123"/>
                  </a:lnTo>
                  <a:lnTo>
                    <a:pt x="222" y="123"/>
                  </a:lnTo>
                  <a:lnTo>
                    <a:pt x="219" y="120"/>
                  </a:lnTo>
                  <a:lnTo>
                    <a:pt x="219" y="118"/>
                  </a:lnTo>
                  <a:lnTo>
                    <a:pt x="222" y="115"/>
                  </a:lnTo>
                  <a:lnTo>
                    <a:pt x="224" y="115"/>
                  </a:lnTo>
                  <a:lnTo>
                    <a:pt x="224" y="112"/>
                  </a:lnTo>
                  <a:lnTo>
                    <a:pt x="224" y="112"/>
                  </a:lnTo>
                  <a:lnTo>
                    <a:pt x="224" y="112"/>
                  </a:lnTo>
                  <a:lnTo>
                    <a:pt x="227" y="112"/>
                  </a:lnTo>
                  <a:lnTo>
                    <a:pt x="227" y="112"/>
                  </a:lnTo>
                  <a:lnTo>
                    <a:pt x="227" y="112"/>
                  </a:lnTo>
                  <a:lnTo>
                    <a:pt x="230" y="115"/>
                  </a:lnTo>
                  <a:lnTo>
                    <a:pt x="230" y="118"/>
                  </a:lnTo>
                  <a:lnTo>
                    <a:pt x="230" y="123"/>
                  </a:lnTo>
                  <a:lnTo>
                    <a:pt x="230" y="128"/>
                  </a:lnTo>
                  <a:lnTo>
                    <a:pt x="230" y="131"/>
                  </a:lnTo>
                  <a:lnTo>
                    <a:pt x="232" y="136"/>
                  </a:lnTo>
                  <a:lnTo>
                    <a:pt x="238" y="142"/>
                  </a:lnTo>
                  <a:lnTo>
                    <a:pt x="240" y="142"/>
                  </a:lnTo>
                  <a:lnTo>
                    <a:pt x="243" y="142"/>
                  </a:lnTo>
                  <a:lnTo>
                    <a:pt x="243" y="142"/>
                  </a:lnTo>
                  <a:lnTo>
                    <a:pt x="243" y="142"/>
                  </a:lnTo>
                  <a:lnTo>
                    <a:pt x="243" y="144"/>
                  </a:lnTo>
                  <a:lnTo>
                    <a:pt x="243" y="144"/>
                  </a:lnTo>
                  <a:lnTo>
                    <a:pt x="243" y="144"/>
                  </a:lnTo>
                  <a:lnTo>
                    <a:pt x="240" y="144"/>
                  </a:lnTo>
                  <a:lnTo>
                    <a:pt x="240" y="147"/>
                  </a:lnTo>
                  <a:lnTo>
                    <a:pt x="240" y="147"/>
                  </a:lnTo>
                  <a:lnTo>
                    <a:pt x="238" y="150"/>
                  </a:lnTo>
                  <a:lnTo>
                    <a:pt x="238" y="150"/>
                  </a:lnTo>
                  <a:lnTo>
                    <a:pt x="232" y="150"/>
                  </a:lnTo>
                  <a:lnTo>
                    <a:pt x="232" y="150"/>
                  </a:lnTo>
                  <a:lnTo>
                    <a:pt x="232" y="150"/>
                  </a:lnTo>
                  <a:lnTo>
                    <a:pt x="230" y="152"/>
                  </a:lnTo>
                  <a:lnTo>
                    <a:pt x="230" y="152"/>
                  </a:lnTo>
                  <a:lnTo>
                    <a:pt x="227" y="152"/>
                  </a:lnTo>
                  <a:lnTo>
                    <a:pt x="227" y="155"/>
                  </a:lnTo>
                  <a:lnTo>
                    <a:pt x="227" y="155"/>
                  </a:lnTo>
                  <a:lnTo>
                    <a:pt x="224" y="158"/>
                  </a:lnTo>
                  <a:lnTo>
                    <a:pt x="224" y="160"/>
                  </a:lnTo>
                  <a:lnTo>
                    <a:pt x="222" y="163"/>
                  </a:lnTo>
                  <a:lnTo>
                    <a:pt x="219" y="163"/>
                  </a:lnTo>
                  <a:lnTo>
                    <a:pt x="219" y="166"/>
                  </a:lnTo>
                  <a:lnTo>
                    <a:pt x="216" y="168"/>
                  </a:lnTo>
                  <a:lnTo>
                    <a:pt x="216" y="168"/>
                  </a:lnTo>
                  <a:lnTo>
                    <a:pt x="216" y="171"/>
                  </a:lnTo>
                  <a:lnTo>
                    <a:pt x="216" y="174"/>
                  </a:lnTo>
                  <a:lnTo>
                    <a:pt x="216" y="176"/>
                  </a:lnTo>
                  <a:lnTo>
                    <a:pt x="216" y="176"/>
                  </a:lnTo>
                  <a:lnTo>
                    <a:pt x="216" y="179"/>
                  </a:lnTo>
                  <a:lnTo>
                    <a:pt x="216" y="182"/>
                  </a:lnTo>
                  <a:lnTo>
                    <a:pt x="214" y="184"/>
                  </a:lnTo>
                  <a:lnTo>
                    <a:pt x="214" y="184"/>
                  </a:lnTo>
                  <a:lnTo>
                    <a:pt x="214" y="184"/>
                  </a:lnTo>
                  <a:lnTo>
                    <a:pt x="211" y="187"/>
                  </a:lnTo>
                  <a:lnTo>
                    <a:pt x="211" y="187"/>
                  </a:lnTo>
                  <a:lnTo>
                    <a:pt x="211" y="187"/>
                  </a:lnTo>
                  <a:lnTo>
                    <a:pt x="211" y="187"/>
                  </a:lnTo>
                  <a:lnTo>
                    <a:pt x="211" y="190"/>
                  </a:lnTo>
                  <a:lnTo>
                    <a:pt x="211" y="190"/>
                  </a:lnTo>
                  <a:lnTo>
                    <a:pt x="216" y="192"/>
                  </a:lnTo>
                  <a:lnTo>
                    <a:pt x="216" y="195"/>
                  </a:lnTo>
                  <a:lnTo>
                    <a:pt x="216" y="198"/>
                  </a:lnTo>
                  <a:lnTo>
                    <a:pt x="216" y="198"/>
                  </a:lnTo>
                  <a:lnTo>
                    <a:pt x="216" y="200"/>
                  </a:lnTo>
                  <a:lnTo>
                    <a:pt x="214" y="200"/>
                  </a:lnTo>
                  <a:lnTo>
                    <a:pt x="214" y="198"/>
                  </a:lnTo>
                  <a:lnTo>
                    <a:pt x="214" y="195"/>
                  </a:lnTo>
                  <a:lnTo>
                    <a:pt x="211" y="195"/>
                  </a:lnTo>
                  <a:lnTo>
                    <a:pt x="211" y="198"/>
                  </a:lnTo>
                  <a:lnTo>
                    <a:pt x="211" y="198"/>
                  </a:lnTo>
                  <a:lnTo>
                    <a:pt x="211" y="200"/>
                  </a:lnTo>
                  <a:lnTo>
                    <a:pt x="211" y="206"/>
                  </a:lnTo>
                  <a:lnTo>
                    <a:pt x="211" y="208"/>
                  </a:lnTo>
                  <a:lnTo>
                    <a:pt x="211" y="208"/>
                  </a:lnTo>
                  <a:lnTo>
                    <a:pt x="211" y="211"/>
                  </a:lnTo>
                  <a:lnTo>
                    <a:pt x="211" y="216"/>
                  </a:lnTo>
                  <a:lnTo>
                    <a:pt x="211" y="219"/>
                  </a:lnTo>
                  <a:lnTo>
                    <a:pt x="214" y="222"/>
                  </a:lnTo>
                  <a:lnTo>
                    <a:pt x="214" y="224"/>
                  </a:lnTo>
                  <a:lnTo>
                    <a:pt x="214" y="227"/>
                  </a:lnTo>
                  <a:lnTo>
                    <a:pt x="211" y="230"/>
                  </a:lnTo>
                  <a:lnTo>
                    <a:pt x="211" y="230"/>
                  </a:lnTo>
                  <a:lnTo>
                    <a:pt x="208" y="230"/>
                  </a:lnTo>
                  <a:lnTo>
                    <a:pt x="206" y="230"/>
                  </a:lnTo>
                  <a:lnTo>
                    <a:pt x="203" y="232"/>
                  </a:lnTo>
                  <a:lnTo>
                    <a:pt x="200" y="232"/>
                  </a:lnTo>
                  <a:lnTo>
                    <a:pt x="200" y="232"/>
                  </a:lnTo>
                  <a:lnTo>
                    <a:pt x="200" y="235"/>
                  </a:lnTo>
                  <a:lnTo>
                    <a:pt x="200" y="235"/>
                  </a:lnTo>
                  <a:lnTo>
                    <a:pt x="203" y="238"/>
                  </a:lnTo>
                  <a:lnTo>
                    <a:pt x="200" y="238"/>
                  </a:lnTo>
                  <a:lnTo>
                    <a:pt x="200" y="238"/>
                  </a:lnTo>
                  <a:lnTo>
                    <a:pt x="198" y="238"/>
                  </a:lnTo>
                  <a:lnTo>
                    <a:pt x="195" y="235"/>
                  </a:lnTo>
                  <a:lnTo>
                    <a:pt x="192" y="232"/>
                  </a:lnTo>
                  <a:lnTo>
                    <a:pt x="190" y="230"/>
                  </a:lnTo>
                  <a:lnTo>
                    <a:pt x="190" y="235"/>
                  </a:lnTo>
                  <a:lnTo>
                    <a:pt x="187" y="240"/>
                  </a:lnTo>
                  <a:lnTo>
                    <a:pt x="184" y="243"/>
                  </a:lnTo>
                  <a:lnTo>
                    <a:pt x="174" y="251"/>
                  </a:lnTo>
                  <a:lnTo>
                    <a:pt x="171" y="254"/>
                  </a:lnTo>
                  <a:lnTo>
                    <a:pt x="166" y="257"/>
                  </a:lnTo>
                  <a:lnTo>
                    <a:pt x="166" y="254"/>
                  </a:lnTo>
                  <a:lnTo>
                    <a:pt x="166" y="254"/>
                  </a:lnTo>
                  <a:lnTo>
                    <a:pt x="163" y="251"/>
                  </a:lnTo>
                  <a:lnTo>
                    <a:pt x="163" y="251"/>
                  </a:lnTo>
                  <a:lnTo>
                    <a:pt x="160" y="249"/>
                  </a:lnTo>
                  <a:lnTo>
                    <a:pt x="160" y="246"/>
                  </a:lnTo>
                  <a:lnTo>
                    <a:pt x="160" y="246"/>
                  </a:lnTo>
                  <a:lnTo>
                    <a:pt x="158" y="243"/>
                  </a:lnTo>
                  <a:lnTo>
                    <a:pt x="158" y="246"/>
                  </a:lnTo>
                  <a:lnTo>
                    <a:pt x="158" y="246"/>
                  </a:lnTo>
                  <a:lnTo>
                    <a:pt x="158" y="246"/>
                  </a:lnTo>
                  <a:lnTo>
                    <a:pt x="158" y="249"/>
                  </a:lnTo>
                  <a:lnTo>
                    <a:pt x="155" y="249"/>
                  </a:lnTo>
                  <a:lnTo>
                    <a:pt x="152" y="249"/>
                  </a:lnTo>
                  <a:lnTo>
                    <a:pt x="155" y="246"/>
                  </a:lnTo>
                  <a:lnTo>
                    <a:pt x="155" y="246"/>
                  </a:lnTo>
                  <a:lnTo>
                    <a:pt x="155" y="246"/>
                  </a:lnTo>
                  <a:lnTo>
                    <a:pt x="155" y="243"/>
                  </a:lnTo>
                  <a:lnTo>
                    <a:pt x="150" y="246"/>
                  </a:lnTo>
                  <a:lnTo>
                    <a:pt x="150" y="246"/>
                  </a:lnTo>
                  <a:lnTo>
                    <a:pt x="150" y="249"/>
                  </a:lnTo>
                  <a:lnTo>
                    <a:pt x="150" y="251"/>
                  </a:lnTo>
                  <a:lnTo>
                    <a:pt x="150" y="251"/>
                  </a:lnTo>
                  <a:lnTo>
                    <a:pt x="147" y="254"/>
                  </a:lnTo>
                  <a:lnTo>
                    <a:pt x="147" y="254"/>
                  </a:lnTo>
                  <a:lnTo>
                    <a:pt x="147" y="257"/>
                  </a:lnTo>
                  <a:lnTo>
                    <a:pt x="147" y="259"/>
                  </a:lnTo>
                  <a:lnTo>
                    <a:pt x="147" y="257"/>
                  </a:lnTo>
                  <a:lnTo>
                    <a:pt x="147" y="257"/>
                  </a:lnTo>
                  <a:lnTo>
                    <a:pt x="144" y="254"/>
                  </a:lnTo>
                  <a:lnTo>
                    <a:pt x="144" y="251"/>
                  </a:lnTo>
                  <a:lnTo>
                    <a:pt x="147" y="251"/>
                  </a:lnTo>
                  <a:lnTo>
                    <a:pt x="147" y="249"/>
                  </a:lnTo>
                  <a:lnTo>
                    <a:pt x="147" y="249"/>
                  </a:lnTo>
                  <a:lnTo>
                    <a:pt x="147" y="246"/>
                  </a:lnTo>
                  <a:lnTo>
                    <a:pt x="144" y="249"/>
                  </a:lnTo>
                  <a:lnTo>
                    <a:pt x="142" y="251"/>
                  </a:lnTo>
                  <a:lnTo>
                    <a:pt x="139" y="251"/>
                  </a:lnTo>
                  <a:lnTo>
                    <a:pt x="136" y="251"/>
                  </a:lnTo>
                  <a:lnTo>
                    <a:pt x="139" y="251"/>
                  </a:lnTo>
                  <a:lnTo>
                    <a:pt x="142" y="249"/>
                  </a:lnTo>
                  <a:lnTo>
                    <a:pt x="147" y="243"/>
                  </a:lnTo>
                  <a:lnTo>
                    <a:pt x="147" y="240"/>
                  </a:lnTo>
                  <a:lnTo>
                    <a:pt x="147" y="240"/>
                  </a:lnTo>
                  <a:lnTo>
                    <a:pt x="144" y="243"/>
                  </a:lnTo>
                  <a:lnTo>
                    <a:pt x="144" y="243"/>
                  </a:lnTo>
                  <a:lnTo>
                    <a:pt x="142" y="243"/>
                  </a:lnTo>
                  <a:lnTo>
                    <a:pt x="134" y="249"/>
                  </a:lnTo>
                  <a:lnTo>
                    <a:pt x="131" y="249"/>
                  </a:lnTo>
                  <a:lnTo>
                    <a:pt x="134" y="246"/>
                  </a:lnTo>
                  <a:lnTo>
                    <a:pt x="134" y="246"/>
                  </a:lnTo>
                  <a:lnTo>
                    <a:pt x="136" y="246"/>
                  </a:lnTo>
                  <a:lnTo>
                    <a:pt x="139" y="246"/>
                  </a:lnTo>
                  <a:lnTo>
                    <a:pt x="139" y="243"/>
                  </a:lnTo>
                  <a:lnTo>
                    <a:pt x="136" y="243"/>
                  </a:lnTo>
                  <a:lnTo>
                    <a:pt x="134" y="243"/>
                  </a:lnTo>
                  <a:lnTo>
                    <a:pt x="131" y="243"/>
                  </a:lnTo>
                  <a:lnTo>
                    <a:pt x="134" y="240"/>
                  </a:lnTo>
                  <a:lnTo>
                    <a:pt x="136" y="240"/>
                  </a:lnTo>
                  <a:lnTo>
                    <a:pt x="142" y="240"/>
                  </a:lnTo>
                  <a:lnTo>
                    <a:pt x="144" y="238"/>
                  </a:lnTo>
                  <a:lnTo>
                    <a:pt x="147" y="235"/>
                  </a:lnTo>
                  <a:lnTo>
                    <a:pt x="152" y="227"/>
                  </a:lnTo>
                  <a:lnTo>
                    <a:pt x="152" y="227"/>
                  </a:lnTo>
                  <a:lnTo>
                    <a:pt x="155" y="227"/>
                  </a:lnTo>
                  <a:lnTo>
                    <a:pt x="155" y="227"/>
                  </a:lnTo>
                  <a:lnTo>
                    <a:pt x="158" y="224"/>
                  </a:lnTo>
                  <a:lnTo>
                    <a:pt x="160" y="224"/>
                  </a:lnTo>
                  <a:lnTo>
                    <a:pt x="160" y="222"/>
                  </a:lnTo>
                  <a:lnTo>
                    <a:pt x="166" y="216"/>
                  </a:lnTo>
                  <a:lnTo>
                    <a:pt x="166" y="214"/>
                  </a:lnTo>
                  <a:lnTo>
                    <a:pt x="166" y="216"/>
                  </a:lnTo>
                  <a:lnTo>
                    <a:pt x="166" y="216"/>
                  </a:lnTo>
                  <a:lnTo>
                    <a:pt x="166" y="216"/>
                  </a:lnTo>
                  <a:lnTo>
                    <a:pt x="166" y="219"/>
                  </a:lnTo>
                  <a:lnTo>
                    <a:pt x="166" y="219"/>
                  </a:lnTo>
                  <a:lnTo>
                    <a:pt x="166" y="222"/>
                  </a:lnTo>
                  <a:lnTo>
                    <a:pt x="166" y="224"/>
                  </a:lnTo>
                  <a:lnTo>
                    <a:pt x="166" y="227"/>
                  </a:lnTo>
                  <a:lnTo>
                    <a:pt x="163" y="230"/>
                  </a:lnTo>
                  <a:lnTo>
                    <a:pt x="163" y="230"/>
                  </a:lnTo>
                  <a:lnTo>
                    <a:pt x="160" y="232"/>
                  </a:lnTo>
                  <a:lnTo>
                    <a:pt x="160" y="240"/>
                  </a:lnTo>
                  <a:lnTo>
                    <a:pt x="163" y="243"/>
                  </a:lnTo>
                  <a:lnTo>
                    <a:pt x="166" y="243"/>
                  </a:lnTo>
                  <a:lnTo>
                    <a:pt x="166" y="240"/>
                  </a:lnTo>
                  <a:lnTo>
                    <a:pt x="166" y="240"/>
                  </a:lnTo>
                  <a:lnTo>
                    <a:pt x="166" y="240"/>
                  </a:lnTo>
                  <a:lnTo>
                    <a:pt x="166" y="238"/>
                  </a:lnTo>
                  <a:lnTo>
                    <a:pt x="168" y="238"/>
                  </a:lnTo>
                  <a:lnTo>
                    <a:pt x="168" y="238"/>
                  </a:lnTo>
                  <a:lnTo>
                    <a:pt x="168" y="238"/>
                  </a:lnTo>
                  <a:lnTo>
                    <a:pt x="168" y="238"/>
                  </a:lnTo>
                  <a:lnTo>
                    <a:pt x="168" y="238"/>
                  </a:lnTo>
                  <a:lnTo>
                    <a:pt x="168" y="238"/>
                  </a:lnTo>
                  <a:lnTo>
                    <a:pt x="171" y="235"/>
                  </a:lnTo>
                  <a:lnTo>
                    <a:pt x="168" y="232"/>
                  </a:lnTo>
                  <a:lnTo>
                    <a:pt x="168" y="230"/>
                  </a:lnTo>
                  <a:lnTo>
                    <a:pt x="168" y="227"/>
                  </a:lnTo>
                  <a:lnTo>
                    <a:pt x="171" y="227"/>
                  </a:lnTo>
                  <a:lnTo>
                    <a:pt x="171" y="224"/>
                  </a:lnTo>
                  <a:lnTo>
                    <a:pt x="171" y="224"/>
                  </a:lnTo>
                  <a:lnTo>
                    <a:pt x="174" y="222"/>
                  </a:lnTo>
                  <a:lnTo>
                    <a:pt x="174" y="222"/>
                  </a:lnTo>
                  <a:lnTo>
                    <a:pt x="174" y="222"/>
                  </a:lnTo>
                  <a:lnTo>
                    <a:pt x="174" y="222"/>
                  </a:lnTo>
                  <a:lnTo>
                    <a:pt x="176" y="222"/>
                  </a:lnTo>
                  <a:lnTo>
                    <a:pt x="176" y="219"/>
                  </a:lnTo>
                  <a:lnTo>
                    <a:pt x="182" y="219"/>
                  </a:lnTo>
                  <a:lnTo>
                    <a:pt x="182" y="219"/>
                  </a:lnTo>
                  <a:lnTo>
                    <a:pt x="184" y="216"/>
                  </a:lnTo>
                  <a:lnTo>
                    <a:pt x="184" y="219"/>
                  </a:lnTo>
                  <a:lnTo>
                    <a:pt x="182" y="222"/>
                  </a:lnTo>
                  <a:lnTo>
                    <a:pt x="179" y="222"/>
                  </a:lnTo>
                  <a:lnTo>
                    <a:pt x="179" y="224"/>
                  </a:lnTo>
                  <a:lnTo>
                    <a:pt x="176" y="227"/>
                  </a:lnTo>
                  <a:lnTo>
                    <a:pt x="176" y="227"/>
                  </a:lnTo>
                  <a:lnTo>
                    <a:pt x="176" y="230"/>
                  </a:lnTo>
                  <a:lnTo>
                    <a:pt x="176" y="230"/>
                  </a:lnTo>
                  <a:lnTo>
                    <a:pt x="184" y="235"/>
                  </a:lnTo>
                  <a:lnTo>
                    <a:pt x="187" y="235"/>
                  </a:lnTo>
                  <a:lnTo>
                    <a:pt x="187" y="232"/>
                  </a:lnTo>
                  <a:lnTo>
                    <a:pt x="187" y="232"/>
                  </a:lnTo>
                  <a:lnTo>
                    <a:pt x="187" y="227"/>
                  </a:lnTo>
                  <a:lnTo>
                    <a:pt x="187" y="227"/>
                  </a:lnTo>
                  <a:lnTo>
                    <a:pt x="190" y="224"/>
                  </a:lnTo>
                  <a:lnTo>
                    <a:pt x="190" y="224"/>
                  </a:lnTo>
                  <a:lnTo>
                    <a:pt x="192" y="222"/>
                  </a:lnTo>
                  <a:lnTo>
                    <a:pt x="190" y="219"/>
                  </a:lnTo>
                  <a:lnTo>
                    <a:pt x="192" y="216"/>
                  </a:lnTo>
                  <a:lnTo>
                    <a:pt x="192" y="214"/>
                  </a:lnTo>
                  <a:lnTo>
                    <a:pt x="195" y="211"/>
                  </a:lnTo>
                  <a:lnTo>
                    <a:pt x="195" y="208"/>
                  </a:lnTo>
                  <a:lnTo>
                    <a:pt x="198" y="206"/>
                  </a:lnTo>
                  <a:lnTo>
                    <a:pt x="198" y="203"/>
                  </a:lnTo>
                  <a:lnTo>
                    <a:pt x="198" y="203"/>
                  </a:lnTo>
                  <a:lnTo>
                    <a:pt x="195" y="200"/>
                  </a:lnTo>
                  <a:lnTo>
                    <a:pt x="198" y="198"/>
                  </a:lnTo>
                  <a:lnTo>
                    <a:pt x="195" y="195"/>
                  </a:lnTo>
                  <a:lnTo>
                    <a:pt x="192" y="195"/>
                  </a:lnTo>
                  <a:lnTo>
                    <a:pt x="190" y="198"/>
                  </a:lnTo>
                  <a:lnTo>
                    <a:pt x="187" y="198"/>
                  </a:lnTo>
                  <a:lnTo>
                    <a:pt x="182" y="198"/>
                  </a:lnTo>
                  <a:lnTo>
                    <a:pt x="182" y="198"/>
                  </a:lnTo>
                  <a:lnTo>
                    <a:pt x="184" y="198"/>
                  </a:lnTo>
                  <a:lnTo>
                    <a:pt x="187" y="195"/>
                  </a:lnTo>
                  <a:lnTo>
                    <a:pt x="187" y="192"/>
                  </a:lnTo>
                  <a:lnTo>
                    <a:pt x="187" y="192"/>
                  </a:lnTo>
                  <a:lnTo>
                    <a:pt x="187" y="192"/>
                  </a:lnTo>
                  <a:lnTo>
                    <a:pt x="184" y="190"/>
                  </a:lnTo>
                  <a:lnTo>
                    <a:pt x="182" y="190"/>
                  </a:lnTo>
                  <a:lnTo>
                    <a:pt x="182" y="187"/>
                  </a:lnTo>
                  <a:lnTo>
                    <a:pt x="182" y="187"/>
                  </a:lnTo>
                  <a:lnTo>
                    <a:pt x="184" y="184"/>
                  </a:lnTo>
                  <a:lnTo>
                    <a:pt x="184" y="184"/>
                  </a:lnTo>
                  <a:lnTo>
                    <a:pt x="184" y="182"/>
                  </a:lnTo>
                  <a:lnTo>
                    <a:pt x="187" y="190"/>
                  </a:lnTo>
                  <a:lnTo>
                    <a:pt x="190" y="195"/>
                  </a:lnTo>
                  <a:lnTo>
                    <a:pt x="192" y="192"/>
                  </a:lnTo>
                  <a:lnTo>
                    <a:pt x="192" y="192"/>
                  </a:lnTo>
                  <a:lnTo>
                    <a:pt x="192" y="192"/>
                  </a:lnTo>
                  <a:lnTo>
                    <a:pt x="192" y="179"/>
                  </a:lnTo>
                  <a:lnTo>
                    <a:pt x="192" y="176"/>
                  </a:lnTo>
                  <a:lnTo>
                    <a:pt x="190" y="176"/>
                  </a:lnTo>
                  <a:lnTo>
                    <a:pt x="190" y="176"/>
                  </a:lnTo>
                  <a:lnTo>
                    <a:pt x="190" y="174"/>
                  </a:lnTo>
                  <a:lnTo>
                    <a:pt x="190" y="174"/>
                  </a:lnTo>
                  <a:lnTo>
                    <a:pt x="190" y="174"/>
                  </a:lnTo>
                  <a:lnTo>
                    <a:pt x="195" y="179"/>
                  </a:lnTo>
                  <a:lnTo>
                    <a:pt x="198" y="179"/>
                  </a:lnTo>
                  <a:lnTo>
                    <a:pt x="198" y="176"/>
                  </a:lnTo>
                  <a:lnTo>
                    <a:pt x="200" y="176"/>
                  </a:lnTo>
                  <a:lnTo>
                    <a:pt x="200" y="174"/>
                  </a:lnTo>
                  <a:lnTo>
                    <a:pt x="200" y="174"/>
                  </a:lnTo>
                  <a:lnTo>
                    <a:pt x="206" y="176"/>
                  </a:lnTo>
                  <a:lnTo>
                    <a:pt x="206" y="176"/>
                  </a:lnTo>
                  <a:lnTo>
                    <a:pt x="208" y="174"/>
                  </a:lnTo>
                  <a:lnTo>
                    <a:pt x="208" y="174"/>
                  </a:lnTo>
                  <a:lnTo>
                    <a:pt x="208" y="174"/>
                  </a:lnTo>
                  <a:lnTo>
                    <a:pt x="208" y="171"/>
                  </a:lnTo>
                  <a:lnTo>
                    <a:pt x="208" y="171"/>
                  </a:lnTo>
                  <a:lnTo>
                    <a:pt x="208" y="168"/>
                  </a:lnTo>
                  <a:lnTo>
                    <a:pt x="208" y="168"/>
                  </a:lnTo>
                  <a:lnTo>
                    <a:pt x="206" y="168"/>
                  </a:lnTo>
                  <a:lnTo>
                    <a:pt x="208" y="166"/>
                  </a:lnTo>
                  <a:lnTo>
                    <a:pt x="208" y="166"/>
                  </a:lnTo>
                  <a:lnTo>
                    <a:pt x="208" y="163"/>
                  </a:lnTo>
                  <a:lnTo>
                    <a:pt x="206" y="163"/>
                  </a:lnTo>
                  <a:lnTo>
                    <a:pt x="208" y="158"/>
                  </a:lnTo>
                  <a:lnTo>
                    <a:pt x="208" y="155"/>
                  </a:lnTo>
                  <a:lnTo>
                    <a:pt x="208" y="152"/>
                  </a:lnTo>
                  <a:lnTo>
                    <a:pt x="206" y="150"/>
                  </a:lnTo>
                  <a:lnTo>
                    <a:pt x="200" y="144"/>
                  </a:lnTo>
                  <a:lnTo>
                    <a:pt x="200" y="147"/>
                  </a:lnTo>
                  <a:lnTo>
                    <a:pt x="200" y="150"/>
                  </a:lnTo>
                  <a:lnTo>
                    <a:pt x="200" y="152"/>
                  </a:lnTo>
                  <a:lnTo>
                    <a:pt x="200" y="158"/>
                  </a:lnTo>
                  <a:lnTo>
                    <a:pt x="200" y="160"/>
                  </a:lnTo>
                  <a:lnTo>
                    <a:pt x="200" y="163"/>
                  </a:lnTo>
                  <a:lnTo>
                    <a:pt x="198" y="163"/>
                  </a:lnTo>
                  <a:lnTo>
                    <a:pt x="198" y="160"/>
                  </a:lnTo>
                  <a:lnTo>
                    <a:pt x="198" y="160"/>
                  </a:lnTo>
                  <a:lnTo>
                    <a:pt x="198" y="158"/>
                  </a:lnTo>
                  <a:lnTo>
                    <a:pt x="198" y="158"/>
                  </a:lnTo>
                  <a:lnTo>
                    <a:pt x="195" y="158"/>
                  </a:lnTo>
                  <a:lnTo>
                    <a:pt x="195" y="160"/>
                  </a:lnTo>
                  <a:lnTo>
                    <a:pt x="182" y="171"/>
                  </a:lnTo>
                  <a:lnTo>
                    <a:pt x="182" y="171"/>
                  </a:lnTo>
                  <a:lnTo>
                    <a:pt x="179" y="176"/>
                  </a:lnTo>
                  <a:lnTo>
                    <a:pt x="179" y="179"/>
                  </a:lnTo>
                  <a:lnTo>
                    <a:pt x="176" y="179"/>
                  </a:lnTo>
                  <a:lnTo>
                    <a:pt x="174" y="179"/>
                  </a:lnTo>
                  <a:lnTo>
                    <a:pt x="166" y="182"/>
                  </a:lnTo>
                  <a:lnTo>
                    <a:pt x="160" y="184"/>
                  </a:lnTo>
                  <a:lnTo>
                    <a:pt x="158" y="184"/>
                  </a:lnTo>
                  <a:lnTo>
                    <a:pt x="150" y="192"/>
                  </a:lnTo>
                  <a:lnTo>
                    <a:pt x="142" y="200"/>
                  </a:lnTo>
                  <a:lnTo>
                    <a:pt x="142" y="203"/>
                  </a:lnTo>
                  <a:lnTo>
                    <a:pt x="139" y="206"/>
                  </a:lnTo>
                  <a:lnTo>
                    <a:pt x="136" y="206"/>
                  </a:lnTo>
                  <a:lnTo>
                    <a:pt x="136" y="208"/>
                  </a:lnTo>
                  <a:lnTo>
                    <a:pt x="136" y="211"/>
                  </a:lnTo>
                  <a:lnTo>
                    <a:pt x="142" y="214"/>
                  </a:lnTo>
                  <a:lnTo>
                    <a:pt x="150" y="211"/>
                  </a:lnTo>
                  <a:lnTo>
                    <a:pt x="158" y="208"/>
                  </a:lnTo>
                  <a:lnTo>
                    <a:pt x="160" y="208"/>
                  </a:lnTo>
                  <a:lnTo>
                    <a:pt x="163" y="208"/>
                  </a:lnTo>
                  <a:lnTo>
                    <a:pt x="160" y="211"/>
                  </a:lnTo>
                  <a:lnTo>
                    <a:pt x="158" y="211"/>
                  </a:lnTo>
                  <a:lnTo>
                    <a:pt x="139" y="214"/>
                  </a:lnTo>
                  <a:lnTo>
                    <a:pt x="134" y="214"/>
                  </a:lnTo>
                  <a:lnTo>
                    <a:pt x="131" y="211"/>
                  </a:lnTo>
                  <a:lnTo>
                    <a:pt x="131" y="208"/>
                  </a:lnTo>
                  <a:lnTo>
                    <a:pt x="134" y="206"/>
                  </a:lnTo>
                  <a:lnTo>
                    <a:pt x="136" y="200"/>
                  </a:lnTo>
                  <a:lnTo>
                    <a:pt x="139" y="198"/>
                  </a:lnTo>
                  <a:lnTo>
                    <a:pt x="142" y="198"/>
                  </a:lnTo>
                  <a:lnTo>
                    <a:pt x="144" y="195"/>
                  </a:lnTo>
                  <a:lnTo>
                    <a:pt x="147" y="190"/>
                  </a:lnTo>
                  <a:lnTo>
                    <a:pt x="150" y="187"/>
                  </a:lnTo>
                  <a:lnTo>
                    <a:pt x="160" y="179"/>
                  </a:lnTo>
                  <a:lnTo>
                    <a:pt x="160" y="179"/>
                  </a:lnTo>
                  <a:lnTo>
                    <a:pt x="163" y="179"/>
                  </a:lnTo>
                  <a:lnTo>
                    <a:pt x="163" y="179"/>
                  </a:lnTo>
                  <a:lnTo>
                    <a:pt x="163" y="176"/>
                  </a:lnTo>
                  <a:lnTo>
                    <a:pt x="166" y="174"/>
                  </a:lnTo>
                  <a:lnTo>
                    <a:pt x="168" y="171"/>
                  </a:lnTo>
                  <a:lnTo>
                    <a:pt x="171" y="168"/>
                  </a:lnTo>
                  <a:lnTo>
                    <a:pt x="174" y="168"/>
                  </a:lnTo>
                  <a:lnTo>
                    <a:pt x="171" y="163"/>
                  </a:lnTo>
                  <a:lnTo>
                    <a:pt x="171" y="160"/>
                  </a:lnTo>
                  <a:lnTo>
                    <a:pt x="171" y="158"/>
                  </a:lnTo>
                  <a:lnTo>
                    <a:pt x="174" y="155"/>
                  </a:lnTo>
                  <a:lnTo>
                    <a:pt x="174" y="158"/>
                  </a:lnTo>
                  <a:lnTo>
                    <a:pt x="174" y="160"/>
                  </a:lnTo>
                  <a:lnTo>
                    <a:pt x="174" y="163"/>
                  </a:lnTo>
                  <a:lnTo>
                    <a:pt x="176" y="160"/>
                  </a:lnTo>
                  <a:lnTo>
                    <a:pt x="176" y="160"/>
                  </a:lnTo>
                  <a:lnTo>
                    <a:pt x="176" y="158"/>
                  </a:lnTo>
                  <a:lnTo>
                    <a:pt x="179" y="155"/>
                  </a:lnTo>
                  <a:lnTo>
                    <a:pt x="179" y="160"/>
                  </a:lnTo>
                  <a:lnTo>
                    <a:pt x="176" y="163"/>
                  </a:lnTo>
                  <a:lnTo>
                    <a:pt x="174" y="171"/>
                  </a:lnTo>
                  <a:lnTo>
                    <a:pt x="171" y="174"/>
                  </a:lnTo>
                  <a:lnTo>
                    <a:pt x="171" y="176"/>
                  </a:lnTo>
                  <a:lnTo>
                    <a:pt x="174" y="176"/>
                  </a:lnTo>
                  <a:lnTo>
                    <a:pt x="174" y="176"/>
                  </a:lnTo>
                  <a:lnTo>
                    <a:pt x="176" y="176"/>
                  </a:lnTo>
                  <a:lnTo>
                    <a:pt x="176" y="176"/>
                  </a:lnTo>
                  <a:lnTo>
                    <a:pt x="176" y="174"/>
                  </a:lnTo>
                  <a:lnTo>
                    <a:pt x="179" y="171"/>
                  </a:lnTo>
                  <a:lnTo>
                    <a:pt x="179" y="168"/>
                  </a:lnTo>
                  <a:lnTo>
                    <a:pt x="182" y="166"/>
                  </a:lnTo>
                  <a:lnTo>
                    <a:pt x="184" y="163"/>
                  </a:lnTo>
                  <a:lnTo>
                    <a:pt x="190" y="158"/>
                  </a:lnTo>
                  <a:lnTo>
                    <a:pt x="190" y="158"/>
                  </a:lnTo>
                  <a:lnTo>
                    <a:pt x="192" y="155"/>
                  </a:lnTo>
                  <a:lnTo>
                    <a:pt x="192" y="155"/>
                  </a:lnTo>
                  <a:lnTo>
                    <a:pt x="192" y="155"/>
                  </a:lnTo>
                  <a:lnTo>
                    <a:pt x="198" y="155"/>
                  </a:lnTo>
                  <a:lnTo>
                    <a:pt x="198" y="155"/>
                  </a:lnTo>
                  <a:lnTo>
                    <a:pt x="198" y="152"/>
                  </a:lnTo>
                  <a:lnTo>
                    <a:pt x="192" y="144"/>
                  </a:lnTo>
                  <a:lnTo>
                    <a:pt x="192" y="144"/>
                  </a:lnTo>
                  <a:lnTo>
                    <a:pt x="192" y="142"/>
                  </a:lnTo>
                  <a:lnTo>
                    <a:pt x="192" y="142"/>
                  </a:lnTo>
                  <a:lnTo>
                    <a:pt x="192" y="139"/>
                  </a:lnTo>
                  <a:lnTo>
                    <a:pt x="192" y="139"/>
                  </a:lnTo>
                  <a:lnTo>
                    <a:pt x="190" y="136"/>
                  </a:lnTo>
                  <a:lnTo>
                    <a:pt x="187" y="128"/>
                  </a:lnTo>
                  <a:lnTo>
                    <a:pt x="187" y="128"/>
                  </a:lnTo>
                  <a:lnTo>
                    <a:pt x="187" y="126"/>
                  </a:lnTo>
                  <a:lnTo>
                    <a:pt x="187" y="126"/>
                  </a:lnTo>
                  <a:lnTo>
                    <a:pt x="187" y="123"/>
                  </a:lnTo>
                  <a:lnTo>
                    <a:pt x="187" y="123"/>
                  </a:lnTo>
                  <a:lnTo>
                    <a:pt x="187" y="120"/>
                  </a:lnTo>
                  <a:lnTo>
                    <a:pt x="190" y="120"/>
                  </a:lnTo>
                  <a:lnTo>
                    <a:pt x="192" y="120"/>
                  </a:lnTo>
                  <a:lnTo>
                    <a:pt x="190" y="118"/>
                  </a:lnTo>
                  <a:lnTo>
                    <a:pt x="187" y="115"/>
                  </a:lnTo>
                  <a:lnTo>
                    <a:pt x="184" y="118"/>
                  </a:lnTo>
                  <a:lnTo>
                    <a:pt x="182" y="118"/>
                  </a:lnTo>
                  <a:lnTo>
                    <a:pt x="179" y="118"/>
                  </a:lnTo>
                  <a:lnTo>
                    <a:pt x="179" y="120"/>
                  </a:lnTo>
                  <a:lnTo>
                    <a:pt x="179" y="120"/>
                  </a:lnTo>
                  <a:lnTo>
                    <a:pt x="179" y="123"/>
                  </a:lnTo>
                  <a:lnTo>
                    <a:pt x="182" y="128"/>
                  </a:lnTo>
                  <a:lnTo>
                    <a:pt x="182" y="128"/>
                  </a:lnTo>
                  <a:lnTo>
                    <a:pt x="179" y="134"/>
                  </a:lnTo>
                  <a:lnTo>
                    <a:pt x="179" y="134"/>
                  </a:lnTo>
                  <a:lnTo>
                    <a:pt x="176" y="134"/>
                  </a:lnTo>
                  <a:lnTo>
                    <a:pt x="176" y="134"/>
                  </a:lnTo>
                  <a:lnTo>
                    <a:pt x="179" y="131"/>
                  </a:lnTo>
                  <a:lnTo>
                    <a:pt x="179" y="128"/>
                  </a:lnTo>
                  <a:lnTo>
                    <a:pt x="176" y="126"/>
                  </a:lnTo>
                  <a:lnTo>
                    <a:pt x="176" y="126"/>
                  </a:lnTo>
                  <a:lnTo>
                    <a:pt x="176" y="123"/>
                  </a:lnTo>
                  <a:lnTo>
                    <a:pt x="174" y="123"/>
                  </a:lnTo>
                  <a:lnTo>
                    <a:pt x="174" y="123"/>
                  </a:lnTo>
                  <a:lnTo>
                    <a:pt x="174" y="120"/>
                  </a:lnTo>
                  <a:lnTo>
                    <a:pt x="174" y="120"/>
                  </a:lnTo>
                  <a:lnTo>
                    <a:pt x="171" y="118"/>
                  </a:lnTo>
                  <a:lnTo>
                    <a:pt x="171" y="118"/>
                  </a:lnTo>
                  <a:lnTo>
                    <a:pt x="166" y="118"/>
                  </a:lnTo>
                  <a:lnTo>
                    <a:pt x="166" y="120"/>
                  </a:lnTo>
                  <a:lnTo>
                    <a:pt x="166" y="126"/>
                  </a:lnTo>
                  <a:lnTo>
                    <a:pt x="163" y="126"/>
                  </a:lnTo>
                  <a:lnTo>
                    <a:pt x="163" y="123"/>
                  </a:lnTo>
                  <a:lnTo>
                    <a:pt x="160" y="123"/>
                  </a:lnTo>
                  <a:lnTo>
                    <a:pt x="163" y="118"/>
                  </a:lnTo>
                  <a:lnTo>
                    <a:pt x="160" y="115"/>
                  </a:lnTo>
                  <a:lnTo>
                    <a:pt x="158" y="112"/>
                  </a:lnTo>
                  <a:lnTo>
                    <a:pt x="155" y="110"/>
                  </a:lnTo>
                  <a:lnTo>
                    <a:pt x="152" y="110"/>
                  </a:lnTo>
                  <a:lnTo>
                    <a:pt x="152" y="107"/>
                  </a:lnTo>
                  <a:lnTo>
                    <a:pt x="155" y="107"/>
                  </a:lnTo>
                  <a:lnTo>
                    <a:pt x="155" y="107"/>
                  </a:lnTo>
                  <a:lnTo>
                    <a:pt x="158" y="107"/>
                  </a:lnTo>
                  <a:lnTo>
                    <a:pt x="158" y="104"/>
                  </a:lnTo>
                  <a:lnTo>
                    <a:pt x="152" y="107"/>
                  </a:lnTo>
                  <a:lnTo>
                    <a:pt x="144" y="110"/>
                  </a:lnTo>
                  <a:lnTo>
                    <a:pt x="142" y="110"/>
                  </a:lnTo>
                  <a:lnTo>
                    <a:pt x="126" y="107"/>
                  </a:lnTo>
                  <a:lnTo>
                    <a:pt x="126" y="104"/>
                  </a:lnTo>
                  <a:lnTo>
                    <a:pt x="126" y="104"/>
                  </a:lnTo>
                  <a:lnTo>
                    <a:pt x="126" y="104"/>
                  </a:lnTo>
                  <a:lnTo>
                    <a:pt x="126" y="104"/>
                  </a:lnTo>
                  <a:lnTo>
                    <a:pt x="128" y="104"/>
                  </a:lnTo>
                  <a:lnTo>
                    <a:pt x="120" y="104"/>
                  </a:lnTo>
                  <a:lnTo>
                    <a:pt x="118" y="102"/>
                  </a:lnTo>
                  <a:lnTo>
                    <a:pt x="115" y="99"/>
                  </a:lnTo>
                  <a:lnTo>
                    <a:pt x="110" y="99"/>
                  </a:lnTo>
                  <a:lnTo>
                    <a:pt x="107" y="102"/>
                  </a:lnTo>
                  <a:lnTo>
                    <a:pt x="104" y="99"/>
                  </a:lnTo>
                  <a:lnTo>
                    <a:pt x="102" y="96"/>
                  </a:lnTo>
                  <a:lnTo>
                    <a:pt x="99" y="96"/>
                  </a:lnTo>
                  <a:lnTo>
                    <a:pt x="91" y="94"/>
                  </a:lnTo>
                  <a:lnTo>
                    <a:pt x="78" y="91"/>
                  </a:lnTo>
                  <a:lnTo>
                    <a:pt x="64" y="83"/>
                  </a:lnTo>
                  <a:lnTo>
                    <a:pt x="64" y="83"/>
                  </a:lnTo>
                  <a:lnTo>
                    <a:pt x="62" y="78"/>
                  </a:lnTo>
                  <a:lnTo>
                    <a:pt x="59" y="75"/>
                  </a:lnTo>
                  <a:lnTo>
                    <a:pt x="51" y="72"/>
                  </a:lnTo>
                  <a:lnTo>
                    <a:pt x="51" y="70"/>
                  </a:lnTo>
                  <a:lnTo>
                    <a:pt x="46" y="70"/>
                  </a:lnTo>
                  <a:lnTo>
                    <a:pt x="43" y="70"/>
                  </a:lnTo>
                  <a:lnTo>
                    <a:pt x="43" y="67"/>
                  </a:lnTo>
                  <a:lnTo>
                    <a:pt x="40" y="64"/>
                  </a:lnTo>
                  <a:lnTo>
                    <a:pt x="35" y="61"/>
                  </a:lnTo>
                  <a:lnTo>
                    <a:pt x="32" y="59"/>
                  </a:lnTo>
                  <a:lnTo>
                    <a:pt x="19" y="48"/>
                  </a:lnTo>
                  <a:lnTo>
                    <a:pt x="14" y="45"/>
                  </a:lnTo>
                  <a:lnTo>
                    <a:pt x="8" y="43"/>
                  </a:lnTo>
                  <a:lnTo>
                    <a:pt x="8" y="45"/>
                  </a:lnTo>
                  <a:lnTo>
                    <a:pt x="8" y="48"/>
                  </a:lnTo>
                  <a:lnTo>
                    <a:pt x="11" y="51"/>
                  </a:lnTo>
                  <a:lnTo>
                    <a:pt x="11" y="53"/>
                  </a:lnTo>
                  <a:lnTo>
                    <a:pt x="11" y="53"/>
                  </a:lnTo>
                  <a:lnTo>
                    <a:pt x="11" y="53"/>
                  </a:lnTo>
                  <a:lnTo>
                    <a:pt x="11" y="56"/>
                  </a:lnTo>
                  <a:lnTo>
                    <a:pt x="8" y="59"/>
                  </a:lnTo>
                  <a:lnTo>
                    <a:pt x="8" y="61"/>
                  </a:lnTo>
                  <a:lnTo>
                    <a:pt x="8" y="64"/>
                  </a:lnTo>
                  <a:lnTo>
                    <a:pt x="6" y="64"/>
                  </a:lnTo>
                  <a:lnTo>
                    <a:pt x="6" y="64"/>
                  </a:lnTo>
                  <a:lnTo>
                    <a:pt x="6" y="64"/>
                  </a:lnTo>
                  <a:lnTo>
                    <a:pt x="6" y="67"/>
                  </a:lnTo>
                  <a:lnTo>
                    <a:pt x="6" y="67"/>
                  </a:lnTo>
                  <a:lnTo>
                    <a:pt x="6" y="72"/>
                  </a:lnTo>
                  <a:lnTo>
                    <a:pt x="3" y="72"/>
                  </a:lnTo>
                  <a:lnTo>
                    <a:pt x="3" y="72"/>
                  </a:lnTo>
                  <a:lnTo>
                    <a:pt x="0" y="75"/>
                  </a:lnTo>
                  <a:lnTo>
                    <a:pt x="3" y="83"/>
                  </a:lnTo>
                  <a:lnTo>
                    <a:pt x="3" y="86"/>
                  </a:lnTo>
                  <a:lnTo>
                    <a:pt x="0" y="91"/>
                  </a:lnTo>
                  <a:lnTo>
                    <a:pt x="0" y="96"/>
                  </a:lnTo>
                  <a:lnTo>
                    <a:pt x="3" y="102"/>
                  </a:lnTo>
                  <a:lnTo>
                    <a:pt x="3" y="107"/>
                  </a:lnTo>
                  <a:lnTo>
                    <a:pt x="6" y="112"/>
                  </a:lnTo>
                  <a:lnTo>
                    <a:pt x="6" y="112"/>
                  </a:lnTo>
                  <a:lnTo>
                    <a:pt x="8" y="115"/>
                  </a:lnTo>
                  <a:lnTo>
                    <a:pt x="8" y="115"/>
                  </a:lnTo>
                  <a:lnTo>
                    <a:pt x="11" y="115"/>
                  </a:lnTo>
                  <a:lnTo>
                    <a:pt x="14" y="123"/>
                  </a:lnTo>
                  <a:lnTo>
                    <a:pt x="16" y="126"/>
                  </a:lnTo>
                  <a:lnTo>
                    <a:pt x="16" y="131"/>
                  </a:lnTo>
                  <a:lnTo>
                    <a:pt x="16" y="134"/>
                  </a:lnTo>
                  <a:lnTo>
                    <a:pt x="16" y="134"/>
                  </a:lnTo>
                  <a:lnTo>
                    <a:pt x="19" y="134"/>
                  </a:lnTo>
                  <a:lnTo>
                    <a:pt x="19" y="136"/>
                  </a:lnTo>
                  <a:lnTo>
                    <a:pt x="19" y="139"/>
                  </a:lnTo>
                  <a:lnTo>
                    <a:pt x="22" y="147"/>
                  </a:lnTo>
                  <a:lnTo>
                    <a:pt x="22" y="150"/>
                  </a:lnTo>
                  <a:lnTo>
                    <a:pt x="19" y="160"/>
                  </a:lnTo>
                  <a:lnTo>
                    <a:pt x="19" y="166"/>
                  </a:lnTo>
                  <a:lnTo>
                    <a:pt x="19" y="187"/>
                  </a:lnTo>
                  <a:lnTo>
                    <a:pt x="19" y="187"/>
                  </a:lnTo>
                  <a:lnTo>
                    <a:pt x="22" y="190"/>
                  </a:lnTo>
                  <a:lnTo>
                    <a:pt x="22" y="190"/>
                  </a:lnTo>
                  <a:lnTo>
                    <a:pt x="22" y="190"/>
                  </a:lnTo>
                  <a:lnTo>
                    <a:pt x="19" y="192"/>
                  </a:lnTo>
                  <a:lnTo>
                    <a:pt x="19" y="192"/>
                  </a:lnTo>
                  <a:lnTo>
                    <a:pt x="22" y="195"/>
                  </a:lnTo>
                  <a:lnTo>
                    <a:pt x="22" y="195"/>
                  </a:lnTo>
                  <a:lnTo>
                    <a:pt x="22" y="195"/>
                  </a:lnTo>
                  <a:lnTo>
                    <a:pt x="24" y="200"/>
                  </a:lnTo>
                  <a:lnTo>
                    <a:pt x="24" y="206"/>
                  </a:lnTo>
                  <a:lnTo>
                    <a:pt x="24" y="211"/>
                  </a:lnTo>
                  <a:lnTo>
                    <a:pt x="24" y="222"/>
                  </a:lnTo>
                  <a:lnTo>
                    <a:pt x="24" y="230"/>
                  </a:lnTo>
                  <a:lnTo>
                    <a:pt x="24" y="232"/>
                  </a:lnTo>
                  <a:lnTo>
                    <a:pt x="22" y="240"/>
                  </a:lnTo>
                  <a:lnTo>
                    <a:pt x="19" y="243"/>
                  </a:lnTo>
                  <a:lnTo>
                    <a:pt x="19" y="243"/>
                  </a:lnTo>
                  <a:lnTo>
                    <a:pt x="19" y="246"/>
                  </a:lnTo>
                  <a:lnTo>
                    <a:pt x="19" y="246"/>
                  </a:lnTo>
                  <a:lnTo>
                    <a:pt x="19" y="246"/>
                  </a:lnTo>
                  <a:lnTo>
                    <a:pt x="19" y="246"/>
                  </a:lnTo>
                  <a:lnTo>
                    <a:pt x="24" y="243"/>
                  </a:lnTo>
                  <a:lnTo>
                    <a:pt x="24" y="243"/>
                  </a:lnTo>
                  <a:lnTo>
                    <a:pt x="24" y="243"/>
                  </a:lnTo>
                  <a:lnTo>
                    <a:pt x="24" y="243"/>
                  </a:lnTo>
                  <a:lnTo>
                    <a:pt x="24" y="240"/>
                  </a:lnTo>
                  <a:lnTo>
                    <a:pt x="24" y="240"/>
                  </a:lnTo>
                  <a:lnTo>
                    <a:pt x="24" y="238"/>
                  </a:lnTo>
                  <a:lnTo>
                    <a:pt x="24" y="235"/>
                  </a:lnTo>
                  <a:lnTo>
                    <a:pt x="24" y="235"/>
                  </a:lnTo>
                  <a:lnTo>
                    <a:pt x="24" y="232"/>
                  </a:lnTo>
                  <a:lnTo>
                    <a:pt x="27" y="232"/>
                  </a:lnTo>
                  <a:lnTo>
                    <a:pt x="30" y="232"/>
                  </a:lnTo>
                  <a:lnTo>
                    <a:pt x="32" y="232"/>
                  </a:lnTo>
                  <a:lnTo>
                    <a:pt x="35" y="235"/>
                  </a:lnTo>
                  <a:lnTo>
                    <a:pt x="35" y="238"/>
                  </a:lnTo>
                  <a:lnTo>
                    <a:pt x="38" y="238"/>
                  </a:lnTo>
                  <a:lnTo>
                    <a:pt x="38" y="243"/>
                  </a:lnTo>
                  <a:lnTo>
                    <a:pt x="38" y="243"/>
                  </a:lnTo>
                  <a:lnTo>
                    <a:pt x="40" y="246"/>
                  </a:lnTo>
                  <a:lnTo>
                    <a:pt x="46" y="246"/>
                  </a:lnTo>
                  <a:lnTo>
                    <a:pt x="46" y="246"/>
                  </a:lnTo>
                  <a:lnTo>
                    <a:pt x="46" y="246"/>
                  </a:lnTo>
                  <a:lnTo>
                    <a:pt x="43" y="246"/>
                  </a:lnTo>
                  <a:lnTo>
                    <a:pt x="51" y="249"/>
                  </a:lnTo>
                  <a:lnTo>
                    <a:pt x="54" y="249"/>
                  </a:lnTo>
                  <a:lnTo>
                    <a:pt x="56" y="251"/>
                  </a:lnTo>
                  <a:lnTo>
                    <a:pt x="48" y="251"/>
                  </a:lnTo>
                  <a:lnTo>
                    <a:pt x="40" y="251"/>
                  </a:lnTo>
                  <a:lnTo>
                    <a:pt x="35" y="254"/>
                  </a:lnTo>
                  <a:lnTo>
                    <a:pt x="35" y="254"/>
                  </a:lnTo>
                  <a:lnTo>
                    <a:pt x="32" y="254"/>
                  </a:lnTo>
                  <a:lnTo>
                    <a:pt x="30" y="254"/>
                  </a:lnTo>
                  <a:lnTo>
                    <a:pt x="30" y="257"/>
                  </a:lnTo>
                  <a:lnTo>
                    <a:pt x="30" y="257"/>
                  </a:lnTo>
                  <a:lnTo>
                    <a:pt x="32" y="257"/>
                  </a:lnTo>
                  <a:lnTo>
                    <a:pt x="32" y="259"/>
                  </a:lnTo>
                  <a:lnTo>
                    <a:pt x="32" y="259"/>
                  </a:lnTo>
                  <a:lnTo>
                    <a:pt x="32" y="262"/>
                  </a:lnTo>
                  <a:lnTo>
                    <a:pt x="30" y="262"/>
                  </a:lnTo>
                  <a:lnTo>
                    <a:pt x="30" y="262"/>
                  </a:lnTo>
                  <a:lnTo>
                    <a:pt x="30" y="262"/>
                  </a:lnTo>
                  <a:lnTo>
                    <a:pt x="27" y="259"/>
                  </a:lnTo>
                  <a:lnTo>
                    <a:pt x="27" y="259"/>
                  </a:lnTo>
                  <a:lnTo>
                    <a:pt x="27" y="257"/>
                  </a:lnTo>
                  <a:lnTo>
                    <a:pt x="24" y="254"/>
                  </a:lnTo>
                  <a:lnTo>
                    <a:pt x="24" y="254"/>
                  </a:lnTo>
                  <a:lnTo>
                    <a:pt x="24" y="251"/>
                  </a:lnTo>
                  <a:lnTo>
                    <a:pt x="22" y="251"/>
                  </a:lnTo>
                  <a:lnTo>
                    <a:pt x="22" y="254"/>
                  </a:lnTo>
                  <a:lnTo>
                    <a:pt x="22" y="259"/>
                  </a:lnTo>
                  <a:lnTo>
                    <a:pt x="22" y="265"/>
                  </a:lnTo>
                  <a:lnTo>
                    <a:pt x="22" y="273"/>
                  </a:lnTo>
                  <a:lnTo>
                    <a:pt x="22" y="275"/>
                  </a:lnTo>
                  <a:lnTo>
                    <a:pt x="24" y="275"/>
                  </a:lnTo>
                  <a:lnTo>
                    <a:pt x="27" y="278"/>
                  </a:lnTo>
                  <a:lnTo>
                    <a:pt x="30" y="278"/>
                  </a:lnTo>
                  <a:lnTo>
                    <a:pt x="30" y="278"/>
                  </a:lnTo>
                  <a:lnTo>
                    <a:pt x="30" y="278"/>
                  </a:lnTo>
                  <a:lnTo>
                    <a:pt x="32" y="281"/>
                  </a:lnTo>
                  <a:lnTo>
                    <a:pt x="32" y="281"/>
                  </a:lnTo>
                  <a:lnTo>
                    <a:pt x="32" y="281"/>
                  </a:lnTo>
                  <a:lnTo>
                    <a:pt x="32" y="278"/>
                  </a:lnTo>
                  <a:lnTo>
                    <a:pt x="32" y="278"/>
                  </a:lnTo>
                  <a:lnTo>
                    <a:pt x="38" y="281"/>
                  </a:lnTo>
                  <a:lnTo>
                    <a:pt x="38" y="281"/>
                  </a:lnTo>
                  <a:lnTo>
                    <a:pt x="40" y="278"/>
                  </a:lnTo>
                  <a:lnTo>
                    <a:pt x="40" y="278"/>
                  </a:lnTo>
                  <a:lnTo>
                    <a:pt x="43" y="278"/>
                  </a:lnTo>
                  <a:lnTo>
                    <a:pt x="43" y="278"/>
                  </a:lnTo>
                  <a:lnTo>
                    <a:pt x="46" y="281"/>
                  </a:lnTo>
                  <a:lnTo>
                    <a:pt x="48" y="286"/>
                  </a:lnTo>
                  <a:lnTo>
                    <a:pt x="48" y="286"/>
                  </a:lnTo>
                  <a:lnTo>
                    <a:pt x="51" y="289"/>
                  </a:lnTo>
                  <a:lnTo>
                    <a:pt x="51" y="289"/>
                  </a:lnTo>
                  <a:lnTo>
                    <a:pt x="48" y="291"/>
                  </a:lnTo>
                  <a:lnTo>
                    <a:pt x="46" y="289"/>
                  </a:lnTo>
                  <a:lnTo>
                    <a:pt x="46" y="289"/>
                  </a:lnTo>
                  <a:lnTo>
                    <a:pt x="46" y="286"/>
                  </a:lnTo>
                  <a:lnTo>
                    <a:pt x="46" y="283"/>
                  </a:lnTo>
                  <a:lnTo>
                    <a:pt x="40" y="283"/>
                  </a:lnTo>
                  <a:lnTo>
                    <a:pt x="38" y="286"/>
                  </a:lnTo>
                  <a:lnTo>
                    <a:pt x="35" y="289"/>
                  </a:lnTo>
                  <a:lnTo>
                    <a:pt x="35" y="291"/>
                  </a:lnTo>
                  <a:lnTo>
                    <a:pt x="38" y="297"/>
                  </a:lnTo>
                  <a:lnTo>
                    <a:pt x="35" y="294"/>
                  </a:lnTo>
                  <a:lnTo>
                    <a:pt x="32" y="291"/>
                  </a:lnTo>
                  <a:lnTo>
                    <a:pt x="32" y="291"/>
                  </a:lnTo>
                  <a:lnTo>
                    <a:pt x="32" y="294"/>
                  </a:lnTo>
                  <a:lnTo>
                    <a:pt x="35" y="297"/>
                  </a:lnTo>
                  <a:lnTo>
                    <a:pt x="35" y="302"/>
                  </a:lnTo>
                  <a:lnTo>
                    <a:pt x="35" y="302"/>
                  </a:lnTo>
                  <a:lnTo>
                    <a:pt x="35" y="302"/>
                  </a:lnTo>
                  <a:lnTo>
                    <a:pt x="35" y="305"/>
                  </a:lnTo>
                  <a:lnTo>
                    <a:pt x="35" y="307"/>
                  </a:lnTo>
                  <a:lnTo>
                    <a:pt x="35" y="307"/>
                  </a:lnTo>
                  <a:lnTo>
                    <a:pt x="32" y="307"/>
                  </a:lnTo>
                  <a:lnTo>
                    <a:pt x="30" y="307"/>
                  </a:lnTo>
                  <a:lnTo>
                    <a:pt x="30" y="310"/>
                  </a:lnTo>
                  <a:lnTo>
                    <a:pt x="30" y="310"/>
                  </a:lnTo>
                  <a:lnTo>
                    <a:pt x="30" y="313"/>
                  </a:lnTo>
                  <a:lnTo>
                    <a:pt x="30" y="313"/>
                  </a:lnTo>
                  <a:lnTo>
                    <a:pt x="30" y="313"/>
                  </a:lnTo>
                  <a:lnTo>
                    <a:pt x="32" y="315"/>
                  </a:lnTo>
                  <a:lnTo>
                    <a:pt x="32" y="315"/>
                  </a:lnTo>
                  <a:lnTo>
                    <a:pt x="32" y="315"/>
                  </a:lnTo>
                  <a:lnTo>
                    <a:pt x="32" y="315"/>
                  </a:lnTo>
                  <a:lnTo>
                    <a:pt x="32" y="318"/>
                  </a:lnTo>
                  <a:lnTo>
                    <a:pt x="32" y="318"/>
                  </a:lnTo>
                  <a:lnTo>
                    <a:pt x="35" y="321"/>
                  </a:lnTo>
                  <a:lnTo>
                    <a:pt x="38" y="321"/>
                  </a:lnTo>
                  <a:lnTo>
                    <a:pt x="35" y="323"/>
                  </a:lnTo>
                  <a:lnTo>
                    <a:pt x="35" y="321"/>
                  </a:lnTo>
                  <a:lnTo>
                    <a:pt x="30" y="318"/>
                  </a:lnTo>
                  <a:lnTo>
                    <a:pt x="30" y="318"/>
                  </a:lnTo>
                  <a:lnTo>
                    <a:pt x="30" y="318"/>
                  </a:lnTo>
                  <a:lnTo>
                    <a:pt x="30" y="321"/>
                  </a:lnTo>
                  <a:lnTo>
                    <a:pt x="27" y="323"/>
                  </a:lnTo>
                  <a:lnTo>
                    <a:pt x="24" y="323"/>
                  </a:lnTo>
                  <a:lnTo>
                    <a:pt x="22" y="323"/>
                  </a:lnTo>
                  <a:lnTo>
                    <a:pt x="22" y="321"/>
                  </a:lnTo>
                  <a:lnTo>
                    <a:pt x="19" y="318"/>
                  </a:lnTo>
                  <a:lnTo>
                    <a:pt x="19" y="310"/>
                  </a:lnTo>
                  <a:lnTo>
                    <a:pt x="22" y="307"/>
                  </a:lnTo>
                  <a:lnTo>
                    <a:pt x="24" y="297"/>
                  </a:lnTo>
                  <a:lnTo>
                    <a:pt x="24" y="294"/>
                  </a:lnTo>
                  <a:lnTo>
                    <a:pt x="22" y="291"/>
                  </a:lnTo>
                  <a:lnTo>
                    <a:pt x="22" y="289"/>
                  </a:lnTo>
                  <a:lnTo>
                    <a:pt x="24" y="286"/>
                  </a:lnTo>
                  <a:lnTo>
                    <a:pt x="22" y="289"/>
                  </a:lnTo>
                  <a:lnTo>
                    <a:pt x="19" y="294"/>
                  </a:lnTo>
                  <a:lnTo>
                    <a:pt x="16" y="315"/>
                  </a:lnTo>
                  <a:lnTo>
                    <a:pt x="16" y="321"/>
                  </a:lnTo>
                  <a:lnTo>
                    <a:pt x="14" y="323"/>
                  </a:lnTo>
                  <a:lnTo>
                    <a:pt x="14" y="326"/>
                  </a:lnTo>
                  <a:lnTo>
                    <a:pt x="14" y="329"/>
                  </a:lnTo>
                  <a:lnTo>
                    <a:pt x="11" y="329"/>
                  </a:lnTo>
                  <a:lnTo>
                    <a:pt x="11" y="331"/>
                  </a:lnTo>
                  <a:lnTo>
                    <a:pt x="8" y="334"/>
                  </a:lnTo>
                  <a:lnTo>
                    <a:pt x="8" y="334"/>
                  </a:lnTo>
                  <a:lnTo>
                    <a:pt x="8" y="337"/>
                  </a:lnTo>
                  <a:lnTo>
                    <a:pt x="11" y="337"/>
                  </a:lnTo>
                  <a:lnTo>
                    <a:pt x="14" y="337"/>
                  </a:lnTo>
                  <a:lnTo>
                    <a:pt x="14" y="337"/>
                  </a:lnTo>
                  <a:lnTo>
                    <a:pt x="14" y="337"/>
                  </a:lnTo>
                  <a:lnTo>
                    <a:pt x="14" y="337"/>
                  </a:lnTo>
                  <a:lnTo>
                    <a:pt x="14" y="337"/>
                  </a:lnTo>
                  <a:lnTo>
                    <a:pt x="14" y="337"/>
                  </a:lnTo>
                  <a:lnTo>
                    <a:pt x="14" y="334"/>
                  </a:lnTo>
                  <a:lnTo>
                    <a:pt x="14" y="334"/>
                  </a:lnTo>
                  <a:lnTo>
                    <a:pt x="14" y="334"/>
                  </a:lnTo>
                  <a:lnTo>
                    <a:pt x="16" y="331"/>
                  </a:lnTo>
                  <a:lnTo>
                    <a:pt x="19" y="331"/>
                  </a:lnTo>
                  <a:lnTo>
                    <a:pt x="19" y="334"/>
                  </a:lnTo>
                  <a:lnTo>
                    <a:pt x="22" y="334"/>
                  </a:lnTo>
                  <a:lnTo>
                    <a:pt x="24" y="342"/>
                  </a:lnTo>
                  <a:lnTo>
                    <a:pt x="27" y="342"/>
                  </a:lnTo>
                  <a:lnTo>
                    <a:pt x="30" y="342"/>
                  </a:lnTo>
                  <a:lnTo>
                    <a:pt x="32" y="342"/>
                  </a:lnTo>
                  <a:lnTo>
                    <a:pt x="35" y="342"/>
                  </a:lnTo>
                  <a:lnTo>
                    <a:pt x="38" y="339"/>
                  </a:lnTo>
                  <a:lnTo>
                    <a:pt x="38" y="339"/>
                  </a:lnTo>
                  <a:lnTo>
                    <a:pt x="40" y="342"/>
                  </a:lnTo>
                  <a:lnTo>
                    <a:pt x="40" y="342"/>
                  </a:lnTo>
                  <a:lnTo>
                    <a:pt x="43" y="342"/>
                  </a:lnTo>
                  <a:lnTo>
                    <a:pt x="46" y="339"/>
                  </a:lnTo>
                  <a:lnTo>
                    <a:pt x="48" y="339"/>
                  </a:lnTo>
                  <a:lnTo>
                    <a:pt x="48" y="339"/>
                  </a:lnTo>
                  <a:lnTo>
                    <a:pt x="48" y="342"/>
                  </a:lnTo>
                  <a:lnTo>
                    <a:pt x="51" y="342"/>
                  </a:lnTo>
                  <a:lnTo>
                    <a:pt x="51" y="345"/>
                  </a:lnTo>
                  <a:lnTo>
                    <a:pt x="51" y="345"/>
                  </a:lnTo>
                  <a:lnTo>
                    <a:pt x="56" y="347"/>
                  </a:lnTo>
                  <a:lnTo>
                    <a:pt x="70" y="347"/>
                  </a:lnTo>
                  <a:lnTo>
                    <a:pt x="72" y="347"/>
                  </a:lnTo>
                  <a:lnTo>
                    <a:pt x="72" y="350"/>
                  </a:lnTo>
                  <a:lnTo>
                    <a:pt x="75" y="353"/>
                  </a:lnTo>
                  <a:lnTo>
                    <a:pt x="75" y="355"/>
                  </a:lnTo>
                  <a:lnTo>
                    <a:pt x="75" y="358"/>
                  </a:lnTo>
                  <a:lnTo>
                    <a:pt x="83" y="366"/>
                  </a:lnTo>
                  <a:lnTo>
                    <a:pt x="83" y="366"/>
                  </a:lnTo>
                  <a:lnTo>
                    <a:pt x="86" y="369"/>
                  </a:lnTo>
                  <a:lnTo>
                    <a:pt x="88" y="369"/>
                  </a:lnTo>
                  <a:lnTo>
                    <a:pt x="94" y="366"/>
                  </a:lnTo>
                  <a:lnTo>
                    <a:pt x="96" y="366"/>
                  </a:lnTo>
                  <a:lnTo>
                    <a:pt x="102" y="366"/>
                  </a:lnTo>
                  <a:lnTo>
                    <a:pt x="104" y="369"/>
                  </a:lnTo>
                  <a:lnTo>
                    <a:pt x="104" y="369"/>
                  </a:lnTo>
                  <a:lnTo>
                    <a:pt x="107" y="374"/>
                  </a:lnTo>
                  <a:lnTo>
                    <a:pt x="110" y="374"/>
                  </a:lnTo>
                  <a:lnTo>
                    <a:pt x="112" y="374"/>
                  </a:lnTo>
                  <a:lnTo>
                    <a:pt x="115" y="377"/>
                  </a:lnTo>
                  <a:lnTo>
                    <a:pt x="118" y="379"/>
                  </a:lnTo>
                  <a:lnTo>
                    <a:pt x="120" y="382"/>
                  </a:lnTo>
                  <a:lnTo>
                    <a:pt x="120" y="385"/>
                  </a:lnTo>
                  <a:lnTo>
                    <a:pt x="123" y="387"/>
                  </a:lnTo>
                  <a:lnTo>
                    <a:pt x="123" y="390"/>
                  </a:lnTo>
                  <a:lnTo>
                    <a:pt x="123" y="395"/>
                  </a:lnTo>
                  <a:lnTo>
                    <a:pt x="126" y="398"/>
                  </a:lnTo>
                  <a:lnTo>
                    <a:pt x="126" y="398"/>
                  </a:lnTo>
                  <a:lnTo>
                    <a:pt x="126" y="401"/>
                  </a:lnTo>
                  <a:lnTo>
                    <a:pt x="128" y="403"/>
                  </a:lnTo>
                  <a:lnTo>
                    <a:pt x="126" y="409"/>
                  </a:lnTo>
                  <a:lnTo>
                    <a:pt x="128" y="414"/>
                  </a:lnTo>
                  <a:lnTo>
                    <a:pt x="126" y="417"/>
                  </a:lnTo>
                  <a:lnTo>
                    <a:pt x="126" y="419"/>
                  </a:lnTo>
                  <a:lnTo>
                    <a:pt x="126" y="422"/>
                  </a:lnTo>
                  <a:lnTo>
                    <a:pt x="126" y="428"/>
                  </a:lnTo>
                  <a:lnTo>
                    <a:pt x="126" y="428"/>
                  </a:lnTo>
                  <a:lnTo>
                    <a:pt x="126" y="430"/>
                  </a:lnTo>
                  <a:lnTo>
                    <a:pt x="126" y="433"/>
                  </a:lnTo>
                  <a:lnTo>
                    <a:pt x="126" y="433"/>
                  </a:lnTo>
                  <a:lnTo>
                    <a:pt x="126" y="438"/>
                  </a:lnTo>
                  <a:lnTo>
                    <a:pt x="126" y="444"/>
                  </a:lnTo>
                  <a:lnTo>
                    <a:pt x="126" y="444"/>
                  </a:lnTo>
                  <a:lnTo>
                    <a:pt x="126" y="446"/>
                  </a:lnTo>
                  <a:lnTo>
                    <a:pt x="128" y="449"/>
                  </a:lnTo>
                  <a:lnTo>
                    <a:pt x="131" y="452"/>
                  </a:lnTo>
                  <a:lnTo>
                    <a:pt x="139" y="454"/>
                  </a:lnTo>
                  <a:lnTo>
                    <a:pt x="142" y="454"/>
                  </a:lnTo>
                  <a:lnTo>
                    <a:pt x="144" y="454"/>
                  </a:lnTo>
                  <a:lnTo>
                    <a:pt x="147" y="457"/>
                  </a:lnTo>
                  <a:lnTo>
                    <a:pt x="152" y="460"/>
                  </a:lnTo>
                  <a:lnTo>
                    <a:pt x="155" y="462"/>
                  </a:lnTo>
                  <a:lnTo>
                    <a:pt x="163" y="462"/>
                  </a:lnTo>
                  <a:lnTo>
                    <a:pt x="171" y="468"/>
                  </a:lnTo>
                  <a:lnTo>
                    <a:pt x="171" y="468"/>
                  </a:lnTo>
                  <a:lnTo>
                    <a:pt x="174" y="468"/>
                  </a:lnTo>
                  <a:lnTo>
                    <a:pt x="182" y="465"/>
                  </a:lnTo>
                  <a:lnTo>
                    <a:pt x="200" y="462"/>
                  </a:lnTo>
                  <a:lnTo>
                    <a:pt x="206" y="462"/>
                  </a:lnTo>
                  <a:lnTo>
                    <a:pt x="214" y="457"/>
                  </a:lnTo>
                  <a:lnTo>
                    <a:pt x="219" y="457"/>
                  </a:lnTo>
                  <a:lnTo>
                    <a:pt x="222" y="457"/>
                  </a:lnTo>
                  <a:lnTo>
                    <a:pt x="230" y="460"/>
                  </a:lnTo>
                  <a:lnTo>
                    <a:pt x="243" y="460"/>
                  </a:lnTo>
                  <a:lnTo>
                    <a:pt x="273" y="468"/>
                  </a:lnTo>
                  <a:lnTo>
                    <a:pt x="278" y="470"/>
                  </a:lnTo>
                  <a:lnTo>
                    <a:pt x="281" y="473"/>
                  </a:lnTo>
                  <a:lnTo>
                    <a:pt x="281" y="476"/>
                  </a:lnTo>
                  <a:lnTo>
                    <a:pt x="281" y="478"/>
                  </a:lnTo>
                  <a:lnTo>
                    <a:pt x="281" y="481"/>
                  </a:lnTo>
                  <a:lnTo>
                    <a:pt x="283" y="481"/>
                  </a:lnTo>
                  <a:lnTo>
                    <a:pt x="286" y="481"/>
                  </a:lnTo>
                  <a:lnTo>
                    <a:pt x="294" y="481"/>
                  </a:lnTo>
                  <a:lnTo>
                    <a:pt x="294" y="481"/>
                  </a:lnTo>
                  <a:lnTo>
                    <a:pt x="297" y="481"/>
                  </a:lnTo>
                  <a:lnTo>
                    <a:pt x="299" y="481"/>
                  </a:lnTo>
                  <a:lnTo>
                    <a:pt x="299" y="481"/>
                  </a:lnTo>
                  <a:lnTo>
                    <a:pt x="302" y="481"/>
                  </a:lnTo>
                  <a:lnTo>
                    <a:pt x="305" y="481"/>
                  </a:lnTo>
                  <a:lnTo>
                    <a:pt x="305" y="484"/>
                  </a:lnTo>
                  <a:lnTo>
                    <a:pt x="310" y="484"/>
                  </a:lnTo>
                  <a:lnTo>
                    <a:pt x="313" y="484"/>
                  </a:lnTo>
                  <a:lnTo>
                    <a:pt x="315" y="484"/>
                  </a:lnTo>
                  <a:lnTo>
                    <a:pt x="315" y="484"/>
                  </a:lnTo>
                  <a:lnTo>
                    <a:pt x="321" y="481"/>
                  </a:lnTo>
                  <a:lnTo>
                    <a:pt x="321" y="481"/>
                  </a:lnTo>
                  <a:lnTo>
                    <a:pt x="329" y="481"/>
                  </a:lnTo>
                  <a:lnTo>
                    <a:pt x="334" y="481"/>
                  </a:lnTo>
                  <a:lnTo>
                    <a:pt x="334" y="478"/>
                  </a:lnTo>
                  <a:lnTo>
                    <a:pt x="334" y="478"/>
                  </a:lnTo>
                  <a:lnTo>
                    <a:pt x="337" y="478"/>
                  </a:lnTo>
                  <a:lnTo>
                    <a:pt x="339" y="478"/>
                  </a:lnTo>
                  <a:lnTo>
                    <a:pt x="353" y="484"/>
                  </a:lnTo>
                  <a:lnTo>
                    <a:pt x="355" y="484"/>
                  </a:lnTo>
                  <a:lnTo>
                    <a:pt x="358" y="484"/>
                  </a:lnTo>
                  <a:lnTo>
                    <a:pt x="358" y="484"/>
                  </a:lnTo>
                  <a:lnTo>
                    <a:pt x="363" y="484"/>
                  </a:lnTo>
                  <a:lnTo>
                    <a:pt x="363" y="484"/>
                  </a:lnTo>
                  <a:lnTo>
                    <a:pt x="366" y="484"/>
                  </a:lnTo>
                  <a:lnTo>
                    <a:pt x="371" y="484"/>
                  </a:lnTo>
                  <a:lnTo>
                    <a:pt x="371" y="484"/>
                  </a:lnTo>
                  <a:lnTo>
                    <a:pt x="374" y="484"/>
                  </a:lnTo>
                  <a:lnTo>
                    <a:pt x="377" y="484"/>
                  </a:lnTo>
                  <a:lnTo>
                    <a:pt x="379" y="484"/>
                  </a:lnTo>
                  <a:lnTo>
                    <a:pt x="382" y="484"/>
                  </a:lnTo>
                  <a:lnTo>
                    <a:pt x="385" y="484"/>
                  </a:lnTo>
                  <a:lnTo>
                    <a:pt x="387" y="481"/>
                  </a:lnTo>
                  <a:lnTo>
                    <a:pt x="390" y="478"/>
                  </a:lnTo>
                  <a:lnTo>
                    <a:pt x="395" y="478"/>
                  </a:lnTo>
                  <a:lnTo>
                    <a:pt x="411" y="476"/>
                  </a:lnTo>
                  <a:lnTo>
                    <a:pt x="438" y="476"/>
                  </a:lnTo>
                  <a:lnTo>
                    <a:pt x="443" y="473"/>
                  </a:lnTo>
                  <a:lnTo>
                    <a:pt x="446" y="470"/>
                  </a:lnTo>
                  <a:lnTo>
                    <a:pt x="449" y="470"/>
                  </a:lnTo>
                  <a:lnTo>
                    <a:pt x="451" y="470"/>
                  </a:lnTo>
                  <a:lnTo>
                    <a:pt x="459" y="473"/>
                  </a:lnTo>
                  <a:lnTo>
                    <a:pt x="465" y="473"/>
                  </a:lnTo>
                  <a:lnTo>
                    <a:pt x="473" y="473"/>
                  </a:lnTo>
                  <a:lnTo>
                    <a:pt x="497" y="476"/>
                  </a:lnTo>
                  <a:lnTo>
                    <a:pt x="502" y="476"/>
                  </a:lnTo>
                  <a:lnTo>
                    <a:pt x="507" y="470"/>
                  </a:lnTo>
                  <a:lnTo>
                    <a:pt x="510" y="470"/>
                  </a:lnTo>
                  <a:lnTo>
                    <a:pt x="513" y="473"/>
                  </a:lnTo>
                  <a:lnTo>
                    <a:pt x="526" y="476"/>
                  </a:lnTo>
                  <a:lnTo>
                    <a:pt x="539" y="476"/>
                  </a:lnTo>
                  <a:lnTo>
                    <a:pt x="553" y="478"/>
                  </a:lnTo>
                  <a:lnTo>
                    <a:pt x="566" y="481"/>
                  </a:lnTo>
                  <a:lnTo>
                    <a:pt x="577" y="484"/>
                  </a:lnTo>
                  <a:lnTo>
                    <a:pt x="603" y="486"/>
                  </a:lnTo>
                  <a:lnTo>
                    <a:pt x="617" y="489"/>
                  </a:lnTo>
                  <a:lnTo>
                    <a:pt x="630" y="492"/>
                  </a:lnTo>
                  <a:lnTo>
                    <a:pt x="643" y="494"/>
                  </a:lnTo>
                  <a:lnTo>
                    <a:pt x="657" y="497"/>
                  </a:lnTo>
                  <a:lnTo>
                    <a:pt x="667" y="497"/>
                  </a:lnTo>
                  <a:lnTo>
                    <a:pt x="681" y="500"/>
                  </a:lnTo>
                  <a:lnTo>
                    <a:pt x="694" y="502"/>
                  </a:lnTo>
                  <a:lnTo>
                    <a:pt x="707" y="505"/>
                  </a:lnTo>
                  <a:lnTo>
                    <a:pt x="721" y="505"/>
                  </a:lnTo>
                  <a:lnTo>
                    <a:pt x="721" y="500"/>
                  </a:lnTo>
                  <a:lnTo>
                    <a:pt x="715" y="492"/>
                  </a:lnTo>
                  <a:lnTo>
                    <a:pt x="715" y="492"/>
                  </a:lnTo>
                  <a:lnTo>
                    <a:pt x="718" y="489"/>
                  </a:lnTo>
                  <a:lnTo>
                    <a:pt x="721" y="486"/>
                  </a:lnTo>
                  <a:lnTo>
                    <a:pt x="721" y="484"/>
                  </a:lnTo>
                  <a:lnTo>
                    <a:pt x="721" y="481"/>
                  </a:lnTo>
                  <a:lnTo>
                    <a:pt x="721" y="478"/>
                  </a:lnTo>
                  <a:lnTo>
                    <a:pt x="721" y="470"/>
                  </a:lnTo>
                  <a:lnTo>
                    <a:pt x="718" y="468"/>
                  </a:lnTo>
                  <a:lnTo>
                    <a:pt x="715" y="462"/>
                  </a:lnTo>
                  <a:lnTo>
                    <a:pt x="713" y="454"/>
                  </a:lnTo>
                  <a:lnTo>
                    <a:pt x="713" y="454"/>
                  </a:lnTo>
                  <a:lnTo>
                    <a:pt x="713" y="452"/>
                  </a:lnTo>
                  <a:lnTo>
                    <a:pt x="715" y="446"/>
                  </a:lnTo>
                  <a:lnTo>
                    <a:pt x="715" y="444"/>
                  </a:lnTo>
                  <a:lnTo>
                    <a:pt x="718" y="422"/>
                  </a:lnTo>
                  <a:lnTo>
                    <a:pt x="723" y="401"/>
                  </a:lnTo>
                  <a:lnTo>
                    <a:pt x="726" y="379"/>
                  </a:lnTo>
                  <a:lnTo>
                    <a:pt x="729" y="358"/>
                  </a:lnTo>
                  <a:lnTo>
                    <a:pt x="731" y="337"/>
                  </a:lnTo>
                  <a:lnTo>
                    <a:pt x="734" y="315"/>
                  </a:lnTo>
                  <a:lnTo>
                    <a:pt x="737" y="294"/>
                  </a:lnTo>
                  <a:lnTo>
                    <a:pt x="742" y="273"/>
                  </a:lnTo>
                  <a:lnTo>
                    <a:pt x="745" y="254"/>
                  </a:lnTo>
                  <a:lnTo>
                    <a:pt x="747" y="232"/>
                  </a:lnTo>
                  <a:lnTo>
                    <a:pt x="750" y="211"/>
                  </a:lnTo>
                  <a:lnTo>
                    <a:pt x="753" y="190"/>
                  </a:lnTo>
                  <a:lnTo>
                    <a:pt x="758" y="168"/>
                  </a:lnTo>
                  <a:lnTo>
                    <a:pt x="761" y="147"/>
                  </a:lnTo>
                  <a:lnTo>
                    <a:pt x="763" y="128"/>
                  </a:lnTo>
                  <a:lnTo>
                    <a:pt x="766" y="107"/>
                  </a:lnTo>
                  <a:lnTo>
                    <a:pt x="755" y="104"/>
                  </a:lnTo>
                  <a:close/>
                  <a:moveTo>
                    <a:pt x="187" y="0"/>
                  </a:moveTo>
                  <a:lnTo>
                    <a:pt x="182" y="0"/>
                  </a:lnTo>
                  <a:lnTo>
                    <a:pt x="182" y="0"/>
                  </a:lnTo>
                  <a:lnTo>
                    <a:pt x="182" y="3"/>
                  </a:lnTo>
                  <a:lnTo>
                    <a:pt x="187" y="0"/>
                  </a:lnTo>
                  <a:lnTo>
                    <a:pt x="187" y="0"/>
                  </a:lnTo>
                  <a:close/>
                  <a:moveTo>
                    <a:pt x="163" y="40"/>
                  </a:moveTo>
                  <a:lnTo>
                    <a:pt x="166" y="40"/>
                  </a:lnTo>
                  <a:lnTo>
                    <a:pt x="163" y="40"/>
                  </a:lnTo>
                  <a:lnTo>
                    <a:pt x="163" y="40"/>
                  </a:lnTo>
                  <a:lnTo>
                    <a:pt x="163" y="37"/>
                  </a:lnTo>
                  <a:lnTo>
                    <a:pt x="163" y="40"/>
                  </a:lnTo>
                  <a:lnTo>
                    <a:pt x="166" y="40"/>
                  </a:lnTo>
                  <a:lnTo>
                    <a:pt x="166" y="40"/>
                  </a:lnTo>
                  <a:lnTo>
                    <a:pt x="166" y="40"/>
                  </a:lnTo>
                  <a:lnTo>
                    <a:pt x="166" y="37"/>
                  </a:lnTo>
                  <a:lnTo>
                    <a:pt x="166" y="37"/>
                  </a:lnTo>
                  <a:lnTo>
                    <a:pt x="166" y="37"/>
                  </a:lnTo>
                  <a:lnTo>
                    <a:pt x="166" y="37"/>
                  </a:lnTo>
                  <a:lnTo>
                    <a:pt x="163" y="37"/>
                  </a:lnTo>
                  <a:lnTo>
                    <a:pt x="163" y="37"/>
                  </a:lnTo>
                  <a:lnTo>
                    <a:pt x="163" y="37"/>
                  </a:lnTo>
                  <a:lnTo>
                    <a:pt x="163" y="37"/>
                  </a:lnTo>
                  <a:lnTo>
                    <a:pt x="160" y="35"/>
                  </a:lnTo>
                  <a:lnTo>
                    <a:pt x="160" y="35"/>
                  </a:lnTo>
                  <a:lnTo>
                    <a:pt x="160" y="37"/>
                  </a:lnTo>
                  <a:lnTo>
                    <a:pt x="163" y="40"/>
                  </a:lnTo>
                  <a:close/>
                  <a:moveTo>
                    <a:pt x="214" y="70"/>
                  </a:moveTo>
                  <a:lnTo>
                    <a:pt x="214" y="70"/>
                  </a:lnTo>
                  <a:lnTo>
                    <a:pt x="216" y="70"/>
                  </a:lnTo>
                  <a:lnTo>
                    <a:pt x="219" y="70"/>
                  </a:lnTo>
                  <a:lnTo>
                    <a:pt x="219" y="70"/>
                  </a:lnTo>
                  <a:lnTo>
                    <a:pt x="219" y="70"/>
                  </a:lnTo>
                  <a:lnTo>
                    <a:pt x="219" y="70"/>
                  </a:lnTo>
                  <a:lnTo>
                    <a:pt x="219" y="67"/>
                  </a:lnTo>
                  <a:lnTo>
                    <a:pt x="216" y="64"/>
                  </a:lnTo>
                  <a:lnTo>
                    <a:pt x="214" y="61"/>
                  </a:lnTo>
                  <a:lnTo>
                    <a:pt x="214" y="61"/>
                  </a:lnTo>
                  <a:lnTo>
                    <a:pt x="214" y="61"/>
                  </a:lnTo>
                  <a:lnTo>
                    <a:pt x="214" y="64"/>
                  </a:lnTo>
                  <a:lnTo>
                    <a:pt x="214" y="64"/>
                  </a:lnTo>
                  <a:lnTo>
                    <a:pt x="211" y="67"/>
                  </a:lnTo>
                  <a:lnTo>
                    <a:pt x="214" y="70"/>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11" name="Freeform 9">
              <a:extLst>
                <a:ext uri="{FF2B5EF4-FFF2-40B4-BE49-F238E27FC236}">
                  <a16:creationId xmlns="" xmlns:a16="http://schemas.microsoft.com/office/drawing/2014/main" id="{903149E1-E8A3-41E9-B711-21E819F817DC}"/>
                </a:ext>
              </a:extLst>
            </p:cNvPr>
            <p:cNvSpPr>
              <a:spLocks/>
            </p:cNvSpPr>
            <p:nvPr/>
          </p:nvSpPr>
          <p:spPr bwMode="auto">
            <a:xfrm>
              <a:off x="6361" y="443"/>
              <a:ext cx="195" cy="345"/>
            </a:xfrm>
            <a:custGeom>
              <a:avLst/>
              <a:gdLst>
                <a:gd name="T0" fmla="*/ 3 w 195"/>
                <a:gd name="T1" fmla="*/ 49 h 345"/>
                <a:gd name="T2" fmla="*/ 3 w 195"/>
                <a:gd name="T3" fmla="*/ 54 h 345"/>
                <a:gd name="T4" fmla="*/ 0 w 195"/>
                <a:gd name="T5" fmla="*/ 59 h 345"/>
                <a:gd name="T6" fmla="*/ 3 w 195"/>
                <a:gd name="T7" fmla="*/ 73 h 345"/>
                <a:gd name="T8" fmla="*/ 6 w 195"/>
                <a:gd name="T9" fmla="*/ 81 h 345"/>
                <a:gd name="T10" fmla="*/ 3 w 195"/>
                <a:gd name="T11" fmla="*/ 83 h 345"/>
                <a:gd name="T12" fmla="*/ 8 w 195"/>
                <a:gd name="T13" fmla="*/ 89 h 345"/>
                <a:gd name="T14" fmla="*/ 3 w 195"/>
                <a:gd name="T15" fmla="*/ 89 h 345"/>
                <a:gd name="T16" fmla="*/ 3 w 195"/>
                <a:gd name="T17" fmla="*/ 99 h 345"/>
                <a:gd name="T18" fmla="*/ 6 w 195"/>
                <a:gd name="T19" fmla="*/ 102 h 345"/>
                <a:gd name="T20" fmla="*/ 11 w 195"/>
                <a:gd name="T21" fmla="*/ 110 h 345"/>
                <a:gd name="T22" fmla="*/ 16 w 195"/>
                <a:gd name="T23" fmla="*/ 121 h 345"/>
                <a:gd name="T24" fmla="*/ 16 w 195"/>
                <a:gd name="T25" fmla="*/ 131 h 345"/>
                <a:gd name="T26" fmla="*/ 19 w 195"/>
                <a:gd name="T27" fmla="*/ 123 h 345"/>
                <a:gd name="T28" fmla="*/ 25 w 195"/>
                <a:gd name="T29" fmla="*/ 137 h 345"/>
                <a:gd name="T30" fmla="*/ 22 w 195"/>
                <a:gd name="T31" fmla="*/ 155 h 345"/>
                <a:gd name="T32" fmla="*/ 25 w 195"/>
                <a:gd name="T33" fmla="*/ 179 h 345"/>
                <a:gd name="T34" fmla="*/ 27 w 195"/>
                <a:gd name="T35" fmla="*/ 182 h 345"/>
                <a:gd name="T36" fmla="*/ 33 w 195"/>
                <a:gd name="T37" fmla="*/ 198 h 345"/>
                <a:gd name="T38" fmla="*/ 35 w 195"/>
                <a:gd name="T39" fmla="*/ 206 h 345"/>
                <a:gd name="T40" fmla="*/ 41 w 195"/>
                <a:gd name="T41" fmla="*/ 214 h 345"/>
                <a:gd name="T42" fmla="*/ 41 w 195"/>
                <a:gd name="T43" fmla="*/ 233 h 345"/>
                <a:gd name="T44" fmla="*/ 43 w 195"/>
                <a:gd name="T45" fmla="*/ 241 h 345"/>
                <a:gd name="T46" fmla="*/ 46 w 195"/>
                <a:gd name="T47" fmla="*/ 238 h 345"/>
                <a:gd name="T48" fmla="*/ 46 w 195"/>
                <a:gd name="T49" fmla="*/ 233 h 345"/>
                <a:gd name="T50" fmla="*/ 49 w 195"/>
                <a:gd name="T51" fmla="*/ 230 h 345"/>
                <a:gd name="T52" fmla="*/ 57 w 195"/>
                <a:gd name="T53" fmla="*/ 236 h 345"/>
                <a:gd name="T54" fmla="*/ 62 w 195"/>
                <a:gd name="T55" fmla="*/ 241 h 345"/>
                <a:gd name="T56" fmla="*/ 65 w 195"/>
                <a:gd name="T57" fmla="*/ 262 h 345"/>
                <a:gd name="T58" fmla="*/ 75 w 195"/>
                <a:gd name="T59" fmla="*/ 310 h 345"/>
                <a:gd name="T60" fmla="*/ 81 w 195"/>
                <a:gd name="T61" fmla="*/ 329 h 345"/>
                <a:gd name="T62" fmla="*/ 86 w 195"/>
                <a:gd name="T63" fmla="*/ 345 h 345"/>
                <a:gd name="T64" fmla="*/ 121 w 195"/>
                <a:gd name="T65" fmla="*/ 337 h 345"/>
                <a:gd name="T66" fmla="*/ 147 w 195"/>
                <a:gd name="T67" fmla="*/ 334 h 345"/>
                <a:gd name="T68" fmla="*/ 169 w 195"/>
                <a:gd name="T69" fmla="*/ 329 h 345"/>
                <a:gd name="T70" fmla="*/ 155 w 195"/>
                <a:gd name="T71" fmla="*/ 316 h 345"/>
                <a:gd name="T72" fmla="*/ 153 w 195"/>
                <a:gd name="T73" fmla="*/ 308 h 345"/>
                <a:gd name="T74" fmla="*/ 158 w 195"/>
                <a:gd name="T75" fmla="*/ 294 h 345"/>
                <a:gd name="T76" fmla="*/ 155 w 195"/>
                <a:gd name="T77" fmla="*/ 270 h 345"/>
                <a:gd name="T78" fmla="*/ 153 w 195"/>
                <a:gd name="T79" fmla="*/ 262 h 345"/>
                <a:gd name="T80" fmla="*/ 153 w 195"/>
                <a:gd name="T81" fmla="*/ 257 h 345"/>
                <a:gd name="T82" fmla="*/ 153 w 195"/>
                <a:gd name="T83" fmla="*/ 249 h 345"/>
                <a:gd name="T84" fmla="*/ 150 w 195"/>
                <a:gd name="T85" fmla="*/ 209 h 345"/>
                <a:gd name="T86" fmla="*/ 150 w 195"/>
                <a:gd name="T87" fmla="*/ 193 h 345"/>
                <a:gd name="T88" fmla="*/ 158 w 195"/>
                <a:gd name="T89" fmla="*/ 177 h 345"/>
                <a:gd name="T90" fmla="*/ 163 w 195"/>
                <a:gd name="T91" fmla="*/ 153 h 345"/>
                <a:gd name="T92" fmla="*/ 161 w 195"/>
                <a:gd name="T93" fmla="*/ 147 h 345"/>
                <a:gd name="T94" fmla="*/ 158 w 195"/>
                <a:gd name="T95" fmla="*/ 110 h 345"/>
                <a:gd name="T96" fmla="*/ 174 w 195"/>
                <a:gd name="T97" fmla="*/ 97 h 345"/>
                <a:gd name="T98" fmla="*/ 187 w 195"/>
                <a:gd name="T99" fmla="*/ 81 h 345"/>
                <a:gd name="T100" fmla="*/ 193 w 195"/>
                <a:gd name="T101" fmla="*/ 67 h 345"/>
                <a:gd name="T102" fmla="*/ 195 w 195"/>
                <a:gd name="T103" fmla="*/ 59 h 345"/>
                <a:gd name="T104" fmla="*/ 187 w 195"/>
                <a:gd name="T105" fmla="*/ 46 h 345"/>
                <a:gd name="T106" fmla="*/ 182 w 195"/>
                <a:gd name="T107" fmla="*/ 35 h 345"/>
                <a:gd name="T108" fmla="*/ 187 w 195"/>
                <a:gd name="T109" fmla="*/ 11 h 345"/>
                <a:gd name="T110" fmla="*/ 187 w 195"/>
                <a:gd name="T111" fmla="*/ 0 h 345"/>
                <a:gd name="T112" fmla="*/ 137 w 195"/>
                <a:gd name="T113" fmla="*/ 14 h 345"/>
                <a:gd name="T114" fmla="*/ 86 w 195"/>
                <a:gd name="T115" fmla="*/ 27 h 345"/>
                <a:gd name="T116" fmla="*/ 27 w 195"/>
                <a:gd name="T117" fmla="*/ 41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5" h="345">
                  <a:moveTo>
                    <a:pt x="22" y="43"/>
                  </a:moveTo>
                  <a:lnTo>
                    <a:pt x="16" y="43"/>
                  </a:lnTo>
                  <a:lnTo>
                    <a:pt x="16" y="46"/>
                  </a:lnTo>
                  <a:lnTo>
                    <a:pt x="8" y="46"/>
                  </a:lnTo>
                  <a:lnTo>
                    <a:pt x="3" y="49"/>
                  </a:lnTo>
                  <a:lnTo>
                    <a:pt x="3" y="49"/>
                  </a:lnTo>
                  <a:lnTo>
                    <a:pt x="0" y="49"/>
                  </a:lnTo>
                  <a:lnTo>
                    <a:pt x="3" y="51"/>
                  </a:lnTo>
                  <a:lnTo>
                    <a:pt x="3" y="54"/>
                  </a:lnTo>
                  <a:lnTo>
                    <a:pt x="3" y="54"/>
                  </a:lnTo>
                  <a:lnTo>
                    <a:pt x="3" y="57"/>
                  </a:lnTo>
                  <a:lnTo>
                    <a:pt x="3" y="57"/>
                  </a:lnTo>
                  <a:lnTo>
                    <a:pt x="0" y="57"/>
                  </a:lnTo>
                  <a:lnTo>
                    <a:pt x="0" y="57"/>
                  </a:lnTo>
                  <a:lnTo>
                    <a:pt x="0" y="59"/>
                  </a:lnTo>
                  <a:lnTo>
                    <a:pt x="3" y="62"/>
                  </a:lnTo>
                  <a:lnTo>
                    <a:pt x="3" y="67"/>
                  </a:lnTo>
                  <a:lnTo>
                    <a:pt x="3" y="70"/>
                  </a:lnTo>
                  <a:lnTo>
                    <a:pt x="3" y="73"/>
                  </a:lnTo>
                  <a:lnTo>
                    <a:pt x="3" y="73"/>
                  </a:lnTo>
                  <a:lnTo>
                    <a:pt x="6" y="75"/>
                  </a:lnTo>
                  <a:lnTo>
                    <a:pt x="6" y="75"/>
                  </a:lnTo>
                  <a:lnTo>
                    <a:pt x="6" y="78"/>
                  </a:lnTo>
                  <a:lnTo>
                    <a:pt x="6" y="81"/>
                  </a:lnTo>
                  <a:lnTo>
                    <a:pt x="6" y="81"/>
                  </a:lnTo>
                  <a:lnTo>
                    <a:pt x="6" y="81"/>
                  </a:lnTo>
                  <a:lnTo>
                    <a:pt x="3" y="81"/>
                  </a:lnTo>
                  <a:lnTo>
                    <a:pt x="3" y="83"/>
                  </a:lnTo>
                  <a:lnTo>
                    <a:pt x="3" y="83"/>
                  </a:lnTo>
                  <a:lnTo>
                    <a:pt x="3" y="83"/>
                  </a:lnTo>
                  <a:lnTo>
                    <a:pt x="6" y="86"/>
                  </a:lnTo>
                  <a:lnTo>
                    <a:pt x="6" y="86"/>
                  </a:lnTo>
                  <a:lnTo>
                    <a:pt x="8" y="86"/>
                  </a:lnTo>
                  <a:lnTo>
                    <a:pt x="8" y="89"/>
                  </a:lnTo>
                  <a:lnTo>
                    <a:pt x="8" y="89"/>
                  </a:lnTo>
                  <a:lnTo>
                    <a:pt x="8" y="91"/>
                  </a:lnTo>
                  <a:lnTo>
                    <a:pt x="8" y="91"/>
                  </a:lnTo>
                  <a:lnTo>
                    <a:pt x="6" y="89"/>
                  </a:lnTo>
                  <a:lnTo>
                    <a:pt x="6" y="89"/>
                  </a:lnTo>
                  <a:lnTo>
                    <a:pt x="3" y="89"/>
                  </a:lnTo>
                  <a:lnTo>
                    <a:pt x="3" y="89"/>
                  </a:lnTo>
                  <a:lnTo>
                    <a:pt x="3" y="91"/>
                  </a:lnTo>
                  <a:lnTo>
                    <a:pt x="6" y="94"/>
                  </a:lnTo>
                  <a:lnTo>
                    <a:pt x="6" y="97"/>
                  </a:lnTo>
                  <a:lnTo>
                    <a:pt x="3" y="99"/>
                  </a:lnTo>
                  <a:lnTo>
                    <a:pt x="6" y="99"/>
                  </a:lnTo>
                  <a:lnTo>
                    <a:pt x="6" y="102"/>
                  </a:lnTo>
                  <a:lnTo>
                    <a:pt x="6" y="102"/>
                  </a:lnTo>
                  <a:lnTo>
                    <a:pt x="6" y="102"/>
                  </a:lnTo>
                  <a:lnTo>
                    <a:pt x="6" y="102"/>
                  </a:lnTo>
                  <a:lnTo>
                    <a:pt x="6" y="105"/>
                  </a:lnTo>
                  <a:lnTo>
                    <a:pt x="8" y="107"/>
                  </a:lnTo>
                  <a:lnTo>
                    <a:pt x="8" y="110"/>
                  </a:lnTo>
                  <a:lnTo>
                    <a:pt x="11" y="110"/>
                  </a:lnTo>
                  <a:lnTo>
                    <a:pt x="11" y="110"/>
                  </a:lnTo>
                  <a:lnTo>
                    <a:pt x="14" y="113"/>
                  </a:lnTo>
                  <a:lnTo>
                    <a:pt x="14" y="115"/>
                  </a:lnTo>
                  <a:lnTo>
                    <a:pt x="11" y="118"/>
                  </a:lnTo>
                  <a:lnTo>
                    <a:pt x="14" y="121"/>
                  </a:lnTo>
                  <a:lnTo>
                    <a:pt x="16" y="121"/>
                  </a:lnTo>
                  <a:lnTo>
                    <a:pt x="16" y="123"/>
                  </a:lnTo>
                  <a:lnTo>
                    <a:pt x="14" y="126"/>
                  </a:lnTo>
                  <a:lnTo>
                    <a:pt x="14" y="126"/>
                  </a:lnTo>
                  <a:lnTo>
                    <a:pt x="16" y="129"/>
                  </a:lnTo>
                  <a:lnTo>
                    <a:pt x="16" y="131"/>
                  </a:lnTo>
                  <a:lnTo>
                    <a:pt x="16" y="129"/>
                  </a:lnTo>
                  <a:lnTo>
                    <a:pt x="16" y="126"/>
                  </a:lnTo>
                  <a:lnTo>
                    <a:pt x="16" y="123"/>
                  </a:lnTo>
                  <a:lnTo>
                    <a:pt x="16" y="123"/>
                  </a:lnTo>
                  <a:lnTo>
                    <a:pt x="19" y="123"/>
                  </a:lnTo>
                  <a:lnTo>
                    <a:pt x="19" y="131"/>
                  </a:lnTo>
                  <a:lnTo>
                    <a:pt x="19" y="131"/>
                  </a:lnTo>
                  <a:lnTo>
                    <a:pt x="22" y="131"/>
                  </a:lnTo>
                  <a:lnTo>
                    <a:pt x="22" y="134"/>
                  </a:lnTo>
                  <a:lnTo>
                    <a:pt x="25" y="137"/>
                  </a:lnTo>
                  <a:lnTo>
                    <a:pt x="25" y="142"/>
                  </a:lnTo>
                  <a:lnTo>
                    <a:pt x="25" y="142"/>
                  </a:lnTo>
                  <a:lnTo>
                    <a:pt x="27" y="145"/>
                  </a:lnTo>
                  <a:lnTo>
                    <a:pt x="27" y="147"/>
                  </a:lnTo>
                  <a:lnTo>
                    <a:pt x="22" y="155"/>
                  </a:lnTo>
                  <a:lnTo>
                    <a:pt x="19" y="158"/>
                  </a:lnTo>
                  <a:lnTo>
                    <a:pt x="22" y="161"/>
                  </a:lnTo>
                  <a:lnTo>
                    <a:pt x="22" y="177"/>
                  </a:lnTo>
                  <a:lnTo>
                    <a:pt x="25" y="182"/>
                  </a:lnTo>
                  <a:lnTo>
                    <a:pt x="25" y="179"/>
                  </a:lnTo>
                  <a:lnTo>
                    <a:pt x="25" y="179"/>
                  </a:lnTo>
                  <a:lnTo>
                    <a:pt x="27" y="179"/>
                  </a:lnTo>
                  <a:lnTo>
                    <a:pt x="27" y="179"/>
                  </a:lnTo>
                  <a:lnTo>
                    <a:pt x="27" y="179"/>
                  </a:lnTo>
                  <a:lnTo>
                    <a:pt x="27" y="182"/>
                  </a:lnTo>
                  <a:lnTo>
                    <a:pt x="27" y="185"/>
                  </a:lnTo>
                  <a:lnTo>
                    <a:pt x="30" y="190"/>
                  </a:lnTo>
                  <a:lnTo>
                    <a:pt x="30" y="193"/>
                  </a:lnTo>
                  <a:lnTo>
                    <a:pt x="33" y="195"/>
                  </a:lnTo>
                  <a:lnTo>
                    <a:pt x="33" y="198"/>
                  </a:lnTo>
                  <a:lnTo>
                    <a:pt x="35" y="198"/>
                  </a:lnTo>
                  <a:lnTo>
                    <a:pt x="35" y="201"/>
                  </a:lnTo>
                  <a:lnTo>
                    <a:pt x="35" y="201"/>
                  </a:lnTo>
                  <a:lnTo>
                    <a:pt x="35" y="203"/>
                  </a:lnTo>
                  <a:lnTo>
                    <a:pt x="35" y="206"/>
                  </a:lnTo>
                  <a:lnTo>
                    <a:pt x="35" y="206"/>
                  </a:lnTo>
                  <a:lnTo>
                    <a:pt x="38" y="209"/>
                  </a:lnTo>
                  <a:lnTo>
                    <a:pt x="41" y="209"/>
                  </a:lnTo>
                  <a:lnTo>
                    <a:pt x="41" y="212"/>
                  </a:lnTo>
                  <a:lnTo>
                    <a:pt x="41" y="214"/>
                  </a:lnTo>
                  <a:lnTo>
                    <a:pt x="41" y="214"/>
                  </a:lnTo>
                  <a:lnTo>
                    <a:pt x="41" y="217"/>
                  </a:lnTo>
                  <a:lnTo>
                    <a:pt x="41" y="230"/>
                  </a:lnTo>
                  <a:lnTo>
                    <a:pt x="41" y="230"/>
                  </a:lnTo>
                  <a:lnTo>
                    <a:pt x="41" y="233"/>
                  </a:lnTo>
                  <a:lnTo>
                    <a:pt x="41" y="236"/>
                  </a:lnTo>
                  <a:lnTo>
                    <a:pt x="41" y="238"/>
                  </a:lnTo>
                  <a:lnTo>
                    <a:pt x="41" y="238"/>
                  </a:lnTo>
                  <a:lnTo>
                    <a:pt x="43" y="241"/>
                  </a:lnTo>
                  <a:lnTo>
                    <a:pt x="43" y="241"/>
                  </a:lnTo>
                  <a:lnTo>
                    <a:pt x="43" y="241"/>
                  </a:lnTo>
                  <a:lnTo>
                    <a:pt x="43" y="241"/>
                  </a:lnTo>
                  <a:lnTo>
                    <a:pt x="46" y="238"/>
                  </a:lnTo>
                  <a:lnTo>
                    <a:pt x="46" y="238"/>
                  </a:lnTo>
                  <a:lnTo>
                    <a:pt x="46" y="238"/>
                  </a:lnTo>
                  <a:lnTo>
                    <a:pt x="46" y="238"/>
                  </a:lnTo>
                  <a:lnTo>
                    <a:pt x="46" y="236"/>
                  </a:lnTo>
                  <a:lnTo>
                    <a:pt x="46" y="233"/>
                  </a:lnTo>
                  <a:lnTo>
                    <a:pt x="46" y="233"/>
                  </a:lnTo>
                  <a:lnTo>
                    <a:pt x="46" y="233"/>
                  </a:lnTo>
                  <a:lnTo>
                    <a:pt x="46" y="233"/>
                  </a:lnTo>
                  <a:lnTo>
                    <a:pt x="49" y="230"/>
                  </a:lnTo>
                  <a:lnTo>
                    <a:pt x="49" y="230"/>
                  </a:lnTo>
                  <a:lnTo>
                    <a:pt x="49" y="230"/>
                  </a:lnTo>
                  <a:lnTo>
                    <a:pt x="49" y="230"/>
                  </a:lnTo>
                  <a:lnTo>
                    <a:pt x="51" y="230"/>
                  </a:lnTo>
                  <a:lnTo>
                    <a:pt x="51" y="230"/>
                  </a:lnTo>
                  <a:lnTo>
                    <a:pt x="54" y="230"/>
                  </a:lnTo>
                  <a:lnTo>
                    <a:pt x="54" y="233"/>
                  </a:lnTo>
                  <a:lnTo>
                    <a:pt x="57" y="236"/>
                  </a:lnTo>
                  <a:lnTo>
                    <a:pt x="57" y="238"/>
                  </a:lnTo>
                  <a:lnTo>
                    <a:pt x="59" y="238"/>
                  </a:lnTo>
                  <a:lnTo>
                    <a:pt x="59" y="238"/>
                  </a:lnTo>
                  <a:lnTo>
                    <a:pt x="59" y="238"/>
                  </a:lnTo>
                  <a:lnTo>
                    <a:pt x="62" y="241"/>
                  </a:lnTo>
                  <a:lnTo>
                    <a:pt x="62" y="244"/>
                  </a:lnTo>
                  <a:lnTo>
                    <a:pt x="62" y="246"/>
                  </a:lnTo>
                  <a:lnTo>
                    <a:pt x="62" y="249"/>
                  </a:lnTo>
                  <a:lnTo>
                    <a:pt x="65" y="254"/>
                  </a:lnTo>
                  <a:lnTo>
                    <a:pt x="65" y="262"/>
                  </a:lnTo>
                  <a:lnTo>
                    <a:pt x="67" y="270"/>
                  </a:lnTo>
                  <a:lnTo>
                    <a:pt x="70" y="278"/>
                  </a:lnTo>
                  <a:lnTo>
                    <a:pt x="73" y="294"/>
                  </a:lnTo>
                  <a:lnTo>
                    <a:pt x="75" y="302"/>
                  </a:lnTo>
                  <a:lnTo>
                    <a:pt x="75" y="310"/>
                  </a:lnTo>
                  <a:lnTo>
                    <a:pt x="78" y="316"/>
                  </a:lnTo>
                  <a:lnTo>
                    <a:pt x="78" y="321"/>
                  </a:lnTo>
                  <a:lnTo>
                    <a:pt x="81" y="326"/>
                  </a:lnTo>
                  <a:lnTo>
                    <a:pt x="81" y="329"/>
                  </a:lnTo>
                  <a:lnTo>
                    <a:pt x="81" y="329"/>
                  </a:lnTo>
                  <a:lnTo>
                    <a:pt x="81" y="332"/>
                  </a:lnTo>
                  <a:lnTo>
                    <a:pt x="81" y="334"/>
                  </a:lnTo>
                  <a:lnTo>
                    <a:pt x="81" y="340"/>
                  </a:lnTo>
                  <a:lnTo>
                    <a:pt x="83" y="342"/>
                  </a:lnTo>
                  <a:lnTo>
                    <a:pt x="86" y="345"/>
                  </a:lnTo>
                  <a:lnTo>
                    <a:pt x="102" y="342"/>
                  </a:lnTo>
                  <a:lnTo>
                    <a:pt x="107" y="342"/>
                  </a:lnTo>
                  <a:lnTo>
                    <a:pt x="113" y="340"/>
                  </a:lnTo>
                  <a:lnTo>
                    <a:pt x="115" y="340"/>
                  </a:lnTo>
                  <a:lnTo>
                    <a:pt x="121" y="337"/>
                  </a:lnTo>
                  <a:lnTo>
                    <a:pt x="126" y="337"/>
                  </a:lnTo>
                  <a:lnTo>
                    <a:pt x="131" y="337"/>
                  </a:lnTo>
                  <a:lnTo>
                    <a:pt x="137" y="334"/>
                  </a:lnTo>
                  <a:lnTo>
                    <a:pt x="142" y="334"/>
                  </a:lnTo>
                  <a:lnTo>
                    <a:pt x="147" y="334"/>
                  </a:lnTo>
                  <a:lnTo>
                    <a:pt x="153" y="332"/>
                  </a:lnTo>
                  <a:lnTo>
                    <a:pt x="158" y="332"/>
                  </a:lnTo>
                  <a:lnTo>
                    <a:pt x="163" y="329"/>
                  </a:lnTo>
                  <a:lnTo>
                    <a:pt x="169" y="329"/>
                  </a:lnTo>
                  <a:lnTo>
                    <a:pt x="169" y="329"/>
                  </a:lnTo>
                  <a:lnTo>
                    <a:pt x="166" y="324"/>
                  </a:lnTo>
                  <a:lnTo>
                    <a:pt x="163" y="324"/>
                  </a:lnTo>
                  <a:lnTo>
                    <a:pt x="158" y="318"/>
                  </a:lnTo>
                  <a:lnTo>
                    <a:pt x="155" y="318"/>
                  </a:lnTo>
                  <a:lnTo>
                    <a:pt x="155" y="316"/>
                  </a:lnTo>
                  <a:lnTo>
                    <a:pt x="155" y="316"/>
                  </a:lnTo>
                  <a:lnTo>
                    <a:pt x="153" y="313"/>
                  </a:lnTo>
                  <a:lnTo>
                    <a:pt x="153" y="310"/>
                  </a:lnTo>
                  <a:lnTo>
                    <a:pt x="153" y="310"/>
                  </a:lnTo>
                  <a:lnTo>
                    <a:pt x="153" y="308"/>
                  </a:lnTo>
                  <a:lnTo>
                    <a:pt x="155" y="305"/>
                  </a:lnTo>
                  <a:lnTo>
                    <a:pt x="153" y="300"/>
                  </a:lnTo>
                  <a:lnTo>
                    <a:pt x="153" y="297"/>
                  </a:lnTo>
                  <a:lnTo>
                    <a:pt x="155" y="297"/>
                  </a:lnTo>
                  <a:lnTo>
                    <a:pt x="158" y="294"/>
                  </a:lnTo>
                  <a:lnTo>
                    <a:pt x="158" y="292"/>
                  </a:lnTo>
                  <a:lnTo>
                    <a:pt x="155" y="286"/>
                  </a:lnTo>
                  <a:lnTo>
                    <a:pt x="155" y="278"/>
                  </a:lnTo>
                  <a:lnTo>
                    <a:pt x="155" y="276"/>
                  </a:lnTo>
                  <a:lnTo>
                    <a:pt x="155" y="270"/>
                  </a:lnTo>
                  <a:lnTo>
                    <a:pt x="153" y="270"/>
                  </a:lnTo>
                  <a:lnTo>
                    <a:pt x="153" y="265"/>
                  </a:lnTo>
                  <a:lnTo>
                    <a:pt x="153" y="262"/>
                  </a:lnTo>
                  <a:lnTo>
                    <a:pt x="153" y="262"/>
                  </a:lnTo>
                  <a:lnTo>
                    <a:pt x="153" y="262"/>
                  </a:lnTo>
                  <a:lnTo>
                    <a:pt x="153" y="260"/>
                  </a:lnTo>
                  <a:lnTo>
                    <a:pt x="153" y="260"/>
                  </a:lnTo>
                  <a:lnTo>
                    <a:pt x="153" y="260"/>
                  </a:lnTo>
                  <a:lnTo>
                    <a:pt x="153" y="260"/>
                  </a:lnTo>
                  <a:lnTo>
                    <a:pt x="153" y="257"/>
                  </a:lnTo>
                  <a:lnTo>
                    <a:pt x="153" y="257"/>
                  </a:lnTo>
                  <a:lnTo>
                    <a:pt x="153" y="254"/>
                  </a:lnTo>
                  <a:lnTo>
                    <a:pt x="153" y="254"/>
                  </a:lnTo>
                  <a:lnTo>
                    <a:pt x="155" y="252"/>
                  </a:lnTo>
                  <a:lnTo>
                    <a:pt x="153" y="249"/>
                  </a:lnTo>
                  <a:lnTo>
                    <a:pt x="153" y="244"/>
                  </a:lnTo>
                  <a:lnTo>
                    <a:pt x="147" y="220"/>
                  </a:lnTo>
                  <a:lnTo>
                    <a:pt x="147" y="217"/>
                  </a:lnTo>
                  <a:lnTo>
                    <a:pt x="147" y="214"/>
                  </a:lnTo>
                  <a:lnTo>
                    <a:pt x="150" y="209"/>
                  </a:lnTo>
                  <a:lnTo>
                    <a:pt x="150" y="206"/>
                  </a:lnTo>
                  <a:lnTo>
                    <a:pt x="150" y="203"/>
                  </a:lnTo>
                  <a:lnTo>
                    <a:pt x="150" y="198"/>
                  </a:lnTo>
                  <a:lnTo>
                    <a:pt x="150" y="193"/>
                  </a:lnTo>
                  <a:lnTo>
                    <a:pt x="150" y="193"/>
                  </a:lnTo>
                  <a:lnTo>
                    <a:pt x="153" y="190"/>
                  </a:lnTo>
                  <a:lnTo>
                    <a:pt x="153" y="187"/>
                  </a:lnTo>
                  <a:lnTo>
                    <a:pt x="158" y="182"/>
                  </a:lnTo>
                  <a:lnTo>
                    <a:pt x="158" y="179"/>
                  </a:lnTo>
                  <a:lnTo>
                    <a:pt x="158" y="177"/>
                  </a:lnTo>
                  <a:lnTo>
                    <a:pt x="158" y="174"/>
                  </a:lnTo>
                  <a:lnTo>
                    <a:pt x="158" y="171"/>
                  </a:lnTo>
                  <a:lnTo>
                    <a:pt x="158" y="166"/>
                  </a:lnTo>
                  <a:lnTo>
                    <a:pt x="158" y="163"/>
                  </a:lnTo>
                  <a:lnTo>
                    <a:pt x="163" y="153"/>
                  </a:lnTo>
                  <a:lnTo>
                    <a:pt x="163" y="153"/>
                  </a:lnTo>
                  <a:lnTo>
                    <a:pt x="161" y="153"/>
                  </a:lnTo>
                  <a:lnTo>
                    <a:pt x="161" y="150"/>
                  </a:lnTo>
                  <a:lnTo>
                    <a:pt x="161" y="150"/>
                  </a:lnTo>
                  <a:lnTo>
                    <a:pt x="161" y="147"/>
                  </a:lnTo>
                  <a:lnTo>
                    <a:pt x="163" y="139"/>
                  </a:lnTo>
                  <a:lnTo>
                    <a:pt x="163" y="134"/>
                  </a:lnTo>
                  <a:lnTo>
                    <a:pt x="161" y="129"/>
                  </a:lnTo>
                  <a:lnTo>
                    <a:pt x="158" y="118"/>
                  </a:lnTo>
                  <a:lnTo>
                    <a:pt x="158" y="110"/>
                  </a:lnTo>
                  <a:lnTo>
                    <a:pt x="158" y="105"/>
                  </a:lnTo>
                  <a:lnTo>
                    <a:pt x="161" y="102"/>
                  </a:lnTo>
                  <a:lnTo>
                    <a:pt x="166" y="99"/>
                  </a:lnTo>
                  <a:lnTo>
                    <a:pt x="171" y="99"/>
                  </a:lnTo>
                  <a:lnTo>
                    <a:pt x="174" y="97"/>
                  </a:lnTo>
                  <a:lnTo>
                    <a:pt x="177" y="97"/>
                  </a:lnTo>
                  <a:lnTo>
                    <a:pt x="177" y="91"/>
                  </a:lnTo>
                  <a:lnTo>
                    <a:pt x="179" y="89"/>
                  </a:lnTo>
                  <a:lnTo>
                    <a:pt x="187" y="81"/>
                  </a:lnTo>
                  <a:lnTo>
                    <a:pt x="187" y="81"/>
                  </a:lnTo>
                  <a:lnTo>
                    <a:pt x="190" y="78"/>
                  </a:lnTo>
                  <a:lnTo>
                    <a:pt x="190" y="75"/>
                  </a:lnTo>
                  <a:lnTo>
                    <a:pt x="193" y="73"/>
                  </a:lnTo>
                  <a:lnTo>
                    <a:pt x="195" y="67"/>
                  </a:lnTo>
                  <a:lnTo>
                    <a:pt x="193" y="67"/>
                  </a:lnTo>
                  <a:lnTo>
                    <a:pt x="193" y="65"/>
                  </a:lnTo>
                  <a:lnTo>
                    <a:pt x="193" y="62"/>
                  </a:lnTo>
                  <a:lnTo>
                    <a:pt x="193" y="59"/>
                  </a:lnTo>
                  <a:lnTo>
                    <a:pt x="195" y="59"/>
                  </a:lnTo>
                  <a:lnTo>
                    <a:pt x="195" y="59"/>
                  </a:lnTo>
                  <a:lnTo>
                    <a:pt x="195" y="57"/>
                  </a:lnTo>
                  <a:lnTo>
                    <a:pt x="195" y="57"/>
                  </a:lnTo>
                  <a:lnTo>
                    <a:pt x="195" y="54"/>
                  </a:lnTo>
                  <a:lnTo>
                    <a:pt x="193" y="54"/>
                  </a:lnTo>
                  <a:lnTo>
                    <a:pt x="187" y="46"/>
                  </a:lnTo>
                  <a:lnTo>
                    <a:pt x="187" y="46"/>
                  </a:lnTo>
                  <a:lnTo>
                    <a:pt x="187" y="43"/>
                  </a:lnTo>
                  <a:lnTo>
                    <a:pt x="185" y="41"/>
                  </a:lnTo>
                  <a:lnTo>
                    <a:pt x="182" y="41"/>
                  </a:lnTo>
                  <a:lnTo>
                    <a:pt x="182" y="35"/>
                  </a:lnTo>
                  <a:lnTo>
                    <a:pt x="185" y="30"/>
                  </a:lnTo>
                  <a:lnTo>
                    <a:pt x="187" y="24"/>
                  </a:lnTo>
                  <a:lnTo>
                    <a:pt x="190" y="16"/>
                  </a:lnTo>
                  <a:lnTo>
                    <a:pt x="190" y="14"/>
                  </a:lnTo>
                  <a:lnTo>
                    <a:pt x="187" y="11"/>
                  </a:lnTo>
                  <a:lnTo>
                    <a:pt x="187" y="8"/>
                  </a:lnTo>
                  <a:lnTo>
                    <a:pt x="185" y="6"/>
                  </a:lnTo>
                  <a:lnTo>
                    <a:pt x="185" y="3"/>
                  </a:lnTo>
                  <a:lnTo>
                    <a:pt x="185" y="0"/>
                  </a:lnTo>
                  <a:lnTo>
                    <a:pt x="187" y="0"/>
                  </a:lnTo>
                  <a:lnTo>
                    <a:pt x="177" y="3"/>
                  </a:lnTo>
                  <a:lnTo>
                    <a:pt x="166" y="6"/>
                  </a:lnTo>
                  <a:lnTo>
                    <a:pt x="155" y="8"/>
                  </a:lnTo>
                  <a:lnTo>
                    <a:pt x="147" y="11"/>
                  </a:lnTo>
                  <a:lnTo>
                    <a:pt x="137" y="14"/>
                  </a:lnTo>
                  <a:lnTo>
                    <a:pt x="126" y="16"/>
                  </a:lnTo>
                  <a:lnTo>
                    <a:pt x="118" y="19"/>
                  </a:lnTo>
                  <a:lnTo>
                    <a:pt x="107" y="22"/>
                  </a:lnTo>
                  <a:lnTo>
                    <a:pt x="97" y="24"/>
                  </a:lnTo>
                  <a:lnTo>
                    <a:pt x="86" y="27"/>
                  </a:lnTo>
                  <a:lnTo>
                    <a:pt x="78" y="30"/>
                  </a:lnTo>
                  <a:lnTo>
                    <a:pt x="67" y="33"/>
                  </a:lnTo>
                  <a:lnTo>
                    <a:pt x="46" y="38"/>
                  </a:lnTo>
                  <a:lnTo>
                    <a:pt x="38" y="41"/>
                  </a:lnTo>
                  <a:lnTo>
                    <a:pt x="27" y="41"/>
                  </a:lnTo>
                  <a:lnTo>
                    <a:pt x="27" y="41"/>
                  </a:lnTo>
                  <a:lnTo>
                    <a:pt x="25" y="43"/>
                  </a:lnTo>
                  <a:lnTo>
                    <a:pt x="22" y="43"/>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12" name="Freeform 10">
              <a:extLst>
                <a:ext uri="{FF2B5EF4-FFF2-40B4-BE49-F238E27FC236}">
                  <a16:creationId xmlns="" xmlns:a16="http://schemas.microsoft.com/office/drawing/2014/main" id="{98361116-FEC6-4B62-95B3-545E08C72A64}"/>
                </a:ext>
              </a:extLst>
            </p:cNvPr>
            <p:cNvSpPr>
              <a:spLocks noEditPoints="1"/>
            </p:cNvSpPr>
            <p:nvPr/>
          </p:nvSpPr>
          <p:spPr bwMode="auto">
            <a:xfrm>
              <a:off x="5492" y="1354"/>
              <a:ext cx="896" cy="495"/>
            </a:xfrm>
            <a:custGeom>
              <a:avLst/>
              <a:gdLst>
                <a:gd name="T0" fmla="*/ 867 w 896"/>
                <a:gd name="T1" fmla="*/ 217 h 495"/>
                <a:gd name="T2" fmla="*/ 853 w 896"/>
                <a:gd name="T3" fmla="*/ 145 h 495"/>
                <a:gd name="T4" fmla="*/ 848 w 896"/>
                <a:gd name="T5" fmla="*/ 169 h 495"/>
                <a:gd name="T6" fmla="*/ 835 w 896"/>
                <a:gd name="T7" fmla="*/ 196 h 495"/>
                <a:gd name="T8" fmla="*/ 835 w 896"/>
                <a:gd name="T9" fmla="*/ 222 h 495"/>
                <a:gd name="T10" fmla="*/ 845 w 896"/>
                <a:gd name="T11" fmla="*/ 262 h 495"/>
                <a:gd name="T12" fmla="*/ 853 w 896"/>
                <a:gd name="T13" fmla="*/ 222 h 495"/>
                <a:gd name="T14" fmla="*/ 867 w 896"/>
                <a:gd name="T15" fmla="*/ 204 h 495"/>
                <a:gd name="T16" fmla="*/ 880 w 896"/>
                <a:gd name="T17" fmla="*/ 131 h 495"/>
                <a:gd name="T18" fmla="*/ 885 w 896"/>
                <a:gd name="T19" fmla="*/ 147 h 495"/>
                <a:gd name="T20" fmla="*/ 813 w 896"/>
                <a:gd name="T21" fmla="*/ 302 h 495"/>
                <a:gd name="T22" fmla="*/ 792 w 896"/>
                <a:gd name="T23" fmla="*/ 305 h 495"/>
                <a:gd name="T24" fmla="*/ 763 w 896"/>
                <a:gd name="T25" fmla="*/ 273 h 495"/>
                <a:gd name="T26" fmla="*/ 699 w 896"/>
                <a:gd name="T27" fmla="*/ 270 h 495"/>
                <a:gd name="T28" fmla="*/ 720 w 896"/>
                <a:gd name="T29" fmla="*/ 268 h 495"/>
                <a:gd name="T30" fmla="*/ 744 w 896"/>
                <a:gd name="T31" fmla="*/ 268 h 495"/>
                <a:gd name="T32" fmla="*/ 779 w 896"/>
                <a:gd name="T33" fmla="*/ 284 h 495"/>
                <a:gd name="T34" fmla="*/ 808 w 896"/>
                <a:gd name="T35" fmla="*/ 273 h 495"/>
                <a:gd name="T36" fmla="*/ 755 w 896"/>
                <a:gd name="T37" fmla="*/ 244 h 495"/>
                <a:gd name="T38" fmla="*/ 779 w 896"/>
                <a:gd name="T39" fmla="*/ 254 h 495"/>
                <a:gd name="T40" fmla="*/ 787 w 896"/>
                <a:gd name="T41" fmla="*/ 238 h 495"/>
                <a:gd name="T42" fmla="*/ 800 w 896"/>
                <a:gd name="T43" fmla="*/ 228 h 495"/>
                <a:gd name="T44" fmla="*/ 787 w 896"/>
                <a:gd name="T45" fmla="*/ 212 h 495"/>
                <a:gd name="T46" fmla="*/ 747 w 896"/>
                <a:gd name="T47" fmla="*/ 190 h 495"/>
                <a:gd name="T48" fmla="*/ 715 w 896"/>
                <a:gd name="T49" fmla="*/ 169 h 495"/>
                <a:gd name="T50" fmla="*/ 696 w 896"/>
                <a:gd name="T51" fmla="*/ 150 h 495"/>
                <a:gd name="T52" fmla="*/ 749 w 896"/>
                <a:gd name="T53" fmla="*/ 188 h 495"/>
                <a:gd name="T54" fmla="*/ 776 w 896"/>
                <a:gd name="T55" fmla="*/ 204 h 495"/>
                <a:gd name="T56" fmla="*/ 787 w 896"/>
                <a:gd name="T57" fmla="*/ 190 h 495"/>
                <a:gd name="T58" fmla="*/ 784 w 896"/>
                <a:gd name="T59" fmla="*/ 161 h 495"/>
                <a:gd name="T60" fmla="*/ 747 w 896"/>
                <a:gd name="T61" fmla="*/ 145 h 495"/>
                <a:gd name="T62" fmla="*/ 704 w 896"/>
                <a:gd name="T63" fmla="*/ 139 h 495"/>
                <a:gd name="T64" fmla="*/ 691 w 896"/>
                <a:gd name="T65" fmla="*/ 115 h 495"/>
                <a:gd name="T66" fmla="*/ 659 w 896"/>
                <a:gd name="T67" fmla="*/ 115 h 495"/>
                <a:gd name="T68" fmla="*/ 669 w 896"/>
                <a:gd name="T69" fmla="*/ 86 h 495"/>
                <a:gd name="T70" fmla="*/ 675 w 896"/>
                <a:gd name="T71" fmla="*/ 51 h 495"/>
                <a:gd name="T72" fmla="*/ 629 w 896"/>
                <a:gd name="T73" fmla="*/ 33 h 495"/>
                <a:gd name="T74" fmla="*/ 587 w 896"/>
                <a:gd name="T75" fmla="*/ 6 h 495"/>
                <a:gd name="T76" fmla="*/ 517 w 896"/>
                <a:gd name="T77" fmla="*/ 6 h 495"/>
                <a:gd name="T78" fmla="*/ 517 w 896"/>
                <a:gd name="T79" fmla="*/ 38 h 495"/>
                <a:gd name="T80" fmla="*/ 501 w 896"/>
                <a:gd name="T81" fmla="*/ 73 h 495"/>
                <a:gd name="T82" fmla="*/ 485 w 896"/>
                <a:gd name="T83" fmla="*/ 91 h 495"/>
                <a:gd name="T84" fmla="*/ 459 w 896"/>
                <a:gd name="T85" fmla="*/ 123 h 495"/>
                <a:gd name="T86" fmla="*/ 443 w 896"/>
                <a:gd name="T87" fmla="*/ 161 h 495"/>
                <a:gd name="T88" fmla="*/ 400 w 896"/>
                <a:gd name="T89" fmla="*/ 147 h 495"/>
                <a:gd name="T90" fmla="*/ 392 w 896"/>
                <a:gd name="T91" fmla="*/ 182 h 495"/>
                <a:gd name="T92" fmla="*/ 381 w 896"/>
                <a:gd name="T93" fmla="*/ 212 h 495"/>
                <a:gd name="T94" fmla="*/ 360 w 896"/>
                <a:gd name="T95" fmla="*/ 289 h 495"/>
                <a:gd name="T96" fmla="*/ 355 w 896"/>
                <a:gd name="T97" fmla="*/ 308 h 495"/>
                <a:gd name="T98" fmla="*/ 320 w 896"/>
                <a:gd name="T99" fmla="*/ 326 h 495"/>
                <a:gd name="T100" fmla="*/ 296 w 896"/>
                <a:gd name="T101" fmla="*/ 329 h 495"/>
                <a:gd name="T102" fmla="*/ 282 w 896"/>
                <a:gd name="T103" fmla="*/ 350 h 495"/>
                <a:gd name="T104" fmla="*/ 240 w 896"/>
                <a:gd name="T105" fmla="*/ 353 h 495"/>
                <a:gd name="T106" fmla="*/ 205 w 896"/>
                <a:gd name="T107" fmla="*/ 372 h 495"/>
                <a:gd name="T108" fmla="*/ 178 w 896"/>
                <a:gd name="T109" fmla="*/ 359 h 495"/>
                <a:gd name="T110" fmla="*/ 173 w 896"/>
                <a:gd name="T111" fmla="*/ 340 h 495"/>
                <a:gd name="T112" fmla="*/ 98 w 896"/>
                <a:gd name="T113" fmla="*/ 412 h 495"/>
                <a:gd name="T114" fmla="*/ 82 w 896"/>
                <a:gd name="T115" fmla="*/ 441 h 495"/>
                <a:gd name="T116" fmla="*/ 29 w 896"/>
                <a:gd name="T117" fmla="*/ 479 h 495"/>
                <a:gd name="T118" fmla="*/ 186 w 896"/>
                <a:gd name="T119" fmla="*/ 465 h 495"/>
                <a:gd name="T120" fmla="*/ 405 w 896"/>
                <a:gd name="T121" fmla="*/ 431 h 495"/>
                <a:gd name="T122" fmla="*/ 816 w 896"/>
                <a:gd name="T123" fmla="*/ 353 h 495"/>
                <a:gd name="T124" fmla="*/ 869 w 896"/>
                <a:gd name="T125" fmla="*/ 334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6" h="495">
                  <a:moveTo>
                    <a:pt x="864" y="340"/>
                  </a:moveTo>
                  <a:lnTo>
                    <a:pt x="864" y="342"/>
                  </a:lnTo>
                  <a:lnTo>
                    <a:pt x="864" y="342"/>
                  </a:lnTo>
                  <a:lnTo>
                    <a:pt x="864" y="342"/>
                  </a:lnTo>
                  <a:lnTo>
                    <a:pt x="867" y="342"/>
                  </a:lnTo>
                  <a:lnTo>
                    <a:pt x="867" y="342"/>
                  </a:lnTo>
                  <a:lnTo>
                    <a:pt x="867" y="340"/>
                  </a:lnTo>
                  <a:lnTo>
                    <a:pt x="864" y="340"/>
                  </a:lnTo>
                  <a:close/>
                  <a:moveTo>
                    <a:pt x="856" y="246"/>
                  </a:moveTo>
                  <a:lnTo>
                    <a:pt x="853" y="246"/>
                  </a:lnTo>
                  <a:lnTo>
                    <a:pt x="856" y="249"/>
                  </a:lnTo>
                  <a:lnTo>
                    <a:pt x="859" y="246"/>
                  </a:lnTo>
                  <a:lnTo>
                    <a:pt x="859" y="244"/>
                  </a:lnTo>
                  <a:lnTo>
                    <a:pt x="859" y="241"/>
                  </a:lnTo>
                  <a:lnTo>
                    <a:pt x="859" y="236"/>
                  </a:lnTo>
                  <a:lnTo>
                    <a:pt x="859" y="236"/>
                  </a:lnTo>
                  <a:lnTo>
                    <a:pt x="859" y="238"/>
                  </a:lnTo>
                  <a:lnTo>
                    <a:pt x="859" y="241"/>
                  </a:lnTo>
                  <a:lnTo>
                    <a:pt x="856" y="244"/>
                  </a:lnTo>
                  <a:lnTo>
                    <a:pt x="856" y="246"/>
                  </a:lnTo>
                  <a:close/>
                  <a:moveTo>
                    <a:pt x="867" y="217"/>
                  </a:moveTo>
                  <a:lnTo>
                    <a:pt x="867" y="214"/>
                  </a:lnTo>
                  <a:lnTo>
                    <a:pt x="867" y="212"/>
                  </a:lnTo>
                  <a:lnTo>
                    <a:pt x="867" y="212"/>
                  </a:lnTo>
                  <a:lnTo>
                    <a:pt x="864" y="212"/>
                  </a:lnTo>
                  <a:lnTo>
                    <a:pt x="864" y="220"/>
                  </a:lnTo>
                  <a:lnTo>
                    <a:pt x="864" y="222"/>
                  </a:lnTo>
                  <a:lnTo>
                    <a:pt x="864" y="222"/>
                  </a:lnTo>
                  <a:lnTo>
                    <a:pt x="864" y="222"/>
                  </a:lnTo>
                  <a:lnTo>
                    <a:pt x="867" y="217"/>
                  </a:lnTo>
                  <a:close/>
                  <a:moveTo>
                    <a:pt x="880" y="129"/>
                  </a:moveTo>
                  <a:lnTo>
                    <a:pt x="877" y="129"/>
                  </a:lnTo>
                  <a:lnTo>
                    <a:pt x="872" y="131"/>
                  </a:lnTo>
                  <a:lnTo>
                    <a:pt x="867" y="134"/>
                  </a:lnTo>
                  <a:lnTo>
                    <a:pt x="861" y="134"/>
                  </a:lnTo>
                  <a:lnTo>
                    <a:pt x="859" y="137"/>
                  </a:lnTo>
                  <a:lnTo>
                    <a:pt x="856" y="137"/>
                  </a:lnTo>
                  <a:lnTo>
                    <a:pt x="856" y="137"/>
                  </a:lnTo>
                  <a:lnTo>
                    <a:pt x="853" y="139"/>
                  </a:lnTo>
                  <a:lnTo>
                    <a:pt x="853" y="142"/>
                  </a:lnTo>
                  <a:lnTo>
                    <a:pt x="856" y="142"/>
                  </a:lnTo>
                  <a:lnTo>
                    <a:pt x="853" y="145"/>
                  </a:lnTo>
                  <a:lnTo>
                    <a:pt x="853" y="145"/>
                  </a:lnTo>
                  <a:lnTo>
                    <a:pt x="848" y="147"/>
                  </a:lnTo>
                  <a:lnTo>
                    <a:pt x="848" y="150"/>
                  </a:lnTo>
                  <a:lnTo>
                    <a:pt x="845" y="153"/>
                  </a:lnTo>
                  <a:lnTo>
                    <a:pt x="845" y="153"/>
                  </a:lnTo>
                  <a:lnTo>
                    <a:pt x="848" y="153"/>
                  </a:lnTo>
                  <a:lnTo>
                    <a:pt x="851" y="153"/>
                  </a:lnTo>
                  <a:lnTo>
                    <a:pt x="853" y="153"/>
                  </a:lnTo>
                  <a:lnTo>
                    <a:pt x="853" y="155"/>
                  </a:lnTo>
                  <a:lnTo>
                    <a:pt x="853" y="155"/>
                  </a:lnTo>
                  <a:lnTo>
                    <a:pt x="853" y="158"/>
                  </a:lnTo>
                  <a:lnTo>
                    <a:pt x="853" y="158"/>
                  </a:lnTo>
                  <a:lnTo>
                    <a:pt x="856" y="158"/>
                  </a:lnTo>
                  <a:lnTo>
                    <a:pt x="853" y="161"/>
                  </a:lnTo>
                  <a:lnTo>
                    <a:pt x="851" y="161"/>
                  </a:lnTo>
                  <a:lnTo>
                    <a:pt x="851" y="161"/>
                  </a:lnTo>
                  <a:lnTo>
                    <a:pt x="851" y="161"/>
                  </a:lnTo>
                  <a:lnTo>
                    <a:pt x="851" y="163"/>
                  </a:lnTo>
                  <a:lnTo>
                    <a:pt x="851" y="163"/>
                  </a:lnTo>
                  <a:lnTo>
                    <a:pt x="853" y="166"/>
                  </a:lnTo>
                  <a:lnTo>
                    <a:pt x="848" y="169"/>
                  </a:lnTo>
                  <a:lnTo>
                    <a:pt x="845" y="169"/>
                  </a:lnTo>
                  <a:lnTo>
                    <a:pt x="845" y="166"/>
                  </a:lnTo>
                  <a:lnTo>
                    <a:pt x="843" y="166"/>
                  </a:lnTo>
                  <a:lnTo>
                    <a:pt x="843" y="169"/>
                  </a:lnTo>
                  <a:lnTo>
                    <a:pt x="845" y="171"/>
                  </a:lnTo>
                  <a:lnTo>
                    <a:pt x="845" y="171"/>
                  </a:lnTo>
                  <a:lnTo>
                    <a:pt x="845" y="174"/>
                  </a:lnTo>
                  <a:lnTo>
                    <a:pt x="843" y="177"/>
                  </a:lnTo>
                  <a:lnTo>
                    <a:pt x="843" y="177"/>
                  </a:lnTo>
                  <a:lnTo>
                    <a:pt x="845" y="177"/>
                  </a:lnTo>
                  <a:lnTo>
                    <a:pt x="845" y="177"/>
                  </a:lnTo>
                  <a:lnTo>
                    <a:pt x="843" y="182"/>
                  </a:lnTo>
                  <a:lnTo>
                    <a:pt x="843" y="185"/>
                  </a:lnTo>
                  <a:lnTo>
                    <a:pt x="843" y="188"/>
                  </a:lnTo>
                  <a:lnTo>
                    <a:pt x="840" y="188"/>
                  </a:lnTo>
                  <a:lnTo>
                    <a:pt x="840" y="188"/>
                  </a:lnTo>
                  <a:lnTo>
                    <a:pt x="837" y="190"/>
                  </a:lnTo>
                  <a:lnTo>
                    <a:pt x="837" y="193"/>
                  </a:lnTo>
                  <a:lnTo>
                    <a:pt x="840" y="193"/>
                  </a:lnTo>
                  <a:lnTo>
                    <a:pt x="837" y="196"/>
                  </a:lnTo>
                  <a:lnTo>
                    <a:pt x="835" y="196"/>
                  </a:lnTo>
                  <a:lnTo>
                    <a:pt x="835" y="198"/>
                  </a:lnTo>
                  <a:lnTo>
                    <a:pt x="835" y="198"/>
                  </a:lnTo>
                  <a:lnTo>
                    <a:pt x="835" y="198"/>
                  </a:lnTo>
                  <a:lnTo>
                    <a:pt x="835" y="201"/>
                  </a:lnTo>
                  <a:lnTo>
                    <a:pt x="835" y="204"/>
                  </a:lnTo>
                  <a:lnTo>
                    <a:pt x="837" y="204"/>
                  </a:lnTo>
                  <a:lnTo>
                    <a:pt x="837" y="206"/>
                  </a:lnTo>
                  <a:lnTo>
                    <a:pt x="835" y="209"/>
                  </a:lnTo>
                  <a:lnTo>
                    <a:pt x="835" y="212"/>
                  </a:lnTo>
                  <a:lnTo>
                    <a:pt x="835" y="214"/>
                  </a:lnTo>
                  <a:lnTo>
                    <a:pt x="837" y="214"/>
                  </a:lnTo>
                  <a:lnTo>
                    <a:pt x="837" y="214"/>
                  </a:lnTo>
                  <a:lnTo>
                    <a:pt x="837" y="214"/>
                  </a:lnTo>
                  <a:lnTo>
                    <a:pt x="835" y="217"/>
                  </a:lnTo>
                  <a:lnTo>
                    <a:pt x="835" y="220"/>
                  </a:lnTo>
                  <a:lnTo>
                    <a:pt x="835" y="222"/>
                  </a:lnTo>
                  <a:lnTo>
                    <a:pt x="835" y="225"/>
                  </a:lnTo>
                  <a:lnTo>
                    <a:pt x="835" y="225"/>
                  </a:lnTo>
                  <a:lnTo>
                    <a:pt x="835" y="225"/>
                  </a:lnTo>
                  <a:lnTo>
                    <a:pt x="835" y="222"/>
                  </a:lnTo>
                  <a:lnTo>
                    <a:pt x="835" y="222"/>
                  </a:lnTo>
                  <a:lnTo>
                    <a:pt x="837" y="222"/>
                  </a:lnTo>
                  <a:lnTo>
                    <a:pt x="837" y="225"/>
                  </a:lnTo>
                  <a:lnTo>
                    <a:pt x="835" y="228"/>
                  </a:lnTo>
                  <a:lnTo>
                    <a:pt x="835" y="228"/>
                  </a:lnTo>
                  <a:lnTo>
                    <a:pt x="835" y="230"/>
                  </a:lnTo>
                  <a:lnTo>
                    <a:pt x="835" y="230"/>
                  </a:lnTo>
                  <a:lnTo>
                    <a:pt x="835" y="233"/>
                  </a:lnTo>
                  <a:lnTo>
                    <a:pt x="832" y="241"/>
                  </a:lnTo>
                  <a:lnTo>
                    <a:pt x="835" y="238"/>
                  </a:lnTo>
                  <a:lnTo>
                    <a:pt x="835" y="238"/>
                  </a:lnTo>
                  <a:lnTo>
                    <a:pt x="837" y="238"/>
                  </a:lnTo>
                  <a:lnTo>
                    <a:pt x="835" y="241"/>
                  </a:lnTo>
                  <a:lnTo>
                    <a:pt x="835" y="244"/>
                  </a:lnTo>
                  <a:lnTo>
                    <a:pt x="835" y="249"/>
                  </a:lnTo>
                  <a:lnTo>
                    <a:pt x="837" y="249"/>
                  </a:lnTo>
                  <a:lnTo>
                    <a:pt x="837" y="252"/>
                  </a:lnTo>
                  <a:lnTo>
                    <a:pt x="837" y="252"/>
                  </a:lnTo>
                  <a:lnTo>
                    <a:pt x="840" y="257"/>
                  </a:lnTo>
                  <a:lnTo>
                    <a:pt x="843" y="260"/>
                  </a:lnTo>
                  <a:lnTo>
                    <a:pt x="843" y="262"/>
                  </a:lnTo>
                  <a:lnTo>
                    <a:pt x="845" y="262"/>
                  </a:lnTo>
                  <a:lnTo>
                    <a:pt x="848" y="262"/>
                  </a:lnTo>
                  <a:lnTo>
                    <a:pt x="848" y="260"/>
                  </a:lnTo>
                  <a:lnTo>
                    <a:pt x="848" y="257"/>
                  </a:lnTo>
                  <a:lnTo>
                    <a:pt x="848" y="252"/>
                  </a:lnTo>
                  <a:lnTo>
                    <a:pt x="848" y="252"/>
                  </a:lnTo>
                  <a:lnTo>
                    <a:pt x="848" y="249"/>
                  </a:lnTo>
                  <a:lnTo>
                    <a:pt x="848" y="249"/>
                  </a:lnTo>
                  <a:lnTo>
                    <a:pt x="851" y="249"/>
                  </a:lnTo>
                  <a:lnTo>
                    <a:pt x="851" y="254"/>
                  </a:lnTo>
                  <a:lnTo>
                    <a:pt x="851" y="257"/>
                  </a:lnTo>
                  <a:lnTo>
                    <a:pt x="853" y="254"/>
                  </a:lnTo>
                  <a:lnTo>
                    <a:pt x="853" y="254"/>
                  </a:lnTo>
                  <a:lnTo>
                    <a:pt x="851" y="252"/>
                  </a:lnTo>
                  <a:lnTo>
                    <a:pt x="851" y="249"/>
                  </a:lnTo>
                  <a:lnTo>
                    <a:pt x="851" y="246"/>
                  </a:lnTo>
                  <a:lnTo>
                    <a:pt x="851" y="244"/>
                  </a:lnTo>
                  <a:lnTo>
                    <a:pt x="851" y="230"/>
                  </a:lnTo>
                  <a:lnTo>
                    <a:pt x="851" y="230"/>
                  </a:lnTo>
                  <a:lnTo>
                    <a:pt x="851" y="228"/>
                  </a:lnTo>
                  <a:lnTo>
                    <a:pt x="851" y="225"/>
                  </a:lnTo>
                  <a:lnTo>
                    <a:pt x="853" y="222"/>
                  </a:lnTo>
                  <a:lnTo>
                    <a:pt x="853" y="220"/>
                  </a:lnTo>
                  <a:lnTo>
                    <a:pt x="851" y="220"/>
                  </a:lnTo>
                  <a:lnTo>
                    <a:pt x="851" y="217"/>
                  </a:lnTo>
                  <a:lnTo>
                    <a:pt x="851" y="217"/>
                  </a:lnTo>
                  <a:lnTo>
                    <a:pt x="853" y="212"/>
                  </a:lnTo>
                  <a:lnTo>
                    <a:pt x="853" y="212"/>
                  </a:lnTo>
                  <a:lnTo>
                    <a:pt x="853" y="209"/>
                  </a:lnTo>
                  <a:lnTo>
                    <a:pt x="861" y="206"/>
                  </a:lnTo>
                  <a:lnTo>
                    <a:pt x="861" y="206"/>
                  </a:lnTo>
                  <a:lnTo>
                    <a:pt x="859" y="206"/>
                  </a:lnTo>
                  <a:lnTo>
                    <a:pt x="859" y="206"/>
                  </a:lnTo>
                  <a:lnTo>
                    <a:pt x="856" y="206"/>
                  </a:lnTo>
                  <a:lnTo>
                    <a:pt x="856" y="204"/>
                  </a:lnTo>
                  <a:lnTo>
                    <a:pt x="859" y="201"/>
                  </a:lnTo>
                  <a:lnTo>
                    <a:pt x="859" y="198"/>
                  </a:lnTo>
                  <a:lnTo>
                    <a:pt x="861" y="201"/>
                  </a:lnTo>
                  <a:lnTo>
                    <a:pt x="861" y="204"/>
                  </a:lnTo>
                  <a:lnTo>
                    <a:pt x="864" y="204"/>
                  </a:lnTo>
                  <a:lnTo>
                    <a:pt x="864" y="206"/>
                  </a:lnTo>
                  <a:lnTo>
                    <a:pt x="867" y="206"/>
                  </a:lnTo>
                  <a:lnTo>
                    <a:pt x="867" y="204"/>
                  </a:lnTo>
                  <a:lnTo>
                    <a:pt x="869" y="201"/>
                  </a:lnTo>
                  <a:lnTo>
                    <a:pt x="872" y="198"/>
                  </a:lnTo>
                  <a:lnTo>
                    <a:pt x="872" y="193"/>
                  </a:lnTo>
                  <a:lnTo>
                    <a:pt x="869" y="193"/>
                  </a:lnTo>
                  <a:lnTo>
                    <a:pt x="869" y="190"/>
                  </a:lnTo>
                  <a:lnTo>
                    <a:pt x="869" y="185"/>
                  </a:lnTo>
                  <a:lnTo>
                    <a:pt x="872" y="179"/>
                  </a:lnTo>
                  <a:lnTo>
                    <a:pt x="872" y="174"/>
                  </a:lnTo>
                  <a:lnTo>
                    <a:pt x="875" y="155"/>
                  </a:lnTo>
                  <a:lnTo>
                    <a:pt x="880" y="150"/>
                  </a:lnTo>
                  <a:lnTo>
                    <a:pt x="880" y="147"/>
                  </a:lnTo>
                  <a:lnTo>
                    <a:pt x="877" y="145"/>
                  </a:lnTo>
                  <a:lnTo>
                    <a:pt x="880" y="145"/>
                  </a:lnTo>
                  <a:lnTo>
                    <a:pt x="880" y="142"/>
                  </a:lnTo>
                  <a:lnTo>
                    <a:pt x="880" y="142"/>
                  </a:lnTo>
                  <a:lnTo>
                    <a:pt x="877" y="142"/>
                  </a:lnTo>
                  <a:lnTo>
                    <a:pt x="877" y="137"/>
                  </a:lnTo>
                  <a:lnTo>
                    <a:pt x="877" y="134"/>
                  </a:lnTo>
                  <a:lnTo>
                    <a:pt x="877" y="134"/>
                  </a:lnTo>
                  <a:lnTo>
                    <a:pt x="877" y="131"/>
                  </a:lnTo>
                  <a:lnTo>
                    <a:pt x="880" y="131"/>
                  </a:lnTo>
                  <a:lnTo>
                    <a:pt x="880" y="129"/>
                  </a:lnTo>
                  <a:lnTo>
                    <a:pt x="880" y="129"/>
                  </a:lnTo>
                  <a:lnTo>
                    <a:pt x="880" y="129"/>
                  </a:lnTo>
                  <a:close/>
                  <a:moveTo>
                    <a:pt x="896" y="123"/>
                  </a:moveTo>
                  <a:lnTo>
                    <a:pt x="894" y="123"/>
                  </a:lnTo>
                  <a:lnTo>
                    <a:pt x="894" y="123"/>
                  </a:lnTo>
                  <a:lnTo>
                    <a:pt x="894" y="126"/>
                  </a:lnTo>
                  <a:lnTo>
                    <a:pt x="891" y="131"/>
                  </a:lnTo>
                  <a:lnTo>
                    <a:pt x="891" y="131"/>
                  </a:lnTo>
                  <a:lnTo>
                    <a:pt x="891" y="137"/>
                  </a:lnTo>
                  <a:lnTo>
                    <a:pt x="891" y="139"/>
                  </a:lnTo>
                  <a:lnTo>
                    <a:pt x="888" y="139"/>
                  </a:lnTo>
                  <a:lnTo>
                    <a:pt x="888" y="142"/>
                  </a:lnTo>
                  <a:lnTo>
                    <a:pt x="888" y="142"/>
                  </a:lnTo>
                  <a:lnTo>
                    <a:pt x="885" y="142"/>
                  </a:lnTo>
                  <a:lnTo>
                    <a:pt x="885" y="142"/>
                  </a:lnTo>
                  <a:lnTo>
                    <a:pt x="888" y="145"/>
                  </a:lnTo>
                  <a:lnTo>
                    <a:pt x="888" y="145"/>
                  </a:lnTo>
                  <a:lnTo>
                    <a:pt x="888" y="147"/>
                  </a:lnTo>
                  <a:lnTo>
                    <a:pt x="888" y="147"/>
                  </a:lnTo>
                  <a:lnTo>
                    <a:pt x="885" y="147"/>
                  </a:lnTo>
                  <a:lnTo>
                    <a:pt x="885" y="147"/>
                  </a:lnTo>
                  <a:lnTo>
                    <a:pt x="885" y="147"/>
                  </a:lnTo>
                  <a:lnTo>
                    <a:pt x="888" y="147"/>
                  </a:lnTo>
                  <a:lnTo>
                    <a:pt x="891" y="145"/>
                  </a:lnTo>
                  <a:lnTo>
                    <a:pt x="894" y="139"/>
                  </a:lnTo>
                  <a:lnTo>
                    <a:pt x="896" y="121"/>
                  </a:lnTo>
                  <a:lnTo>
                    <a:pt x="896" y="123"/>
                  </a:lnTo>
                  <a:close/>
                  <a:moveTo>
                    <a:pt x="853" y="308"/>
                  </a:moveTo>
                  <a:lnTo>
                    <a:pt x="851" y="297"/>
                  </a:lnTo>
                  <a:lnTo>
                    <a:pt x="848" y="294"/>
                  </a:lnTo>
                  <a:lnTo>
                    <a:pt x="845" y="294"/>
                  </a:lnTo>
                  <a:lnTo>
                    <a:pt x="843" y="297"/>
                  </a:lnTo>
                  <a:lnTo>
                    <a:pt x="837" y="297"/>
                  </a:lnTo>
                  <a:lnTo>
                    <a:pt x="832" y="297"/>
                  </a:lnTo>
                  <a:lnTo>
                    <a:pt x="827" y="297"/>
                  </a:lnTo>
                  <a:lnTo>
                    <a:pt x="816" y="294"/>
                  </a:lnTo>
                  <a:lnTo>
                    <a:pt x="813" y="294"/>
                  </a:lnTo>
                  <a:lnTo>
                    <a:pt x="811" y="300"/>
                  </a:lnTo>
                  <a:lnTo>
                    <a:pt x="811" y="300"/>
                  </a:lnTo>
                  <a:lnTo>
                    <a:pt x="813" y="302"/>
                  </a:lnTo>
                  <a:lnTo>
                    <a:pt x="813" y="302"/>
                  </a:lnTo>
                  <a:lnTo>
                    <a:pt x="813" y="305"/>
                  </a:lnTo>
                  <a:lnTo>
                    <a:pt x="813" y="305"/>
                  </a:lnTo>
                  <a:lnTo>
                    <a:pt x="813" y="308"/>
                  </a:lnTo>
                  <a:lnTo>
                    <a:pt x="816" y="310"/>
                  </a:lnTo>
                  <a:lnTo>
                    <a:pt x="813" y="310"/>
                  </a:lnTo>
                  <a:lnTo>
                    <a:pt x="813" y="310"/>
                  </a:lnTo>
                  <a:lnTo>
                    <a:pt x="811" y="308"/>
                  </a:lnTo>
                  <a:lnTo>
                    <a:pt x="811" y="308"/>
                  </a:lnTo>
                  <a:lnTo>
                    <a:pt x="808" y="305"/>
                  </a:lnTo>
                  <a:lnTo>
                    <a:pt x="805" y="305"/>
                  </a:lnTo>
                  <a:lnTo>
                    <a:pt x="803" y="305"/>
                  </a:lnTo>
                  <a:lnTo>
                    <a:pt x="800" y="308"/>
                  </a:lnTo>
                  <a:lnTo>
                    <a:pt x="797" y="310"/>
                  </a:lnTo>
                  <a:lnTo>
                    <a:pt x="795" y="310"/>
                  </a:lnTo>
                  <a:lnTo>
                    <a:pt x="792" y="313"/>
                  </a:lnTo>
                  <a:lnTo>
                    <a:pt x="789" y="313"/>
                  </a:lnTo>
                  <a:lnTo>
                    <a:pt x="789" y="313"/>
                  </a:lnTo>
                  <a:lnTo>
                    <a:pt x="792" y="310"/>
                  </a:lnTo>
                  <a:lnTo>
                    <a:pt x="795" y="308"/>
                  </a:lnTo>
                  <a:lnTo>
                    <a:pt x="795" y="308"/>
                  </a:lnTo>
                  <a:lnTo>
                    <a:pt x="792" y="305"/>
                  </a:lnTo>
                  <a:lnTo>
                    <a:pt x="792" y="305"/>
                  </a:lnTo>
                  <a:lnTo>
                    <a:pt x="792" y="302"/>
                  </a:lnTo>
                  <a:lnTo>
                    <a:pt x="792" y="300"/>
                  </a:lnTo>
                  <a:lnTo>
                    <a:pt x="792" y="300"/>
                  </a:lnTo>
                  <a:lnTo>
                    <a:pt x="784" y="297"/>
                  </a:lnTo>
                  <a:lnTo>
                    <a:pt x="784" y="297"/>
                  </a:lnTo>
                  <a:lnTo>
                    <a:pt x="781" y="297"/>
                  </a:lnTo>
                  <a:lnTo>
                    <a:pt x="781" y="297"/>
                  </a:lnTo>
                  <a:lnTo>
                    <a:pt x="779" y="297"/>
                  </a:lnTo>
                  <a:lnTo>
                    <a:pt x="779" y="294"/>
                  </a:lnTo>
                  <a:lnTo>
                    <a:pt x="779" y="294"/>
                  </a:lnTo>
                  <a:lnTo>
                    <a:pt x="779" y="294"/>
                  </a:lnTo>
                  <a:lnTo>
                    <a:pt x="781" y="294"/>
                  </a:lnTo>
                  <a:lnTo>
                    <a:pt x="781" y="292"/>
                  </a:lnTo>
                  <a:lnTo>
                    <a:pt x="773" y="292"/>
                  </a:lnTo>
                  <a:lnTo>
                    <a:pt x="771" y="292"/>
                  </a:lnTo>
                  <a:lnTo>
                    <a:pt x="771" y="289"/>
                  </a:lnTo>
                  <a:lnTo>
                    <a:pt x="768" y="281"/>
                  </a:lnTo>
                  <a:lnTo>
                    <a:pt x="765" y="273"/>
                  </a:lnTo>
                  <a:lnTo>
                    <a:pt x="763" y="273"/>
                  </a:lnTo>
                  <a:lnTo>
                    <a:pt x="763" y="273"/>
                  </a:lnTo>
                  <a:lnTo>
                    <a:pt x="760" y="278"/>
                  </a:lnTo>
                  <a:lnTo>
                    <a:pt x="757" y="278"/>
                  </a:lnTo>
                  <a:lnTo>
                    <a:pt x="755" y="278"/>
                  </a:lnTo>
                  <a:lnTo>
                    <a:pt x="752" y="273"/>
                  </a:lnTo>
                  <a:lnTo>
                    <a:pt x="749" y="273"/>
                  </a:lnTo>
                  <a:lnTo>
                    <a:pt x="739" y="276"/>
                  </a:lnTo>
                  <a:lnTo>
                    <a:pt x="736" y="276"/>
                  </a:lnTo>
                  <a:lnTo>
                    <a:pt x="733" y="273"/>
                  </a:lnTo>
                  <a:lnTo>
                    <a:pt x="731" y="273"/>
                  </a:lnTo>
                  <a:lnTo>
                    <a:pt x="728" y="273"/>
                  </a:lnTo>
                  <a:lnTo>
                    <a:pt x="728" y="270"/>
                  </a:lnTo>
                  <a:lnTo>
                    <a:pt x="725" y="268"/>
                  </a:lnTo>
                  <a:lnTo>
                    <a:pt x="723" y="268"/>
                  </a:lnTo>
                  <a:lnTo>
                    <a:pt x="723" y="268"/>
                  </a:lnTo>
                  <a:lnTo>
                    <a:pt x="720" y="270"/>
                  </a:lnTo>
                  <a:lnTo>
                    <a:pt x="717" y="270"/>
                  </a:lnTo>
                  <a:lnTo>
                    <a:pt x="717" y="270"/>
                  </a:lnTo>
                  <a:lnTo>
                    <a:pt x="717" y="270"/>
                  </a:lnTo>
                  <a:lnTo>
                    <a:pt x="715" y="270"/>
                  </a:lnTo>
                  <a:lnTo>
                    <a:pt x="707" y="270"/>
                  </a:lnTo>
                  <a:lnTo>
                    <a:pt x="699" y="270"/>
                  </a:lnTo>
                  <a:lnTo>
                    <a:pt x="696" y="270"/>
                  </a:lnTo>
                  <a:lnTo>
                    <a:pt x="696" y="270"/>
                  </a:lnTo>
                  <a:lnTo>
                    <a:pt x="696" y="270"/>
                  </a:lnTo>
                  <a:lnTo>
                    <a:pt x="693" y="270"/>
                  </a:lnTo>
                  <a:lnTo>
                    <a:pt x="693" y="268"/>
                  </a:lnTo>
                  <a:lnTo>
                    <a:pt x="696" y="265"/>
                  </a:lnTo>
                  <a:lnTo>
                    <a:pt x="699" y="265"/>
                  </a:lnTo>
                  <a:lnTo>
                    <a:pt x="699" y="268"/>
                  </a:lnTo>
                  <a:lnTo>
                    <a:pt x="704" y="265"/>
                  </a:lnTo>
                  <a:lnTo>
                    <a:pt x="704" y="265"/>
                  </a:lnTo>
                  <a:lnTo>
                    <a:pt x="707" y="268"/>
                  </a:lnTo>
                  <a:lnTo>
                    <a:pt x="709" y="268"/>
                  </a:lnTo>
                  <a:lnTo>
                    <a:pt x="709" y="265"/>
                  </a:lnTo>
                  <a:lnTo>
                    <a:pt x="712" y="265"/>
                  </a:lnTo>
                  <a:lnTo>
                    <a:pt x="712" y="265"/>
                  </a:lnTo>
                  <a:lnTo>
                    <a:pt x="715" y="265"/>
                  </a:lnTo>
                  <a:lnTo>
                    <a:pt x="715" y="265"/>
                  </a:lnTo>
                  <a:lnTo>
                    <a:pt x="717" y="265"/>
                  </a:lnTo>
                  <a:lnTo>
                    <a:pt x="717" y="265"/>
                  </a:lnTo>
                  <a:lnTo>
                    <a:pt x="717" y="268"/>
                  </a:lnTo>
                  <a:lnTo>
                    <a:pt x="720" y="268"/>
                  </a:lnTo>
                  <a:lnTo>
                    <a:pt x="720" y="268"/>
                  </a:lnTo>
                  <a:lnTo>
                    <a:pt x="720" y="268"/>
                  </a:lnTo>
                  <a:lnTo>
                    <a:pt x="723" y="262"/>
                  </a:lnTo>
                  <a:lnTo>
                    <a:pt x="723" y="262"/>
                  </a:lnTo>
                  <a:lnTo>
                    <a:pt x="725" y="262"/>
                  </a:lnTo>
                  <a:lnTo>
                    <a:pt x="725" y="262"/>
                  </a:lnTo>
                  <a:lnTo>
                    <a:pt x="731" y="268"/>
                  </a:lnTo>
                  <a:lnTo>
                    <a:pt x="733" y="270"/>
                  </a:lnTo>
                  <a:lnTo>
                    <a:pt x="733" y="270"/>
                  </a:lnTo>
                  <a:lnTo>
                    <a:pt x="736" y="270"/>
                  </a:lnTo>
                  <a:lnTo>
                    <a:pt x="739" y="268"/>
                  </a:lnTo>
                  <a:lnTo>
                    <a:pt x="739" y="268"/>
                  </a:lnTo>
                  <a:lnTo>
                    <a:pt x="739" y="265"/>
                  </a:lnTo>
                  <a:lnTo>
                    <a:pt x="739" y="262"/>
                  </a:lnTo>
                  <a:lnTo>
                    <a:pt x="739" y="260"/>
                  </a:lnTo>
                  <a:lnTo>
                    <a:pt x="739" y="260"/>
                  </a:lnTo>
                  <a:lnTo>
                    <a:pt x="741" y="262"/>
                  </a:lnTo>
                  <a:lnTo>
                    <a:pt x="741" y="265"/>
                  </a:lnTo>
                  <a:lnTo>
                    <a:pt x="741" y="268"/>
                  </a:lnTo>
                  <a:lnTo>
                    <a:pt x="744" y="268"/>
                  </a:lnTo>
                  <a:lnTo>
                    <a:pt x="744" y="268"/>
                  </a:lnTo>
                  <a:lnTo>
                    <a:pt x="749" y="270"/>
                  </a:lnTo>
                  <a:lnTo>
                    <a:pt x="752" y="270"/>
                  </a:lnTo>
                  <a:lnTo>
                    <a:pt x="752" y="270"/>
                  </a:lnTo>
                  <a:lnTo>
                    <a:pt x="755" y="270"/>
                  </a:lnTo>
                  <a:lnTo>
                    <a:pt x="755" y="273"/>
                  </a:lnTo>
                  <a:lnTo>
                    <a:pt x="755" y="273"/>
                  </a:lnTo>
                  <a:lnTo>
                    <a:pt x="757" y="273"/>
                  </a:lnTo>
                  <a:lnTo>
                    <a:pt x="757" y="273"/>
                  </a:lnTo>
                  <a:lnTo>
                    <a:pt x="757" y="270"/>
                  </a:lnTo>
                  <a:lnTo>
                    <a:pt x="757" y="270"/>
                  </a:lnTo>
                  <a:lnTo>
                    <a:pt x="760" y="270"/>
                  </a:lnTo>
                  <a:lnTo>
                    <a:pt x="763" y="268"/>
                  </a:lnTo>
                  <a:lnTo>
                    <a:pt x="765" y="268"/>
                  </a:lnTo>
                  <a:lnTo>
                    <a:pt x="768" y="268"/>
                  </a:lnTo>
                  <a:lnTo>
                    <a:pt x="771" y="270"/>
                  </a:lnTo>
                  <a:lnTo>
                    <a:pt x="771" y="273"/>
                  </a:lnTo>
                  <a:lnTo>
                    <a:pt x="771" y="278"/>
                  </a:lnTo>
                  <a:lnTo>
                    <a:pt x="773" y="278"/>
                  </a:lnTo>
                  <a:lnTo>
                    <a:pt x="773" y="281"/>
                  </a:lnTo>
                  <a:lnTo>
                    <a:pt x="776" y="281"/>
                  </a:lnTo>
                  <a:lnTo>
                    <a:pt x="779" y="284"/>
                  </a:lnTo>
                  <a:lnTo>
                    <a:pt x="781" y="284"/>
                  </a:lnTo>
                  <a:lnTo>
                    <a:pt x="792" y="289"/>
                  </a:lnTo>
                  <a:lnTo>
                    <a:pt x="795" y="292"/>
                  </a:lnTo>
                  <a:lnTo>
                    <a:pt x="797" y="297"/>
                  </a:lnTo>
                  <a:lnTo>
                    <a:pt x="800" y="297"/>
                  </a:lnTo>
                  <a:lnTo>
                    <a:pt x="800" y="294"/>
                  </a:lnTo>
                  <a:lnTo>
                    <a:pt x="803" y="292"/>
                  </a:lnTo>
                  <a:lnTo>
                    <a:pt x="805" y="292"/>
                  </a:lnTo>
                  <a:lnTo>
                    <a:pt x="805" y="289"/>
                  </a:lnTo>
                  <a:lnTo>
                    <a:pt x="808" y="289"/>
                  </a:lnTo>
                  <a:lnTo>
                    <a:pt x="811" y="289"/>
                  </a:lnTo>
                  <a:lnTo>
                    <a:pt x="811" y="286"/>
                  </a:lnTo>
                  <a:lnTo>
                    <a:pt x="813" y="284"/>
                  </a:lnTo>
                  <a:lnTo>
                    <a:pt x="813" y="281"/>
                  </a:lnTo>
                  <a:lnTo>
                    <a:pt x="811" y="276"/>
                  </a:lnTo>
                  <a:lnTo>
                    <a:pt x="811" y="276"/>
                  </a:lnTo>
                  <a:lnTo>
                    <a:pt x="805" y="278"/>
                  </a:lnTo>
                  <a:lnTo>
                    <a:pt x="803" y="276"/>
                  </a:lnTo>
                  <a:lnTo>
                    <a:pt x="805" y="276"/>
                  </a:lnTo>
                  <a:lnTo>
                    <a:pt x="808" y="273"/>
                  </a:lnTo>
                  <a:lnTo>
                    <a:pt x="808" y="273"/>
                  </a:lnTo>
                  <a:lnTo>
                    <a:pt x="808" y="270"/>
                  </a:lnTo>
                  <a:lnTo>
                    <a:pt x="805" y="268"/>
                  </a:lnTo>
                  <a:lnTo>
                    <a:pt x="800" y="268"/>
                  </a:lnTo>
                  <a:lnTo>
                    <a:pt x="800" y="268"/>
                  </a:lnTo>
                  <a:lnTo>
                    <a:pt x="800" y="268"/>
                  </a:lnTo>
                  <a:lnTo>
                    <a:pt x="797" y="268"/>
                  </a:lnTo>
                  <a:lnTo>
                    <a:pt x="797" y="268"/>
                  </a:lnTo>
                  <a:lnTo>
                    <a:pt x="797" y="265"/>
                  </a:lnTo>
                  <a:lnTo>
                    <a:pt x="795" y="262"/>
                  </a:lnTo>
                  <a:lnTo>
                    <a:pt x="795" y="262"/>
                  </a:lnTo>
                  <a:lnTo>
                    <a:pt x="797" y="262"/>
                  </a:lnTo>
                  <a:lnTo>
                    <a:pt x="795" y="260"/>
                  </a:lnTo>
                  <a:lnTo>
                    <a:pt x="792" y="260"/>
                  </a:lnTo>
                  <a:lnTo>
                    <a:pt x="789" y="262"/>
                  </a:lnTo>
                  <a:lnTo>
                    <a:pt x="787" y="262"/>
                  </a:lnTo>
                  <a:lnTo>
                    <a:pt x="784" y="262"/>
                  </a:lnTo>
                  <a:lnTo>
                    <a:pt x="779" y="260"/>
                  </a:lnTo>
                  <a:lnTo>
                    <a:pt x="768" y="254"/>
                  </a:lnTo>
                  <a:lnTo>
                    <a:pt x="760" y="249"/>
                  </a:lnTo>
                  <a:lnTo>
                    <a:pt x="757" y="244"/>
                  </a:lnTo>
                  <a:lnTo>
                    <a:pt x="755" y="244"/>
                  </a:lnTo>
                  <a:lnTo>
                    <a:pt x="752" y="241"/>
                  </a:lnTo>
                  <a:lnTo>
                    <a:pt x="747" y="236"/>
                  </a:lnTo>
                  <a:lnTo>
                    <a:pt x="744" y="233"/>
                  </a:lnTo>
                  <a:lnTo>
                    <a:pt x="744" y="233"/>
                  </a:lnTo>
                  <a:lnTo>
                    <a:pt x="741" y="233"/>
                  </a:lnTo>
                  <a:lnTo>
                    <a:pt x="741" y="233"/>
                  </a:lnTo>
                  <a:lnTo>
                    <a:pt x="741" y="230"/>
                  </a:lnTo>
                  <a:lnTo>
                    <a:pt x="741" y="230"/>
                  </a:lnTo>
                  <a:lnTo>
                    <a:pt x="741" y="228"/>
                  </a:lnTo>
                  <a:lnTo>
                    <a:pt x="741" y="228"/>
                  </a:lnTo>
                  <a:lnTo>
                    <a:pt x="749" y="233"/>
                  </a:lnTo>
                  <a:lnTo>
                    <a:pt x="755" y="238"/>
                  </a:lnTo>
                  <a:lnTo>
                    <a:pt x="757" y="241"/>
                  </a:lnTo>
                  <a:lnTo>
                    <a:pt x="760" y="241"/>
                  </a:lnTo>
                  <a:lnTo>
                    <a:pt x="760" y="241"/>
                  </a:lnTo>
                  <a:lnTo>
                    <a:pt x="771" y="252"/>
                  </a:lnTo>
                  <a:lnTo>
                    <a:pt x="771" y="252"/>
                  </a:lnTo>
                  <a:lnTo>
                    <a:pt x="773" y="252"/>
                  </a:lnTo>
                  <a:lnTo>
                    <a:pt x="773" y="252"/>
                  </a:lnTo>
                  <a:lnTo>
                    <a:pt x="776" y="254"/>
                  </a:lnTo>
                  <a:lnTo>
                    <a:pt x="779" y="254"/>
                  </a:lnTo>
                  <a:lnTo>
                    <a:pt x="784" y="257"/>
                  </a:lnTo>
                  <a:lnTo>
                    <a:pt x="787" y="257"/>
                  </a:lnTo>
                  <a:lnTo>
                    <a:pt x="795" y="254"/>
                  </a:lnTo>
                  <a:lnTo>
                    <a:pt x="795" y="252"/>
                  </a:lnTo>
                  <a:lnTo>
                    <a:pt x="795" y="252"/>
                  </a:lnTo>
                  <a:lnTo>
                    <a:pt x="792" y="249"/>
                  </a:lnTo>
                  <a:lnTo>
                    <a:pt x="792" y="249"/>
                  </a:lnTo>
                  <a:lnTo>
                    <a:pt x="789" y="249"/>
                  </a:lnTo>
                  <a:lnTo>
                    <a:pt x="787" y="249"/>
                  </a:lnTo>
                  <a:lnTo>
                    <a:pt x="787" y="249"/>
                  </a:lnTo>
                  <a:lnTo>
                    <a:pt x="789" y="246"/>
                  </a:lnTo>
                  <a:lnTo>
                    <a:pt x="789" y="246"/>
                  </a:lnTo>
                  <a:lnTo>
                    <a:pt x="789" y="244"/>
                  </a:lnTo>
                  <a:lnTo>
                    <a:pt x="789" y="244"/>
                  </a:lnTo>
                  <a:lnTo>
                    <a:pt x="787" y="244"/>
                  </a:lnTo>
                  <a:lnTo>
                    <a:pt x="784" y="244"/>
                  </a:lnTo>
                  <a:lnTo>
                    <a:pt x="784" y="241"/>
                  </a:lnTo>
                  <a:lnTo>
                    <a:pt x="784" y="241"/>
                  </a:lnTo>
                  <a:lnTo>
                    <a:pt x="784" y="238"/>
                  </a:lnTo>
                  <a:lnTo>
                    <a:pt x="787" y="238"/>
                  </a:lnTo>
                  <a:lnTo>
                    <a:pt x="787" y="238"/>
                  </a:lnTo>
                  <a:lnTo>
                    <a:pt x="789" y="238"/>
                  </a:lnTo>
                  <a:lnTo>
                    <a:pt x="787" y="238"/>
                  </a:lnTo>
                  <a:lnTo>
                    <a:pt x="787" y="236"/>
                  </a:lnTo>
                  <a:lnTo>
                    <a:pt x="787" y="236"/>
                  </a:lnTo>
                  <a:lnTo>
                    <a:pt x="784" y="236"/>
                  </a:lnTo>
                  <a:lnTo>
                    <a:pt x="784" y="233"/>
                  </a:lnTo>
                  <a:lnTo>
                    <a:pt x="787" y="233"/>
                  </a:lnTo>
                  <a:lnTo>
                    <a:pt x="792" y="238"/>
                  </a:lnTo>
                  <a:lnTo>
                    <a:pt x="795" y="238"/>
                  </a:lnTo>
                  <a:lnTo>
                    <a:pt x="795" y="238"/>
                  </a:lnTo>
                  <a:lnTo>
                    <a:pt x="797" y="238"/>
                  </a:lnTo>
                  <a:lnTo>
                    <a:pt x="797" y="241"/>
                  </a:lnTo>
                  <a:lnTo>
                    <a:pt x="803" y="244"/>
                  </a:lnTo>
                  <a:lnTo>
                    <a:pt x="805" y="246"/>
                  </a:lnTo>
                  <a:lnTo>
                    <a:pt x="805" y="246"/>
                  </a:lnTo>
                  <a:lnTo>
                    <a:pt x="805" y="241"/>
                  </a:lnTo>
                  <a:lnTo>
                    <a:pt x="805" y="233"/>
                  </a:lnTo>
                  <a:lnTo>
                    <a:pt x="805" y="230"/>
                  </a:lnTo>
                  <a:lnTo>
                    <a:pt x="803" y="228"/>
                  </a:lnTo>
                  <a:lnTo>
                    <a:pt x="803" y="228"/>
                  </a:lnTo>
                  <a:lnTo>
                    <a:pt x="800" y="228"/>
                  </a:lnTo>
                  <a:lnTo>
                    <a:pt x="800" y="228"/>
                  </a:lnTo>
                  <a:lnTo>
                    <a:pt x="800" y="225"/>
                  </a:lnTo>
                  <a:lnTo>
                    <a:pt x="800" y="222"/>
                  </a:lnTo>
                  <a:lnTo>
                    <a:pt x="800" y="222"/>
                  </a:lnTo>
                  <a:lnTo>
                    <a:pt x="803" y="222"/>
                  </a:lnTo>
                  <a:lnTo>
                    <a:pt x="803" y="220"/>
                  </a:lnTo>
                  <a:lnTo>
                    <a:pt x="797" y="217"/>
                  </a:lnTo>
                  <a:lnTo>
                    <a:pt x="797" y="217"/>
                  </a:lnTo>
                  <a:lnTo>
                    <a:pt x="797" y="220"/>
                  </a:lnTo>
                  <a:lnTo>
                    <a:pt x="795" y="222"/>
                  </a:lnTo>
                  <a:lnTo>
                    <a:pt x="795" y="222"/>
                  </a:lnTo>
                  <a:lnTo>
                    <a:pt x="789" y="220"/>
                  </a:lnTo>
                  <a:lnTo>
                    <a:pt x="787" y="220"/>
                  </a:lnTo>
                  <a:lnTo>
                    <a:pt x="784" y="220"/>
                  </a:lnTo>
                  <a:lnTo>
                    <a:pt x="784" y="217"/>
                  </a:lnTo>
                  <a:lnTo>
                    <a:pt x="787" y="217"/>
                  </a:lnTo>
                  <a:lnTo>
                    <a:pt x="792" y="214"/>
                  </a:lnTo>
                  <a:lnTo>
                    <a:pt x="795" y="214"/>
                  </a:lnTo>
                  <a:lnTo>
                    <a:pt x="795" y="212"/>
                  </a:lnTo>
                  <a:lnTo>
                    <a:pt x="792" y="212"/>
                  </a:lnTo>
                  <a:lnTo>
                    <a:pt x="787" y="212"/>
                  </a:lnTo>
                  <a:lnTo>
                    <a:pt x="781" y="212"/>
                  </a:lnTo>
                  <a:lnTo>
                    <a:pt x="779" y="209"/>
                  </a:lnTo>
                  <a:lnTo>
                    <a:pt x="776" y="209"/>
                  </a:lnTo>
                  <a:lnTo>
                    <a:pt x="773" y="209"/>
                  </a:lnTo>
                  <a:lnTo>
                    <a:pt x="768" y="209"/>
                  </a:lnTo>
                  <a:lnTo>
                    <a:pt x="765" y="209"/>
                  </a:lnTo>
                  <a:lnTo>
                    <a:pt x="763" y="206"/>
                  </a:lnTo>
                  <a:lnTo>
                    <a:pt x="763" y="204"/>
                  </a:lnTo>
                  <a:lnTo>
                    <a:pt x="760" y="204"/>
                  </a:lnTo>
                  <a:lnTo>
                    <a:pt x="760" y="201"/>
                  </a:lnTo>
                  <a:lnTo>
                    <a:pt x="760" y="201"/>
                  </a:lnTo>
                  <a:lnTo>
                    <a:pt x="757" y="198"/>
                  </a:lnTo>
                  <a:lnTo>
                    <a:pt x="757" y="196"/>
                  </a:lnTo>
                  <a:lnTo>
                    <a:pt x="752" y="193"/>
                  </a:lnTo>
                  <a:lnTo>
                    <a:pt x="752" y="193"/>
                  </a:lnTo>
                  <a:lnTo>
                    <a:pt x="747" y="193"/>
                  </a:lnTo>
                  <a:lnTo>
                    <a:pt x="747" y="193"/>
                  </a:lnTo>
                  <a:lnTo>
                    <a:pt x="747" y="190"/>
                  </a:lnTo>
                  <a:lnTo>
                    <a:pt x="747" y="190"/>
                  </a:lnTo>
                  <a:lnTo>
                    <a:pt x="747" y="190"/>
                  </a:lnTo>
                  <a:lnTo>
                    <a:pt x="747" y="190"/>
                  </a:lnTo>
                  <a:lnTo>
                    <a:pt x="744" y="190"/>
                  </a:lnTo>
                  <a:lnTo>
                    <a:pt x="744" y="190"/>
                  </a:lnTo>
                  <a:lnTo>
                    <a:pt x="741" y="190"/>
                  </a:lnTo>
                  <a:lnTo>
                    <a:pt x="741" y="190"/>
                  </a:lnTo>
                  <a:lnTo>
                    <a:pt x="739" y="188"/>
                  </a:lnTo>
                  <a:lnTo>
                    <a:pt x="739" y="188"/>
                  </a:lnTo>
                  <a:lnTo>
                    <a:pt x="736" y="188"/>
                  </a:lnTo>
                  <a:lnTo>
                    <a:pt x="733" y="182"/>
                  </a:lnTo>
                  <a:lnTo>
                    <a:pt x="733" y="182"/>
                  </a:lnTo>
                  <a:lnTo>
                    <a:pt x="731" y="179"/>
                  </a:lnTo>
                  <a:lnTo>
                    <a:pt x="731" y="177"/>
                  </a:lnTo>
                  <a:lnTo>
                    <a:pt x="728" y="177"/>
                  </a:lnTo>
                  <a:lnTo>
                    <a:pt x="725" y="177"/>
                  </a:lnTo>
                  <a:lnTo>
                    <a:pt x="723" y="177"/>
                  </a:lnTo>
                  <a:lnTo>
                    <a:pt x="723" y="174"/>
                  </a:lnTo>
                  <a:lnTo>
                    <a:pt x="720" y="171"/>
                  </a:lnTo>
                  <a:lnTo>
                    <a:pt x="720" y="171"/>
                  </a:lnTo>
                  <a:lnTo>
                    <a:pt x="717" y="171"/>
                  </a:lnTo>
                  <a:lnTo>
                    <a:pt x="717" y="169"/>
                  </a:lnTo>
                  <a:lnTo>
                    <a:pt x="715" y="169"/>
                  </a:lnTo>
                  <a:lnTo>
                    <a:pt x="715" y="169"/>
                  </a:lnTo>
                  <a:lnTo>
                    <a:pt x="712" y="161"/>
                  </a:lnTo>
                  <a:lnTo>
                    <a:pt x="712" y="161"/>
                  </a:lnTo>
                  <a:lnTo>
                    <a:pt x="709" y="158"/>
                  </a:lnTo>
                  <a:lnTo>
                    <a:pt x="707" y="158"/>
                  </a:lnTo>
                  <a:lnTo>
                    <a:pt x="707" y="155"/>
                  </a:lnTo>
                  <a:lnTo>
                    <a:pt x="699" y="155"/>
                  </a:lnTo>
                  <a:lnTo>
                    <a:pt x="696" y="155"/>
                  </a:lnTo>
                  <a:lnTo>
                    <a:pt x="696" y="155"/>
                  </a:lnTo>
                  <a:lnTo>
                    <a:pt x="696" y="153"/>
                  </a:lnTo>
                  <a:lnTo>
                    <a:pt x="696" y="150"/>
                  </a:lnTo>
                  <a:lnTo>
                    <a:pt x="693" y="150"/>
                  </a:lnTo>
                  <a:lnTo>
                    <a:pt x="693" y="150"/>
                  </a:lnTo>
                  <a:lnTo>
                    <a:pt x="693" y="150"/>
                  </a:lnTo>
                  <a:lnTo>
                    <a:pt x="688" y="153"/>
                  </a:lnTo>
                  <a:lnTo>
                    <a:pt x="685" y="150"/>
                  </a:lnTo>
                  <a:lnTo>
                    <a:pt x="685" y="150"/>
                  </a:lnTo>
                  <a:lnTo>
                    <a:pt x="685" y="147"/>
                  </a:lnTo>
                  <a:lnTo>
                    <a:pt x="688" y="147"/>
                  </a:lnTo>
                  <a:lnTo>
                    <a:pt x="693" y="147"/>
                  </a:lnTo>
                  <a:lnTo>
                    <a:pt x="696" y="150"/>
                  </a:lnTo>
                  <a:lnTo>
                    <a:pt x="696" y="150"/>
                  </a:lnTo>
                  <a:lnTo>
                    <a:pt x="699" y="153"/>
                  </a:lnTo>
                  <a:lnTo>
                    <a:pt x="699" y="153"/>
                  </a:lnTo>
                  <a:lnTo>
                    <a:pt x="701" y="153"/>
                  </a:lnTo>
                  <a:lnTo>
                    <a:pt x="707" y="153"/>
                  </a:lnTo>
                  <a:lnTo>
                    <a:pt x="707" y="155"/>
                  </a:lnTo>
                  <a:lnTo>
                    <a:pt x="709" y="155"/>
                  </a:lnTo>
                  <a:lnTo>
                    <a:pt x="712" y="158"/>
                  </a:lnTo>
                  <a:lnTo>
                    <a:pt x="717" y="166"/>
                  </a:lnTo>
                  <a:lnTo>
                    <a:pt x="717" y="166"/>
                  </a:lnTo>
                  <a:lnTo>
                    <a:pt x="723" y="169"/>
                  </a:lnTo>
                  <a:lnTo>
                    <a:pt x="725" y="171"/>
                  </a:lnTo>
                  <a:lnTo>
                    <a:pt x="733" y="174"/>
                  </a:lnTo>
                  <a:lnTo>
                    <a:pt x="736" y="177"/>
                  </a:lnTo>
                  <a:lnTo>
                    <a:pt x="741" y="185"/>
                  </a:lnTo>
                  <a:lnTo>
                    <a:pt x="741" y="185"/>
                  </a:lnTo>
                  <a:lnTo>
                    <a:pt x="744" y="185"/>
                  </a:lnTo>
                  <a:lnTo>
                    <a:pt x="744" y="185"/>
                  </a:lnTo>
                  <a:lnTo>
                    <a:pt x="747" y="182"/>
                  </a:lnTo>
                  <a:lnTo>
                    <a:pt x="747" y="185"/>
                  </a:lnTo>
                  <a:lnTo>
                    <a:pt x="747" y="188"/>
                  </a:lnTo>
                  <a:lnTo>
                    <a:pt x="749" y="188"/>
                  </a:lnTo>
                  <a:lnTo>
                    <a:pt x="749" y="188"/>
                  </a:lnTo>
                  <a:lnTo>
                    <a:pt x="749" y="185"/>
                  </a:lnTo>
                  <a:lnTo>
                    <a:pt x="752" y="188"/>
                  </a:lnTo>
                  <a:lnTo>
                    <a:pt x="752" y="188"/>
                  </a:lnTo>
                  <a:lnTo>
                    <a:pt x="752" y="188"/>
                  </a:lnTo>
                  <a:lnTo>
                    <a:pt x="757" y="190"/>
                  </a:lnTo>
                  <a:lnTo>
                    <a:pt x="757" y="190"/>
                  </a:lnTo>
                  <a:lnTo>
                    <a:pt x="760" y="193"/>
                  </a:lnTo>
                  <a:lnTo>
                    <a:pt x="763" y="198"/>
                  </a:lnTo>
                  <a:lnTo>
                    <a:pt x="765" y="201"/>
                  </a:lnTo>
                  <a:lnTo>
                    <a:pt x="765" y="201"/>
                  </a:lnTo>
                  <a:lnTo>
                    <a:pt x="768" y="204"/>
                  </a:lnTo>
                  <a:lnTo>
                    <a:pt x="768" y="206"/>
                  </a:lnTo>
                  <a:lnTo>
                    <a:pt x="771" y="204"/>
                  </a:lnTo>
                  <a:lnTo>
                    <a:pt x="771" y="198"/>
                  </a:lnTo>
                  <a:lnTo>
                    <a:pt x="771" y="198"/>
                  </a:lnTo>
                  <a:lnTo>
                    <a:pt x="773" y="198"/>
                  </a:lnTo>
                  <a:lnTo>
                    <a:pt x="773" y="201"/>
                  </a:lnTo>
                  <a:lnTo>
                    <a:pt x="776" y="201"/>
                  </a:lnTo>
                  <a:lnTo>
                    <a:pt x="776" y="204"/>
                  </a:lnTo>
                  <a:lnTo>
                    <a:pt x="776" y="204"/>
                  </a:lnTo>
                  <a:lnTo>
                    <a:pt x="776" y="201"/>
                  </a:lnTo>
                  <a:lnTo>
                    <a:pt x="779" y="204"/>
                  </a:lnTo>
                  <a:lnTo>
                    <a:pt x="779" y="204"/>
                  </a:lnTo>
                  <a:lnTo>
                    <a:pt x="781" y="204"/>
                  </a:lnTo>
                  <a:lnTo>
                    <a:pt x="787" y="206"/>
                  </a:lnTo>
                  <a:lnTo>
                    <a:pt x="789" y="206"/>
                  </a:lnTo>
                  <a:lnTo>
                    <a:pt x="792" y="204"/>
                  </a:lnTo>
                  <a:lnTo>
                    <a:pt x="789" y="204"/>
                  </a:lnTo>
                  <a:lnTo>
                    <a:pt x="789" y="204"/>
                  </a:lnTo>
                  <a:lnTo>
                    <a:pt x="787" y="201"/>
                  </a:lnTo>
                  <a:lnTo>
                    <a:pt x="787" y="198"/>
                  </a:lnTo>
                  <a:lnTo>
                    <a:pt x="787" y="198"/>
                  </a:lnTo>
                  <a:lnTo>
                    <a:pt x="787" y="198"/>
                  </a:lnTo>
                  <a:lnTo>
                    <a:pt x="789" y="196"/>
                  </a:lnTo>
                  <a:lnTo>
                    <a:pt x="787" y="196"/>
                  </a:lnTo>
                  <a:lnTo>
                    <a:pt x="789" y="196"/>
                  </a:lnTo>
                  <a:lnTo>
                    <a:pt x="789" y="196"/>
                  </a:lnTo>
                  <a:lnTo>
                    <a:pt x="792" y="196"/>
                  </a:lnTo>
                  <a:lnTo>
                    <a:pt x="792" y="193"/>
                  </a:lnTo>
                  <a:lnTo>
                    <a:pt x="792" y="193"/>
                  </a:lnTo>
                  <a:lnTo>
                    <a:pt x="787" y="190"/>
                  </a:lnTo>
                  <a:lnTo>
                    <a:pt x="787" y="188"/>
                  </a:lnTo>
                  <a:lnTo>
                    <a:pt x="787" y="188"/>
                  </a:lnTo>
                  <a:lnTo>
                    <a:pt x="787" y="188"/>
                  </a:lnTo>
                  <a:lnTo>
                    <a:pt x="787" y="188"/>
                  </a:lnTo>
                  <a:lnTo>
                    <a:pt x="789" y="188"/>
                  </a:lnTo>
                  <a:lnTo>
                    <a:pt x="789" y="185"/>
                  </a:lnTo>
                  <a:lnTo>
                    <a:pt x="789" y="185"/>
                  </a:lnTo>
                  <a:lnTo>
                    <a:pt x="789" y="182"/>
                  </a:lnTo>
                  <a:lnTo>
                    <a:pt x="787" y="182"/>
                  </a:lnTo>
                  <a:lnTo>
                    <a:pt x="784" y="177"/>
                  </a:lnTo>
                  <a:lnTo>
                    <a:pt x="784" y="174"/>
                  </a:lnTo>
                  <a:lnTo>
                    <a:pt x="784" y="174"/>
                  </a:lnTo>
                  <a:lnTo>
                    <a:pt x="787" y="174"/>
                  </a:lnTo>
                  <a:lnTo>
                    <a:pt x="789" y="177"/>
                  </a:lnTo>
                  <a:lnTo>
                    <a:pt x="792" y="177"/>
                  </a:lnTo>
                  <a:lnTo>
                    <a:pt x="792" y="174"/>
                  </a:lnTo>
                  <a:lnTo>
                    <a:pt x="792" y="171"/>
                  </a:lnTo>
                  <a:lnTo>
                    <a:pt x="792" y="166"/>
                  </a:lnTo>
                  <a:lnTo>
                    <a:pt x="789" y="163"/>
                  </a:lnTo>
                  <a:lnTo>
                    <a:pt x="787" y="163"/>
                  </a:lnTo>
                  <a:lnTo>
                    <a:pt x="784" y="161"/>
                  </a:lnTo>
                  <a:lnTo>
                    <a:pt x="773" y="161"/>
                  </a:lnTo>
                  <a:lnTo>
                    <a:pt x="771" y="158"/>
                  </a:lnTo>
                  <a:lnTo>
                    <a:pt x="763" y="158"/>
                  </a:lnTo>
                  <a:lnTo>
                    <a:pt x="763" y="158"/>
                  </a:lnTo>
                  <a:lnTo>
                    <a:pt x="763" y="155"/>
                  </a:lnTo>
                  <a:lnTo>
                    <a:pt x="765" y="155"/>
                  </a:lnTo>
                  <a:lnTo>
                    <a:pt x="765" y="155"/>
                  </a:lnTo>
                  <a:lnTo>
                    <a:pt x="763" y="155"/>
                  </a:lnTo>
                  <a:lnTo>
                    <a:pt x="763" y="155"/>
                  </a:lnTo>
                  <a:lnTo>
                    <a:pt x="760" y="153"/>
                  </a:lnTo>
                  <a:lnTo>
                    <a:pt x="760" y="153"/>
                  </a:lnTo>
                  <a:lnTo>
                    <a:pt x="755" y="155"/>
                  </a:lnTo>
                  <a:lnTo>
                    <a:pt x="755" y="155"/>
                  </a:lnTo>
                  <a:lnTo>
                    <a:pt x="755" y="153"/>
                  </a:lnTo>
                  <a:lnTo>
                    <a:pt x="755" y="153"/>
                  </a:lnTo>
                  <a:lnTo>
                    <a:pt x="755" y="150"/>
                  </a:lnTo>
                  <a:lnTo>
                    <a:pt x="755" y="150"/>
                  </a:lnTo>
                  <a:lnTo>
                    <a:pt x="755" y="147"/>
                  </a:lnTo>
                  <a:lnTo>
                    <a:pt x="749" y="145"/>
                  </a:lnTo>
                  <a:lnTo>
                    <a:pt x="747" y="145"/>
                  </a:lnTo>
                  <a:lnTo>
                    <a:pt x="747" y="145"/>
                  </a:lnTo>
                  <a:lnTo>
                    <a:pt x="744" y="139"/>
                  </a:lnTo>
                  <a:lnTo>
                    <a:pt x="744" y="139"/>
                  </a:lnTo>
                  <a:lnTo>
                    <a:pt x="744" y="139"/>
                  </a:lnTo>
                  <a:lnTo>
                    <a:pt x="741" y="139"/>
                  </a:lnTo>
                  <a:lnTo>
                    <a:pt x="741" y="142"/>
                  </a:lnTo>
                  <a:lnTo>
                    <a:pt x="739" y="142"/>
                  </a:lnTo>
                  <a:lnTo>
                    <a:pt x="739" y="142"/>
                  </a:lnTo>
                  <a:lnTo>
                    <a:pt x="736" y="142"/>
                  </a:lnTo>
                  <a:lnTo>
                    <a:pt x="736" y="139"/>
                  </a:lnTo>
                  <a:lnTo>
                    <a:pt x="736" y="139"/>
                  </a:lnTo>
                  <a:lnTo>
                    <a:pt x="733" y="142"/>
                  </a:lnTo>
                  <a:lnTo>
                    <a:pt x="731" y="145"/>
                  </a:lnTo>
                  <a:lnTo>
                    <a:pt x="728" y="145"/>
                  </a:lnTo>
                  <a:lnTo>
                    <a:pt x="728" y="145"/>
                  </a:lnTo>
                  <a:lnTo>
                    <a:pt x="725" y="142"/>
                  </a:lnTo>
                  <a:lnTo>
                    <a:pt x="725" y="142"/>
                  </a:lnTo>
                  <a:lnTo>
                    <a:pt x="723" y="142"/>
                  </a:lnTo>
                  <a:lnTo>
                    <a:pt x="720" y="142"/>
                  </a:lnTo>
                  <a:lnTo>
                    <a:pt x="715" y="142"/>
                  </a:lnTo>
                  <a:lnTo>
                    <a:pt x="709" y="142"/>
                  </a:lnTo>
                  <a:lnTo>
                    <a:pt x="704" y="139"/>
                  </a:lnTo>
                  <a:lnTo>
                    <a:pt x="704" y="137"/>
                  </a:lnTo>
                  <a:lnTo>
                    <a:pt x="704" y="137"/>
                  </a:lnTo>
                  <a:lnTo>
                    <a:pt x="704" y="134"/>
                  </a:lnTo>
                  <a:lnTo>
                    <a:pt x="704" y="134"/>
                  </a:lnTo>
                  <a:lnTo>
                    <a:pt x="701" y="131"/>
                  </a:lnTo>
                  <a:lnTo>
                    <a:pt x="701" y="131"/>
                  </a:lnTo>
                  <a:lnTo>
                    <a:pt x="699" y="131"/>
                  </a:lnTo>
                  <a:lnTo>
                    <a:pt x="699" y="131"/>
                  </a:lnTo>
                  <a:lnTo>
                    <a:pt x="693" y="126"/>
                  </a:lnTo>
                  <a:lnTo>
                    <a:pt x="693" y="126"/>
                  </a:lnTo>
                  <a:lnTo>
                    <a:pt x="691" y="126"/>
                  </a:lnTo>
                  <a:lnTo>
                    <a:pt x="691" y="126"/>
                  </a:lnTo>
                  <a:lnTo>
                    <a:pt x="691" y="126"/>
                  </a:lnTo>
                  <a:lnTo>
                    <a:pt x="693" y="126"/>
                  </a:lnTo>
                  <a:lnTo>
                    <a:pt x="693" y="123"/>
                  </a:lnTo>
                  <a:lnTo>
                    <a:pt x="693" y="123"/>
                  </a:lnTo>
                  <a:lnTo>
                    <a:pt x="696" y="121"/>
                  </a:lnTo>
                  <a:lnTo>
                    <a:pt x="693" y="121"/>
                  </a:lnTo>
                  <a:lnTo>
                    <a:pt x="693" y="118"/>
                  </a:lnTo>
                  <a:lnTo>
                    <a:pt x="693" y="115"/>
                  </a:lnTo>
                  <a:lnTo>
                    <a:pt x="691" y="115"/>
                  </a:lnTo>
                  <a:lnTo>
                    <a:pt x="688" y="118"/>
                  </a:lnTo>
                  <a:lnTo>
                    <a:pt x="685" y="121"/>
                  </a:lnTo>
                  <a:lnTo>
                    <a:pt x="680" y="123"/>
                  </a:lnTo>
                  <a:lnTo>
                    <a:pt x="677" y="126"/>
                  </a:lnTo>
                  <a:lnTo>
                    <a:pt x="675" y="126"/>
                  </a:lnTo>
                  <a:lnTo>
                    <a:pt x="667" y="129"/>
                  </a:lnTo>
                  <a:lnTo>
                    <a:pt x="664" y="129"/>
                  </a:lnTo>
                  <a:lnTo>
                    <a:pt x="659" y="129"/>
                  </a:lnTo>
                  <a:lnTo>
                    <a:pt x="659" y="129"/>
                  </a:lnTo>
                  <a:lnTo>
                    <a:pt x="659" y="129"/>
                  </a:lnTo>
                  <a:lnTo>
                    <a:pt x="661" y="126"/>
                  </a:lnTo>
                  <a:lnTo>
                    <a:pt x="664" y="126"/>
                  </a:lnTo>
                  <a:lnTo>
                    <a:pt x="664" y="126"/>
                  </a:lnTo>
                  <a:lnTo>
                    <a:pt x="661" y="123"/>
                  </a:lnTo>
                  <a:lnTo>
                    <a:pt x="661" y="123"/>
                  </a:lnTo>
                  <a:lnTo>
                    <a:pt x="656" y="121"/>
                  </a:lnTo>
                  <a:lnTo>
                    <a:pt x="653" y="118"/>
                  </a:lnTo>
                  <a:lnTo>
                    <a:pt x="656" y="118"/>
                  </a:lnTo>
                  <a:lnTo>
                    <a:pt x="656" y="118"/>
                  </a:lnTo>
                  <a:lnTo>
                    <a:pt x="659" y="121"/>
                  </a:lnTo>
                  <a:lnTo>
                    <a:pt x="659" y="115"/>
                  </a:lnTo>
                  <a:lnTo>
                    <a:pt x="659" y="110"/>
                  </a:lnTo>
                  <a:lnTo>
                    <a:pt x="659" y="105"/>
                  </a:lnTo>
                  <a:lnTo>
                    <a:pt x="659" y="102"/>
                  </a:lnTo>
                  <a:lnTo>
                    <a:pt x="659" y="99"/>
                  </a:lnTo>
                  <a:lnTo>
                    <a:pt x="659" y="99"/>
                  </a:lnTo>
                  <a:lnTo>
                    <a:pt x="661" y="97"/>
                  </a:lnTo>
                  <a:lnTo>
                    <a:pt x="659" y="97"/>
                  </a:lnTo>
                  <a:lnTo>
                    <a:pt x="659" y="97"/>
                  </a:lnTo>
                  <a:lnTo>
                    <a:pt x="659" y="97"/>
                  </a:lnTo>
                  <a:lnTo>
                    <a:pt x="659" y="94"/>
                  </a:lnTo>
                  <a:lnTo>
                    <a:pt x="661" y="91"/>
                  </a:lnTo>
                  <a:lnTo>
                    <a:pt x="661" y="89"/>
                  </a:lnTo>
                  <a:lnTo>
                    <a:pt x="661" y="86"/>
                  </a:lnTo>
                  <a:lnTo>
                    <a:pt x="661" y="86"/>
                  </a:lnTo>
                  <a:lnTo>
                    <a:pt x="661" y="83"/>
                  </a:lnTo>
                  <a:lnTo>
                    <a:pt x="664" y="83"/>
                  </a:lnTo>
                  <a:lnTo>
                    <a:pt x="664" y="83"/>
                  </a:lnTo>
                  <a:lnTo>
                    <a:pt x="664" y="86"/>
                  </a:lnTo>
                  <a:lnTo>
                    <a:pt x="667" y="89"/>
                  </a:lnTo>
                  <a:lnTo>
                    <a:pt x="667" y="86"/>
                  </a:lnTo>
                  <a:lnTo>
                    <a:pt x="669" y="86"/>
                  </a:lnTo>
                  <a:lnTo>
                    <a:pt x="669" y="83"/>
                  </a:lnTo>
                  <a:lnTo>
                    <a:pt x="672" y="83"/>
                  </a:lnTo>
                  <a:lnTo>
                    <a:pt x="669" y="81"/>
                  </a:lnTo>
                  <a:lnTo>
                    <a:pt x="669" y="81"/>
                  </a:lnTo>
                  <a:lnTo>
                    <a:pt x="667" y="81"/>
                  </a:lnTo>
                  <a:lnTo>
                    <a:pt x="667" y="78"/>
                  </a:lnTo>
                  <a:lnTo>
                    <a:pt x="669" y="75"/>
                  </a:lnTo>
                  <a:lnTo>
                    <a:pt x="669" y="75"/>
                  </a:lnTo>
                  <a:lnTo>
                    <a:pt x="669" y="78"/>
                  </a:lnTo>
                  <a:lnTo>
                    <a:pt x="669" y="78"/>
                  </a:lnTo>
                  <a:lnTo>
                    <a:pt x="672" y="78"/>
                  </a:lnTo>
                  <a:lnTo>
                    <a:pt x="672" y="75"/>
                  </a:lnTo>
                  <a:lnTo>
                    <a:pt x="672" y="75"/>
                  </a:lnTo>
                  <a:lnTo>
                    <a:pt x="675" y="75"/>
                  </a:lnTo>
                  <a:lnTo>
                    <a:pt x="675" y="75"/>
                  </a:lnTo>
                  <a:lnTo>
                    <a:pt x="677" y="73"/>
                  </a:lnTo>
                  <a:lnTo>
                    <a:pt x="677" y="73"/>
                  </a:lnTo>
                  <a:lnTo>
                    <a:pt x="680" y="70"/>
                  </a:lnTo>
                  <a:lnTo>
                    <a:pt x="680" y="67"/>
                  </a:lnTo>
                  <a:lnTo>
                    <a:pt x="675" y="51"/>
                  </a:lnTo>
                  <a:lnTo>
                    <a:pt x="675" y="51"/>
                  </a:lnTo>
                  <a:lnTo>
                    <a:pt x="675" y="51"/>
                  </a:lnTo>
                  <a:lnTo>
                    <a:pt x="675" y="49"/>
                  </a:lnTo>
                  <a:lnTo>
                    <a:pt x="672" y="46"/>
                  </a:lnTo>
                  <a:lnTo>
                    <a:pt x="672" y="46"/>
                  </a:lnTo>
                  <a:lnTo>
                    <a:pt x="672" y="46"/>
                  </a:lnTo>
                  <a:lnTo>
                    <a:pt x="669" y="46"/>
                  </a:lnTo>
                  <a:lnTo>
                    <a:pt x="667" y="43"/>
                  </a:lnTo>
                  <a:lnTo>
                    <a:pt x="664" y="43"/>
                  </a:lnTo>
                  <a:lnTo>
                    <a:pt x="664" y="41"/>
                  </a:lnTo>
                  <a:lnTo>
                    <a:pt x="661" y="41"/>
                  </a:lnTo>
                  <a:lnTo>
                    <a:pt x="659" y="41"/>
                  </a:lnTo>
                  <a:lnTo>
                    <a:pt x="653" y="41"/>
                  </a:lnTo>
                  <a:lnTo>
                    <a:pt x="653" y="41"/>
                  </a:lnTo>
                  <a:lnTo>
                    <a:pt x="651" y="41"/>
                  </a:lnTo>
                  <a:lnTo>
                    <a:pt x="651" y="38"/>
                  </a:lnTo>
                  <a:lnTo>
                    <a:pt x="648" y="35"/>
                  </a:lnTo>
                  <a:lnTo>
                    <a:pt x="648" y="35"/>
                  </a:lnTo>
                  <a:lnTo>
                    <a:pt x="645" y="33"/>
                  </a:lnTo>
                  <a:lnTo>
                    <a:pt x="643" y="33"/>
                  </a:lnTo>
                  <a:lnTo>
                    <a:pt x="637" y="30"/>
                  </a:lnTo>
                  <a:lnTo>
                    <a:pt x="629" y="33"/>
                  </a:lnTo>
                  <a:lnTo>
                    <a:pt x="627" y="33"/>
                  </a:lnTo>
                  <a:lnTo>
                    <a:pt x="621" y="27"/>
                  </a:lnTo>
                  <a:lnTo>
                    <a:pt x="619" y="27"/>
                  </a:lnTo>
                  <a:lnTo>
                    <a:pt x="616" y="25"/>
                  </a:lnTo>
                  <a:lnTo>
                    <a:pt x="616" y="25"/>
                  </a:lnTo>
                  <a:lnTo>
                    <a:pt x="616" y="22"/>
                  </a:lnTo>
                  <a:lnTo>
                    <a:pt x="619" y="17"/>
                  </a:lnTo>
                  <a:lnTo>
                    <a:pt x="621" y="14"/>
                  </a:lnTo>
                  <a:lnTo>
                    <a:pt x="621" y="11"/>
                  </a:lnTo>
                  <a:lnTo>
                    <a:pt x="619" y="11"/>
                  </a:lnTo>
                  <a:lnTo>
                    <a:pt x="616" y="9"/>
                  </a:lnTo>
                  <a:lnTo>
                    <a:pt x="613" y="9"/>
                  </a:lnTo>
                  <a:lnTo>
                    <a:pt x="611" y="9"/>
                  </a:lnTo>
                  <a:lnTo>
                    <a:pt x="608" y="6"/>
                  </a:lnTo>
                  <a:lnTo>
                    <a:pt x="608" y="6"/>
                  </a:lnTo>
                  <a:lnTo>
                    <a:pt x="603" y="3"/>
                  </a:lnTo>
                  <a:lnTo>
                    <a:pt x="597" y="3"/>
                  </a:lnTo>
                  <a:lnTo>
                    <a:pt x="595" y="3"/>
                  </a:lnTo>
                  <a:lnTo>
                    <a:pt x="589" y="6"/>
                  </a:lnTo>
                  <a:lnTo>
                    <a:pt x="587" y="3"/>
                  </a:lnTo>
                  <a:lnTo>
                    <a:pt x="587" y="6"/>
                  </a:lnTo>
                  <a:lnTo>
                    <a:pt x="587" y="6"/>
                  </a:lnTo>
                  <a:lnTo>
                    <a:pt x="587" y="11"/>
                  </a:lnTo>
                  <a:lnTo>
                    <a:pt x="584" y="17"/>
                  </a:lnTo>
                  <a:lnTo>
                    <a:pt x="584" y="25"/>
                  </a:lnTo>
                  <a:lnTo>
                    <a:pt x="581" y="27"/>
                  </a:lnTo>
                  <a:lnTo>
                    <a:pt x="581" y="30"/>
                  </a:lnTo>
                  <a:lnTo>
                    <a:pt x="581" y="33"/>
                  </a:lnTo>
                  <a:lnTo>
                    <a:pt x="581" y="30"/>
                  </a:lnTo>
                  <a:lnTo>
                    <a:pt x="579" y="30"/>
                  </a:lnTo>
                  <a:lnTo>
                    <a:pt x="573" y="27"/>
                  </a:lnTo>
                  <a:lnTo>
                    <a:pt x="565" y="25"/>
                  </a:lnTo>
                  <a:lnTo>
                    <a:pt x="557" y="19"/>
                  </a:lnTo>
                  <a:lnTo>
                    <a:pt x="552" y="17"/>
                  </a:lnTo>
                  <a:lnTo>
                    <a:pt x="544" y="11"/>
                  </a:lnTo>
                  <a:lnTo>
                    <a:pt x="536" y="9"/>
                  </a:lnTo>
                  <a:lnTo>
                    <a:pt x="531" y="6"/>
                  </a:lnTo>
                  <a:lnTo>
                    <a:pt x="523" y="0"/>
                  </a:lnTo>
                  <a:lnTo>
                    <a:pt x="520" y="0"/>
                  </a:lnTo>
                  <a:lnTo>
                    <a:pt x="520" y="0"/>
                  </a:lnTo>
                  <a:lnTo>
                    <a:pt x="517" y="3"/>
                  </a:lnTo>
                  <a:lnTo>
                    <a:pt x="517" y="6"/>
                  </a:lnTo>
                  <a:lnTo>
                    <a:pt x="517" y="6"/>
                  </a:lnTo>
                  <a:lnTo>
                    <a:pt x="517" y="9"/>
                  </a:lnTo>
                  <a:lnTo>
                    <a:pt x="520" y="11"/>
                  </a:lnTo>
                  <a:lnTo>
                    <a:pt x="520" y="14"/>
                  </a:lnTo>
                  <a:lnTo>
                    <a:pt x="520" y="17"/>
                  </a:lnTo>
                  <a:lnTo>
                    <a:pt x="520" y="17"/>
                  </a:lnTo>
                  <a:lnTo>
                    <a:pt x="520" y="17"/>
                  </a:lnTo>
                  <a:lnTo>
                    <a:pt x="520" y="22"/>
                  </a:lnTo>
                  <a:lnTo>
                    <a:pt x="517" y="25"/>
                  </a:lnTo>
                  <a:lnTo>
                    <a:pt x="517" y="27"/>
                  </a:lnTo>
                  <a:lnTo>
                    <a:pt x="517" y="27"/>
                  </a:lnTo>
                  <a:lnTo>
                    <a:pt x="517" y="27"/>
                  </a:lnTo>
                  <a:lnTo>
                    <a:pt x="517" y="27"/>
                  </a:lnTo>
                  <a:lnTo>
                    <a:pt x="517" y="30"/>
                  </a:lnTo>
                  <a:lnTo>
                    <a:pt x="517" y="30"/>
                  </a:lnTo>
                  <a:lnTo>
                    <a:pt x="517" y="30"/>
                  </a:lnTo>
                  <a:lnTo>
                    <a:pt x="517" y="33"/>
                  </a:lnTo>
                  <a:lnTo>
                    <a:pt x="517" y="33"/>
                  </a:lnTo>
                  <a:lnTo>
                    <a:pt x="517" y="35"/>
                  </a:lnTo>
                  <a:lnTo>
                    <a:pt x="517" y="35"/>
                  </a:lnTo>
                  <a:lnTo>
                    <a:pt x="517" y="38"/>
                  </a:lnTo>
                  <a:lnTo>
                    <a:pt x="517" y="38"/>
                  </a:lnTo>
                  <a:lnTo>
                    <a:pt x="517" y="38"/>
                  </a:lnTo>
                  <a:lnTo>
                    <a:pt x="517" y="41"/>
                  </a:lnTo>
                  <a:lnTo>
                    <a:pt x="517" y="41"/>
                  </a:lnTo>
                  <a:lnTo>
                    <a:pt x="517" y="41"/>
                  </a:lnTo>
                  <a:lnTo>
                    <a:pt x="517" y="41"/>
                  </a:lnTo>
                  <a:lnTo>
                    <a:pt x="517" y="43"/>
                  </a:lnTo>
                  <a:lnTo>
                    <a:pt x="515" y="49"/>
                  </a:lnTo>
                  <a:lnTo>
                    <a:pt x="512" y="51"/>
                  </a:lnTo>
                  <a:lnTo>
                    <a:pt x="509" y="57"/>
                  </a:lnTo>
                  <a:lnTo>
                    <a:pt x="507" y="62"/>
                  </a:lnTo>
                  <a:lnTo>
                    <a:pt x="507" y="62"/>
                  </a:lnTo>
                  <a:lnTo>
                    <a:pt x="507" y="62"/>
                  </a:lnTo>
                  <a:lnTo>
                    <a:pt x="507" y="62"/>
                  </a:lnTo>
                  <a:lnTo>
                    <a:pt x="507" y="62"/>
                  </a:lnTo>
                  <a:lnTo>
                    <a:pt x="507" y="65"/>
                  </a:lnTo>
                  <a:lnTo>
                    <a:pt x="507" y="65"/>
                  </a:lnTo>
                  <a:lnTo>
                    <a:pt x="504" y="70"/>
                  </a:lnTo>
                  <a:lnTo>
                    <a:pt x="504" y="70"/>
                  </a:lnTo>
                  <a:lnTo>
                    <a:pt x="504" y="70"/>
                  </a:lnTo>
                  <a:lnTo>
                    <a:pt x="501" y="73"/>
                  </a:lnTo>
                  <a:lnTo>
                    <a:pt x="501" y="73"/>
                  </a:lnTo>
                  <a:lnTo>
                    <a:pt x="501" y="73"/>
                  </a:lnTo>
                  <a:lnTo>
                    <a:pt x="499" y="73"/>
                  </a:lnTo>
                  <a:lnTo>
                    <a:pt x="499" y="75"/>
                  </a:lnTo>
                  <a:lnTo>
                    <a:pt x="499" y="78"/>
                  </a:lnTo>
                  <a:lnTo>
                    <a:pt x="499" y="78"/>
                  </a:lnTo>
                  <a:lnTo>
                    <a:pt x="499" y="78"/>
                  </a:lnTo>
                  <a:lnTo>
                    <a:pt x="496" y="81"/>
                  </a:lnTo>
                  <a:lnTo>
                    <a:pt x="493" y="81"/>
                  </a:lnTo>
                  <a:lnTo>
                    <a:pt x="493" y="81"/>
                  </a:lnTo>
                  <a:lnTo>
                    <a:pt x="493" y="83"/>
                  </a:lnTo>
                  <a:lnTo>
                    <a:pt x="493" y="81"/>
                  </a:lnTo>
                  <a:lnTo>
                    <a:pt x="491" y="81"/>
                  </a:lnTo>
                  <a:lnTo>
                    <a:pt x="491" y="81"/>
                  </a:lnTo>
                  <a:lnTo>
                    <a:pt x="491" y="81"/>
                  </a:lnTo>
                  <a:lnTo>
                    <a:pt x="491" y="81"/>
                  </a:lnTo>
                  <a:lnTo>
                    <a:pt x="491" y="81"/>
                  </a:lnTo>
                  <a:lnTo>
                    <a:pt x="491" y="81"/>
                  </a:lnTo>
                  <a:lnTo>
                    <a:pt x="488" y="81"/>
                  </a:lnTo>
                  <a:lnTo>
                    <a:pt x="488" y="86"/>
                  </a:lnTo>
                  <a:lnTo>
                    <a:pt x="485" y="91"/>
                  </a:lnTo>
                  <a:lnTo>
                    <a:pt x="483" y="97"/>
                  </a:lnTo>
                  <a:lnTo>
                    <a:pt x="480" y="102"/>
                  </a:lnTo>
                  <a:lnTo>
                    <a:pt x="480" y="102"/>
                  </a:lnTo>
                  <a:lnTo>
                    <a:pt x="480" y="102"/>
                  </a:lnTo>
                  <a:lnTo>
                    <a:pt x="477" y="102"/>
                  </a:lnTo>
                  <a:lnTo>
                    <a:pt x="475" y="102"/>
                  </a:lnTo>
                  <a:lnTo>
                    <a:pt x="469" y="99"/>
                  </a:lnTo>
                  <a:lnTo>
                    <a:pt x="464" y="97"/>
                  </a:lnTo>
                  <a:lnTo>
                    <a:pt x="464" y="97"/>
                  </a:lnTo>
                  <a:lnTo>
                    <a:pt x="464" y="99"/>
                  </a:lnTo>
                  <a:lnTo>
                    <a:pt x="461" y="105"/>
                  </a:lnTo>
                  <a:lnTo>
                    <a:pt x="459" y="107"/>
                  </a:lnTo>
                  <a:lnTo>
                    <a:pt x="459" y="107"/>
                  </a:lnTo>
                  <a:lnTo>
                    <a:pt x="459" y="107"/>
                  </a:lnTo>
                  <a:lnTo>
                    <a:pt x="459" y="110"/>
                  </a:lnTo>
                  <a:lnTo>
                    <a:pt x="459" y="110"/>
                  </a:lnTo>
                  <a:lnTo>
                    <a:pt x="459" y="113"/>
                  </a:lnTo>
                  <a:lnTo>
                    <a:pt x="459" y="115"/>
                  </a:lnTo>
                  <a:lnTo>
                    <a:pt x="456" y="115"/>
                  </a:lnTo>
                  <a:lnTo>
                    <a:pt x="459" y="123"/>
                  </a:lnTo>
                  <a:lnTo>
                    <a:pt x="459" y="123"/>
                  </a:lnTo>
                  <a:lnTo>
                    <a:pt x="456" y="123"/>
                  </a:lnTo>
                  <a:lnTo>
                    <a:pt x="456" y="126"/>
                  </a:lnTo>
                  <a:lnTo>
                    <a:pt x="456" y="126"/>
                  </a:lnTo>
                  <a:lnTo>
                    <a:pt x="453" y="129"/>
                  </a:lnTo>
                  <a:lnTo>
                    <a:pt x="453" y="129"/>
                  </a:lnTo>
                  <a:lnTo>
                    <a:pt x="453" y="131"/>
                  </a:lnTo>
                  <a:lnTo>
                    <a:pt x="453" y="131"/>
                  </a:lnTo>
                  <a:lnTo>
                    <a:pt x="453" y="134"/>
                  </a:lnTo>
                  <a:lnTo>
                    <a:pt x="451" y="137"/>
                  </a:lnTo>
                  <a:lnTo>
                    <a:pt x="451" y="139"/>
                  </a:lnTo>
                  <a:lnTo>
                    <a:pt x="451" y="139"/>
                  </a:lnTo>
                  <a:lnTo>
                    <a:pt x="451" y="139"/>
                  </a:lnTo>
                  <a:lnTo>
                    <a:pt x="451" y="139"/>
                  </a:lnTo>
                  <a:lnTo>
                    <a:pt x="451" y="145"/>
                  </a:lnTo>
                  <a:lnTo>
                    <a:pt x="451" y="145"/>
                  </a:lnTo>
                  <a:lnTo>
                    <a:pt x="451" y="147"/>
                  </a:lnTo>
                  <a:lnTo>
                    <a:pt x="448" y="150"/>
                  </a:lnTo>
                  <a:lnTo>
                    <a:pt x="448" y="155"/>
                  </a:lnTo>
                  <a:lnTo>
                    <a:pt x="443" y="161"/>
                  </a:lnTo>
                  <a:lnTo>
                    <a:pt x="443" y="161"/>
                  </a:lnTo>
                  <a:lnTo>
                    <a:pt x="443" y="161"/>
                  </a:lnTo>
                  <a:lnTo>
                    <a:pt x="443" y="161"/>
                  </a:lnTo>
                  <a:lnTo>
                    <a:pt x="435" y="161"/>
                  </a:lnTo>
                  <a:lnTo>
                    <a:pt x="429" y="161"/>
                  </a:lnTo>
                  <a:lnTo>
                    <a:pt x="424" y="158"/>
                  </a:lnTo>
                  <a:lnTo>
                    <a:pt x="419" y="158"/>
                  </a:lnTo>
                  <a:lnTo>
                    <a:pt x="419" y="158"/>
                  </a:lnTo>
                  <a:lnTo>
                    <a:pt x="419" y="158"/>
                  </a:lnTo>
                  <a:lnTo>
                    <a:pt x="419" y="158"/>
                  </a:lnTo>
                  <a:lnTo>
                    <a:pt x="419" y="155"/>
                  </a:lnTo>
                  <a:lnTo>
                    <a:pt x="419" y="155"/>
                  </a:lnTo>
                  <a:lnTo>
                    <a:pt x="419" y="155"/>
                  </a:lnTo>
                  <a:lnTo>
                    <a:pt x="419" y="155"/>
                  </a:lnTo>
                  <a:lnTo>
                    <a:pt x="419" y="155"/>
                  </a:lnTo>
                  <a:lnTo>
                    <a:pt x="411" y="147"/>
                  </a:lnTo>
                  <a:lnTo>
                    <a:pt x="411" y="147"/>
                  </a:lnTo>
                  <a:lnTo>
                    <a:pt x="411" y="147"/>
                  </a:lnTo>
                  <a:lnTo>
                    <a:pt x="411" y="147"/>
                  </a:lnTo>
                  <a:lnTo>
                    <a:pt x="400" y="145"/>
                  </a:lnTo>
                  <a:lnTo>
                    <a:pt x="400" y="145"/>
                  </a:lnTo>
                  <a:lnTo>
                    <a:pt x="400" y="147"/>
                  </a:lnTo>
                  <a:lnTo>
                    <a:pt x="400" y="147"/>
                  </a:lnTo>
                  <a:lnTo>
                    <a:pt x="400" y="150"/>
                  </a:lnTo>
                  <a:lnTo>
                    <a:pt x="400" y="150"/>
                  </a:lnTo>
                  <a:lnTo>
                    <a:pt x="400" y="153"/>
                  </a:lnTo>
                  <a:lnTo>
                    <a:pt x="400" y="153"/>
                  </a:lnTo>
                  <a:lnTo>
                    <a:pt x="400" y="153"/>
                  </a:lnTo>
                  <a:lnTo>
                    <a:pt x="400" y="155"/>
                  </a:lnTo>
                  <a:lnTo>
                    <a:pt x="400" y="155"/>
                  </a:lnTo>
                  <a:lnTo>
                    <a:pt x="397" y="158"/>
                  </a:lnTo>
                  <a:lnTo>
                    <a:pt x="397" y="161"/>
                  </a:lnTo>
                  <a:lnTo>
                    <a:pt x="397" y="161"/>
                  </a:lnTo>
                  <a:lnTo>
                    <a:pt x="397" y="166"/>
                  </a:lnTo>
                  <a:lnTo>
                    <a:pt x="397" y="169"/>
                  </a:lnTo>
                  <a:lnTo>
                    <a:pt x="397" y="169"/>
                  </a:lnTo>
                  <a:lnTo>
                    <a:pt x="397" y="171"/>
                  </a:lnTo>
                  <a:lnTo>
                    <a:pt x="397" y="174"/>
                  </a:lnTo>
                  <a:lnTo>
                    <a:pt x="397" y="177"/>
                  </a:lnTo>
                  <a:lnTo>
                    <a:pt x="395" y="179"/>
                  </a:lnTo>
                  <a:lnTo>
                    <a:pt x="395" y="179"/>
                  </a:lnTo>
                  <a:lnTo>
                    <a:pt x="392" y="179"/>
                  </a:lnTo>
                  <a:lnTo>
                    <a:pt x="392" y="179"/>
                  </a:lnTo>
                  <a:lnTo>
                    <a:pt x="392" y="182"/>
                  </a:lnTo>
                  <a:lnTo>
                    <a:pt x="392" y="182"/>
                  </a:lnTo>
                  <a:lnTo>
                    <a:pt x="392" y="185"/>
                  </a:lnTo>
                  <a:lnTo>
                    <a:pt x="392" y="185"/>
                  </a:lnTo>
                  <a:lnTo>
                    <a:pt x="389" y="188"/>
                  </a:lnTo>
                  <a:lnTo>
                    <a:pt x="389" y="188"/>
                  </a:lnTo>
                  <a:lnTo>
                    <a:pt x="392" y="190"/>
                  </a:lnTo>
                  <a:lnTo>
                    <a:pt x="392" y="190"/>
                  </a:lnTo>
                  <a:lnTo>
                    <a:pt x="392" y="190"/>
                  </a:lnTo>
                  <a:lnTo>
                    <a:pt x="392" y="193"/>
                  </a:lnTo>
                  <a:lnTo>
                    <a:pt x="392" y="193"/>
                  </a:lnTo>
                  <a:lnTo>
                    <a:pt x="392" y="193"/>
                  </a:lnTo>
                  <a:lnTo>
                    <a:pt x="389" y="196"/>
                  </a:lnTo>
                  <a:lnTo>
                    <a:pt x="387" y="198"/>
                  </a:lnTo>
                  <a:lnTo>
                    <a:pt x="387" y="198"/>
                  </a:lnTo>
                  <a:lnTo>
                    <a:pt x="384" y="204"/>
                  </a:lnTo>
                  <a:lnTo>
                    <a:pt x="381" y="209"/>
                  </a:lnTo>
                  <a:lnTo>
                    <a:pt x="381" y="209"/>
                  </a:lnTo>
                  <a:lnTo>
                    <a:pt x="381" y="209"/>
                  </a:lnTo>
                  <a:lnTo>
                    <a:pt x="381" y="212"/>
                  </a:lnTo>
                  <a:lnTo>
                    <a:pt x="381" y="212"/>
                  </a:lnTo>
                  <a:lnTo>
                    <a:pt x="381" y="212"/>
                  </a:lnTo>
                  <a:lnTo>
                    <a:pt x="381" y="222"/>
                  </a:lnTo>
                  <a:lnTo>
                    <a:pt x="379" y="228"/>
                  </a:lnTo>
                  <a:lnTo>
                    <a:pt x="376" y="233"/>
                  </a:lnTo>
                  <a:lnTo>
                    <a:pt x="373" y="238"/>
                  </a:lnTo>
                  <a:lnTo>
                    <a:pt x="368" y="246"/>
                  </a:lnTo>
                  <a:lnTo>
                    <a:pt x="365" y="252"/>
                  </a:lnTo>
                  <a:lnTo>
                    <a:pt x="363" y="257"/>
                  </a:lnTo>
                  <a:lnTo>
                    <a:pt x="357" y="265"/>
                  </a:lnTo>
                  <a:lnTo>
                    <a:pt x="357" y="265"/>
                  </a:lnTo>
                  <a:lnTo>
                    <a:pt x="357" y="268"/>
                  </a:lnTo>
                  <a:lnTo>
                    <a:pt x="357" y="268"/>
                  </a:lnTo>
                  <a:lnTo>
                    <a:pt x="355" y="276"/>
                  </a:lnTo>
                  <a:lnTo>
                    <a:pt x="352" y="284"/>
                  </a:lnTo>
                  <a:lnTo>
                    <a:pt x="352" y="284"/>
                  </a:lnTo>
                  <a:lnTo>
                    <a:pt x="352" y="286"/>
                  </a:lnTo>
                  <a:lnTo>
                    <a:pt x="352" y="286"/>
                  </a:lnTo>
                  <a:lnTo>
                    <a:pt x="352" y="286"/>
                  </a:lnTo>
                  <a:lnTo>
                    <a:pt x="355" y="286"/>
                  </a:lnTo>
                  <a:lnTo>
                    <a:pt x="355" y="286"/>
                  </a:lnTo>
                  <a:lnTo>
                    <a:pt x="360" y="289"/>
                  </a:lnTo>
                  <a:lnTo>
                    <a:pt x="360" y="289"/>
                  </a:lnTo>
                  <a:lnTo>
                    <a:pt x="360" y="289"/>
                  </a:lnTo>
                  <a:lnTo>
                    <a:pt x="360" y="292"/>
                  </a:lnTo>
                  <a:lnTo>
                    <a:pt x="360" y="292"/>
                  </a:lnTo>
                  <a:lnTo>
                    <a:pt x="360" y="292"/>
                  </a:lnTo>
                  <a:lnTo>
                    <a:pt x="360" y="294"/>
                  </a:lnTo>
                  <a:lnTo>
                    <a:pt x="357" y="294"/>
                  </a:lnTo>
                  <a:lnTo>
                    <a:pt x="355" y="297"/>
                  </a:lnTo>
                  <a:lnTo>
                    <a:pt x="355" y="297"/>
                  </a:lnTo>
                  <a:lnTo>
                    <a:pt x="355" y="297"/>
                  </a:lnTo>
                  <a:lnTo>
                    <a:pt x="355" y="300"/>
                  </a:lnTo>
                  <a:lnTo>
                    <a:pt x="352" y="300"/>
                  </a:lnTo>
                  <a:lnTo>
                    <a:pt x="352" y="302"/>
                  </a:lnTo>
                  <a:lnTo>
                    <a:pt x="352" y="302"/>
                  </a:lnTo>
                  <a:lnTo>
                    <a:pt x="355" y="302"/>
                  </a:lnTo>
                  <a:lnTo>
                    <a:pt x="355" y="302"/>
                  </a:lnTo>
                  <a:lnTo>
                    <a:pt x="355" y="302"/>
                  </a:lnTo>
                  <a:lnTo>
                    <a:pt x="355" y="305"/>
                  </a:lnTo>
                  <a:lnTo>
                    <a:pt x="357" y="305"/>
                  </a:lnTo>
                  <a:lnTo>
                    <a:pt x="357" y="305"/>
                  </a:lnTo>
                  <a:lnTo>
                    <a:pt x="357" y="308"/>
                  </a:lnTo>
                  <a:lnTo>
                    <a:pt x="355" y="308"/>
                  </a:lnTo>
                  <a:lnTo>
                    <a:pt x="344" y="318"/>
                  </a:lnTo>
                  <a:lnTo>
                    <a:pt x="341" y="321"/>
                  </a:lnTo>
                  <a:lnTo>
                    <a:pt x="341" y="321"/>
                  </a:lnTo>
                  <a:lnTo>
                    <a:pt x="338" y="321"/>
                  </a:lnTo>
                  <a:lnTo>
                    <a:pt x="338" y="321"/>
                  </a:lnTo>
                  <a:lnTo>
                    <a:pt x="338" y="321"/>
                  </a:lnTo>
                  <a:lnTo>
                    <a:pt x="338" y="321"/>
                  </a:lnTo>
                  <a:lnTo>
                    <a:pt x="338" y="321"/>
                  </a:lnTo>
                  <a:lnTo>
                    <a:pt x="336" y="321"/>
                  </a:lnTo>
                  <a:lnTo>
                    <a:pt x="336" y="321"/>
                  </a:lnTo>
                  <a:lnTo>
                    <a:pt x="336" y="321"/>
                  </a:lnTo>
                  <a:lnTo>
                    <a:pt x="336" y="318"/>
                  </a:lnTo>
                  <a:lnTo>
                    <a:pt x="336" y="318"/>
                  </a:lnTo>
                  <a:lnTo>
                    <a:pt x="336" y="318"/>
                  </a:lnTo>
                  <a:lnTo>
                    <a:pt x="336" y="318"/>
                  </a:lnTo>
                  <a:lnTo>
                    <a:pt x="333" y="318"/>
                  </a:lnTo>
                  <a:lnTo>
                    <a:pt x="333" y="318"/>
                  </a:lnTo>
                  <a:lnTo>
                    <a:pt x="330" y="318"/>
                  </a:lnTo>
                  <a:lnTo>
                    <a:pt x="328" y="318"/>
                  </a:lnTo>
                  <a:lnTo>
                    <a:pt x="325" y="321"/>
                  </a:lnTo>
                  <a:lnTo>
                    <a:pt x="320" y="326"/>
                  </a:lnTo>
                  <a:lnTo>
                    <a:pt x="314" y="329"/>
                  </a:lnTo>
                  <a:lnTo>
                    <a:pt x="309" y="334"/>
                  </a:lnTo>
                  <a:lnTo>
                    <a:pt x="309" y="334"/>
                  </a:lnTo>
                  <a:lnTo>
                    <a:pt x="309" y="334"/>
                  </a:lnTo>
                  <a:lnTo>
                    <a:pt x="309" y="334"/>
                  </a:lnTo>
                  <a:lnTo>
                    <a:pt x="309" y="334"/>
                  </a:lnTo>
                  <a:lnTo>
                    <a:pt x="309" y="334"/>
                  </a:lnTo>
                  <a:lnTo>
                    <a:pt x="306" y="334"/>
                  </a:lnTo>
                  <a:lnTo>
                    <a:pt x="306" y="332"/>
                  </a:lnTo>
                  <a:lnTo>
                    <a:pt x="306" y="332"/>
                  </a:lnTo>
                  <a:lnTo>
                    <a:pt x="306" y="332"/>
                  </a:lnTo>
                  <a:lnTo>
                    <a:pt x="304" y="332"/>
                  </a:lnTo>
                  <a:lnTo>
                    <a:pt x="304" y="332"/>
                  </a:lnTo>
                  <a:lnTo>
                    <a:pt x="304" y="332"/>
                  </a:lnTo>
                  <a:lnTo>
                    <a:pt x="304" y="332"/>
                  </a:lnTo>
                  <a:lnTo>
                    <a:pt x="304" y="329"/>
                  </a:lnTo>
                  <a:lnTo>
                    <a:pt x="301" y="329"/>
                  </a:lnTo>
                  <a:lnTo>
                    <a:pt x="301" y="329"/>
                  </a:lnTo>
                  <a:lnTo>
                    <a:pt x="298" y="329"/>
                  </a:lnTo>
                  <a:lnTo>
                    <a:pt x="298" y="329"/>
                  </a:lnTo>
                  <a:lnTo>
                    <a:pt x="296" y="329"/>
                  </a:lnTo>
                  <a:lnTo>
                    <a:pt x="296" y="332"/>
                  </a:lnTo>
                  <a:lnTo>
                    <a:pt x="296" y="332"/>
                  </a:lnTo>
                  <a:lnTo>
                    <a:pt x="293" y="332"/>
                  </a:lnTo>
                  <a:lnTo>
                    <a:pt x="293" y="334"/>
                  </a:lnTo>
                  <a:lnTo>
                    <a:pt x="293" y="334"/>
                  </a:lnTo>
                  <a:lnTo>
                    <a:pt x="293" y="334"/>
                  </a:lnTo>
                  <a:lnTo>
                    <a:pt x="293" y="334"/>
                  </a:lnTo>
                  <a:lnTo>
                    <a:pt x="293" y="337"/>
                  </a:lnTo>
                  <a:lnTo>
                    <a:pt x="293" y="337"/>
                  </a:lnTo>
                  <a:lnTo>
                    <a:pt x="296" y="340"/>
                  </a:lnTo>
                  <a:lnTo>
                    <a:pt x="296" y="340"/>
                  </a:lnTo>
                  <a:lnTo>
                    <a:pt x="296" y="342"/>
                  </a:lnTo>
                  <a:lnTo>
                    <a:pt x="296" y="342"/>
                  </a:lnTo>
                  <a:lnTo>
                    <a:pt x="296" y="345"/>
                  </a:lnTo>
                  <a:lnTo>
                    <a:pt x="296" y="345"/>
                  </a:lnTo>
                  <a:lnTo>
                    <a:pt x="288" y="350"/>
                  </a:lnTo>
                  <a:lnTo>
                    <a:pt x="288" y="350"/>
                  </a:lnTo>
                  <a:lnTo>
                    <a:pt x="288" y="350"/>
                  </a:lnTo>
                  <a:lnTo>
                    <a:pt x="285" y="350"/>
                  </a:lnTo>
                  <a:lnTo>
                    <a:pt x="285" y="350"/>
                  </a:lnTo>
                  <a:lnTo>
                    <a:pt x="282" y="350"/>
                  </a:lnTo>
                  <a:lnTo>
                    <a:pt x="280" y="353"/>
                  </a:lnTo>
                  <a:lnTo>
                    <a:pt x="280" y="353"/>
                  </a:lnTo>
                  <a:lnTo>
                    <a:pt x="269" y="356"/>
                  </a:lnTo>
                  <a:lnTo>
                    <a:pt x="261" y="361"/>
                  </a:lnTo>
                  <a:lnTo>
                    <a:pt x="258" y="364"/>
                  </a:lnTo>
                  <a:lnTo>
                    <a:pt x="258" y="361"/>
                  </a:lnTo>
                  <a:lnTo>
                    <a:pt x="258" y="361"/>
                  </a:lnTo>
                  <a:lnTo>
                    <a:pt x="258" y="361"/>
                  </a:lnTo>
                  <a:lnTo>
                    <a:pt x="258" y="361"/>
                  </a:lnTo>
                  <a:lnTo>
                    <a:pt x="258" y="361"/>
                  </a:lnTo>
                  <a:lnTo>
                    <a:pt x="256" y="361"/>
                  </a:lnTo>
                  <a:lnTo>
                    <a:pt x="256" y="359"/>
                  </a:lnTo>
                  <a:lnTo>
                    <a:pt x="250" y="356"/>
                  </a:lnTo>
                  <a:lnTo>
                    <a:pt x="248" y="356"/>
                  </a:lnTo>
                  <a:lnTo>
                    <a:pt x="248" y="356"/>
                  </a:lnTo>
                  <a:lnTo>
                    <a:pt x="245" y="353"/>
                  </a:lnTo>
                  <a:lnTo>
                    <a:pt x="245" y="353"/>
                  </a:lnTo>
                  <a:lnTo>
                    <a:pt x="245" y="353"/>
                  </a:lnTo>
                  <a:lnTo>
                    <a:pt x="242" y="353"/>
                  </a:lnTo>
                  <a:lnTo>
                    <a:pt x="242" y="353"/>
                  </a:lnTo>
                  <a:lnTo>
                    <a:pt x="240" y="353"/>
                  </a:lnTo>
                  <a:lnTo>
                    <a:pt x="240" y="353"/>
                  </a:lnTo>
                  <a:lnTo>
                    <a:pt x="240" y="356"/>
                  </a:lnTo>
                  <a:lnTo>
                    <a:pt x="240" y="356"/>
                  </a:lnTo>
                  <a:lnTo>
                    <a:pt x="240" y="359"/>
                  </a:lnTo>
                  <a:lnTo>
                    <a:pt x="240" y="359"/>
                  </a:lnTo>
                  <a:lnTo>
                    <a:pt x="237" y="361"/>
                  </a:lnTo>
                  <a:lnTo>
                    <a:pt x="237" y="361"/>
                  </a:lnTo>
                  <a:lnTo>
                    <a:pt x="237" y="364"/>
                  </a:lnTo>
                  <a:lnTo>
                    <a:pt x="232" y="364"/>
                  </a:lnTo>
                  <a:lnTo>
                    <a:pt x="229" y="364"/>
                  </a:lnTo>
                  <a:lnTo>
                    <a:pt x="229" y="364"/>
                  </a:lnTo>
                  <a:lnTo>
                    <a:pt x="229" y="367"/>
                  </a:lnTo>
                  <a:lnTo>
                    <a:pt x="224" y="372"/>
                  </a:lnTo>
                  <a:lnTo>
                    <a:pt x="224" y="375"/>
                  </a:lnTo>
                  <a:lnTo>
                    <a:pt x="224" y="375"/>
                  </a:lnTo>
                  <a:lnTo>
                    <a:pt x="221" y="375"/>
                  </a:lnTo>
                  <a:lnTo>
                    <a:pt x="213" y="375"/>
                  </a:lnTo>
                  <a:lnTo>
                    <a:pt x="213" y="375"/>
                  </a:lnTo>
                  <a:lnTo>
                    <a:pt x="208" y="375"/>
                  </a:lnTo>
                  <a:lnTo>
                    <a:pt x="205" y="372"/>
                  </a:lnTo>
                  <a:lnTo>
                    <a:pt x="205" y="372"/>
                  </a:lnTo>
                  <a:lnTo>
                    <a:pt x="202" y="372"/>
                  </a:lnTo>
                  <a:lnTo>
                    <a:pt x="200" y="369"/>
                  </a:lnTo>
                  <a:lnTo>
                    <a:pt x="200" y="369"/>
                  </a:lnTo>
                  <a:lnTo>
                    <a:pt x="200" y="369"/>
                  </a:lnTo>
                  <a:lnTo>
                    <a:pt x="200" y="367"/>
                  </a:lnTo>
                  <a:lnTo>
                    <a:pt x="200" y="367"/>
                  </a:lnTo>
                  <a:lnTo>
                    <a:pt x="197" y="367"/>
                  </a:lnTo>
                  <a:lnTo>
                    <a:pt x="194" y="367"/>
                  </a:lnTo>
                  <a:lnTo>
                    <a:pt x="194" y="367"/>
                  </a:lnTo>
                  <a:lnTo>
                    <a:pt x="192" y="369"/>
                  </a:lnTo>
                  <a:lnTo>
                    <a:pt x="192" y="367"/>
                  </a:lnTo>
                  <a:lnTo>
                    <a:pt x="189" y="367"/>
                  </a:lnTo>
                  <a:lnTo>
                    <a:pt x="189" y="367"/>
                  </a:lnTo>
                  <a:lnTo>
                    <a:pt x="189" y="367"/>
                  </a:lnTo>
                  <a:lnTo>
                    <a:pt x="189" y="367"/>
                  </a:lnTo>
                  <a:lnTo>
                    <a:pt x="186" y="364"/>
                  </a:lnTo>
                  <a:lnTo>
                    <a:pt x="186" y="364"/>
                  </a:lnTo>
                  <a:lnTo>
                    <a:pt x="186" y="361"/>
                  </a:lnTo>
                  <a:lnTo>
                    <a:pt x="184" y="361"/>
                  </a:lnTo>
                  <a:lnTo>
                    <a:pt x="178" y="359"/>
                  </a:lnTo>
                  <a:lnTo>
                    <a:pt x="178" y="359"/>
                  </a:lnTo>
                  <a:lnTo>
                    <a:pt x="178" y="359"/>
                  </a:lnTo>
                  <a:lnTo>
                    <a:pt x="178" y="356"/>
                  </a:lnTo>
                  <a:lnTo>
                    <a:pt x="178" y="356"/>
                  </a:lnTo>
                  <a:lnTo>
                    <a:pt x="176" y="356"/>
                  </a:lnTo>
                  <a:lnTo>
                    <a:pt x="176" y="353"/>
                  </a:lnTo>
                  <a:lnTo>
                    <a:pt x="176" y="350"/>
                  </a:lnTo>
                  <a:lnTo>
                    <a:pt x="176" y="350"/>
                  </a:lnTo>
                  <a:lnTo>
                    <a:pt x="176" y="350"/>
                  </a:lnTo>
                  <a:lnTo>
                    <a:pt x="176" y="350"/>
                  </a:lnTo>
                  <a:lnTo>
                    <a:pt x="176" y="348"/>
                  </a:lnTo>
                  <a:lnTo>
                    <a:pt x="176" y="348"/>
                  </a:lnTo>
                  <a:lnTo>
                    <a:pt x="176" y="348"/>
                  </a:lnTo>
                  <a:lnTo>
                    <a:pt x="170" y="345"/>
                  </a:lnTo>
                  <a:lnTo>
                    <a:pt x="170" y="345"/>
                  </a:lnTo>
                  <a:lnTo>
                    <a:pt x="170" y="345"/>
                  </a:lnTo>
                  <a:lnTo>
                    <a:pt x="170" y="345"/>
                  </a:lnTo>
                  <a:lnTo>
                    <a:pt x="170" y="342"/>
                  </a:lnTo>
                  <a:lnTo>
                    <a:pt x="170" y="342"/>
                  </a:lnTo>
                  <a:lnTo>
                    <a:pt x="173" y="340"/>
                  </a:lnTo>
                  <a:lnTo>
                    <a:pt x="173" y="340"/>
                  </a:lnTo>
                  <a:lnTo>
                    <a:pt x="173" y="340"/>
                  </a:lnTo>
                  <a:lnTo>
                    <a:pt x="173" y="340"/>
                  </a:lnTo>
                  <a:lnTo>
                    <a:pt x="173" y="340"/>
                  </a:lnTo>
                  <a:lnTo>
                    <a:pt x="173" y="337"/>
                  </a:lnTo>
                  <a:lnTo>
                    <a:pt x="173" y="337"/>
                  </a:lnTo>
                  <a:lnTo>
                    <a:pt x="170" y="337"/>
                  </a:lnTo>
                  <a:lnTo>
                    <a:pt x="170" y="337"/>
                  </a:lnTo>
                  <a:lnTo>
                    <a:pt x="170" y="334"/>
                  </a:lnTo>
                  <a:lnTo>
                    <a:pt x="165" y="342"/>
                  </a:lnTo>
                  <a:lnTo>
                    <a:pt x="157" y="350"/>
                  </a:lnTo>
                  <a:lnTo>
                    <a:pt x="152" y="359"/>
                  </a:lnTo>
                  <a:lnTo>
                    <a:pt x="141" y="369"/>
                  </a:lnTo>
                  <a:lnTo>
                    <a:pt x="133" y="380"/>
                  </a:lnTo>
                  <a:lnTo>
                    <a:pt x="130" y="380"/>
                  </a:lnTo>
                  <a:lnTo>
                    <a:pt x="122" y="385"/>
                  </a:lnTo>
                  <a:lnTo>
                    <a:pt x="114" y="391"/>
                  </a:lnTo>
                  <a:lnTo>
                    <a:pt x="104" y="399"/>
                  </a:lnTo>
                  <a:lnTo>
                    <a:pt x="98" y="404"/>
                  </a:lnTo>
                  <a:lnTo>
                    <a:pt x="98" y="407"/>
                  </a:lnTo>
                  <a:lnTo>
                    <a:pt x="96" y="407"/>
                  </a:lnTo>
                  <a:lnTo>
                    <a:pt x="98" y="409"/>
                  </a:lnTo>
                  <a:lnTo>
                    <a:pt x="98" y="412"/>
                  </a:lnTo>
                  <a:lnTo>
                    <a:pt x="98" y="415"/>
                  </a:lnTo>
                  <a:lnTo>
                    <a:pt x="98" y="415"/>
                  </a:lnTo>
                  <a:lnTo>
                    <a:pt x="98" y="415"/>
                  </a:lnTo>
                  <a:lnTo>
                    <a:pt x="98" y="417"/>
                  </a:lnTo>
                  <a:lnTo>
                    <a:pt x="98" y="417"/>
                  </a:lnTo>
                  <a:lnTo>
                    <a:pt x="98" y="417"/>
                  </a:lnTo>
                  <a:lnTo>
                    <a:pt x="96" y="417"/>
                  </a:lnTo>
                  <a:lnTo>
                    <a:pt x="88" y="425"/>
                  </a:lnTo>
                  <a:lnTo>
                    <a:pt x="85" y="428"/>
                  </a:lnTo>
                  <a:lnTo>
                    <a:pt x="85" y="428"/>
                  </a:lnTo>
                  <a:lnTo>
                    <a:pt x="82" y="431"/>
                  </a:lnTo>
                  <a:lnTo>
                    <a:pt x="85" y="433"/>
                  </a:lnTo>
                  <a:lnTo>
                    <a:pt x="85" y="433"/>
                  </a:lnTo>
                  <a:lnTo>
                    <a:pt x="85" y="433"/>
                  </a:lnTo>
                  <a:lnTo>
                    <a:pt x="85" y="436"/>
                  </a:lnTo>
                  <a:lnTo>
                    <a:pt x="85" y="436"/>
                  </a:lnTo>
                  <a:lnTo>
                    <a:pt x="85" y="439"/>
                  </a:lnTo>
                  <a:lnTo>
                    <a:pt x="85" y="439"/>
                  </a:lnTo>
                  <a:lnTo>
                    <a:pt x="85" y="439"/>
                  </a:lnTo>
                  <a:lnTo>
                    <a:pt x="82" y="441"/>
                  </a:lnTo>
                  <a:lnTo>
                    <a:pt x="82" y="441"/>
                  </a:lnTo>
                  <a:lnTo>
                    <a:pt x="74" y="444"/>
                  </a:lnTo>
                  <a:lnTo>
                    <a:pt x="69" y="449"/>
                  </a:lnTo>
                  <a:lnTo>
                    <a:pt x="64" y="449"/>
                  </a:lnTo>
                  <a:lnTo>
                    <a:pt x="64" y="449"/>
                  </a:lnTo>
                  <a:lnTo>
                    <a:pt x="64" y="449"/>
                  </a:lnTo>
                  <a:lnTo>
                    <a:pt x="61" y="452"/>
                  </a:lnTo>
                  <a:lnTo>
                    <a:pt x="61" y="457"/>
                  </a:lnTo>
                  <a:lnTo>
                    <a:pt x="58" y="460"/>
                  </a:lnTo>
                  <a:lnTo>
                    <a:pt x="58" y="460"/>
                  </a:lnTo>
                  <a:lnTo>
                    <a:pt x="58" y="460"/>
                  </a:lnTo>
                  <a:lnTo>
                    <a:pt x="58" y="463"/>
                  </a:lnTo>
                  <a:lnTo>
                    <a:pt x="58" y="463"/>
                  </a:lnTo>
                  <a:lnTo>
                    <a:pt x="58" y="463"/>
                  </a:lnTo>
                  <a:lnTo>
                    <a:pt x="58" y="465"/>
                  </a:lnTo>
                  <a:lnTo>
                    <a:pt x="58" y="465"/>
                  </a:lnTo>
                  <a:lnTo>
                    <a:pt x="56" y="465"/>
                  </a:lnTo>
                  <a:lnTo>
                    <a:pt x="45" y="468"/>
                  </a:lnTo>
                  <a:lnTo>
                    <a:pt x="34" y="473"/>
                  </a:lnTo>
                  <a:lnTo>
                    <a:pt x="32" y="479"/>
                  </a:lnTo>
                  <a:lnTo>
                    <a:pt x="29" y="479"/>
                  </a:lnTo>
                  <a:lnTo>
                    <a:pt x="29" y="479"/>
                  </a:lnTo>
                  <a:lnTo>
                    <a:pt x="26" y="481"/>
                  </a:lnTo>
                  <a:lnTo>
                    <a:pt x="16" y="484"/>
                  </a:lnTo>
                  <a:lnTo>
                    <a:pt x="8" y="489"/>
                  </a:lnTo>
                  <a:lnTo>
                    <a:pt x="8" y="489"/>
                  </a:lnTo>
                  <a:lnTo>
                    <a:pt x="5" y="489"/>
                  </a:lnTo>
                  <a:lnTo>
                    <a:pt x="0" y="495"/>
                  </a:lnTo>
                  <a:lnTo>
                    <a:pt x="13" y="492"/>
                  </a:lnTo>
                  <a:lnTo>
                    <a:pt x="24" y="492"/>
                  </a:lnTo>
                  <a:lnTo>
                    <a:pt x="48" y="487"/>
                  </a:lnTo>
                  <a:lnTo>
                    <a:pt x="58" y="487"/>
                  </a:lnTo>
                  <a:lnTo>
                    <a:pt x="72" y="484"/>
                  </a:lnTo>
                  <a:lnTo>
                    <a:pt x="82" y="484"/>
                  </a:lnTo>
                  <a:lnTo>
                    <a:pt x="93" y="481"/>
                  </a:lnTo>
                  <a:lnTo>
                    <a:pt x="106" y="479"/>
                  </a:lnTo>
                  <a:lnTo>
                    <a:pt x="117" y="479"/>
                  </a:lnTo>
                  <a:lnTo>
                    <a:pt x="130" y="476"/>
                  </a:lnTo>
                  <a:lnTo>
                    <a:pt x="141" y="473"/>
                  </a:lnTo>
                  <a:lnTo>
                    <a:pt x="152" y="471"/>
                  </a:lnTo>
                  <a:lnTo>
                    <a:pt x="165" y="471"/>
                  </a:lnTo>
                  <a:lnTo>
                    <a:pt x="176" y="468"/>
                  </a:lnTo>
                  <a:lnTo>
                    <a:pt x="186" y="465"/>
                  </a:lnTo>
                  <a:lnTo>
                    <a:pt x="192" y="465"/>
                  </a:lnTo>
                  <a:lnTo>
                    <a:pt x="194" y="465"/>
                  </a:lnTo>
                  <a:lnTo>
                    <a:pt x="197" y="463"/>
                  </a:lnTo>
                  <a:lnTo>
                    <a:pt x="197" y="463"/>
                  </a:lnTo>
                  <a:lnTo>
                    <a:pt x="197" y="463"/>
                  </a:lnTo>
                  <a:lnTo>
                    <a:pt x="205" y="460"/>
                  </a:lnTo>
                  <a:lnTo>
                    <a:pt x="216" y="460"/>
                  </a:lnTo>
                  <a:lnTo>
                    <a:pt x="226" y="457"/>
                  </a:lnTo>
                  <a:lnTo>
                    <a:pt x="226" y="460"/>
                  </a:lnTo>
                  <a:lnTo>
                    <a:pt x="226" y="460"/>
                  </a:lnTo>
                  <a:lnTo>
                    <a:pt x="229" y="460"/>
                  </a:lnTo>
                  <a:lnTo>
                    <a:pt x="229" y="460"/>
                  </a:lnTo>
                  <a:lnTo>
                    <a:pt x="250" y="457"/>
                  </a:lnTo>
                  <a:lnTo>
                    <a:pt x="269" y="455"/>
                  </a:lnTo>
                  <a:lnTo>
                    <a:pt x="288" y="449"/>
                  </a:lnTo>
                  <a:lnTo>
                    <a:pt x="309" y="447"/>
                  </a:lnTo>
                  <a:lnTo>
                    <a:pt x="328" y="444"/>
                  </a:lnTo>
                  <a:lnTo>
                    <a:pt x="347" y="441"/>
                  </a:lnTo>
                  <a:lnTo>
                    <a:pt x="368" y="439"/>
                  </a:lnTo>
                  <a:lnTo>
                    <a:pt x="387" y="433"/>
                  </a:lnTo>
                  <a:lnTo>
                    <a:pt x="405" y="431"/>
                  </a:lnTo>
                  <a:lnTo>
                    <a:pt x="427" y="428"/>
                  </a:lnTo>
                  <a:lnTo>
                    <a:pt x="445" y="425"/>
                  </a:lnTo>
                  <a:lnTo>
                    <a:pt x="464" y="420"/>
                  </a:lnTo>
                  <a:lnTo>
                    <a:pt x="485" y="417"/>
                  </a:lnTo>
                  <a:lnTo>
                    <a:pt x="504" y="415"/>
                  </a:lnTo>
                  <a:lnTo>
                    <a:pt x="523" y="409"/>
                  </a:lnTo>
                  <a:lnTo>
                    <a:pt x="544" y="407"/>
                  </a:lnTo>
                  <a:lnTo>
                    <a:pt x="563" y="404"/>
                  </a:lnTo>
                  <a:lnTo>
                    <a:pt x="581" y="399"/>
                  </a:lnTo>
                  <a:lnTo>
                    <a:pt x="600" y="396"/>
                  </a:lnTo>
                  <a:lnTo>
                    <a:pt x="621" y="393"/>
                  </a:lnTo>
                  <a:lnTo>
                    <a:pt x="640" y="388"/>
                  </a:lnTo>
                  <a:lnTo>
                    <a:pt x="659" y="385"/>
                  </a:lnTo>
                  <a:lnTo>
                    <a:pt x="680" y="380"/>
                  </a:lnTo>
                  <a:lnTo>
                    <a:pt x="699" y="377"/>
                  </a:lnTo>
                  <a:lnTo>
                    <a:pt x="717" y="372"/>
                  </a:lnTo>
                  <a:lnTo>
                    <a:pt x="739" y="369"/>
                  </a:lnTo>
                  <a:lnTo>
                    <a:pt x="757" y="364"/>
                  </a:lnTo>
                  <a:lnTo>
                    <a:pt x="776" y="361"/>
                  </a:lnTo>
                  <a:lnTo>
                    <a:pt x="795" y="359"/>
                  </a:lnTo>
                  <a:lnTo>
                    <a:pt x="816" y="353"/>
                  </a:lnTo>
                  <a:lnTo>
                    <a:pt x="835" y="350"/>
                  </a:lnTo>
                  <a:lnTo>
                    <a:pt x="851" y="345"/>
                  </a:lnTo>
                  <a:lnTo>
                    <a:pt x="853" y="345"/>
                  </a:lnTo>
                  <a:lnTo>
                    <a:pt x="853" y="345"/>
                  </a:lnTo>
                  <a:lnTo>
                    <a:pt x="853" y="342"/>
                  </a:lnTo>
                  <a:lnTo>
                    <a:pt x="851" y="342"/>
                  </a:lnTo>
                  <a:lnTo>
                    <a:pt x="851" y="340"/>
                  </a:lnTo>
                  <a:lnTo>
                    <a:pt x="856" y="345"/>
                  </a:lnTo>
                  <a:lnTo>
                    <a:pt x="861" y="342"/>
                  </a:lnTo>
                  <a:lnTo>
                    <a:pt x="861" y="342"/>
                  </a:lnTo>
                  <a:lnTo>
                    <a:pt x="859" y="337"/>
                  </a:lnTo>
                  <a:lnTo>
                    <a:pt x="856" y="321"/>
                  </a:lnTo>
                  <a:lnTo>
                    <a:pt x="856" y="321"/>
                  </a:lnTo>
                  <a:lnTo>
                    <a:pt x="859" y="321"/>
                  </a:lnTo>
                  <a:lnTo>
                    <a:pt x="859" y="321"/>
                  </a:lnTo>
                  <a:lnTo>
                    <a:pt x="861" y="321"/>
                  </a:lnTo>
                  <a:lnTo>
                    <a:pt x="861" y="324"/>
                  </a:lnTo>
                  <a:lnTo>
                    <a:pt x="867" y="332"/>
                  </a:lnTo>
                  <a:lnTo>
                    <a:pt x="867" y="332"/>
                  </a:lnTo>
                  <a:lnTo>
                    <a:pt x="869" y="334"/>
                  </a:lnTo>
                  <a:lnTo>
                    <a:pt x="869" y="334"/>
                  </a:lnTo>
                  <a:lnTo>
                    <a:pt x="869" y="337"/>
                  </a:lnTo>
                  <a:lnTo>
                    <a:pt x="869" y="337"/>
                  </a:lnTo>
                  <a:lnTo>
                    <a:pt x="869" y="340"/>
                  </a:lnTo>
                  <a:lnTo>
                    <a:pt x="872" y="342"/>
                  </a:lnTo>
                  <a:lnTo>
                    <a:pt x="872" y="342"/>
                  </a:lnTo>
                  <a:lnTo>
                    <a:pt x="875" y="340"/>
                  </a:lnTo>
                  <a:lnTo>
                    <a:pt x="872" y="334"/>
                  </a:lnTo>
                  <a:lnTo>
                    <a:pt x="853" y="308"/>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13" name="Freeform 11">
              <a:extLst>
                <a:ext uri="{FF2B5EF4-FFF2-40B4-BE49-F238E27FC236}">
                  <a16:creationId xmlns="" xmlns:a16="http://schemas.microsoft.com/office/drawing/2014/main" id="{A99BBA38-B5B9-4CDA-9A20-653544D9BA35}"/>
                </a:ext>
              </a:extLst>
            </p:cNvPr>
            <p:cNvSpPr>
              <a:spLocks/>
            </p:cNvSpPr>
            <p:nvPr/>
          </p:nvSpPr>
          <p:spPr bwMode="auto">
            <a:xfrm>
              <a:off x="2063" y="1138"/>
              <a:ext cx="608" cy="751"/>
            </a:xfrm>
            <a:custGeom>
              <a:avLst/>
              <a:gdLst>
                <a:gd name="T0" fmla="*/ 403 w 608"/>
                <a:gd name="T1" fmla="*/ 54 h 751"/>
                <a:gd name="T2" fmla="*/ 400 w 608"/>
                <a:gd name="T3" fmla="*/ 80 h 751"/>
                <a:gd name="T4" fmla="*/ 400 w 608"/>
                <a:gd name="T5" fmla="*/ 104 h 751"/>
                <a:gd name="T6" fmla="*/ 397 w 608"/>
                <a:gd name="T7" fmla="*/ 131 h 751"/>
                <a:gd name="T8" fmla="*/ 395 w 608"/>
                <a:gd name="T9" fmla="*/ 158 h 751"/>
                <a:gd name="T10" fmla="*/ 392 w 608"/>
                <a:gd name="T11" fmla="*/ 174 h 751"/>
                <a:gd name="T12" fmla="*/ 392 w 608"/>
                <a:gd name="T13" fmla="*/ 174 h 751"/>
                <a:gd name="T14" fmla="*/ 392 w 608"/>
                <a:gd name="T15" fmla="*/ 174 h 751"/>
                <a:gd name="T16" fmla="*/ 432 w 608"/>
                <a:gd name="T17" fmla="*/ 179 h 751"/>
                <a:gd name="T18" fmla="*/ 472 w 608"/>
                <a:gd name="T19" fmla="*/ 182 h 751"/>
                <a:gd name="T20" fmla="*/ 512 w 608"/>
                <a:gd name="T21" fmla="*/ 184 h 751"/>
                <a:gd name="T22" fmla="*/ 552 w 608"/>
                <a:gd name="T23" fmla="*/ 190 h 751"/>
                <a:gd name="T24" fmla="*/ 595 w 608"/>
                <a:gd name="T25" fmla="*/ 192 h 751"/>
                <a:gd name="T26" fmla="*/ 606 w 608"/>
                <a:gd name="T27" fmla="*/ 227 h 751"/>
                <a:gd name="T28" fmla="*/ 600 w 608"/>
                <a:gd name="T29" fmla="*/ 281 h 751"/>
                <a:gd name="T30" fmla="*/ 595 w 608"/>
                <a:gd name="T31" fmla="*/ 331 h 751"/>
                <a:gd name="T32" fmla="*/ 592 w 608"/>
                <a:gd name="T33" fmla="*/ 385 h 751"/>
                <a:gd name="T34" fmla="*/ 587 w 608"/>
                <a:gd name="T35" fmla="*/ 436 h 751"/>
                <a:gd name="T36" fmla="*/ 584 w 608"/>
                <a:gd name="T37" fmla="*/ 489 h 751"/>
                <a:gd name="T38" fmla="*/ 579 w 608"/>
                <a:gd name="T39" fmla="*/ 540 h 751"/>
                <a:gd name="T40" fmla="*/ 574 w 608"/>
                <a:gd name="T41" fmla="*/ 593 h 751"/>
                <a:gd name="T42" fmla="*/ 571 w 608"/>
                <a:gd name="T43" fmla="*/ 647 h 751"/>
                <a:gd name="T44" fmla="*/ 566 w 608"/>
                <a:gd name="T45" fmla="*/ 697 h 751"/>
                <a:gd name="T46" fmla="*/ 563 w 608"/>
                <a:gd name="T47" fmla="*/ 751 h 751"/>
                <a:gd name="T48" fmla="*/ 510 w 608"/>
                <a:gd name="T49" fmla="*/ 745 h 751"/>
                <a:gd name="T50" fmla="*/ 456 w 608"/>
                <a:gd name="T51" fmla="*/ 740 h 751"/>
                <a:gd name="T52" fmla="*/ 403 w 608"/>
                <a:gd name="T53" fmla="*/ 735 h 751"/>
                <a:gd name="T54" fmla="*/ 352 w 608"/>
                <a:gd name="T55" fmla="*/ 732 h 751"/>
                <a:gd name="T56" fmla="*/ 299 w 608"/>
                <a:gd name="T57" fmla="*/ 727 h 751"/>
                <a:gd name="T58" fmla="*/ 245 w 608"/>
                <a:gd name="T59" fmla="*/ 719 h 751"/>
                <a:gd name="T60" fmla="*/ 195 w 608"/>
                <a:gd name="T61" fmla="*/ 713 h 751"/>
                <a:gd name="T62" fmla="*/ 141 w 608"/>
                <a:gd name="T63" fmla="*/ 708 h 751"/>
                <a:gd name="T64" fmla="*/ 88 w 608"/>
                <a:gd name="T65" fmla="*/ 703 h 751"/>
                <a:gd name="T66" fmla="*/ 35 w 608"/>
                <a:gd name="T67" fmla="*/ 695 h 751"/>
                <a:gd name="T68" fmla="*/ 3 w 608"/>
                <a:gd name="T69" fmla="*/ 668 h 751"/>
                <a:gd name="T70" fmla="*/ 11 w 608"/>
                <a:gd name="T71" fmla="*/ 604 h 751"/>
                <a:gd name="T72" fmla="*/ 21 w 608"/>
                <a:gd name="T73" fmla="*/ 540 h 751"/>
                <a:gd name="T74" fmla="*/ 29 w 608"/>
                <a:gd name="T75" fmla="*/ 473 h 751"/>
                <a:gd name="T76" fmla="*/ 37 w 608"/>
                <a:gd name="T77" fmla="*/ 409 h 751"/>
                <a:gd name="T78" fmla="*/ 45 w 608"/>
                <a:gd name="T79" fmla="*/ 345 h 751"/>
                <a:gd name="T80" fmla="*/ 53 w 608"/>
                <a:gd name="T81" fmla="*/ 281 h 751"/>
                <a:gd name="T82" fmla="*/ 61 w 608"/>
                <a:gd name="T83" fmla="*/ 214 h 751"/>
                <a:gd name="T84" fmla="*/ 69 w 608"/>
                <a:gd name="T85" fmla="*/ 150 h 751"/>
                <a:gd name="T86" fmla="*/ 77 w 608"/>
                <a:gd name="T87" fmla="*/ 86 h 751"/>
                <a:gd name="T88" fmla="*/ 85 w 608"/>
                <a:gd name="T89" fmla="*/ 21 h 751"/>
                <a:gd name="T90" fmla="*/ 128 w 608"/>
                <a:gd name="T91" fmla="*/ 5 h 751"/>
                <a:gd name="T92" fmla="*/ 187 w 608"/>
                <a:gd name="T93" fmla="*/ 13 h 751"/>
                <a:gd name="T94" fmla="*/ 248 w 608"/>
                <a:gd name="T95" fmla="*/ 19 h 751"/>
                <a:gd name="T96" fmla="*/ 307 w 608"/>
                <a:gd name="T97" fmla="*/ 27 h 751"/>
                <a:gd name="T98" fmla="*/ 365 w 608"/>
                <a:gd name="T99" fmla="*/ 32 h 751"/>
                <a:gd name="T100" fmla="*/ 405 w 608"/>
                <a:gd name="T101" fmla="*/ 37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8" h="751">
                  <a:moveTo>
                    <a:pt x="405" y="37"/>
                  </a:moveTo>
                  <a:lnTo>
                    <a:pt x="405" y="46"/>
                  </a:lnTo>
                  <a:lnTo>
                    <a:pt x="403" y="54"/>
                  </a:lnTo>
                  <a:lnTo>
                    <a:pt x="403" y="62"/>
                  </a:lnTo>
                  <a:lnTo>
                    <a:pt x="403" y="70"/>
                  </a:lnTo>
                  <a:lnTo>
                    <a:pt x="400" y="80"/>
                  </a:lnTo>
                  <a:lnTo>
                    <a:pt x="400" y="88"/>
                  </a:lnTo>
                  <a:lnTo>
                    <a:pt x="400" y="96"/>
                  </a:lnTo>
                  <a:lnTo>
                    <a:pt x="400" y="104"/>
                  </a:lnTo>
                  <a:lnTo>
                    <a:pt x="397" y="115"/>
                  </a:lnTo>
                  <a:lnTo>
                    <a:pt x="397" y="123"/>
                  </a:lnTo>
                  <a:lnTo>
                    <a:pt x="397" y="131"/>
                  </a:lnTo>
                  <a:lnTo>
                    <a:pt x="395" y="139"/>
                  </a:lnTo>
                  <a:lnTo>
                    <a:pt x="395" y="147"/>
                  </a:lnTo>
                  <a:lnTo>
                    <a:pt x="395" y="158"/>
                  </a:lnTo>
                  <a:lnTo>
                    <a:pt x="392" y="166"/>
                  </a:lnTo>
                  <a:lnTo>
                    <a:pt x="392" y="174"/>
                  </a:lnTo>
                  <a:lnTo>
                    <a:pt x="392" y="174"/>
                  </a:lnTo>
                  <a:lnTo>
                    <a:pt x="392" y="174"/>
                  </a:lnTo>
                  <a:lnTo>
                    <a:pt x="392" y="174"/>
                  </a:lnTo>
                  <a:lnTo>
                    <a:pt x="392" y="174"/>
                  </a:lnTo>
                  <a:lnTo>
                    <a:pt x="392" y="174"/>
                  </a:lnTo>
                  <a:lnTo>
                    <a:pt x="392" y="174"/>
                  </a:lnTo>
                  <a:lnTo>
                    <a:pt x="392" y="174"/>
                  </a:lnTo>
                  <a:lnTo>
                    <a:pt x="405" y="176"/>
                  </a:lnTo>
                  <a:lnTo>
                    <a:pt x="419" y="176"/>
                  </a:lnTo>
                  <a:lnTo>
                    <a:pt x="432" y="179"/>
                  </a:lnTo>
                  <a:lnTo>
                    <a:pt x="445" y="179"/>
                  </a:lnTo>
                  <a:lnTo>
                    <a:pt x="459" y="182"/>
                  </a:lnTo>
                  <a:lnTo>
                    <a:pt x="472" y="182"/>
                  </a:lnTo>
                  <a:lnTo>
                    <a:pt x="485" y="184"/>
                  </a:lnTo>
                  <a:lnTo>
                    <a:pt x="499" y="184"/>
                  </a:lnTo>
                  <a:lnTo>
                    <a:pt x="512" y="184"/>
                  </a:lnTo>
                  <a:lnTo>
                    <a:pt x="526" y="187"/>
                  </a:lnTo>
                  <a:lnTo>
                    <a:pt x="539" y="187"/>
                  </a:lnTo>
                  <a:lnTo>
                    <a:pt x="552" y="190"/>
                  </a:lnTo>
                  <a:lnTo>
                    <a:pt x="568" y="190"/>
                  </a:lnTo>
                  <a:lnTo>
                    <a:pt x="582" y="192"/>
                  </a:lnTo>
                  <a:lnTo>
                    <a:pt x="595" y="192"/>
                  </a:lnTo>
                  <a:lnTo>
                    <a:pt x="608" y="195"/>
                  </a:lnTo>
                  <a:lnTo>
                    <a:pt x="606" y="211"/>
                  </a:lnTo>
                  <a:lnTo>
                    <a:pt x="606" y="227"/>
                  </a:lnTo>
                  <a:lnTo>
                    <a:pt x="603" y="246"/>
                  </a:lnTo>
                  <a:lnTo>
                    <a:pt x="603" y="262"/>
                  </a:lnTo>
                  <a:lnTo>
                    <a:pt x="600" y="281"/>
                  </a:lnTo>
                  <a:lnTo>
                    <a:pt x="598" y="297"/>
                  </a:lnTo>
                  <a:lnTo>
                    <a:pt x="598" y="315"/>
                  </a:lnTo>
                  <a:lnTo>
                    <a:pt x="595" y="331"/>
                  </a:lnTo>
                  <a:lnTo>
                    <a:pt x="595" y="350"/>
                  </a:lnTo>
                  <a:lnTo>
                    <a:pt x="592" y="366"/>
                  </a:lnTo>
                  <a:lnTo>
                    <a:pt x="592" y="385"/>
                  </a:lnTo>
                  <a:lnTo>
                    <a:pt x="590" y="401"/>
                  </a:lnTo>
                  <a:lnTo>
                    <a:pt x="590" y="420"/>
                  </a:lnTo>
                  <a:lnTo>
                    <a:pt x="587" y="436"/>
                  </a:lnTo>
                  <a:lnTo>
                    <a:pt x="587" y="454"/>
                  </a:lnTo>
                  <a:lnTo>
                    <a:pt x="584" y="470"/>
                  </a:lnTo>
                  <a:lnTo>
                    <a:pt x="584" y="489"/>
                  </a:lnTo>
                  <a:lnTo>
                    <a:pt x="582" y="505"/>
                  </a:lnTo>
                  <a:lnTo>
                    <a:pt x="582" y="524"/>
                  </a:lnTo>
                  <a:lnTo>
                    <a:pt x="579" y="540"/>
                  </a:lnTo>
                  <a:lnTo>
                    <a:pt x="576" y="558"/>
                  </a:lnTo>
                  <a:lnTo>
                    <a:pt x="576" y="575"/>
                  </a:lnTo>
                  <a:lnTo>
                    <a:pt x="574" y="593"/>
                  </a:lnTo>
                  <a:lnTo>
                    <a:pt x="574" y="612"/>
                  </a:lnTo>
                  <a:lnTo>
                    <a:pt x="571" y="628"/>
                  </a:lnTo>
                  <a:lnTo>
                    <a:pt x="571" y="647"/>
                  </a:lnTo>
                  <a:lnTo>
                    <a:pt x="568" y="663"/>
                  </a:lnTo>
                  <a:lnTo>
                    <a:pt x="568" y="681"/>
                  </a:lnTo>
                  <a:lnTo>
                    <a:pt x="566" y="697"/>
                  </a:lnTo>
                  <a:lnTo>
                    <a:pt x="566" y="716"/>
                  </a:lnTo>
                  <a:lnTo>
                    <a:pt x="563" y="732"/>
                  </a:lnTo>
                  <a:lnTo>
                    <a:pt x="563" y="751"/>
                  </a:lnTo>
                  <a:lnTo>
                    <a:pt x="544" y="748"/>
                  </a:lnTo>
                  <a:lnTo>
                    <a:pt x="526" y="748"/>
                  </a:lnTo>
                  <a:lnTo>
                    <a:pt x="510" y="745"/>
                  </a:lnTo>
                  <a:lnTo>
                    <a:pt x="491" y="743"/>
                  </a:lnTo>
                  <a:lnTo>
                    <a:pt x="475" y="743"/>
                  </a:lnTo>
                  <a:lnTo>
                    <a:pt x="456" y="740"/>
                  </a:lnTo>
                  <a:lnTo>
                    <a:pt x="440" y="740"/>
                  </a:lnTo>
                  <a:lnTo>
                    <a:pt x="421" y="737"/>
                  </a:lnTo>
                  <a:lnTo>
                    <a:pt x="403" y="735"/>
                  </a:lnTo>
                  <a:lnTo>
                    <a:pt x="387" y="735"/>
                  </a:lnTo>
                  <a:lnTo>
                    <a:pt x="368" y="732"/>
                  </a:lnTo>
                  <a:lnTo>
                    <a:pt x="352" y="732"/>
                  </a:lnTo>
                  <a:lnTo>
                    <a:pt x="333" y="729"/>
                  </a:lnTo>
                  <a:lnTo>
                    <a:pt x="315" y="727"/>
                  </a:lnTo>
                  <a:lnTo>
                    <a:pt x="299" y="727"/>
                  </a:lnTo>
                  <a:lnTo>
                    <a:pt x="280" y="724"/>
                  </a:lnTo>
                  <a:lnTo>
                    <a:pt x="264" y="721"/>
                  </a:lnTo>
                  <a:lnTo>
                    <a:pt x="245" y="719"/>
                  </a:lnTo>
                  <a:lnTo>
                    <a:pt x="229" y="719"/>
                  </a:lnTo>
                  <a:lnTo>
                    <a:pt x="211" y="716"/>
                  </a:lnTo>
                  <a:lnTo>
                    <a:pt x="195" y="713"/>
                  </a:lnTo>
                  <a:lnTo>
                    <a:pt x="176" y="713"/>
                  </a:lnTo>
                  <a:lnTo>
                    <a:pt x="157" y="711"/>
                  </a:lnTo>
                  <a:lnTo>
                    <a:pt x="141" y="708"/>
                  </a:lnTo>
                  <a:lnTo>
                    <a:pt x="123" y="705"/>
                  </a:lnTo>
                  <a:lnTo>
                    <a:pt x="107" y="703"/>
                  </a:lnTo>
                  <a:lnTo>
                    <a:pt x="88" y="703"/>
                  </a:lnTo>
                  <a:lnTo>
                    <a:pt x="72" y="700"/>
                  </a:lnTo>
                  <a:lnTo>
                    <a:pt x="53" y="697"/>
                  </a:lnTo>
                  <a:lnTo>
                    <a:pt x="35" y="695"/>
                  </a:lnTo>
                  <a:lnTo>
                    <a:pt x="19" y="692"/>
                  </a:lnTo>
                  <a:lnTo>
                    <a:pt x="0" y="692"/>
                  </a:lnTo>
                  <a:lnTo>
                    <a:pt x="3" y="668"/>
                  </a:lnTo>
                  <a:lnTo>
                    <a:pt x="5" y="647"/>
                  </a:lnTo>
                  <a:lnTo>
                    <a:pt x="8" y="625"/>
                  </a:lnTo>
                  <a:lnTo>
                    <a:pt x="11" y="604"/>
                  </a:lnTo>
                  <a:lnTo>
                    <a:pt x="16" y="583"/>
                  </a:lnTo>
                  <a:lnTo>
                    <a:pt x="19" y="561"/>
                  </a:lnTo>
                  <a:lnTo>
                    <a:pt x="21" y="540"/>
                  </a:lnTo>
                  <a:lnTo>
                    <a:pt x="24" y="518"/>
                  </a:lnTo>
                  <a:lnTo>
                    <a:pt x="27" y="497"/>
                  </a:lnTo>
                  <a:lnTo>
                    <a:pt x="29" y="473"/>
                  </a:lnTo>
                  <a:lnTo>
                    <a:pt x="32" y="452"/>
                  </a:lnTo>
                  <a:lnTo>
                    <a:pt x="35" y="430"/>
                  </a:lnTo>
                  <a:lnTo>
                    <a:pt x="37" y="409"/>
                  </a:lnTo>
                  <a:lnTo>
                    <a:pt x="40" y="387"/>
                  </a:lnTo>
                  <a:lnTo>
                    <a:pt x="43" y="366"/>
                  </a:lnTo>
                  <a:lnTo>
                    <a:pt x="45" y="345"/>
                  </a:lnTo>
                  <a:lnTo>
                    <a:pt x="48" y="323"/>
                  </a:lnTo>
                  <a:lnTo>
                    <a:pt x="51" y="302"/>
                  </a:lnTo>
                  <a:lnTo>
                    <a:pt x="53" y="281"/>
                  </a:lnTo>
                  <a:lnTo>
                    <a:pt x="56" y="259"/>
                  </a:lnTo>
                  <a:lnTo>
                    <a:pt x="59" y="238"/>
                  </a:lnTo>
                  <a:lnTo>
                    <a:pt x="61" y="214"/>
                  </a:lnTo>
                  <a:lnTo>
                    <a:pt x="64" y="192"/>
                  </a:lnTo>
                  <a:lnTo>
                    <a:pt x="67" y="171"/>
                  </a:lnTo>
                  <a:lnTo>
                    <a:pt x="69" y="150"/>
                  </a:lnTo>
                  <a:lnTo>
                    <a:pt x="72" y="128"/>
                  </a:lnTo>
                  <a:lnTo>
                    <a:pt x="75" y="107"/>
                  </a:lnTo>
                  <a:lnTo>
                    <a:pt x="77" y="86"/>
                  </a:lnTo>
                  <a:lnTo>
                    <a:pt x="80" y="64"/>
                  </a:lnTo>
                  <a:lnTo>
                    <a:pt x="83" y="43"/>
                  </a:lnTo>
                  <a:lnTo>
                    <a:pt x="85" y="21"/>
                  </a:lnTo>
                  <a:lnTo>
                    <a:pt x="88" y="0"/>
                  </a:lnTo>
                  <a:lnTo>
                    <a:pt x="109" y="3"/>
                  </a:lnTo>
                  <a:lnTo>
                    <a:pt x="128" y="5"/>
                  </a:lnTo>
                  <a:lnTo>
                    <a:pt x="147" y="8"/>
                  </a:lnTo>
                  <a:lnTo>
                    <a:pt x="168" y="11"/>
                  </a:lnTo>
                  <a:lnTo>
                    <a:pt x="187" y="13"/>
                  </a:lnTo>
                  <a:lnTo>
                    <a:pt x="208" y="16"/>
                  </a:lnTo>
                  <a:lnTo>
                    <a:pt x="227" y="16"/>
                  </a:lnTo>
                  <a:lnTo>
                    <a:pt x="248" y="19"/>
                  </a:lnTo>
                  <a:lnTo>
                    <a:pt x="267" y="21"/>
                  </a:lnTo>
                  <a:lnTo>
                    <a:pt x="285" y="24"/>
                  </a:lnTo>
                  <a:lnTo>
                    <a:pt x="307" y="27"/>
                  </a:lnTo>
                  <a:lnTo>
                    <a:pt x="325" y="29"/>
                  </a:lnTo>
                  <a:lnTo>
                    <a:pt x="347" y="29"/>
                  </a:lnTo>
                  <a:lnTo>
                    <a:pt x="365" y="32"/>
                  </a:lnTo>
                  <a:lnTo>
                    <a:pt x="387" y="35"/>
                  </a:lnTo>
                  <a:lnTo>
                    <a:pt x="405" y="37"/>
                  </a:lnTo>
                  <a:lnTo>
                    <a:pt x="405" y="37"/>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14" name="Freeform 12">
              <a:extLst>
                <a:ext uri="{FF2B5EF4-FFF2-40B4-BE49-F238E27FC236}">
                  <a16:creationId xmlns="" xmlns:a16="http://schemas.microsoft.com/office/drawing/2014/main" id="{DE9ED24C-1A74-475E-82BC-B8745060A881}"/>
                </a:ext>
              </a:extLst>
            </p:cNvPr>
            <p:cNvSpPr>
              <a:spLocks noEditPoints="1"/>
            </p:cNvSpPr>
            <p:nvPr/>
          </p:nvSpPr>
          <p:spPr bwMode="auto">
            <a:xfrm>
              <a:off x="2850" y="1996"/>
              <a:ext cx="1577" cy="1499"/>
            </a:xfrm>
            <a:custGeom>
              <a:avLst/>
              <a:gdLst>
                <a:gd name="T0" fmla="*/ 1123 w 1577"/>
                <a:gd name="T1" fmla="*/ 1325 h 1499"/>
                <a:gd name="T2" fmla="*/ 1134 w 1577"/>
                <a:gd name="T3" fmla="*/ 1261 h 1499"/>
                <a:gd name="T4" fmla="*/ 1166 w 1577"/>
                <a:gd name="T5" fmla="*/ 1213 h 1499"/>
                <a:gd name="T6" fmla="*/ 1193 w 1577"/>
                <a:gd name="T7" fmla="*/ 1175 h 1499"/>
                <a:gd name="T8" fmla="*/ 1262 w 1577"/>
                <a:gd name="T9" fmla="*/ 1124 h 1499"/>
                <a:gd name="T10" fmla="*/ 1438 w 1577"/>
                <a:gd name="T11" fmla="*/ 996 h 1499"/>
                <a:gd name="T12" fmla="*/ 1556 w 1577"/>
                <a:gd name="T13" fmla="*/ 705 h 1499"/>
                <a:gd name="T14" fmla="*/ 1534 w 1577"/>
                <a:gd name="T15" fmla="*/ 673 h 1499"/>
                <a:gd name="T16" fmla="*/ 1508 w 1577"/>
                <a:gd name="T17" fmla="*/ 620 h 1499"/>
                <a:gd name="T18" fmla="*/ 1454 w 1577"/>
                <a:gd name="T19" fmla="*/ 398 h 1499"/>
                <a:gd name="T20" fmla="*/ 1388 w 1577"/>
                <a:gd name="T21" fmla="*/ 366 h 1499"/>
                <a:gd name="T22" fmla="*/ 1329 w 1577"/>
                <a:gd name="T23" fmla="*/ 363 h 1499"/>
                <a:gd name="T24" fmla="*/ 1286 w 1577"/>
                <a:gd name="T25" fmla="*/ 366 h 1499"/>
                <a:gd name="T26" fmla="*/ 1206 w 1577"/>
                <a:gd name="T27" fmla="*/ 379 h 1499"/>
                <a:gd name="T28" fmla="*/ 1166 w 1577"/>
                <a:gd name="T29" fmla="*/ 368 h 1499"/>
                <a:gd name="T30" fmla="*/ 1123 w 1577"/>
                <a:gd name="T31" fmla="*/ 382 h 1499"/>
                <a:gd name="T32" fmla="*/ 1078 w 1577"/>
                <a:gd name="T33" fmla="*/ 358 h 1499"/>
                <a:gd name="T34" fmla="*/ 979 w 1577"/>
                <a:gd name="T35" fmla="*/ 342 h 1499"/>
                <a:gd name="T36" fmla="*/ 878 w 1577"/>
                <a:gd name="T37" fmla="*/ 296 h 1499"/>
                <a:gd name="T38" fmla="*/ 795 w 1577"/>
                <a:gd name="T39" fmla="*/ 203 h 1499"/>
                <a:gd name="T40" fmla="*/ 446 w 1577"/>
                <a:gd name="T41" fmla="*/ 104 h 1499"/>
                <a:gd name="T42" fmla="*/ 165 w 1577"/>
                <a:gd name="T43" fmla="*/ 622 h 1499"/>
                <a:gd name="T44" fmla="*/ 56 w 1577"/>
                <a:gd name="T45" fmla="*/ 694 h 1499"/>
                <a:gd name="T46" fmla="*/ 160 w 1577"/>
                <a:gd name="T47" fmla="*/ 788 h 1499"/>
                <a:gd name="T48" fmla="*/ 203 w 1577"/>
                <a:gd name="T49" fmla="*/ 828 h 1499"/>
                <a:gd name="T50" fmla="*/ 224 w 1577"/>
                <a:gd name="T51" fmla="*/ 903 h 1499"/>
                <a:gd name="T52" fmla="*/ 280 w 1577"/>
                <a:gd name="T53" fmla="*/ 980 h 1499"/>
                <a:gd name="T54" fmla="*/ 390 w 1577"/>
                <a:gd name="T55" fmla="*/ 1050 h 1499"/>
                <a:gd name="T56" fmla="*/ 443 w 1577"/>
                <a:gd name="T57" fmla="*/ 1004 h 1499"/>
                <a:gd name="T58" fmla="*/ 467 w 1577"/>
                <a:gd name="T59" fmla="*/ 951 h 1499"/>
                <a:gd name="T60" fmla="*/ 534 w 1577"/>
                <a:gd name="T61" fmla="*/ 943 h 1499"/>
                <a:gd name="T62" fmla="*/ 616 w 1577"/>
                <a:gd name="T63" fmla="*/ 945 h 1499"/>
                <a:gd name="T64" fmla="*/ 670 w 1577"/>
                <a:gd name="T65" fmla="*/ 994 h 1499"/>
                <a:gd name="T66" fmla="*/ 723 w 1577"/>
                <a:gd name="T67" fmla="*/ 1076 h 1499"/>
                <a:gd name="T68" fmla="*/ 760 w 1577"/>
                <a:gd name="T69" fmla="*/ 1157 h 1499"/>
                <a:gd name="T70" fmla="*/ 809 w 1577"/>
                <a:gd name="T71" fmla="*/ 1218 h 1499"/>
                <a:gd name="T72" fmla="*/ 857 w 1577"/>
                <a:gd name="T73" fmla="*/ 1258 h 1499"/>
                <a:gd name="T74" fmla="*/ 865 w 1577"/>
                <a:gd name="T75" fmla="*/ 1325 h 1499"/>
                <a:gd name="T76" fmla="*/ 913 w 1577"/>
                <a:gd name="T77" fmla="*/ 1424 h 1499"/>
                <a:gd name="T78" fmla="*/ 966 w 1577"/>
                <a:gd name="T79" fmla="*/ 1445 h 1499"/>
                <a:gd name="T80" fmla="*/ 1094 w 1577"/>
                <a:gd name="T81" fmla="*/ 1474 h 1499"/>
                <a:gd name="T82" fmla="*/ 1142 w 1577"/>
                <a:gd name="T83" fmla="*/ 1482 h 1499"/>
                <a:gd name="T84" fmla="*/ 1139 w 1577"/>
                <a:gd name="T85" fmla="*/ 1461 h 1499"/>
                <a:gd name="T86" fmla="*/ 1121 w 1577"/>
                <a:gd name="T87" fmla="*/ 1418 h 1499"/>
                <a:gd name="T88" fmla="*/ 1102 w 1577"/>
                <a:gd name="T89" fmla="*/ 1344 h 1499"/>
                <a:gd name="T90" fmla="*/ 1078 w 1577"/>
                <a:gd name="T91" fmla="*/ 1298 h 1499"/>
                <a:gd name="T92" fmla="*/ 1105 w 1577"/>
                <a:gd name="T93" fmla="*/ 1287 h 1499"/>
                <a:gd name="T94" fmla="*/ 1134 w 1577"/>
                <a:gd name="T95" fmla="*/ 1247 h 1499"/>
                <a:gd name="T96" fmla="*/ 1126 w 1577"/>
                <a:gd name="T97" fmla="*/ 1213 h 1499"/>
                <a:gd name="T98" fmla="*/ 1155 w 1577"/>
                <a:gd name="T99" fmla="*/ 1186 h 1499"/>
                <a:gd name="T100" fmla="*/ 1171 w 1577"/>
                <a:gd name="T101" fmla="*/ 1175 h 1499"/>
                <a:gd name="T102" fmla="*/ 1193 w 1577"/>
                <a:gd name="T103" fmla="*/ 1130 h 1499"/>
                <a:gd name="T104" fmla="*/ 1230 w 1577"/>
                <a:gd name="T105" fmla="*/ 1122 h 1499"/>
                <a:gd name="T106" fmla="*/ 1225 w 1577"/>
                <a:gd name="T107" fmla="*/ 1103 h 1499"/>
                <a:gd name="T108" fmla="*/ 1238 w 1577"/>
                <a:gd name="T109" fmla="*/ 1090 h 1499"/>
                <a:gd name="T110" fmla="*/ 1265 w 1577"/>
                <a:gd name="T111" fmla="*/ 1108 h 1499"/>
                <a:gd name="T112" fmla="*/ 1315 w 1577"/>
                <a:gd name="T113" fmla="*/ 1087 h 1499"/>
                <a:gd name="T114" fmla="*/ 1414 w 1577"/>
                <a:gd name="T115" fmla="*/ 999 h 1499"/>
                <a:gd name="T116" fmla="*/ 1406 w 1577"/>
                <a:gd name="T117" fmla="*/ 964 h 1499"/>
                <a:gd name="T118" fmla="*/ 1438 w 1577"/>
                <a:gd name="T119" fmla="*/ 959 h 1499"/>
                <a:gd name="T120" fmla="*/ 1452 w 1577"/>
                <a:gd name="T121" fmla="*/ 980 h 1499"/>
                <a:gd name="T122" fmla="*/ 1558 w 1577"/>
                <a:gd name="T123" fmla="*/ 857 h 1499"/>
                <a:gd name="T124" fmla="*/ 1574 w 1577"/>
                <a:gd name="T125" fmla="*/ 764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77" h="1499">
                  <a:moveTo>
                    <a:pt x="1129" y="1378"/>
                  </a:moveTo>
                  <a:lnTo>
                    <a:pt x="1131" y="1384"/>
                  </a:lnTo>
                  <a:lnTo>
                    <a:pt x="1131" y="1386"/>
                  </a:lnTo>
                  <a:lnTo>
                    <a:pt x="1134" y="1389"/>
                  </a:lnTo>
                  <a:lnTo>
                    <a:pt x="1134" y="1392"/>
                  </a:lnTo>
                  <a:lnTo>
                    <a:pt x="1137" y="1400"/>
                  </a:lnTo>
                  <a:lnTo>
                    <a:pt x="1137" y="1402"/>
                  </a:lnTo>
                  <a:lnTo>
                    <a:pt x="1142" y="1408"/>
                  </a:lnTo>
                  <a:lnTo>
                    <a:pt x="1142" y="1410"/>
                  </a:lnTo>
                  <a:lnTo>
                    <a:pt x="1145" y="1421"/>
                  </a:lnTo>
                  <a:lnTo>
                    <a:pt x="1145" y="1424"/>
                  </a:lnTo>
                  <a:lnTo>
                    <a:pt x="1147" y="1429"/>
                  </a:lnTo>
                  <a:lnTo>
                    <a:pt x="1147" y="1432"/>
                  </a:lnTo>
                  <a:lnTo>
                    <a:pt x="1150" y="1458"/>
                  </a:lnTo>
                  <a:lnTo>
                    <a:pt x="1153" y="1461"/>
                  </a:lnTo>
                  <a:lnTo>
                    <a:pt x="1153" y="1461"/>
                  </a:lnTo>
                  <a:lnTo>
                    <a:pt x="1155" y="1461"/>
                  </a:lnTo>
                  <a:lnTo>
                    <a:pt x="1155" y="1458"/>
                  </a:lnTo>
                  <a:lnTo>
                    <a:pt x="1153" y="1450"/>
                  </a:lnTo>
                  <a:lnTo>
                    <a:pt x="1150" y="1445"/>
                  </a:lnTo>
                  <a:lnTo>
                    <a:pt x="1150" y="1442"/>
                  </a:lnTo>
                  <a:lnTo>
                    <a:pt x="1150" y="1437"/>
                  </a:lnTo>
                  <a:lnTo>
                    <a:pt x="1150" y="1434"/>
                  </a:lnTo>
                  <a:lnTo>
                    <a:pt x="1147" y="1429"/>
                  </a:lnTo>
                  <a:lnTo>
                    <a:pt x="1147" y="1421"/>
                  </a:lnTo>
                  <a:lnTo>
                    <a:pt x="1145" y="1416"/>
                  </a:lnTo>
                  <a:lnTo>
                    <a:pt x="1145" y="1416"/>
                  </a:lnTo>
                  <a:lnTo>
                    <a:pt x="1145" y="1413"/>
                  </a:lnTo>
                  <a:lnTo>
                    <a:pt x="1131" y="1370"/>
                  </a:lnTo>
                  <a:lnTo>
                    <a:pt x="1126" y="1346"/>
                  </a:lnTo>
                  <a:lnTo>
                    <a:pt x="1123" y="1309"/>
                  </a:lnTo>
                  <a:lnTo>
                    <a:pt x="1123" y="1306"/>
                  </a:lnTo>
                  <a:lnTo>
                    <a:pt x="1123" y="1309"/>
                  </a:lnTo>
                  <a:lnTo>
                    <a:pt x="1123" y="1317"/>
                  </a:lnTo>
                  <a:lnTo>
                    <a:pt x="1121" y="1320"/>
                  </a:lnTo>
                  <a:lnTo>
                    <a:pt x="1123" y="1322"/>
                  </a:lnTo>
                  <a:lnTo>
                    <a:pt x="1123" y="1325"/>
                  </a:lnTo>
                  <a:lnTo>
                    <a:pt x="1121" y="1330"/>
                  </a:lnTo>
                  <a:lnTo>
                    <a:pt x="1121" y="1333"/>
                  </a:lnTo>
                  <a:lnTo>
                    <a:pt x="1123" y="1336"/>
                  </a:lnTo>
                  <a:lnTo>
                    <a:pt x="1123" y="1349"/>
                  </a:lnTo>
                  <a:lnTo>
                    <a:pt x="1123" y="1354"/>
                  </a:lnTo>
                  <a:lnTo>
                    <a:pt x="1123" y="1360"/>
                  </a:lnTo>
                  <a:lnTo>
                    <a:pt x="1126" y="1365"/>
                  </a:lnTo>
                  <a:lnTo>
                    <a:pt x="1129" y="1368"/>
                  </a:lnTo>
                  <a:lnTo>
                    <a:pt x="1129" y="1368"/>
                  </a:lnTo>
                  <a:lnTo>
                    <a:pt x="1129" y="1368"/>
                  </a:lnTo>
                  <a:lnTo>
                    <a:pt x="1129" y="1368"/>
                  </a:lnTo>
                  <a:lnTo>
                    <a:pt x="1129" y="1370"/>
                  </a:lnTo>
                  <a:lnTo>
                    <a:pt x="1126" y="1370"/>
                  </a:lnTo>
                  <a:lnTo>
                    <a:pt x="1126" y="1370"/>
                  </a:lnTo>
                  <a:lnTo>
                    <a:pt x="1126" y="1370"/>
                  </a:lnTo>
                  <a:lnTo>
                    <a:pt x="1129" y="1373"/>
                  </a:lnTo>
                  <a:lnTo>
                    <a:pt x="1129" y="1373"/>
                  </a:lnTo>
                  <a:lnTo>
                    <a:pt x="1129" y="1373"/>
                  </a:lnTo>
                  <a:lnTo>
                    <a:pt x="1129" y="1376"/>
                  </a:lnTo>
                  <a:lnTo>
                    <a:pt x="1129" y="1378"/>
                  </a:lnTo>
                  <a:close/>
                  <a:moveTo>
                    <a:pt x="1161" y="1218"/>
                  </a:moveTo>
                  <a:lnTo>
                    <a:pt x="1161" y="1221"/>
                  </a:lnTo>
                  <a:lnTo>
                    <a:pt x="1161" y="1223"/>
                  </a:lnTo>
                  <a:lnTo>
                    <a:pt x="1155" y="1226"/>
                  </a:lnTo>
                  <a:lnTo>
                    <a:pt x="1150" y="1231"/>
                  </a:lnTo>
                  <a:lnTo>
                    <a:pt x="1145" y="1247"/>
                  </a:lnTo>
                  <a:lnTo>
                    <a:pt x="1145" y="1247"/>
                  </a:lnTo>
                  <a:lnTo>
                    <a:pt x="1142" y="1245"/>
                  </a:lnTo>
                  <a:lnTo>
                    <a:pt x="1142" y="1245"/>
                  </a:lnTo>
                  <a:lnTo>
                    <a:pt x="1139" y="1242"/>
                  </a:lnTo>
                  <a:lnTo>
                    <a:pt x="1139" y="1245"/>
                  </a:lnTo>
                  <a:lnTo>
                    <a:pt x="1139" y="1247"/>
                  </a:lnTo>
                  <a:lnTo>
                    <a:pt x="1139" y="1247"/>
                  </a:lnTo>
                  <a:lnTo>
                    <a:pt x="1137" y="1250"/>
                  </a:lnTo>
                  <a:lnTo>
                    <a:pt x="1139" y="1253"/>
                  </a:lnTo>
                  <a:lnTo>
                    <a:pt x="1137" y="1255"/>
                  </a:lnTo>
                  <a:lnTo>
                    <a:pt x="1134" y="1261"/>
                  </a:lnTo>
                  <a:lnTo>
                    <a:pt x="1131" y="1263"/>
                  </a:lnTo>
                  <a:lnTo>
                    <a:pt x="1131" y="1263"/>
                  </a:lnTo>
                  <a:lnTo>
                    <a:pt x="1129" y="1269"/>
                  </a:lnTo>
                  <a:lnTo>
                    <a:pt x="1129" y="1271"/>
                  </a:lnTo>
                  <a:lnTo>
                    <a:pt x="1129" y="1277"/>
                  </a:lnTo>
                  <a:lnTo>
                    <a:pt x="1123" y="1287"/>
                  </a:lnTo>
                  <a:lnTo>
                    <a:pt x="1123" y="1301"/>
                  </a:lnTo>
                  <a:lnTo>
                    <a:pt x="1123" y="1303"/>
                  </a:lnTo>
                  <a:lnTo>
                    <a:pt x="1123" y="1303"/>
                  </a:lnTo>
                  <a:lnTo>
                    <a:pt x="1123" y="1303"/>
                  </a:lnTo>
                  <a:lnTo>
                    <a:pt x="1126" y="1301"/>
                  </a:lnTo>
                  <a:lnTo>
                    <a:pt x="1126" y="1298"/>
                  </a:lnTo>
                  <a:lnTo>
                    <a:pt x="1129" y="1285"/>
                  </a:lnTo>
                  <a:lnTo>
                    <a:pt x="1137" y="1266"/>
                  </a:lnTo>
                  <a:lnTo>
                    <a:pt x="1147" y="1242"/>
                  </a:lnTo>
                  <a:lnTo>
                    <a:pt x="1163" y="1218"/>
                  </a:lnTo>
                  <a:lnTo>
                    <a:pt x="1163" y="1218"/>
                  </a:lnTo>
                  <a:lnTo>
                    <a:pt x="1163" y="1215"/>
                  </a:lnTo>
                  <a:lnTo>
                    <a:pt x="1161" y="1218"/>
                  </a:lnTo>
                  <a:close/>
                  <a:moveTo>
                    <a:pt x="1187" y="1175"/>
                  </a:moveTo>
                  <a:lnTo>
                    <a:pt x="1185" y="1175"/>
                  </a:lnTo>
                  <a:lnTo>
                    <a:pt x="1182" y="1175"/>
                  </a:lnTo>
                  <a:lnTo>
                    <a:pt x="1182" y="1178"/>
                  </a:lnTo>
                  <a:lnTo>
                    <a:pt x="1182" y="1178"/>
                  </a:lnTo>
                  <a:lnTo>
                    <a:pt x="1182" y="1181"/>
                  </a:lnTo>
                  <a:lnTo>
                    <a:pt x="1179" y="1181"/>
                  </a:lnTo>
                  <a:lnTo>
                    <a:pt x="1171" y="1194"/>
                  </a:lnTo>
                  <a:lnTo>
                    <a:pt x="1171" y="1194"/>
                  </a:lnTo>
                  <a:lnTo>
                    <a:pt x="1174" y="1194"/>
                  </a:lnTo>
                  <a:lnTo>
                    <a:pt x="1174" y="1194"/>
                  </a:lnTo>
                  <a:lnTo>
                    <a:pt x="1174" y="1197"/>
                  </a:lnTo>
                  <a:lnTo>
                    <a:pt x="1174" y="1197"/>
                  </a:lnTo>
                  <a:lnTo>
                    <a:pt x="1169" y="1202"/>
                  </a:lnTo>
                  <a:lnTo>
                    <a:pt x="1166" y="1207"/>
                  </a:lnTo>
                  <a:lnTo>
                    <a:pt x="1163" y="1213"/>
                  </a:lnTo>
                  <a:lnTo>
                    <a:pt x="1166" y="1215"/>
                  </a:lnTo>
                  <a:lnTo>
                    <a:pt x="1166" y="1213"/>
                  </a:lnTo>
                  <a:lnTo>
                    <a:pt x="1169" y="1210"/>
                  </a:lnTo>
                  <a:lnTo>
                    <a:pt x="1171" y="1205"/>
                  </a:lnTo>
                  <a:lnTo>
                    <a:pt x="1177" y="1197"/>
                  </a:lnTo>
                  <a:lnTo>
                    <a:pt x="1187" y="1183"/>
                  </a:lnTo>
                  <a:lnTo>
                    <a:pt x="1187" y="1183"/>
                  </a:lnTo>
                  <a:lnTo>
                    <a:pt x="1187" y="1181"/>
                  </a:lnTo>
                  <a:lnTo>
                    <a:pt x="1187" y="1178"/>
                  </a:lnTo>
                  <a:lnTo>
                    <a:pt x="1187" y="1178"/>
                  </a:lnTo>
                  <a:lnTo>
                    <a:pt x="1187" y="1175"/>
                  </a:lnTo>
                  <a:close/>
                  <a:moveTo>
                    <a:pt x="1241" y="1138"/>
                  </a:moveTo>
                  <a:lnTo>
                    <a:pt x="1241" y="1138"/>
                  </a:lnTo>
                  <a:lnTo>
                    <a:pt x="1238" y="1138"/>
                  </a:lnTo>
                  <a:lnTo>
                    <a:pt x="1238" y="1138"/>
                  </a:lnTo>
                  <a:lnTo>
                    <a:pt x="1238" y="1138"/>
                  </a:lnTo>
                  <a:lnTo>
                    <a:pt x="1238" y="1141"/>
                  </a:lnTo>
                  <a:lnTo>
                    <a:pt x="1238" y="1143"/>
                  </a:lnTo>
                  <a:lnTo>
                    <a:pt x="1235" y="1143"/>
                  </a:lnTo>
                  <a:lnTo>
                    <a:pt x="1235" y="1146"/>
                  </a:lnTo>
                  <a:lnTo>
                    <a:pt x="1230" y="1146"/>
                  </a:lnTo>
                  <a:lnTo>
                    <a:pt x="1227" y="1146"/>
                  </a:lnTo>
                  <a:lnTo>
                    <a:pt x="1227" y="1146"/>
                  </a:lnTo>
                  <a:lnTo>
                    <a:pt x="1225" y="1149"/>
                  </a:lnTo>
                  <a:lnTo>
                    <a:pt x="1217" y="1151"/>
                  </a:lnTo>
                  <a:lnTo>
                    <a:pt x="1217" y="1154"/>
                  </a:lnTo>
                  <a:lnTo>
                    <a:pt x="1217" y="1154"/>
                  </a:lnTo>
                  <a:lnTo>
                    <a:pt x="1211" y="1157"/>
                  </a:lnTo>
                  <a:lnTo>
                    <a:pt x="1209" y="1159"/>
                  </a:lnTo>
                  <a:lnTo>
                    <a:pt x="1209" y="1159"/>
                  </a:lnTo>
                  <a:lnTo>
                    <a:pt x="1203" y="1165"/>
                  </a:lnTo>
                  <a:lnTo>
                    <a:pt x="1203" y="1165"/>
                  </a:lnTo>
                  <a:lnTo>
                    <a:pt x="1201" y="1165"/>
                  </a:lnTo>
                  <a:lnTo>
                    <a:pt x="1195" y="1167"/>
                  </a:lnTo>
                  <a:lnTo>
                    <a:pt x="1195" y="1167"/>
                  </a:lnTo>
                  <a:lnTo>
                    <a:pt x="1193" y="1167"/>
                  </a:lnTo>
                  <a:lnTo>
                    <a:pt x="1193" y="1170"/>
                  </a:lnTo>
                  <a:lnTo>
                    <a:pt x="1193" y="1173"/>
                  </a:lnTo>
                  <a:lnTo>
                    <a:pt x="1193" y="1175"/>
                  </a:lnTo>
                  <a:lnTo>
                    <a:pt x="1193" y="1175"/>
                  </a:lnTo>
                  <a:lnTo>
                    <a:pt x="1193" y="1175"/>
                  </a:lnTo>
                  <a:lnTo>
                    <a:pt x="1190" y="1178"/>
                  </a:lnTo>
                  <a:lnTo>
                    <a:pt x="1190" y="1181"/>
                  </a:lnTo>
                  <a:lnTo>
                    <a:pt x="1190" y="1183"/>
                  </a:lnTo>
                  <a:lnTo>
                    <a:pt x="1190" y="1183"/>
                  </a:lnTo>
                  <a:lnTo>
                    <a:pt x="1190" y="1181"/>
                  </a:lnTo>
                  <a:lnTo>
                    <a:pt x="1193" y="1181"/>
                  </a:lnTo>
                  <a:lnTo>
                    <a:pt x="1195" y="1175"/>
                  </a:lnTo>
                  <a:lnTo>
                    <a:pt x="1203" y="1170"/>
                  </a:lnTo>
                  <a:lnTo>
                    <a:pt x="1206" y="1167"/>
                  </a:lnTo>
                  <a:lnTo>
                    <a:pt x="1217" y="1162"/>
                  </a:lnTo>
                  <a:lnTo>
                    <a:pt x="1222" y="1154"/>
                  </a:lnTo>
                  <a:lnTo>
                    <a:pt x="1227" y="1151"/>
                  </a:lnTo>
                  <a:lnTo>
                    <a:pt x="1230" y="1151"/>
                  </a:lnTo>
                  <a:lnTo>
                    <a:pt x="1241" y="1146"/>
                  </a:lnTo>
                  <a:lnTo>
                    <a:pt x="1241" y="1146"/>
                  </a:lnTo>
                  <a:lnTo>
                    <a:pt x="1241" y="1143"/>
                  </a:lnTo>
                  <a:lnTo>
                    <a:pt x="1241" y="1143"/>
                  </a:lnTo>
                  <a:lnTo>
                    <a:pt x="1241" y="1141"/>
                  </a:lnTo>
                  <a:lnTo>
                    <a:pt x="1241" y="1138"/>
                  </a:lnTo>
                  <a:lnTo>
                    <a:pt x="1241" y="1138"/>
                  </a:lnTo>
                  <a:close/>
                  <a:moveTo>
                    <a:pt x="1257" y="1124"/>
                  </a:moveTo>
                  <a:lnTo>
                    <a:pt x="1251" y="1127"/>
                  </a:lnTo>
                  <a:lnTo>
                    <a:pt x="1246" y="1135"/>
                  </a:lnTo>
                  <a:lnTo>
                    <a:pt x="1246" y="1135"/>
                  </a:lnTo>
                  <a:lnTo>
                    <a:pt x="1249" y="1135"/>
                  </a:lnTo>
                  <a:lnTo>
                    <a:pt x="1249" y="1132"/>
                  </a:lnTo>
                  <a:lnTo>
                    <a:pt x="1254" y="1130"/>
                  </a:lnTo>
                  <a:lnTo>
                    <a:pt x="1257" y="1130"/>
                  </a:lnTo>
                  <a:lnTo>
                    <a:pt x="1257" y="1127"/>
                  </a:lnTo>
                  <a:lnTo>
                    <a:pt x="1259" y="1124"/>
                  </a:lnTo>
                  <a:lnTo>
                    <a:pt x="1259" y="1124"/>
                  </a:lnTo>
                  <a:lnTo>
                    <a:pt x="1259" y="1124"/>
                  </a:lnTo>
                  <a:lnTo>
                    <a:pt x="1259" y="1124"/>
                  </a:lnTo>
                  <a:lnTo>
                    <a:pt x="1262" y="1124"/>
                  </a:lnTo>
                  <a:lnTo>
                    <a:pt x="1262" y="1124"/>
                  </a:lnTo>
                  <a:lnTo>
                    <a:pt x="1262" y="1122"/>
                  </a:lnTo>
                  <a:lnTo>
                    <a:pt x="1257" y="1124"/>
                  </a:lnTo>
                  <a:close/>
                  <a:moveTo>
                    <a:pt x="1430" y="994"/>
                  </a:moveTo>
                  <a:lnTo>
                    <a:pt x="1430" y="994"/>
                  </a:lnTo>
                  <a:lnTo>
                    <a:pt x="1430" y="994"/>
                  </a:lnTo>
                  <a:lnTo>
                    <a:pt x="1430" y="994"/>
                  </a:lnTo>
                  <a:lnTo>
                    <a:pt x="1430" y="994"/>
                  </a:lnTo>
                  <a:lnTo>
                    <a:pt x="1430" y="994"/>
                  </a:lnTo>
                  <a:lnTo>
                    <a:pt x="1430" y="994"/>
                  </a:lnTo>
                  <a:lnTo>
                    <a:pt x="1430" y="994"/>
                  </a:lnTo>
                  <a:lnTo>
                    <a:pt x="1430" y="994"/>
                  </a:lnTo>
                  <a:lnTo>
                    <a:pt x="1428" y="994"/>
                  </a:lnTo>
                  <a:lnTo>
                    <a:pt x="1428" y="996"/>
                  </a:lnTo>
                  <a:lnTo>
                    <a:pt x="1430" y="996"/>
                  </a:lnTo>
                  <a:lnTo>
                    <a:pt x="1430" y="999"/>
                  </a:lnTo>
                  <a:lnTo>
                    <a:pt x="1430" y="999"/>
                  </a:lnTo>
                  <a:lnTo>
                    <a:pt x="1430" y="1002"/>
                  </a:lnTo>
                  <a:lnTo>
                    <a:pt x="1428" y="1002"/>
                  </a:lnTo>
                  <a:lnTo>
                    <a:pt x="1425" y="1002"/>
                  </a:lnTo>
                  <a:lnTo>
                    <a:pt x="1425" y="1002"/>
                  </a:lnTo>
                  <a:lnTo>
                    <a:pt x="1425" y="1004"/>
                  </a:lnTo>
                  <a:lnTo>
                    <a:pt x="1420" y="1010"/>
                  </a:lnTo>
                  <a:lnTo>
                    <a:pt x="1420" y="1010"/>
                  </a:lnTo>
                  <a:lnTo>
                    <a:pt x="1417" y="1010"/>
                  </a:lnTo>
                  <a:lnTo>
                    <a:pt x="1417" y="1010"/>
                  </a:lnTo>
                  <a:lnTo>
                    <a:pt x="1414" y="1012"/>
                  </a:lnTo>
                  <a:lnTo>
                    <a:pt x="1414" y="1012"/>
                  </a:lnTo>
                  <a:lnTo>
                    <a:pt x="1414" y="1015"/>
                  </a:lnTo>
                  <a:lnTo>
                    <a:pt x="1404" y="1020"/>
                  </a:lnTo>
                  <a:lnTo>
                    <a:pt x="1401" y="1026"/>
                  </a:lnTo>
                  <a:lnTo>
                    <a:pt x="1398" y="1028"/>
                  </a:lnTo>
                  <a:lnTo>
                    <a:pt x="1396" y="1031"/>
                  </a:lnTo>
                  <a:lnTo>
                    <a:pt x="1398" y="1031"/>
                  </a:lnTo>
                  <a:lnTo>
                    <a:pt x="1398" y="1028"/>
                  </a:lnTo>
                  <a:lnTo>
                    <a:pt x="1417" y="1015"/>
                  </a:lnTo>
                  <a:lnTo>
                    <a:pt x="1422" y="1012"/>
                  </a:lnTo>
                  <a:lnTo>
                    <a:pt x="1438" y="996"/>
                  </a:lnTo>
                  <a:lnTo>
                    <a:pt x="1433" y="994"/>
                  </a:lnTo>
                  <a:lnTo>
                    <a:pt x="1430" y="994"/>
                  </a:lnTo>
                  <a:close/>
                  <a:moveTo>
                    <a:pt x="1577" y="748"/>
                  </a:moveTo>
                  <a:lnTo>
                    <a:pt x="1574" y="745"/>
                  </a:lnTo>
                  <a:lnTo>
                    <a:pt x="1572" y="742"/>
                  </a:lnTo>
                  <a:lnTo>
                    <a:pt x="1572" y="740"/>
                  </a:lnTo>
                  <a:lnTo>
                    <a:pt x="1572" y="737"/>
                  </a:lnTo>
                  <a:lnTo>
                    <a:pt x="1572" y="737"/>
                  </a:lnTo>
                  <a:lnTo>
                    <a:pt x="1572" y="729"/>
                  </a:lnTo>
                  <a:lnTo>
                    <a:pt x="1572" y="729"/>
                  </a:lnTo>
                  <a:lnTo>
                    <a:pt x="1569" y="726"/>
                  </a:lnTo>
                  <a:lnTo>
                    <a:pt x="1566" y="729"/>
                  </a:lnTo>
                  <a:lnTo>
                    <a:pt x="1566" y="729"/>
                  </a:lnTo>
                  <a:lnTo>
                    <a:pt x="1566" y="729"/>
                  </a:lnTo>
                  <a:lnTo>
                    <a:pt x="1566" y="729"/>
                  </a:lnTo>
                  <a:lnTo>
                    <a:pt x="1566" y="729"/>
                  </a:lnTo>
                  <a:lnTo>
                    <a:pt x="1566" y="726"/>
                  </a:lnTo>
                  <a:lnTo>
                    <a:pt x="1566" y="726"/>
                  </a:lnTo>
                  <a:lnTo>
                    <a:pt x="1564" y="726"/>
                  </a:lnTo>
                  <a:lnTo>
                    <a:pt x="1564" y="724"/>
                  </a:lnTo>
                  <a:lnTo>
                    <a:pt x="1564" y="721"/>
                  </a:lnTo>
                  <a:lnTo>
                    <a:pt x="1564" y="721"/>
                  </a:lnTo>
                  <a:lnTo>
                    <a:pt x="1564" y="721"/>
                  </a:lnTo>
                  <a:lnTo>
                    <a:pt x="1564" y="718"/>
                  </a:lnTo>
                  <a:lnTo>
                    <a:pt x="1561" y="718"/>
                  </a:lnTo>
                  <a:lnTo>
                    <a:pt x="1561" y="718"/>
                  </a:lnTo>
                  <a:lnTo>
                    <a:pt x="1561" y="716"/>
                  </a:lnTo>
                  <a:lnTo>
                    <a:pt x="1561" y="716"/>
                  </a:lnTo>
                  <a:lnTo>
                    <a:pt x="1561" y="716"/>
                  </a:lnTo>
                  <a:lnTo>
                    <a:pt x="1556" y="713"/>
                  </a:lnTo>
                  <a:lnTo>
                    <a:pt x="1556" y="710"/>
                  </a:lnTo>
                  <a:lnTo>
                    <a:pt x="1556" y="710"/>
                  </a:lnTo>
                  <a:lnTo>
                    <a:pt x="1556" y="710"/>
                  </a:lnTo>
                  <a:lnTo>
                    <a:pt x="1556" y="708"/>
                  </a:lnTo>
                  <a:lnTo>
                    <a:pt x="1556" y="708"/>
                  </a:lnTo>
                  <a:lnTo>
                    <a:pt x="1556" y="705"/>
                  </a:lnTo>
                  <a:lnTo>
                    <a:pt x="1556" y="705"/>
                  </a:lnTo>
                  <a:lnTo>
                    <a:pt x="1558" y="702"/>
                  </a:lnTo>
                  <a:lnTo>
                    <a:pt x="1558" y="702"/>
                  </a:lnTo>
                  <a:lnTo>
                    <a:pt x="1558" y="702"/>
                  </a:lnTo>
                  <a:lnTo>
                    <a:pt x="1556" y="702"/>
                  </a:lnTo>
                  <a:lnTo>
                    <a:pt x="1553" y="700"/>
                  </a:lnTo>
                  <a:lnTo>
                    <a:pt x="1553" y="697"/>
                  </a:lnTo>
                  <a:lnTo>
                    <a:pt x="1553" y="697"/>
                  </a:lnTo>
                  <a:lnTo>
                    <a:pt x="1550" y="697"/>
                  </a:lnTo>
                  <a:lnTo>
                    <a:pt x="1550" y="694"/>
                  </a:lnTo>
                  <a:lnTo>
                    <a:pt x="1550" y="692"/>
                  </a:lnTo>
                  <a:lnTo>
                    <a:pt x="1550" y="692"/>
                  </a:lnTo>
                  <a:lnTo>
                    <a:pt x="1550" y="692"/>
                  </a:lnTo>
                  <a:lnTo>
                    <a:pt x="1550" y="692"/>
                  </a:lnTo>
                  <a:lnTo>
                    <a:pt x="1548" y="692"/>
                  </a:lnTo>
                  <a:lnTo>
                    <a:pt x="1548" y="692"/>
                  </a:lnTo>
                  <a:lnTo>
                    <a:pt x="1548" y="692"/>
                  </a:lnTo>
                  <a:lnTo>
                    <a:pt x="1545" y="689"/>
                  </a:lnTo>
                  <a:lnTo>
                    <a:pt x="1545" y="689"/>
                  </a:lnTo>
                  <a:lnTo>
                    <a:pt x="1545" y="689"/>
                  </a:lnTo>
                  <a:lnTo>
                    <a:pt x="1545" y="686"/>
                  </a:lnTo>
                  <a:lnTo>
                    <a:pt x="1545" y="686"/>
                  </a:lnTo>
                  <a:lnTo>
                    <a:pt x="1548" y="686"/>
                  </a:lnTo>
                  <a:lnTo>
                    <a:pt x="1548" y="686"/>
                  </a:lnTo>
                  <a:lnTo>
                    <a:pt x="1548" y="686"/>
                  </a:lnTo>
                  <a:lnTo>
                    <a:pt x="1548" y="686"/>
                  </a:lnTo>
                  <a:lnTo>
                    <a:pt x="1548" y="684"/>
                  </a:lnTo>
                  <a:lnTo>
                    <a:pt x="1548" y="684"/>
                  </a:lnTo>
                  <a:lnTo>
                    <a:pt x="1548" y="684"/>
                  </a:lnTo>
                  <a:lnTo>
                    <a:pt x="1548" y="684"/>
                  </a:lnTo>
                  <a:lnTo>
                    <a:pt x="1545" y="684"/>
                  </a:lnTo>
                  <a:lnTo>
                    <a:pt x="1542" y="681"/>
                  </a:lnTo>
                  <a:lnTo>
                    <a:pt x="1542" y="681"/>
                  </a:lnTo>
                  <a:lnTo>
                    <a:pt x="1542" y="681"/>
                  </a:lnTo>
                  <a:lnTo>
                    <a:pt x="1540" y="681"/>
                  </a:lnTo>
                  <a:lnTo>
                    <a:pt x="1537" y="678"/>
                  </a:lnTo>
                  <a:lnTo>
                    <a:pt x="1537" y="676"/>
                  </a:lnTo>
                  <a:lnTo>
                    <a:pt x="1534" y="673"/>
                  </a:lnTo>
                  <a:lnTo>
                    <a:pt x="1534" y="673"/>
                  </a:lnTo>
                  <a:lnTo>
                    <a:pt x="1534" y="673"/>
                  </a:lnTo>
                  <a:lnTo>
                    <a:pt x="1534" y="670"/>
                  </a:lnTo>
                  <a:lnTo>
                    <a:pt x="1534" y="670"/>
                  </a:lnTo>
                  <a:lnTo>
                    <a:pt x="1534" y="668"/>
                  </a:lnTo>
                  <a:lnTo>
                    <a:pt x="1534" y="668"/>
                  </a:lnTo>
                  <a:lnTo>
                    <a:pt x="1534" y="668"/>
                  </a:lnTo>
                  <a:lnTo>
                    <a:pt x="1534" y="665"/>
                  </a:lnTo>
                  <a:lnTo>
                    <a:pt x="1534" y="662"/>
                  </a:lnTo>
                  <a:lnTo>
                    <a:pt x="1534" y="660"/>
                  </a:lnTo>
                  <a:lnTo>
                    <a:pt x="1537" y="657"/>
                  </a:lnTo>
                  <a:lnTo>
                    <a:pt x="1537" y="657"/>
                  </a:lnTo>
                  <a:lnTo>
                    <a:pt x="1537" y="657"/>
                  </a:lnTo>
                  <a:lnTo>
                    <a:pt x="1534" y="657"/>
                  </a:lnTo>
                  <a:lnTo>
                    <a:pt x="1534" y="654"/>
                  </a:lnTo>
                  <a:lnTo>
                    <a:pt x="1534" y="654"/>
                  </a:lnTo>
                  <a:lnTo>
                    <a:pt x="1534" y="654"/>
                  </a:lnTo>
                  <a:lnTo>
                    <a:pt x="1534" y="652"/>
                  </a:lnTo>
                  <a:lnTo>
                    <a:pt x="1532" y="646"/>
                  </a:lnTo>
                  <a:lnTo>
                    <a:pt x="1532" y="646"/>
                  </a:lnTo>
                  <a:lnTo>
                    <a:pt x="1529" y="641"/>
                  </a:lnTo>
                  <a:lnTo>
                    <a:pt x="1529" y="641"/>
                  </a:lnTo>
                  <a:lnTo>
                    <a:pt x="1526" y="638"/>
                  </a:lnTo>
                  <a:lnTo>
                    <a:pt x="1526" y="638"/>
                  </a:lnTo>
                  <a:lnTo>
                    <a:pt x="1526" y="636"/>
                  </a:lnTo>
                  <a:lnTo>
                    <a:pt x="1524" y="633"/>
                  </a:lnTo>
                  <a:lnTo>
                    <a:pt x="1521" y="630"/>
                  </a:lnTo>
                  <a:lnTo>
                    <a:pt x="1521" y="630"/>
                  </a:lnTo>
                  <a:lnTo>
                    <a:pt x="1516" y="628"/>
                  </a:lnTo>
                  <a:lnTo>
                    <a:pt x="1516" y="628"/>
                  </a:lnTo>
                  <a:lnTo>
                    <a:pt x="1516" y="628"/>
                  </a:lnTo>
                  <a:lnTo>
                    <a:pt x="1516" y="628"/>
                  </a:lnTo>
                  <a:lnTo>
                    <a:pt x="1513" y="622"/>
                  </a:lnTo>
                  <a:lnTo>
                    <a:pt x="1510" y="622"/>
                  </a:lnTo>
                  <a:lnTo>
                    <a:pt x="1510" y="622"/>
                  </a:lnTo>
                  <a:lnTo>
                    <a:pt x="1508" y="620"/>
                  </a:lnTo>
                  <a:lnTo>
                    <a:pt x="1508" y="620"/>
                  </a:lnTo>
                  <a:lnTo>
                    <a:pt x="1508" y="620"/>
                  </a:lnTo>
                  <a:lnTo>
                    <a:pt x="1508" y="620"/>
                  </a:lnTo>
                  <a:lnTo>
                    <a:pt x="1505" y="617"/>
                  </a:lnTo>
                  <a:lnTo>
                    <a:pt x="1505" y="609"/>
                  </a:lnTo>
                  <a:lnTo>
                    <a:pt x="1505" y="590"/>
                  </a:lnTo>
                  <a:lnTo>
                    <a:pt x="1505" y="574"/>
                  </a:lnTo>
                  <a:lnTo>
                    <a:pt x="1502" y="558"/>
                  </a:lnTo>
                  <a:lnTo>
                    <a:pt x="1502" y="542"/>
                  </a:lnTo>
                  <a:lnTo>
                    <a:pt x="1502" y="526"/>
                  </a:lnTo>
                  <a:lnTo>
                    <a:pt x="1500" y="491"/>
                  </a:lnTo>
                  <a:lnTo>
                    <a:pt x="1500" y="475"/>
                  </a:lnTo>
                  <a:lnTo>
                    <a:pt x="1497" y="459"/>
                  </a:lnTo>
                  <a:lnTo>
                    <a:pt x="1497" y="443"/>
                  </a:lnTo>
                  <a:lnTo>
                    <a:pt x="1494" y="424"/>
                  </a:lnTo>
                  <a:lnTo>
                    <a:pt x="1494" y="408"/>
                  </a:lnTo>
                  <a:lnTo>
                    <a:pt x="1494" y="400"/>
                  </a:lnTo>
                  <a:lnTo>
                    <a:pt x="1494" y="400"/>
                  </a:lnTo>
                  <a:lnTo>
                    <a:pt x="1492" y="398"/>
                  </a:lnTo>
                  <a:lnTo>
                    <a:pt x="1492" y="398"/>
                  </a:lnTo>
                  <a:lnTo>
                    <a:pt x="1486" y="395"/>
                  </a:lnTo>
                  <a:lnTo>
                    <a:pt x="1486" y="398"/>
                  </a:lnTo>
                  <a:lnTo>
                    <a:pt x="1484" y="398"/>
                  </a:lnTo>
                  <a:lnTo>
                    <a:pt x="1481" y="398"/>
                  </a:lnTo>
                  <a:lnTo>
                    <a:pt x="1476" y="395"/>
                  </a:lnTo>
                  <a:lnTo>
                    <a:pt x="1476" y="395"/>
                  </a:lnTo>
                  <a:lnTo>
                    <a:pt x="1473" y="398"/>
                  </a:lnTo>
                  <a:lnTo>
                    <a:pt x="1473" y="398"/>
                  </a:lnTo>
                  <a:lnTo>
                    <a:pt x="1465" y="395"/>
                  </a:lnTo>
                  <a:lnTo>
                    <a:pt x="1465" y="395"/>
                  </a:lnTo>
                  <a:lnTo>
                    <a:pt x="1462" y="398"/>
                  </a:lnTo>
                  <a:lnTo>
                    <a:pt x="1462" y="400"/>
                  </a:lnTo>
                  <a:lnTo>
                    <a:pt x="1462" y="400"/>
                  </a:lnTo>
                  <a:lnTo>
                    <a:pt x="1460" y="400"/>
                  </a:lnTo>
                  <a:lnTo>
                    <a:pt x="1457" y="400"/>
                  </a:lnTo>
                  <a:lnTo>
                    <a:pt x="1454" y="400"/>
                  </a:lnTo>
                  <a:lnTo>
                    <a:pt x="1454" y="398"/>
                  </a:lnTo>
                  <a:lnTo>
                    <a:pt x="1454" y="398"/>
                  </a:lnTo>
                  <a:lnTo>
                    <a:pt x="1454" y="398"/>
                  </a:lnTo>
                  <a:lnTo>
                    <a:pt x="1452" y="398"/>
                  </a:lnTo>
                  <a:lnTo>
                    <a:pt x="1449" y="395"/>
                  </a:lnTo>
                  <a:lnTo>
                    <a:pt x="1446" y="395"/>
                  </a:lnTo>
                  <a:lnTo>
                    <a:pt x="1446" y="392"/>
                  </a:lnTo>
                  <a:lnTo>
                    <a:pt x="1444" y="390"/>
                  </a:lnTo>
                  <a:lnTo>
                    <a:pt x="1441" y="390"/>
                  </a:lnTo>
                  <a:lnTo>
                    <a:pt x="1441" y="390"/>
                  </a:lnTo>
                  <a:lnTo>
                    <a:pt x="1438" y="390"/>
                  </a:lnTo>
                  <a:lnTo>
                    <a:pt x="1436" y="387"/>
                  </a:lnTo>
                  <a:lnTo>
                    <a:pt x="1436" y="390"/>
                  </a:lnTo>
                  <a:lnTo>
                    <a:pt x="1430" y="387"/>
                  </a:lnTo>
                  <a:lnTo>
                    <a:pt x="1430" y="387"/>
                  </a:lnTo>
                  <a:lnTo>
                    <a:pt x="1430" y="384"/>
                  </a:lnTo>
                  <a:lnTo>
                    <a:pt x="1430" y="384"/>
                  </a:lnTo>
                  <a:lnTo>
                    <a:pt x="1428" y="384"/>
                  </a:lnTo>
                  <a:lnTo>
                    <a:pt x="1425" y="384"/>
                  </a:lnTo>
                  <a:lnTo>
                    <a:pt x="1422" y="384"/>
                  </a:lnTo>
                  <a:lnTo>
                    <a:pt x="1422" y="384"/>
                  </a:lnTo>
                  <a:lnTo>
                    <a:pt x="1420" y="384"/>
                  </a:lnTo>
                  <a:lnTo>
                    <a:pt x="1420" y="382"/>
                  </a:lnTo>
                  <a:lnTo>
                    <a:pt x="1417" y="382"/>
                  </a:lnTo>
                  <a:lnTo>
                    <a:pt x="1417" y="384"/>
                  </a:lnTo>
                  <a:lnTo>
                    <a:pt x="1417" y="384"/>
                  </a:lnTo>
                  <a:lnTo>
                    <a:pt x="1414" y="384"/>
                  </a:lnTo>
                  <a:lnTo>
                    <a:pt x="1414" y="382"/>
                  </a:lnTo>
                  <a:lnTo>
                    <a:pt x="1412" y="382"/>
                  </a:lnTo>
                  <a:lnTo>
                    <a:pt x="1409" y="379"/>
                  </a:lnTo>
                  <a:lnTo>
                    <a:pt x="1409" y="376"/>
                  </a:lnTo>
                  <a:lnTo>
                    <a:pt x="1406" y="376"/>
                  </a:lnTo>
                  <a:lnTo>
                    <a:pt x="1404" y="376"/>
                  </a:lnTo>
                  <a:lnTo>
                    <a:pt x="1396" y="376"/>
                  </a:lnTo>
                  <a:lnTo>
                    <a:pt x="1390" y="371"/>
                  </a:lnTo>
                  <a:lnTo>
                    <a:pt x="1390" y="368"/>
                  </a:lnTo>
                  <a:lnTo>
                    <a:pt x="1388" y="368"/>
                  </a:lnTo>
                  <a:lnTo>
                    <a:pt x="1388" y="366"/>
                  </a:lnTo>
                  <a:lnTo>
                    <a:pt x="1388" y="366"/>
                  </a:lnTo>
                  <a:lnTo>
                    <a:pt x="1385" y="366"/>
                  </a:lnTo>
                  <a:lnTo>
                    <a:pt x="1385" y="363"/>
                  </a:lnTo>
                  <a:lnTo>
                    <a:pt x="1385" y="363"/>
                  </a:lnTo>
                  <a:lnTo>
                    <a:pt x="1385" y="363"/>
                  </a:lnTo>
                  <a:lnTo>
                    <a:pt x="1382" y="363"/>
                  </a:lnTo>
                  <a:lnTo>
                    <a:pt x="1382" y="360"/>
                  </a:lnTo>
                  <a:lnTo>
                    <a:pt x="1380" y="360"/>
                  </a:lnTo>
                  <a:lnTo>
                    <a:pt x="1377" y="360"/>
                  </a:lnTo>
                  <a:lnTo>
                    <a:pt x="1374" y="360"/>
                  </a:lnTo>
                  <a:lnTo>
                    <a:pt x="1372" y="355"/>
                  </a:lnTo>
                  <a:lnTo>
                    <a:pt x="1369" y="355"/>
                  </a:lnTo>
                  <a:lnTo>
                    <a:pt x="1366" y="355"/>
                  </a:lnTo>
                  <a:lnTo>
                    <a:pt x="1364" y="352"/>
                  </a:lnTo>
                  <a:lnTo>
                    <a:pt x="1364" y="352"/>
                  </a:lnTo>
                  <a:lnTo>
                    <a:pt x="1364" y="352"/>
                  </a:lnTo>
                  <a:lnTo>
                    <a:pt x="1361" y="350"/>
                  </a:lnTo>
                  <a:lnTo>
                    <a:pt x="1353" y="350"/>
                  </a:lnTo>
                  <a:lnTo>
                    <a:pt x="1353" y="350"/>
                  </a:lnTo>
                  <a:lnTo>
                    <a:pt x="1350" y="350"/>
                  </a:lnTo>
                  <a:lnTo>
                    <a:pt x="1350" y="352"/>
                  </a:lnTo>
                  <a:lnTo>
                    <a:pt x="1350" y="355"/>
                  </a:lnTo>
                  <a:lnTo>
                    <a:pt x="1347" y="358"/>
                  </a:lnTo>
                  <a:lnTo>
                    <a:pt x="1347" y="355"/>
                  </a:lnTo>
                  <a:lnTo>
                    <a:pt x="1347" y="358"/>
                  </a:lnTo>
                  <a:lnTo>
                    <a:pt x="1345" y="358"/>
                  </a:lnTo>
                  <a:lnTo>
                    <a:pt x="1345" y="358"/>
                  </a:lnTo>
                  <a:lnTo>
                    <a:pt x="1345" y="360"/>
                  </a:lnTo>
                  <a:lnTo>
                    <a:pt x="1342" y="358"/>
                  </a:lnTo>
                  <a:lnTo>
                    <a:pt x="1342" y="358"/>
                  </a:lnTo>
                  <a:lnTo>
                    <a:pt x="1342" y="360"/>
                  </a:lnTo>
                  <a:lnTo>
                    <a:pt x="1342" y="360"/>
                  </a:lnTo>
                  <a:lnTo>
                    <a:pt x="1339" y="360"/>
                  </a:lnTo>
                  <a:lnTo>
                    <a:pt x="1339" y="363"/>
                  </a:lnTo>
                  <a:lnTo>
                    <a:pt x="1339" y="363"/>
                  </a:lnTo>
                  <a:lnTo>
                    <a:pt x="1339" y="363"/>
                  </a:lnTo>
                  <a:lnTo>
                    <a:pt x="1329" y="363"/>
                  </a:lnTo>
                  <a:lnTo>
                    <a:pt x="1329" y="363"/>
                  </a:lnTo>
                  <a:lnTo>
                    <a:pt x="1326" y="363"/>
                  </a:lnTo>
                  <a:lnTo>
                    <a:pt x="1326" y="360"/>
                  </a:lnTo>
                  <a:lnTo>
                    <a:pt x="1326" y="360"/>
                  </a:lnTo>
                  <a:lnTo>
                    <a:pt x="1323" y="360"/>
                  </a:lnTo>
                  <a:lnTo>
                    <a:pt x="1323" y="360"/>
                  </a:lnTo>
                  <a:lnTo>
                    <a:pt x="1323" y="363"/>
                  </a:lnTo>
                  <a:lnTo>
                    <a:pt x="1323" y="363"/>
                  </a:lnTo>
                  <a:lnTo>
                    <a:pt x="1321" y="360"/>
                  </a:lnTo>
                  <a:lnTo>
                    <a:pt x="1321" y="360"/>
                  </a:lnTo>
                  <a:lnTo>
                    <a:pt x="1321" y="360"/>
                  </a:lnTo>
                  <a:lnTo>
                    <a:pt x="1321" y="360"/>
                  </a:lnTo>
                  <a:lnTo>
                    <a:pt x="1318" y="360"/>
                  </a:lnTo>
                  <a:lnTo>
                    <a:pt x="1315" y="360"/>
                  </a:lnTo>
                  <a:lnTo>
                    <a:pt x="1318" y="358"/>
                  </a:lnTo>
                  <a:lnTo>
                    <a:pt x="1315" y="355"/>
                  </a:lnTo>
                  <a:lnTo>
                    <a:pt x="1315" y="355"/>
                  </a:lnTo>
                  <a:lnTo>
                    <a:pt x="1313" y="352"/>
                  </a:lnTo>
                  <a:lnTo>
                    <a:pt x="1310" y="352"/>
                  </a:lnTo>
                  <a:lnTo>
                    <a:pt x="1310" y="352"/>
                  </a:lnTo>
                  <a:lnTo>
                    <a:pt x="1307" y="352"/>
                  </a:lnTo>
                  <a:lnTo>
                    <a:pt x="1307" y="355"/>
                  </a:lnTo>
                  <a:lnTo>
                    <a:pt x="1307" y="355"/>
                  </a:lnTo>
                  <a:lnTo>
                    <a:pt x="1305" y="355"/>
                  </a:lnTo>
                  <a:lnTo>
                    <a:pt x="1305" y="355"/>
                  </a:lnTo>
                  <a:lnTo>
                    <a:pt x="1302" y="358"/>
                  </a:lnTo>
                  <a:lnTo>
                    <a:pt x="1299" y="358"/>
                  </a:lnTo>
                  <a:lnTo>
                    <a:pt x="1299" y="358"/>
                  </a:lnTo>
                  <a:lnTo>
                    <a:pt x="1297" y="360"/>
                  </a:lnTo>
                  <a:lnTo>
                    <a:pt x="1297" y="360"/>
                  </a:lnTo>
                  <a:lnTo>
                    <a:pt x="1297" y="360"/>
                  </a:lnTo>
                  <a:lnTo>
                    <a:pt x="1294" y="360"/>
                  </a:lnTo>
                  <a:lnTo>
                    <a:pt x="1291" y="360"/>
                  </a:lnTo>
                  <a:lnTo>
                    <a:pt x="1289" y="360"/>
                  </a:lnTo>
                  <a:lnTo>
                    <a:pt x="1289" y="366"/>
                  </a:lnTo>
                  <a:lnTo>
                    <a:pt x="1289" y="366"/>
                  </a:lnTo>
                  <a:lnTo>
                    <a:pt x="1289" y="366"/>
                  </a:lnTo>
                  <a:lnTo>
                    <a:pt x="1286" y="366"/>
                  </a:lnTo>
                  <a:lnTo>
                    <a:pt x="1286" y="366"/>
                  </a:lnTo>
                  <a:lnTo>
                    <a:pt x="1286" y="366"/>
                  </a:lnTo>
                  <a:lnTo>
                    <a:pt x="1286" y="366"/>
                  </a:lnTo>
                  <a:lnTo>
                    <a:pt x="1283" y="366"/>
                  </a:lnTo>
                  <a:lnTo>
                    <a:pt x="1281" y="368"/>
                  </a:lnTo>
                  <a:lnTo>
                    <a:pt x="1281" y="366"/>
                  </a:lnTo>
                  <a:lnTo>
                    <a:pt x="1273" y="363"/>
                  </a:lnTo>
                  <a:lnTo>
                    <a:pt x="1273" y="360"/>
                  </a:lnTo>
                  <a:lnTo>
                    <a:pt x="1270" y="360"/>
                  </a:lnTo>
                  <a:lnTo>
                    <a:pt x="1270" y="363"/>
                  </a:lnTo>
                  <a:lnTo>
                    <a:pt x="1267" y="363"/>
                  </a:lnTo>
                  <a:lnTo>
                    <a:pt x="1267" y="366"/>
                  </a:lnTo>
                  <a:lnTo>
                    <a:pt x="1267" y="366"/>
                  </a:lnTo>
                  <a:lnTo>
                    <a:pt x="1265" y="366"/>
                  </a:lnTo>
                  <a:lnTo>
                    <a:pt x="1262" y="368"/>
                  </a:lnTo>
                  <a:lnTo>
                    <a:pt x="1259" y="368"/>
                  </a:lnTo>
                  <a:lnTo>
                    <a:pt x="1257" y="368"/>
                  </a:lnTo>
                  <a:lnTo>
                    <a:pt x="1251" y="368"/>
                  </a:lnTo>
                  <a:lnTo>
                    <a:pt x="1249" y="371"/>
                  </a:lnTo>
                  <a:lnTo>
                    <a:pt x="1249" y="371"/>
                  </a:lnTo>
                  <a:lnTo>
                    <a:pt x="1246" y="371"/>
                  </a:lnTo>
                  <a:lnTo>
                    <a:pt x="1246" y="374"/>
                  </a:lnTo>
                  <a:lnTo>
                    <a:pt x="1243" y="376"/>
                  </a:lnTo>
                  <a:lnTo>
                    <a:pt x="1243" y="379"/>
                  </a:lnTo>
                  <a:lnTo>
                    <a:pt x="1241" y="382"/>
                  </a:lnTo>
                  <a:lnTo>
                    <a:pt x="1238" y="382"/>
                  </a:lnTo>
                  <a:lnTo>
                    <a:pt x="1233" y="382"/>
                  </a:lnTo>
                  <a:lnTo>
                    <a:pt x="1230" y="382"/>
                  </a:lnTo>
                  <a:lnTo>
                    <a:pt x="1230" y="382"/>
                  </a:lnTo>
                  <a:lnTo>
                    <a:pt x="1230" y="384"/>
                  </a:lnTo>
                  <a:lnTo>
                    <a:pt x="1230" y="387"/>
                  </a:lnTo>
                  <a:lnTo>
                    <a:pt x="1225" y="390"/>
                  </a:lnTo>
                  <a:lnTo>
                    <a:pt x="1222" y="387"/>
                  </a:lnTo>
                  <a:lnTo>
                    <a:pt x="1219" y="382"/>
                  </a:lnTo>
                  <a:lnTo>
                    <a:pt x="1217" y="379"/>
                  </a:lnTo>
                  <a:lnTo>
                    <a:pt x="1214" y="379"/>
                  </a:lnTo>
                  <a:lnTo>
                    <a:pt x="1206" y="379"/>
                  </a:lnTo>
                  <a:lnTo>
                    <a:pt x="1206" y="379"/>
                  </a:lnTo>
                  <a:lnTo>
                    <a:pt x="1203" y="376"/>
                  </a:lnTo>
                  <a:lnTo>
                    <a:pt x="1203" y="376"/>
                  </a:lnTo>
                  <a:lnTo>
                    <a:pt x="1203" y="374"/>
                  </a:lnTo>
                  <a:lnTo>
                    <a:pt x="1203" y="374"/>
                  </a:lnTo>
                  <a:lnTo>
                    <a:pt x="1201" y="374"/>
                  </a:lnTo>
                  <a:lnTo>
                    <a:pt x="1195" y="371"/>
                  </a:lnTo>
                  <a:lnTo>
                    <a:pt x="1195" y="371"/>
                  </a:lnTo>
                  <a:lnTo>
                    <a:pt x="1193" y="371"/>
                  </a:lnTo>
                  <a:lnTo>
                    <a:pt x="1193" y="368"/>
                  </a:lnTo>
                  <a:lnTo>
                    <a:pt x="1193" y="368"/>
                  </a:lnTo>
                  <a:lnTo>
                    <a:pt x="1193" y="368"/>
                  </a:lnTo>
                  <a:lnTo>
                    <a:pt x="1193" y="366"/>
                  </a:lnTo>
                  <a:lnTo>
                    <a:pt x="1195" y="366"/>
                  </a:lnTo>
                  <a:lnTo>
                    <a:pt x="1195" y="363"/>
                  </a:lnTo>
                  <a:lnTo>
                    <a:pt x="1193" y="363"/>
                  </a:lnTo>
                  <a:lnTo>
                    <a:pt x="1190" y="360"/>
                  </a:lnTo>
                  <a:lnTo>
                    <a:pt x="1187" y="360"/>
                  </a:lnTo>
                  <a:lnTo>
                    <a:pt x="1187" y="360"/>
                  </a:lnTo>
                  <a:lnTo>
                    <a:pt x="1187" y="360"/>
                  </a:lnTo>
                  <a:lnTo>
                    <a:pt x="1187" y="363"/>
                  </a:lnTo>
                  <a:lnTo>
                    <a:pt x="1185" y="363"/>
                  </a:lnTo>
                  <a:lnTo>
                    <a:pt x="1185" y="368"/>
                  </a:lnTo>
                  <a:lnTo>
                    <a:pt x="1185" y="368"/>
                  </a:lnTo>
                  <a:lnTo>
                    <a:pt x="1185" y="368"/>
                  </a:lnTo>
                  <a:lnTo>
                    <a:pt x="1182" y="368"/>
                  </a:lnTo>
                  <a:lnTo>
                    <a:pt x="1182" y="371"/>
                  </a:lnTo>
                  <a:lnTo>
                    <a:pt x="1182" y="371"/>
                  </a:lnTo>
                  <a:lnTo>
                    <a:pt x="1179" y="371"/>
                  </a:lnTo>
                  <a:lnTo>
                    <a:pt x="1179" y="371"/>
                  </a:lnTo>
                  <a:lnTo>
                    <a:pt x="1177" y="371"/>
                  </a:lnTo>
                  <a:lnTo>
                    <a:pt x="1177" y="371"/>
                  </a:lnTo>
                  <a:lnTo>
                    <a:pt x="1177" y="371"/>
                  </a:lnTo>
                  <a:lnTo>
                    <a:pt x="1171" y="368"/>
                  </a:lnTo>
                  <a:lnTo>
                    <a:pt x="1171" y="368"/>
                  </a:lnTo>
                  <a:lnTo>
                    <a:pt x="1171" y="368"/>
                  </a:lnTo>
                  <a:lnTo>
                    <a:pt x="1166" y="368"/>
                  </a:lnTo>
                  <a:lnTo>
                    <a:pt x="1166" y="368"/>
                  </a:lnTo>
                  <a:lnTo>
                    <a:pt x="1163" y="368"/>
                  </a:lnTo>
                  <a:lnTo>
                    <a:pt x="1163" y="368"/>
                  </a:lnTo>
                  <a:lnTo>
                    <a:pt x="1161" y="366"/>
                  </a:lnTo>
                  <a:lnTo>
                    <a:pt x="1161" y="366"/>
                  </a:lnTo>
                  <a:lnTo>
                    <a:pt x="1161" y="363"/>
                  </a:lnTo>
                  <a:lnTo>
                    <a:pt x="1161" y="360"/>
                  </a:lnTo>
                  <a:lnTo>
                    <a:pt x="1158" y="358"/>
                  </a:lnTo>
                  <a:lnTo>
                    <a:pt x="1158" y="358"/>
                  </a:lnTo>
                  <a:lnTo>
                    <a:pt x="1158" y="358"/>
                  </a:lnTo>
                  <a:lnTo>
                    <a:pt x="1155" y="358"/>
                  </a:lnTo>
                  <a:lnTo>
                    <a:pt x="1155" y="358"/>
                  </a:lnTo>
                  <a:lnTo>
                    <a:pt x="1155" y="358"/>
                  </a:lnTo>
                  <a:lnTo>
                    <a:pt x="1150" y="358"/>
                  </a:lnTo>
                  <a:lnTo>
                    <a:pt x="1150" y="358"/>
                  </a:lnTo>
                  <a:lnTo>
                    <a:pt x="1150" y="358"/>
                  </a:lnTo>
                  <a:lnTo>
                    <a:pt x="1147" y="358"/>
                  </a:lnTo>
                  <a:lnTo>
                    <a:pt x="1147" y="360"/>
                  </a:lnTo>
                  <a:lnTo>
                    <a:pt x="1147" y="363"/>
                  </a:lnTo>
                  <a:lnTo>
                    <a:pt x="1147" y="368"/>
                  </a:lnTo>
                  <a:lnTo>
                    <a:pt x="1145" y="371"/>
                  </a:lnTo>
                  <a:lnTo>
                    <a:pt x="1142" y="371"/>
                  </a:lnTo>
                  <a:lnTo>
                    <a:pt x="1137" y="371"/>
                  </a:lnTo>
                  <a:lnTo>
                    <a:pt x="1137" y="374"/>
                  </a:lnTo>
                  <a:lnTo>
                    <a:pt x="1139" y="374"/>
                  </a:lnTo>
                  <a:lnTo>
                    <a:pt x="1139" y="374"/>
                  </a:lnTo>
                  <a:lnTo>
                    <a:pt x="1139" y="376"/>
                  </a:lnTo>
                  <a:lnTo>
                    <a:pt x="1139" y="376"/>
                  </a:lnTo>
                  <a:lnTo>
                    <a:pt x="1137" y="379"/>
                  </a:lnTo>
                  <a:lnTo>
                    <a:pt x="1137" y="379"/>
                  </a:lnTo>
                  <a:lnTo>
                    <a:pt x="1137" y="384"/>
                  </a:lnTo>
                  <a:lnTo>
                    <a:pt x="1137" y="387"/>
                  </a:lnTo>
                  <a:lnTo>
                    <a:pt x="1134" y="390"/>
                  </a:lnTo>
                  <a:lnTo>
                    <a:pt x="1131" y="390"/>
                  </a:lnTo>
                  <a:lnTo>
                    <a:pt x="1126" y="387"/>
                  </a:lnTo>
                  <a:lnTo>
                    <a:pt x="1126" y="384"/>
                  </a:lnTo>
                  <a:lnTo>
                    <a:pt x="1123" y="382"/>
                  </a:lnTo>
                  <a:lnTo>
                    <a:pt x="1123" y="379"/>
                  </a:lnTo>
                  <a:lnTo>
                    <a:pt x="1123" y="376"/>
                  </a:lnTo>
                  <a:lnTo>
                    <a:pt x="1126" y="371"/>
                  </a:lnTo>
                  <a:lnTo>
                    <a:pt x="1126" y="368"/>
                  </a:lnTo>
                  <a:lnTo>
                    <a:pt x="1126" y="368"/>
                  </a:lnTo>
                  <a:lnTo>
                    <a:pt x="1123" y="366"/>
                  </a:lnTo>
                  <a:lnTo>
                    <a:pt x="1123" y="366"/>
                  </a:lnTo>
                  <a:lnTo>
                    <a:pt x="1121" y="363"/>
                  </a:lnTo>
                  <a:lnTo>
                    <a:pt x="1121" y="363"/>
                  </a:lnTo>
                  <a:lnTo>
                    <a:pt x="1121" y="366"/>
                  </a:lnTo>
                  <a:lnTo>
                    <a:pt x="1118" y="366"/>
                  </a:lnTo>
                  <a:lnTo>
                    <a:pt x="1118" y="366"/>
                  </a:lnTo>
                  <a:lnTo>
                    <a:pt x="1118" y="368"/>
                  </a:lnTo>
                  <a:lnTo>
                    <a:pt x="1115" y="371"/>
                  </a:lnTo>
                  <a:lnTo>
                    <a:pt x="1115" y="371"/>
                  </a:lnTo>
                  <a:lnTo>
                    <a:pt x="1113" y="368"/>
                  </a:lnTo>
                  <a:lnTo>
                    <a:pt x="1110" y="368"/>
                  </a:lnTo>
                  <a:lnTo>
                    <a:pt x="1110" y="371"/>
                  </a:lnTo>
                  <a:lnTo>
                    <a:pt x="1107" y="371"/>
                  </a:lnTo>
                  <a:lnTo>
                    <a:pt x="1107" y="371"/>
                  </a:lnTo>
                  <a:lnTo>
                    <a:pt x="1107" y="371"/>
                  </a:lnTo>
                  <a:lnTo>
                    <a:pt x="1107" y="374"/>
                  </a:lnTo>
                  <a:lnTo>
                    <a:pt x="1105" y="374"/>
                  </a:lnTo>
                  <a:lnTo>
                    <a:pt x="1105" y="374"/>
                  </a:lnTo>
                  <a:lnTo>
                    <a:pt x="1105" y="376"/>
                  </a:lnTo>
                  <a:lnTo>
                    <a:pt x="1102" y="376"/>
                  </a:lnTo>
                  <a:lnTo>
                    <a:pt x="1097" y="376"/>
                  </a:lnTo>
                  <a:lnTo>
                    <a:pt x="1094" y="376"/>
                  </a:lnTo>
                  <a:lnTo>
                    <a:pt x="1094" y="371"/>
                  </a:lnTo>
                  <a:lnTo>
                    <a:pt x="1091" y="368"/>
                  </a:lnTo>
                  <a:lnTo>
                    <a:pt x="1091" y="368"/>
                  </a:lnTo>
                  <a:lnTo>
                    <a:pt x="1089" y="366"/>
                  </a:lnTo>
                  <a:lnTo>
                    <a:pt x="1086" y="366"/>
                  </a:lnTo>
                  <a:lnTo>
                    <a:pt x="1081" y="366"/>
                  </a:lnTo>
                  <a:lnTo>
                    <a:pt x="1078" y="366"/>
                  </a:lnTo>
                  <a:lnTo>
                    <a:pt x="1078" y="363"/>
                  </a:lnTo>
                  <a:lnTo>
                    <a:pt x="1078" y="358"/>
                  </a:lnTo>
                  <a:lnTo>
                    <a:pt x="1075" y="355"/>
                  </a:lnTo>
                  <a:lnTo>
                    <a:pt x="1070" y="352"/>
                  </a:lnTo>
                  <a:lnTo>
                    <a:pt x="1067" y="355"/>
                  </a:lnTo>
                  <a:lnTo>
                    <a:pt x="1062" y="358"/>
                  </a:lnTo>
                  <a:lnTo>
                    <a:pt x="1054" y="368"/>
                  </a:lnTo>
                  <a:lnTo>
                    <a:pt x="1049" y="371"/>
                  </a:lnTo>
                  <a:lnTo>
                    <a:pt x="1043" y="371"/>
                  </a:lnTo>
                  <a:lnTo>
                    <a:pt x="1038" y="371"/>
                  </a:lnTo>
                  <a:lnTo>
                    <a:pt x="1035" y="368"/>
                  </a:lnTo>
                  <a:lnTo>
                    <a:pt x="1035" y="368"/>
                  </a:lnTo>
                  <a:lnTo>
                    <a:pt x="1035" y="366"/>
                  </a:lnTo>
                  <a:lnTo>
                    <a:pt x="1035" y="366"/>
                  </a:lnTo>
                  <a:lnTo>
                    <a:pt x="1035" y="363"/>
                  </a:lnTo>
                  <a:lnTo>
                    <a:pt x="1035" y="360"/>
                  </a:lnTo>
                  <a:lnTo>
                    <a:pt x="1035" y="360"/>
                  </a:lnTo>
                  <a:lnTo>
                    <a:pt x="1035" y="358"/>
                  </a:lnTo>
                  <a:lnTo>
                    <a:pt x="1035" y="358"/>
                  </a:lnTo>
                  <a:lnTo>
                    <a:pt x="1035" y="355"/>
                  </a:lnTo>
                  <a:lnTo>
                    <a:pt x="1035" y="355"/>
                  </a:lnTo>
                  <a:lnTo>
                    <a:pt x="1033" y="355"/>
                  </a:lnTo>
                  <a:lnTo>
                    <a:pt x="1030" y="352"/>
                  </a:lnTo>
                  <a:lnTo>
                    <a:pt x="1025" y="352"/>
                  </a:lnTo>
                  <a:lnTo>
                    <a:pt x="1019" y="350"/>
                  </a:lnTo>
                  <a:lnTo>
                    <a:pt x="1019" y="344"/>
                  </a:lnTo>
                  <a:lnTo>
                    <a:pt x="1017" y="342"/>
                  </a:lnTo>
                  <a:lnTo>
                    <a:pt x="1019" y="339"/>
                  </a:lnTo>
                  <a:lnTo>
                    <a:pt x="1019" y="334"/>
                  </a:lnTo>
                  <a:lnTo>
                    <a:pt x="1017" y="334"/>
                  </a:lnTo>
                  <a:lnTo>
                    <a:pt x="1014" y="334"/>
                  </a:lnTo>
                  <a:lnTo>
                    <a:pt x="1009" y="334"/>
                  </a:lnTo>
                  <a:lnTo>
                    <a:pt x="1003" y="336"/>
                  </a:lnTo>
                  <a:lnTo>
                    <a:pt x="990" y="334"/>
                  </a:lnTo>
                  <a:lnTo>
                    <a:pt x="987" y="334"/>
                  </a:lnTo>
                  <a:lnTo>
                    <a:pt x="985" y="336"/>
                  </a:lnTo>
                  <a:lnTo>
                    <a:pt x="982" y="339"/>
                  </a:lnTo>
                  <a:lnTo>
                    <a:pt x="982" y="342"/>
                  </a:lnTo>
                  <a:lnTo>
                    <a:pt x="979" y="342"/>
                  </a:lnTo>
                  <a:lnTo>
                    <a:pt x="977" y="344"/>
                  </a:lnTo>
                  <a:lnTo>
                    <a:pt x="971" y="344"/>
                  </a:lnTo>
                  <a:lnTo>
                    <a:pt x="971" y="342"/>
                  </a:lnTo>
                  <a:lnTo>
                    <a:pt x="966" y="339"/>
                  </a:lnTo>
                  <a:lnTo>
                    <a:pt x="963" y="336"/>
                  </a:lnTo>
                  <a:lnTo>
                    <a:pt x="963" y="336"/>
                  </a:lnTo>
                  <a:lnTo>
                    <a:pt x="961" y="334"/>
                  </a:lnTo>
                  <a:lnTo>
                    <a:pt x="961" y="331"/>
                  </a:lnTo>
                  <a:lnTo>
                    <a:pt x="958" y="331"/>
                  </a:lnTo>
                  <a:lnTo>
                    <a:pt x="955" y="331"/>
                  </a:lnTo>
                  <a:lnTo>
                    <a:pt x="953" y="331"/>
                  </a:lnTo>
                  <a:lnTo>
                    <a:pt x="945" y="336"/>
                  </a:lnTo>
                  <a:lnTo>
                    <a:pt x="945" y="334"/>
                  </a:lnTo>
                  <a:lnTo>
                    <a:pt x="929" y="331"/>
                  </a:lnTo>
                  <a:lnTo>
                    <a:pt x="926" y="331"/>
                  </a:lnTo>
                  <a:lnTo>
                    <a:pt x="918" y="326"/>
                  </a:lnTo>
                  <a:lnTo>
                    <a:pt x="915" y="326"/>
                  </a:lnTo>
                  <a:lnTo>
                    <a:pt x="913" y="326"/>
                  </a:lnTo>
                  <a:lnTo>
                    <a:pt x="913" y="326"/>
                  </a:lnTo>
                  <a:lnTo>
                    <a:pt x="910" y="326"/>
                  </a:lnTo>
                  <a:lnTo>
                    <a:pt x="907" y="326"/>
                  </a:lnTo>
                  <a:lnTo>
                    <a:pt x="902" y="326"/>
                  </a:lnTo>
                  <a:lnTo>
                    <a:pt x="899" y="323"/>
                  </a:lnTo>
                  <a:lnTo>
                    <a:pt x="894" y="326"/>
                  </a:lnTo>
                  <a:lnTo>
                    <a:pt x="891" y="323"/>
                  </a:lnTo>
                  <a:lnTo>
                    <a:pt x="889" y="323"/>
                  </a:lnTo>
                  <a:lnTo>
                    <a:pt x="889" y="320"/>
                  </a:lnTo>
                  <a:lnTo>
                    <a:pt x="889" y="312"/>
                  </a:lnTo>
                  <a:lnTo>
                    <a:pt x="889" y="310"/>
                  </a:lnTo>
                  <a:lnTo>
                    <a:pt x="889" y="310"/>
                  </a:lnTo>
                  <a:lnTo>
                    <a:pt x="889" y="307"/>
                  </a:lnTo>
                  <a:lnTo>
                    <a:pt x="883" y="304"/>
                  </a:lnTo>
                  <a:lnTo>
                    <a:pt x="883" y="302"/>
                  </a:lnTo>
                  <a:lnTo>
                    <a:pt x="883" y="299"/>
                  </a:lnTo>
                  <a:lnTo>
                    <a:pt x="881" y="296"/>
                  </a:lnTo>
                  <a:lnTo>
                    <a:pt x="878" y="296"/>
                  </a:lnTo>
                  <a:lnTo>
                    <a:pt x="878" y="296"/>
                  </a:lnTo>
                  <a:lnTo>
                    <a:pt x="875" y="296"/>
                  </a:lnTo>
                  <a:lnTo>
                    <a:pt x="875" y="296"/>
                  </a:lnTo>
                  <a:lnTo>
                    <a:pt x="873" y="294"/>
                  </a:lnTo>
                  <a:lnTo>
                    <a:pt x="873" y="294"/>
                  </a:lnTo>
                  <a:lnTo>
                    <a:pt x="873" y="294"/>
                  </a:lnTo>
                  <a:lnTo>
                    <a:pt x="873" y="291"/>
                  </a:lnTo>
                  <a:lnTo>
                    <a:pt x="870" y="291"/>
                  </a:lnTo>
                  <a:lnTo>
                    <a:pt x="867" y="291"/>
                  </a:lnTo>
                  <a:lnTo>
                    <a:pt x="867" y="291"/>
                  </a:lnTo>
                  <a:lnTo>
                    <a:pt x="867" y="299"/>
                  </a:lnTo>
                  <a:lnTo>
                    <a:pt x="865" y="302"/>
                  </a:lnTo>
                  <a:lnTo>
                    <a:pt x="865" y="302"/>
                  </a:lnTo>
                  <a:lnTo>
                    <a:pt x="862" y="302"/>
                  </a:lnTo>
                  <a:lnTo>
                    <a:pt x="859" y="302"/>
                  </a:lnTo>
                  <a:lnTo>
                    <a:pt x="854" y="299"/>
                  </a:lnTo>
                  <a:lnTo>
                    <a:pt x="849" y="296"/>
                  </a:lnTo>
                  <a:lnTo>
                    <a:pt x="849" y="296"/>
                  </a:lnTo>
                  <a:lnTo>
                    <a:pt x="846" y="299"/>
                  </a:lnTo>
                  <a:lnTo>
                    <a:pt x="846" y="299"/>
                  </a:lnTo>
                  <a:lnTo>
                    <a:pt x="843" y="302"/>
                  </a:lnTo>
                  <a:lnTo>
                    <a:pt x="843" y="302"/>
                  </a:lnTo>
                  <a:lnTo>
                    <a:pt x="835" y="302"/>
                  </a:lnTo>
                  <a:lnTo>
                    <a:pt x="833" y="299"/>
                  </a:lnTo>
                  <a:lnTo>
                    <a:pt x="833" y="299"/>
                  </a:lnTo>
                  <a:lnTo>
                    <a:pt x="830" y="294"/>
                  </a:lnTo>
                  <a:lnTo>
                    <a:pt x="809" y="275"/>
                  </a:lnTo>
                  <a:lnTo>
                    <a:pt x="809" y="275"/>
                  </a:lnTo>
                  <a:lnTo>
                    <a:pt x="806" y="275"/>
                  </a:lnTo>
                  <a:lnTo>
                    <a:pt x="806" y="275"/>
                  </a:lnTo>
                  <a:lnTo>
                    <a:pt x="803" y="272"/>
                  </a:lnTo>
                  <a:lnTo>
                    <a:pt x="798" y="275"/>
                  </a:lnTo>
                  <a:lnTo>
                    <a:pt x="795" y="275"/>
                  </a:lnTo>
                  <a:lnTo>
                    <a:pt x="795" y="267"/>
                  </a:lnTo>
                  <a:lnTo>
                    <a:pt x="795" y="251"/>
                  </a:lnTo>
                  <a:lnTo>
                    <a:pt x="795" y="235"/>
                  </a:lnTo>
                  <a:lnTo>
                    <a:pt x="795" y="219"/>
                  </a:lnTo>
                  <a:lnTo>
                    <a:pt x="795" y="203"/>
                  </a:lnTo>
                  <a:lnTo>
                    <a:pt x="795" y="187"/>
                  </a:lnTo>
                  <a:lnTo>
                    <a:pt x="795" y="171"/>
                  </a:lnTo>
                  <a:lnTo>
                    <a:pt x="795" y="155"/>
                  </a:lnTo>
                  <a:lnTo>
                    <a:pt x="795" y="139"/>
                  </a:lnTo>
                  <a:lnTo>
                    <a:pt x="795" y="123"/>
                  </a:lnTo>
                  <a:lnTo>
                    <a:pt x="795" y="107"/>
                  </a:lnTo>
                  <a:lnTo>
                    <a:pt x="795" y="91"/>
                  </a:lnTo>
                  <a:lnTo>
                    <a:pt x="795" y="75"/>
                  </a:lnTo>
                  <a:lnTo>
                    <a:pt x="795" y="58"/>
                  </a:lnTo>
                  <a:lnTo>
                    <a:pt x="795" y="42"/>
                  </a:lnTo>
                  <a:lnTo>
                    <a:pt x="795" y="26"/>
                  </a:lnTo>
                  <a:lnTo>
                    <a:pt x="795" y="10"/>
                  </a:lnTo>
                  <a:lnTo>
                    <a:pt x="795" y="5"/>
                  </a:lnTo>
                  <a:lnTo>
                    <a:pt x="795" y="5"/>
                  </a:lnTo>
                  <a:lnTo>
                    <a:pt x="774" y="5"/>
                  </a:lnTo>
                  <a:lnTo>
                    <a:pt x="758" y="5"/>
                  </a:lnTo>
                  <a:lnTo>
                    <a:pt x="736" y="5"/>
                  </a:lnTo>
                  <a:lnTo>
                    <a:pt x="710" y="5"/>
                  </a:lnTo>
                  <a:lnTo>
                    <a:pt x="683" y="2"/>
                  </a:lnTo>
                  <a:lnTo>
                    <a:pt x="654" y="2"/>
                  </a:lnTo>
                  <a:lnTo>
                    <a:pt x="622" y="2"/>
                  </a:lnTo>
                  <a:lnTo>
                    <a:pt x="590" y="2"/>
                  </a:lnTo>
                  <a:lnTo>
                    <a:pt x="560" y="2"/>
                  </a:lnTo>
                  <a:lnTo>
                    <a:pt x="531" y="2"/>
                  </a:lnTo>
                  <a:lnTo>
                    <a:pt x="507" y="0"/>
                  </a:lnTo>
                  <a:lnTo>
                    <a:pt x="486" y="0"/>
                  </a:lnTo>
                  <a:lnTo>
                    <a:pt x="470" y="0"/>
                  </a:lnTo>
                  <a:lnTo>
                    <a:pt x="459" y="0"/>
                  </a:lnTo>
                  <a:lnTo>
                    <a:pt x="454" y="0"/>
                  </a:lnTo>
                  <a:lnTo>
                    <a:pt x="451" y="0"/>
                  </a:lnTo>
                  <a:lnTo>
                    <a:pt x="451" y="2"/>
                  </a:lnTo>
                  <a:lnTo>
                    <a:pt x="451" y="5"/>
                  </a:lnTo>
                  <a:lnTo>
                    <a:pt x="448" y="26"/>
                  </a:lnTo>
                  <a:lnTo>
                    <a:pt x="448" y="45"/>
                  </a:lnTo>
                  <a:lnTo>
                    <a:pt x="448" y="64"/>
                  </a:lnTo>
                  <a:lnTo>
                    <a:pt x="448" y="85"/>
                  </a:lnTo>
                  <a:lnTo>
                    <a:pt x="446" y="104"/>
                  </a:lnTo>
                  <a:lnTo>
                    <a:pt x="446" y="123"/>
                  </a:lnTo>
                  <a:lnTo>
                    <a:pt x="446" y="144"/>
                  </a:lnTo>
                  <a:lnTo>
                    <a:pt x="446" y="163"/>
                  </a:lnTo>
                  <a:lnTo>
                    <a:pt x="446" y="181"/>
                  </a:lnTo>
                  <a:lnTo>
                    <a:pt x="443" y="203"/>
                  </a:lnTo>
                  <a:lnTo>
                    <a:pt x="443" y="221"/>
                  </a:lnTo>
                  <a:lnTo>
                    <a:pt x="443" y="240"/>
                  </a:lnTo>
                  <a:lnTo>
                    <a:pt x="443" y="259"/>
                  </a:lnTo>
                  <a:lnTo>
                    <a:pt x="440" y="280"/>
                  </a:lnTo>
                  <a:lnTo>
                    <a:pt x="440" y="299"/>
                  </a:lnTo>
                  <a:lnTo>
                    <a:pt x="440" y="318"/>
                  </a:lnTo>
                  <a:lnTo>
                    <a:pt x="440" y="339"/>
                  </a:lnTo>
                  <a:lnTo>
                    <a:pt x="438" y="358"/>
                  </a:lnTo>
                  <a:lnTo>
                    <a:pt x="438" y="376"/>
                  </a:lnTo>
                  <a:lnTo>
                    <a:pt x="438" y="398"/>
                  </a:lnTo>
                  <a:lnTo>
                    <a:pt x="438" y="416"/>
                  </a:lnTo>
                  <a:lnTo>
                    <a:pt x="435" y="435"/>
                  </a:lnTo>
                  <a:lnTo>
                    <a:pt x="435" y="457"/>
                  </a:lnTo>
                  <a:lnTo>
                    <a:pt x="435" y="475"/>
                  </a:lnTo>
                  <a:lnTo>
                    <a:pt x="435" y="494"/>
                  </a:lnTo>
                  <a:lnTo>
                    <a:pt x="435" y="515"/>
                  </a:lnTo>
                  <a:lnTo>
                    <a:pt x="432" y="534"/>
                  </a:lnTo>
                  <a:lnTo>
                    <a:pt x="432" y="553"/>
                  </a:lnTo>
                  <a:lnTo>
                    <a:pt x="432" y="574"/>
                  </a:lnTo>
                  <a:lnTo>
                    <a:pt x="432" y="593"/>
                  </a:lnTo>
                  <a:lnTo>
                    <a:pt x="430" y="612"/>
                  </a:lnTo>
                  <a:lnTo>
                    <a:pt x="430" y="633"/>
                  </a:lnTo>
                  <a:lnTo>
                    <a:pt x="403" y="630"/>
                  </a:lnTo>
                  <a:lnTo>
                    <a:pt x="376" y="630"/>
                  </a:lnTo>
                  <a:lnTo>
                    <a:pt x="350" y="630"/>
                  </a:lnTo>
                  <a:lnTo>
                    <a:pt x="323" y="628"/>
                  </a:lnTo>
                  <a:lnTo>
                    <a:pt x="299" y="628"/>
                  </a:lnTo>
                  <a:lnTo>
                    <a:pt x="272" y="628"/>
                  </a:lnTo>
                  <a:lnTo>
                    <a:pt x="245" y="625"/>
                  </a:lnTo>
                  <a:lnTo>
                    <a:pt x="219" y="625"/>
                  </a:lnTo>
                  <a:lnTo>
                    <a:pt x="192" y="622"/>
                  </a:lnTo>
                  <a:lnTo>
                    <a:pt x="165" y="622"/>
                  </a:lnTo>
                  <a:lnTo>
                    <a:pt x="139" y="620"/>
                  </a:lnTo>
                  <a:lnTo>
                    <a:pt x="112" y="620"/>
                  </a:lnTo>
                  <a:lnTo>
                    <a:pt x="85" y="617"/>
                  </a:lnTo>
                  <a:lnTo>
                    <a:pt x="59" y="617"/>
                  </a:lnTo>
                  <a:lnTo>
                    <a:pt x="32" y="614"/>
                  </a:lnTo>
                  <a:lnTo>
                    <a:pt x="5" y="614"/>
                  </a:lnTo>
                  <a:lnTo>
                    <a:pt x="3" y="614"/>
                  </a:lnTo>
                  <a:lnTo>
                    <a:pt x="0" y="614"/>
                  </a:lnTo>
                  <a:lnTo>
                    <a:pt x="0" y="614"/>
                  </a:lnTo>
                  <a:lnTo>
                    <a:pt x="3" y="620"/>
                  </a:lnTo>
                  <a:lnTo>
                    <a:pt x="3" y="622"/>
                  </a:lnTo>
                  <a:lnTo>
                    <a:pt x="5" y="628"/>
                  </a:lnTo>
                  <a:lnTo>
                    <a:pt x="5" y="630"/>
                  </a:lnTo>
                  <a:lnTo>
                    <a:pt x="8" y="633"/>
                  </a:lnTo>
                  <a:lnTo>
                    <a:pt x="5" y="636"/>
                  </a:lnTo>
                  <a:lnTo>
                    <a:pt x="8" y="636"/>
                  </a:lnTo>
                  <a:lnTo>
                    <a:pt x="8" y="638"/>
                  </a:lnTo>
                  <a:lnTo>
                    <a:pt x="11" y="638"/>
                  </a:lnTo>
                  <a:lnTo>
                    <a:pt x="11" y="638"/>
                  </a:lnTo>
                  <a:lnTo>
                    <a:pt x="13" y="641"/>
                  </a:lnTo>
                  <a:lnTo>
                    <a:pt x="19" y="649"/>
                  </a:lnTo>
                  <a:lnTo>
                    <a:pt x="21" y="649"/>
                  </a:lnTo>
                  <a:lnTo>
                    <a:pt x="27" y="649"/>
                  </a:lnTo>
                  <a:lnTo>
                    <a:pt x="32" y="652"/>
                  </a:lnTo>
                  <a:lnTo>
                    <a:pt x="35" y="654"/>
                  </a:lnTo>
                  <a:lnTo>
                    <a:pt x="37" y="660"/>
                  </a:lnTo>
                  <a:lnTo>
                    <a:pt x="40" y="665"/>
                  </a:lnTo>
                  <a:lnTo>
                    <a:pt x="43" y="676"/>
                  </a:lnTo>
                  <a:lnTo>
                    <a:pt x="43" y="678"/>
                  </a:lnTo>
                  <a:lnTo>
                    <a:pt x="48" y="684"/>
                  </a:lnTo>
                  <a:lnTo>
                    <a:pt x="51" y="686"/>
                  </a:lnTo>
                  <a:lnTo>
                    <a:pt x="51" y="686"/>
                  </a:lnTo>
                  <a:lnTo>
                    <a:pt x="51" y="689"/>
                  </a:lnTo>
                  <a:lnTo>
                    <a:pt x="51" y="689"/>
                  </a:lnTo>
                  <a:lnTo>
                    <a:pt x="51" y="689"/>
                  </a:lnTo>
                  <a:lnTo>
                    <a:pt x="56" y="692"/>
                  </a:lnTo>
                  <a:lnTo>
                    <a:pt x="56" y="694"/>
                  </a:lnTo>
                  <a:lnTo>
                    <a:pt x="59" y="694"/>
                  </a:lnTo>
                  <a:lnTo>
                    <a:pt x="64" y="697"/>
                  </a:lnTo>
                  <a:lnTo>
                    <a:pt x="67" y="700"/>
                  </a:lnTo>
                  <a:lnTo>
                    <a:pt x="69" y="700"/>
                  </a:lnTo>
                  <a:lnTo>
                    <a:pt x="72" y="702"/>
                  </a:lnTo>
                  <a:lnTo>
                    <a:pt x="75" y="702"/>
                  </a:lnTo>
                  <a:lnTo>
                    <a:pt x="80" y="705"/>
                  </a:lnTo>
                  <a:lnTo>
                    <a:pt x="80" y="708"/>
                  </a:lnTo>
                  <a:lnTo>
                    <a:pt x="83" y="708"/>
                  </a:lnTo>
                  <a:lnTo>
                    <a:pt x="83" y="710"/>
                  </a:lnTo>
                  <a:lnTo>
                    <a:pt x="83" y="713"/>
                  </a:lnTo>
                  <a:lnTo>
                    <a:pt x="85" y="713"/>
                  </a:lnTo>
                  <a:lnTo>
                    <a:pt x="88" y="716"/>
                  </a:lnTo>
                  <a:lnTo>
                    <a:pt x="88" y="716"/>
                  </a:lnTo>
                  <a:lnTo>
                    <a:pt x="88" y="716"/>
                  </a:lnTo>
                  <a:lnTo>
                    <a:pt x="91" y="718"/>
                  </a:lnTo>
                  <a:lnTo>
                    <a:pt x="99" y="729"/>
                  </a:lnTo>
                  <a:lnTo>
                    <a:pt x="101" y="732"/>
                  </a:lnTo>
                  <a:lnTo>
                    <a:pt x="101" y="734"/>
                  </a:lnTo>
                  <a:lnTo>
                    <a:pt x="109" y="740"/>
                  </a:lnTo>
                  <a:lnTo>
                    <a:pt x="112" y="742"/>
                  </a:lnTo>
                  <a:lnTo>
                    <a:pt x="112" y="742"/>
                  </a:lnTo>
                  <a:lnTo>
                    <a:pt x="117" y="745"/>
                  </a:lnTo>
                  <a:lnTo>
                    <a:pt x="117" y="748"/>
                  </a:lnTo>
                  <a:lnTo>
                    <a:pt x="120" y="748"/>
                  </a:lnTo>
                  <a:lnTo>
                    <a:pt x="123" y="750"/>
                  </a:lnTo>
                  <a:lnTo>
                    <a:pt x="123" y="753"/>
                  </a:lnTo>
                  <a:lnTo>
                    <a:pt x="125" y="758"/>
                  </a:lnTo>
                  <a:lnTo>
                    <a:pt x="125" y="761"/>
                  </a:lnTo>
                  <a:lnTo>
                    <a:pt x="128" y="761"/>
                  </a:lnTo>
                  <a:lnTo>
                    <a:pt x="133" y="766"/>
                  </a:lnTo>
                  <a:lnTo>
                    <a:pt x="141" y="774"/>
                  </a:lnTo>
                  <a:lnTo>
                    <a:pt x="147" y="783"/>
                  </a:lnTo>
                  <a:lnTo>
                    <a:pt x="147" y="783"/>
                  </a:lnTo>
                  <a:lnTo>
                    <a:pt x="152" y="785"/>
                  </a:lnTo>
                  <a:lnTo>
                    <a:pt x="157" y="788"/>
                  </a:lnTo>
                  <a:lnTo>
                    <a:pt x="160" y="788"/>
                  </a:lnTo>
                  <a:lnTo>
                    <a:pt x="160" y="791"/>
                  </a:lnTo>
                  <a:lnTo>
                    <a:pt x="160" y="791"/>
                  </a:lnTo>
                  <a:lnTo>
                    <a:pt x="163" y="791"/>
                  </a:lnTo>
                  <a:lnTo>
                    <a:pt x="163" y="791"/>
                  </a:lnTo>
                  <a:lnTo>
                    <a:pt x="163" y="791"/>
                  </a:lnTo>
                  <a:lnTo>
                    <a:pt x="163" y="791"/>
                  </a:lnTo>
                  <a:lnTo>
                    <a:pt x="163" y="791"/>
                  </a:lnTo>
                  <a:lnTo>
                    <a:pt x="165" y="791"/>
                  </a:lnTo>
                  <a:lnTo>
                    <a:pt x="165" y="791"/>
                  </a:lnTo>
                  <a:lnTo>
                    <a:pt x="168" y="791"/>
                  </a:lnTo>
                  <a:lnTo>
                    <a:pt x="168" y="793"/>
                  </a:lnTo>
                  <a:lnTo>
                    <a:pt x="168" y="793"/>
                  </a:lnTo>
                  <a:lnTo>
                    <a:pt x="171" y="793"/>
                  </a:lnTo>
                  <a:lnTo>
                    <a:pt x="171" y="793"/>
                  </a:lnTo>
                  <a:lnTo>
                    <a:pt x="171" y="796"/>
                  </a:lnTo>
                  <a:lnTo>
                    <a:pt x="171" y="796"/>
                  </a:lnTo>
                  <a:lnTo>
                    <a:pt x="173" y="796"/>
                  </a:lnTo>
                  <a:lnTo>
                    <a:pt x="173" y="796"/>
                  </a:lnTo>
                  <a:lnTo>
                    <a:pt x="173" y="799"/>
                  </a:lnTo>
                  <a:lnTo>
                    <a:pt x="176" y="799"/>
                  </a:lnTo>
                  <a:lnTo>
                    <a:pt x="176" y="799"/>
                  </a:lnTo>
                  <a:lnTo>
                    <a:pt x="181" y="804"/>
                  </a:lnTo>
                  <a:lnTo>
                    <a:pt x="184" y="807"/>
                  </a:lnTo>
                  <a:lnTo>
                    <a:pt x="184" y="807"/>
                  </a:lnTo>
                  <a:lnTo>
                    <a:pt x="187" y="807"/>
                  </a:lnTo>
                  <a:lnTo>
                    <a:pt x="189" y="809"/>
                  </a:lnTo>
                  <a:lnTo>
                    <a:pt x="192" y="812"/>
                  </a:lnTo>
                  <a:lnTo>
                    <a:pt x="192" y="812"/>
                  </a:lnTo>
                  <a:lnTo>
                    <a:pt x="192" y="815"/>
                  </a:lnTo>
                  <a:lnTo>
                    <a:pt x="192" y="817"/>
                  </a:lnTo>
                  <a:lnTo>
                    <a:pt x="192" y="817"/>
                  </a:lnTo>
                  <a:lnTo>
                    <a:pt x="195" y="817"/>
                  </a:lnTo>
                  <a:lnTo>
                    <a:pt x="197" y="817"/>
                  </a:lnTo>
                  <a:lnTo>
                    <a:pt x="197" y="820"/>
                  </a:lnTo>
                  <a:lnTo>
                    <a:pt x="200" y="820"/>
                  </a:lnTo>
                  <a:lnTo>
                    <a:pt x="203" y="825"/>
                  </a:lnTo>
                  <a:lnTo>
                    <a:pt x="203" y="828"/>
                  </a:lnTo>
                  <a:lnTo>
                    <a:pt x="203" y="828"/>
                  </a:lnTo>
                  <a:lnTo>
                    <a:pt x="203" y="833"/>
                  </a:lnTo>
                  <a:lnTo>
                    <a:pt x="205" y="833"/>
                  </a:lnTo>
                  <a:lnTo>
                    <a:pt x="205" y="836"/>
                  </a:lnTo>
                  <a:lnTo>
                    <a:pt x="205" y="836"/>
                  </a:lnTo>
                  <a:lnTo>
                    <a:pt x="205" y="836"/>
                  </a:lnTo>
                  <a:lnTo>
                    <a:pt x="205" y="839"/>
                  </a:lnTo>
                  <a:lnTo>
                    <a:pt x="205" y="839"/>
                  </a:lnTo>
                  <a:lnTo>
                    <a:pt x="205" y="841"/>
                  </a:lnTo>
                  <a:lnTo>
                    <a:pt x="208" y="841"/>
                  </a:lnTo>
                  <a:lnTo>
                    <a:pt x="208" y="844"/>
                  </a:lnTo>
                  <a:lnTo>
                    <a:pt x="208" y="847"/>
                  </a:lnTo>
                  <a:lnTo>
                    <a:pt x="205" y="847"/>
                  </a:lnTo>
                  <a:lnTo>
                    <a:pt x="208" y="847"/>
                  </a:lnTo>
                  <a:lnTo>
                    <a:pt x="208" y="849"/>
                  </a:lnTo>
                  <a:lnTo>
                    <a:pt x="208" y="849"/>
                  </a:lnTo>
                  <a:lnTo>
                    <a:pt x="211" y="852"/>
                  </a:lnTo>
                  <a:lnTo>
                    <a:pt x="211" y="852"/>
                  </a:lnTo>
                  <a:lnTo>
                    <a:pt x="211" y="852"/>
                  </a:lnTo>
                  <a:lnTo>
                    <a:pt x="211" y="855"/>
                  </a:lnTo>
                  <a:lnTo>
                    <a:pt x="211" y="857"/>
                  </a:lnTo>
                  <a:lnTo>
                    <a:pt x="211" y="857"/>
                  </a:lnTo>
                  <a:lnTo>
                    <a:pt x="213" y="857"/>
                  </a:lnTo>
                  <a:lnTo>
                    <a:pt x="216" y="863"/>
                  </a:lnTo>
                  <a:lnTo>
                    <a:pt x="216" y="865"/>
                  </a:lnTo>
                  <a:lnTo>
                    <a:pt x="219" y="868"/>
                  </a:lnTo>
                  <a:lnTo>
                    <a:pt x="219" y="871"/>
                  </a:lnTo>
                  <a:lnTo>
                    <a:pt x="221" y="871"/>
                  </a:lnTo>
                  <a:lnTo>
                    <a:pt x="221" y="871"/>
                  </a:lnTo>
                  <a:lnTo>
                    <a:pt x="224" y="876"/>
                  </a:lnTo>
                  <a:lnTo>
                    <a:pt x="227" y="879"/>
                  </a:lnTo>
                  <a:lnTo>
                    <a:pt x="227" y="881"/>
                  </a:lnTo>
                  <a:lnTo>
                    <a:pt x="227" y="887"/>
                  </a:lnTo>
                  <a:lnTo>
                    <a:pt x="227" y="889"/>
                  </a:lnTo>
                  <a:lnTo>
                    <a:pt x="224" y="895"/>
                  </a:lnTo>
                  <a:lnTo>
                    <a:pt x="224" y="897"/>
                  </a:lnTo>
                  <a:lnTo>
                    <a:pt x="224" y="903"/>
                  </a:lnTo>
                  <a:lnTo>
                    <a:pt x="224" y="911"/>
                  </a:lnTo>
                  <a:lnTo>
                    <a:pt x="224" y="911"/>
                  </a:lnTo>
                  <a:lnTo>
                    <a:pt x="224" y="913"/>
                  </a:lnTo>
                  <a:lnTo>
                    <a:pt x="224" y="913"/>
                  </a:lnTo>
                  <a:lnTo>
                    <a:pt x="227" y="916"/>
                  </a:lnTo>
                  <a:lnTo>
                    <a:pt x="227" y="916"/>
                  </a:lnTo>
                  <a:lnTo>
                    <a:pt x="227" y="919"/>
                  </a:lnTo>
                  <a:lnTo>
                    <a:pt x="227" y="919"/>
                  </a:lnTo>
                  <a:lnTo>
                    <a:pt x="229" y="921"/>
                  </a:lnTo>
                  <a:lnTo>
                    <a:pt x="232" y="929"/>
                  </a:lnTo>
                  <a:lnTo>
                    <a:pt x="232" y="929"/>
                  </a:lnTo>
                  <a:lnTo>
                    <a:pt x="235" y="932"/>
                  </a:lnTo>
                  <a:lnTo>
                    <a:pt x="235" y="935"/>
                  </a:lnTo>
                  <a:lnTo>
                    <a:pt x="237" y="937"/>
                  </a:lnTo>
                  <a:lnTo>
                    <a:pt x="237" y="943"/>
                  </a:lnTo>
                  <a:lnTo>
                    <a:pt x="240" y="945"/>
                  </a:lnTo>
                  <a:lnTo>
                    <a:pt x="240" y="948"/>
                  </a:lnTo>
                  <a:lnTo>
                    <a:pt x="240" y="951"/>
                  </a:lnTo>
                  <a:lnTo>
                    <a:pt x="240" y="953"/>
                  </a:lnTo>
                  <a:lnTo>
                    <a:pt x="243" y="953"/>
                  </a:lnTo>
                  <a:lnTo>
                    <a:pt x="243" y="956"/>
                  </a:lnTo>
                  <a:lnTo>
                    <a:pt x="248" y="959"/>
                  </a:lnTo>
                  <a:lnTo>
                    <a:pt x="251" y="962"/>
                  </a:lnTo>
                  <a:lnTo>
                    <a:pt x="251" y="962"/>
                  </a:lnTo>
                  <a:lnTo>
                    <a:pt x="251" y="964"/>
                  </a:lnTo>
                  <a:lnTo>
                    <a:pt x="251" y="964"/>
                  </a:lnTo>
                  <a:lnTo>
                    <a:pt x="253" y="967"/>
                  </a:lnTo>
                  <a:lnTo>
                    <a:pt x="253" y="967"/>
                  </a:lnTo>
                  <a:lnTo>
                    <a:pt x="264" y="972"/>
                  </a:lnTo>
                  <a:lnTo>
                    <a:pt x="264" y="975"/>
                  </a:lnTo>
                  <a:lnTo>
                    <a:pt x="267" y="975"/>
                  </a:lnTo>
                  <a:lnTo>
                    <a:pt x="270" y="975"/>
                  </a:lnTo>
                  <a:lnTo>
                    <a:pt x="272" y="975"/>
                  </a:lnTo>
                  <a:lnTo>
                    <a:pt x="275" y="978"/>
                  </a:lnTo>
                  <a:lnTo>
                    <a:pt x="278" y="980"/>
                  </a:lnTo>
                  <a:lnTo>
                    <a:pt x="280" y="980"/>
                  </a:lnTo>
                  <a:lnTo>
                    <a:pt x="280" y="980"/>
                  </a:lnTo>
                  <a:lnTo>
                    <a:pt x="283" y="986"/>
                  </a:lnTo>
                  <a:lnTo>
                    <a:pt x="286" y="991"/>
                  </a:lnTo>
                  <a:lnTo>
                    <a:pt x="288" y="994"/>
                  </a:lnTo>
                  <a:lnTo>
                    <a:pt x="294" y="996"/>
                  </a:lnTo>
                  <a:lnTo>
                    <a:pt x="299" y="1002"/>
                  </a:lnTo>
                  <a:lnTo>
                    <a:pt x="302" y="1004"/>
                  </a:lnTo>
                  <a:lnTo>
                    <a:pt x="315" y="1010"/>
                  </a:lnTo>
                  <a:lnTo>
                    <a:pt x="320" y="1012"/>
                  </a:lnTo>
                  <a:lnTo>
                    <a:pt x="331" y="1012"/>
                  </a:lnTo>
                  <a:lnTo>
                    <a:pt x="331" y="1012"/>
                  </a:lnTo>
                  <a:lnTo>
                    <a:pt x="334" y="1012"/>
                  </a:lnTo>
                  <a:lnTo>
                    <a:pt x="334" y="1015"/>
                  </a:lnTo>
                  <a:lnTo>
                    <a:pt x="331" y="1018"/>
                  </a:lnTo>
                  <a:lnTo>
                    <a:pt x="334" y="1018"/>
                  </a:lnTo>
                  <a:lnTo>
                    <a:pt x="334" y="1020"/>
                  </a:lnTo>
                  <a:lnTo>
                    <a:pt x="336" y="1020"/>
                  </a:lnTo>
                  <a:lnTo>
                    <a:pt x="342" y="1026"/>
                  </a:lnTo>
                  <a:lnTo>
                    <a:pt x="344" y="1028"/>
                  </a:lnTo>
                  <a:lnTo>
                    <a:pt x="355" y="1031"/>
                  </a:lnTo>
                  <a:lnTo>
                    <a:pt x="358" y="1031"/>
                  </a:lnTo>
                  <a:lnTo>
                    <a:pt x="360" y="1031"/>
                  </a:lnTo>
                  <a:lnTo>
                    <a:pt x="360" y="1031"/>
                  </a:lnTo>
                  <a:lnTo>
                    <a:pt x="360" y="1031"/>
                  </a:lnTo>
                  <a:lnTo>
                    <a:pt x="360" y="1034"/>
                  </a:lnTo>
                  <a:lnTo>
                    <a:pt x="363" y="1034"/>
                  </a:lnTo>
                  <a:lnTo>
                    <a:pt x="368" y="1042"/>
                  </a:lnTo>
                  <a:lnTo>
                    <a:pt x="374" y="1044"/>
                  </a:lnTo>
                  <a:lnTo>
                    <a:pt x="374" y="1044"/>
                  </a:lnTo>
                  <a:lnTo>
                    <a:pt x="376" y="1044"/>
                  </a:lnTo>
                  <a:lnTo>
                    <a:pt x="379" y="1050"/>
                  </a:lnTo>
                  <a:lnTo>
                    <a:pt x="382" y="1050"/>
                  </a:lnTo>
                  <a:lnTo>
                    <a:pt x="382" y="1050"/>
                  </a:lnTo>
                  <a:lnTo>
                    <a:pt x="384" y="1047"/>
                  </a:lnTo>
                  <a:lnTo>
                    <a:pt x="384" y="1047"/>
                  </a:lnTo>
                  <a:lnTo>
                    <a:pt x="387" y="1050"/>
                  </a:lnTo>
                  <a:lnTo>
                    <a:pt x="387" y="1050"/>
                  </a:lnTo>
                  <a:lnTo>
                    <a:pt x="390" y="1050"/>
                  </a:lnTo>
                  <a:lnTo>
                    <a:pt x="387" y="1052"/>
                  </a:lnTo>
                  <a:lnTo>
                    <a:pt x="390" y="1052"/>
                  </a:lnTo>
                  <a:lnTo>
                    <a:pt x="398" y="1052"/>
                  </a:lnTo>
                  <a:lnTo>
                    <a:pt x="403" y="1055"/>
                  </a:lnTo>
                  <a:lnTo>
                    <a:pt x="408" y="1055"/>
                  </a:lnTo>
                  <a:lnTo>
                    <a:pt x="411" y="1055"/>
                  </a:lnTo>
                  <a:lnTo>
                    <a:pt x="414" y="1050"/>
                  </a:lnTo>
                  <a:lnTo>
                    <a:pt x="414" y="1044"/>
                  </a:lnTo>
                  <a:lnTo>
                    <a:pt x="414" y="1044"/>
                  </a:lnTo>
                  <a:lnTo>
                    <a:pt x="414" y="1044"/>
                  </a:lnTo>
                  <a:lnTo>
                    <a:pt x="416" y="1044"/>
                  </a:lnTo>
                  <a:lnTo>
                    <a:pt x="416" y="1044"/>
                  </a:lnTo>
                  <a:lnTo>
                    <a:pt x="416" y="1042"/>
                  </a:lnTo>
                  <a:lnTo>
                    <a:pt x="419" y="1042"/>
                  </a:lnTo>
                  <a:lnTo>
                    <a:pt x="422" y="1039"/>
                  </a:lnTo>
                  <a:lnTo>
                    <a:pt x="424" y="1036"/>
                  </a:lnTo>
                  <a:lnTo>
                    <a:pt x="424" y="1036"/>
                  </a:lnTo>
                  <a:lnTo>
                    <a:pt x="424" y="1036"/>
                  </a:lnTo>
                  <a:lnTo>
                    <a:pt x="430" y="1028"/>
                  </a:lnTo>
                  <a:lnTo>
                    <a:pt x="430" y="1028"/>
                  </a:lnTo>
                  <a:lnTo>
                    <a:pt x="430" y="1028"/>
                  </a:lnTo>
                  <a:lnTo>
                    <a:pt x="430" y="1028"/>
                  </a:lnTo>
                  <a:lnTo>
                    <a:pt x="432" y="1028"/>
                  </a:lnTo>
                  <a:lnTo>
                    <a:pt x="435" y="1028"/>
                  </a:lnTo>
                  <a:lnTo>
                    <a:pt x="440" y="1023"/>
                  </a:lnTo>
                  <a:lnTo>
                    <a:pt x="443" y="1023"/>
                  </a:lnTo>
                  <a:lnTo>
                    <a:pt x="446" y="1023"/>
                  </a:lnTo>
                  <a:lnTo>
                    <a:pt x="446" y="1023"/>
                  </a:lnTo>
                  <a:lnTo>
                    <a:pt x="443" y="1020"/>
                  </a:lnTo>
                  <a:lnTo>
                    <a:pt x="440" y="1018"/>
                  </a:lnTo>
                  <a:lnTo>
                    <a:pt x="440" y="1018"/>
                  </a:lnTo>
                  <a:lnTo>
                    <a:pt x="440" y="1015"/>
                  </a:lnTo>
                  <a:lnTo>
                    <a:pt x="440" y="1010"/>
                  </a:lnTo>
                  <a:lnTo>
                    <a:pt x="443" y="1007"/>
                  </a:lnTo>
                  <a:lnTo>
                    <a:pt x="443" y="1007"/>
                  </a:lnTo>
                  <a:lnTo>
                    <a:pt x="443" y="1004"/>
                  </a:lnTo>
                  <a:lnTo>
                    <a:pt x="443" y="1004"/>
                  </a:lnTo>
                  <a:lnTo>
                    <a:pt x="446" y="1004"/>
                  </a:lnTo>
                  <a:lnTo>
                    <a:pt x="446" y="1004"/>
                  </a:lnTo>
                  <a:lnTo>
                    <a:pt x="446" y="1004"/>
                  </a:lnTo>
                  <a:lnTo>
                    <a:pt x="448" y="1004"/>
                  </a:lnTo>
                  <a:lnTo>
                    <a:pt x="448" y="1004"/>
                  </a:lnTo>
                  <a:lnTo>
                    <a:pt x="448" y="1002"/>
                  </a:lnTo>
                  <a:lnTo>
                    <a:pt x="446" y="1002"/>
                  </a:lnTo>
                  <a:lnTo>
                    <a:pt x="446" y="999"/>
                  </a:lnTo>
                  <a:lnTo>
                    <a:pt x="448" y="999"/>
                  </a:lnTo>
                  <a:lnTo>
                    <a:pt x="448" y="996"/>
                  </a:lnTo>
                  <a:lnTo>
                    <a:pt x="448" y="994"/>
                  </a:lnTo>
                  <a:lnTo>
                    <a:pt x="448" y="994"/>
                  </a:lnTo>
                  <a:lnTo>
                    <a:pt x="448" y="991"/>
                  </a:lnTo>
                  <a:lnTo>
                    <a:pt x="448" y="991"/>
                  </a:lnTo>
                  <a:lnTo>
                    <a:pt x="448" y="988"/>
                  </a:lnTo>
                  <a:lnTo>
                    <a:pt x="454" y="978"/>
                  </a:lnTo>
                  <a:lnTo>
                    <a:pt x="454" y="978"/>
                  </a:lnTo>
                  <a:lnTo>
                    <a:pt x="454" y="978"/>
                  </a:lnTo>
                  <a:lnTo>
                    <a:pt x="454" y="978"/>
                  </a:lnTo>
                  <a:lnTo>
                    <a:pt x="456" y="975"/>
                  </a:lnTo>
                  <a:lnTo>
                    <a:pt x="454" y="975"/>
                  </a:lnTo>
                  <a:lnTo>
                    <a:pt x="456" y="975"/>
                  </a:lnTo>
                  <a:lnTo>
                    <a:pt x="456" y="972"/>
                  </a:lnTo>
                  <a:lnTo>
                    <a:pt x="456" y="972"/>
                  </a:lnTo>
                  <a:lnTo>
                    <a:pt x="456" y="970"/>
                  </a:lnTo>
                  <a:lnTo>
                    <a:pt x="459" y="970"/>
                  </a:lnTo>
                  <a:lnTo>
                    <a:pt x="459" y="970"/>
                  </a:lnTo>
                  <a:lnTo>
                    <a:pt x="459" y="967"/>
                  </a:lnTo>
                  <a:lnTo>
                    <a:pt x="459" y="967"/>
                  </a:lnTo>
                  <a:lnTo>
                    <a:pt x="462" y="964"/>
                  </a:lnTo>
                  <a:lnTo>
                    <a:pt x="462" y="964"/>
                  </a:lnTo>
                  <a:lnTo>
                    <a:pt x="462" y="962"/>
                  </a:lnTo>
                  <a:lnTo>
                    <a:pt x="467" y="956"/>
                  </a:lnTo>
                  <a:lnTo>
                    <a:pt x="467" y="953"/>
                  </a:lnTo>
                  <a:lnTo>
                    <a:pt x="467" y="953"/>
                  </a:lnTo>
                  <a:lnTo>
                    <a:pt x="467" y="951"/>
                  </a:lnTo>
                  <a:lnTo>
                    <a:pt x="467" y="951"/>
                  </a:lnTo>
                  <a:lnTo>
                    <a:pt x="470" y="951"/>
                  </a:lnTo>
                  <a:lnTo>
                    <a:pt x="472" y="951"/>
                  </a:lnTo>
                  <a:lnTo>
                    <a:pt x="475" y="951"/>
                  </a:lnTo>
                  <a:lnTo>
                    <a:pt x="480" y="948"/>
                  </a:lnTo>
                  <a:lnTo>
                    <a:pt x="483" y="948"/>
                  </a:lnTo>
                  <a:lnTo>
                    <a:pt x="483" y="948"/>
                  </a:lnTo>
                  <a:lnTo>
                    <a:pt x="483" y="948"/>
                  </a:lnTo>
                  <a:lnTo>
                    <a:pt x="483" y="948"/>
                  </a:lnTo>
                  <a:lnTo>
                    <a:pt x="486" y="948"/>
                  </a:lnTo>
                  <a:lnTo>
                    <a:pt x="486" y="948"/>
                  </a:lnTo>
                  <a:lnTo>
                    <a:pt x="486" y="948"/>
                  </a:lnTo>
                  <a:lnTo>
                    <a:pt x="486" y="948"/>
                  </a:lnTo>
                  <a:lnTo>
                    <a:pt x="486" y="948"/>
                  </a:lnTo>
                  <a:lnTo>
                    <a:pt x="486" y="948"/>
                  </a:lnTo>
                  <a:lnTo>
                    <a:pt x="488" y="945"/>
                  </a:lnTo>
                  <a:lnTo>
                    <a:pt x="488" y="945"/>
                  </a:lnTo>
                  <a:lnTo>
                    <a:pt x="502" y="945"/>
                  </a:lnTo>
                  <a:lnTo>
                    <a:pt x="502" y="945"/>
                  </a:lnTo>
                  <a:lnTo>
                    <a:pt x="502" y="945"/>
                  </a:lnTo>
                  <a:lnTo>
                    <a:pt x="504" y="943"/>
                  </a:lnTo>
                  <a:lnTo>
                    <a:pt x="504" y="940"/>
                  </a:lnTo>
                  <a:lnTo>
                    <a:pt x="507" y="937"/>
                  </a:lnTo>
                  <a:lnTo>
                    <a:pt x="507" y="935"/>
                  </a:lnTo>
                  <a:lnTo>
                    <a:pt x="507" y="935"/>
                  </a:lnTo>
                  <a:lnTo>
                    <a:pt x="510" y="935"/>
                  </a:lnTo>
                  <a:lnTo>
                    <a:pt x="510" y="935"/>
                  </a:lnTo>
                  <a:lnTo>
                    <a:pt x="512" y="932"/>
                  </a:lnTo>
                  <a:lnTo>
                    <a:pt x="512" y="929"/>
                  </a:lnTo>
                  <a:lnTo>
                    <a:pt x="515" y="932"/>
                  </a:lnTo>
                  <a:lnTo>
                    <a:pt x="515" y="932"/>
                  </a:lnTo>
                  <a:lnTo>
                    <a:pt x="518" y="935"/>
                  </a:lnTo>
                  <a:lnTo>
                    <a:pt x="520" y="932"/>
                  </a:lnTo>
                  <a:lnTo>
                    <a:pt x="520" y="935"/>
                  </a:lnTo>
                  <a:lnTo>
                    <a:pt x="523" y="937"/>
                  </a:lnTo>
                  <a:lnTo>
                    <a:pt x="526" y="937"/>
                  </a:lnTo>
                  <a:lnTo>
                    <a:pt x="531" y="940"/>
                  </a:lnTo>
                  <a:lnTo>
                    <a:pt x="534" y="943"/>
                  </a:lnTo>
                  <a:lnTo>
                    <a:pt x="539" y="943"/>
                  </a:lnTo>
                  <a:lnTo>
                    <a:pt x="550" y="943"/>
                  </a:lnTo>
                  <a:lnTo>
                    <a:pt x="552" y="943"/>
                  </a:lnTo>
                  <a:lnTo>
                    <a:pt x="555" y="943"/>
                  </a:lnTo>
                  <a:lnTo>
                    <a:pt x="558" y="943"/>
                  </a:lnTo>
                  <a:lnTo>
                    <a:pt x="558" y="943"/>
                  </a:lnTo>
                  <a:lnTo>
                    <a:pt x="560" y="945"/>
                  </a:lnTo>
                  <a:lnTo>
                    <a:pt x="560" y="945"/>
                  </a:lnTo>
                  <a:lnTo>
                    <a:pt x="563" y="945"/>
                  </a:lnTo>
                  <a:lnTo>
                    <a:pt x="563" y="943"/>
                  </a:lnTo>
                  <a:lnTo>
                    <a:pt x="563" y="943"/>
                  </a:lnTo>
                  <a:lnTo>
                    <a:pt x="566" y="943"/>
                  </a:lnTo>
                  <a:lnTo>
                    <a:pt x="566" y="943"/>
                  </a:lnTo>
                  <a:lnTo>
                    <a:pt x="568" y="943"/>
                  </a:lnTo>
                  <a:lnTo>
                    <a:pt x="574" y="943"/>
                  </a:lnTo>
                  <a:lnTo>
                    <a:pt x="574" y="943"/>
                  </a:lnTo>
                  <a:lnTo>
                    <a:pt x="576" y="943"/>
                  </a:lnTo>
                  <a:lnTo>
                    <a:pt x="576" y="945"/>
                  </a:lnTo>
                  <a:lnTo>
                    <a:pt x="576" y="945"/>
                  </a:lnTo>
                  <a:lnTo>
                    <a:pt x="595" y="948"/>
                  </a:lnTo>
                  <a:lnTo>
                    <a:pt x="603" y="948"/>
                  </a:lnTo>
                  <a:lnTo>
                    <a:pt x="606" y="948"/>
                  </a:lnTo>
                  <a:lnTo>
                    <a:pt x="606" y="945"/>
                  </a:lnTo>
                  <a:lnTo>
                    <a:pt x="606" y="945"/>
                  </a:lnTo>
                  <a:lnTo>
                    <a:pt x="606" y="943"/>
                  </a:lnTo>
                  <a:lnTo>
                    <a:pt x="606" y="943"/>
                  </a:lnTo>
                  <a:lnTo>
                    <a:pt x="606" y="943"/>
                  </a:lnTo>
                  <a:lnTo>
                    <a:pt x="608" y="943"/>
                  </a:lnTo>
                  <a:lnTo>
                    <a:pt x="608" y="943"/>
                  </a:lnTo>
                  <a:lnTo>
                    <a:pt x="608" y="945"/>
                  </a:lnTo>
                  <a:lnTo>
                    <a:pt x="608" y="945"/>
                  </a:lnTo>
                  <a:lnTo>
                    <a:pt x="608" y="948"/>
                  </a:lnTo>
                  <a:lnTo>
                    <a:pt x="608" y="948"/>
                  </a:lnTo>
                  <a:lnTo>
                    <a:pt x="611" y="951"/>
                  </a:lnTo>
                  <a:lnTo>
                    <a:pt x="611" y="948"/>
                  </a:lnTo>
                  <a:lnTo>
                    <a:pt x="614" y="948"/>
                  </a:lnTo>
                  <a:lnTo>
                    <a:pt x="616" y="945"/>
                  </a:lnTo>
                  <a:lnTo>
                    <a:pt x="616" y="948"/>
                  </a:lnTo>
                  <a:lnTo>
                    <a:pt x="619" y="948"/>
                  </a:lnTo>
                  <a:lnTo>
                    <a:pt x="619" y="948"/>
                  </a:lnTo>
                  <a:lnTo>
                    <a:pt x="619" y="951"/>
                  </a:lnTo>
                  <a:lnTo>
                    <a:pt x="622" y="948"/>
                  </a:lnTo>
                  <a:lnTo>
                    <a:pt x="622" y="948"/>
                  </a:lnTo>
                  <a:lnTo>
                    <a:pt x="624" y="948"/>
                  </a:lnTo>
                  <a:lnTo>
                    <a:pt x="624" y="951"/>
                  </a:lnTo>
                  <a:lnTo>
                    <a:pt x="624" y="951"/>
                  </a:lnTo>
                  <a:lnTo>
                    <a:pt x="624" y="953"/>
                  </a:lnTo>
                  <a:lnTo>
                    <a:pt x="627" y="956"/>
                  </a:lnTo>
                  <a:lnTo>
                    <a:pt x="627" y="959"/>
                  </a:lnTo>
                  <a:lnTo>
                    <a:pt x="630" y="962"/>
                  </a:lnTo>
                  <a:lnTo>
                    <a:pt x="630" y="964"/>
                  </a:lnTo>
                  <a:lnTo>
                    <a:pt x="630" y="964"/>
                  </a:lnTo>
                  <a:lnTo>
                    <a:pt x="632" y="967"/>
                  </a:lnTo>
                  <a:lnTo>
                    <a:pt x="635" y="967"/>
                  </a:lnTo>
                  <a:lnTo>
                    <a:pt x="638" y="967"/>
                  </a:lnTo>
                  <a:lnTo>
                    <a:pt x="635" y="970"/>
                  </a:lnTo>
                  <a:lnTo>
                    <a:pt x="635" y="972"/>
                  </a:lnTo>
                  <a:lnTo>
                    <a:pt x="635" y="975"/>
                  </a:lnTo>
                  <a:lnTo>
                    <a:pt x="635" y="975"/>
                  </a:lnTo>
                  <a:lnTo>
                    <a:pt x="638" y="972"/>
                  </a:lnTo>
                  <a:lnTo>
                    <a:pt x="640" y="970"/>
                  </a:lnTo>
                  <a:lnTo>
                    <a:pt x="646" y="970"/>
                  </a:lnTo>
                  <a:lnTo>
                    <a:pt x="646" y="972"/>
                  </a:lnTo>
                  <a:lnTo>
                    <a:pt x="646" y="975"/>
                  </a:lnTo>
                  <a:lnTo>
                    <a:pt x="646" y="980"/>
                  </a:lnTo>
                  <a:lnTo>
                    <a:pt x="646" y="983"/>
                  </a:lnTo>
                  <a:lnTo>
                    <a:pt x="648" y="983"/>
                  </a:lnTo>
                  <a:lnTo>
                    <a:pt x="648" y="983"/>
                  </a:lnTo>
                  <a:lnTo>
                    <a:pt x="651" y="983"/>
                  </a:lnTo>
                  <a:lnTo>
                    <a:pt x="651" y="986"/>
                  </a:lnTo>
                  <a:lnTo>
                    <a:pt x="654" y="988"/>
                  </a:lnTo>
                  <a:lnTo>
                    <a:pt x="656" y="991"/>
                  </a:lnTo>
                  <a:lnTo>
                    <a:pt x="664" y="994"/>
                  </a:lnTo>
                  <a:lnTo>
                    <a:pt x="670" y="994"/>
                  </a:lnTo>
                  <a:lnTo>
                    <a:pt x="670" y="996"/>
                  </a:lnTo>
                  <a:lnTo>
                    <a:pt x="670" y="999"/>
                  </a:lnTo>
                  <a:lnTo>
                    <a:pt x="670" y="1002"/>
                  </a:lnTo>
                  <a:lnTo>
                    <a:pt x="670" y="1004"/>
                  </a:lnTo>
                  <a:lnTo>
                    <a:pt x="672" y="1004"/>
                  </a:lnTo>
                  <a:lnTo>
                    <a:pt x="672" y="1007"/>
                  </a:lnTo>
                  <a:lnTo>
                    <a:pt x="675" y="1007"/>
                  </a:lnTo>
                  <a:lnTo>
                    <a:pt x="683" y="1012"/>
                  </a:lnTo>
                  <a:lnTo>
                    <a:pt x="686" y="1015"/>
                  </a:lnTo>
                  <a:lnTo>
                    <a:pt x="688" y="1018"/>
                  </a:lnTo>
                  <a:lnTo>
                    <a:pt x="688" y="1018"/>
                  </a:lnTo>
                  <a:lnTo>
                    <a:pt x="696" y="1020"/>
                  </a:lnTo>
                  <a:lnTo>
                    <a:pt x="699" y="1023"/>
                  </a:lnTo>
                  <a:lnTo>
                    <a:pt x="699" y="1026"/>
                  </a:lnTo>
                  <a:lnTo>
                    <a:pt x="702" y="1028"/>
                  </a:lnTo>
                  <a:lnTo>
                    <a:pt x="702" y="1034"/>
                  </a:lnTo>
                  <a:lnTo>
                    <a:pt x="702" y="1034"/>
                  </a:lnTo>
                  <a:lnTo>
                    <a:pt x="707" y="1039"/>
                  </a:lnTo>
                  <a:lnTo>
                    <a:pt x="710" y="1042"/>
                  </a:lnTo>
                  <a:lnTo>
                    <a:pt x="710" y="1042"/>
                  </a:lnTo>
                  <a:lnTo>
                    <a:pt x="710" y="1042"/>
                  </a:lnTo>
                  <a:lnTo>
                    <a:pt x="712" y="1042"/>
                  </a:lnTo>
                  <a:lnTo>
                    <a:pt x="712" y="1042"/>
                  </a:lnTo>
                  <a:lnTo>
                    <a:pt x="715" y="1044"/>
                  </a:lnTo>
                  <a:lnTo>
                    <a:pt x="715" y="1052"/>
                  </a:lnTo>
                  <a:lnTo>
                    <a:pt x="718" y="1058"/>
                  </a:lnTo>
                  <a:lnTo>
                    <a:pt x="718" y="1060"/>
                  </a:lnTo>
                  <a:lnTo>
                    <a:pt x="718" y="1063"/>
                  </a:lnTo>
                  <a:lnTo>
                    <a:pt x="718" y="1066"/>
                  </a:lnTo>
                  <a:lnTo>
                    <a:pt x="718" y="1066"/>
                  </a:lnTo>
                  <a:lnTo>
                    <a:pt x="718" y="1068"/>
                  </a:lnTo>
                  <a:lnTo>
                    <a:pt x="718" y="1068"/>
                  </a:lnTo>
                  <a:lnTo>
                    <a:pt x="720" y="1071"/>
                  </a:lnTo>
                  <a:lnTo>
                    <a:pt x="720" y="1071"/>
                  </a:lnTo>
                  <a:lnTo>
                    <a:pt x="723" y="1074"/>
                  </a:lnTo>
                  <a:lnTo>
                    <a:pt x="723" y="1076"/>
                  </a:lnTo>
                  <a:lnTo>
                    <a:pt x="723" y="1076"/>
                  </a:lnTo>
                  <a:lnTo>
                    <a:pt x="726" y="1076"/>
                  </a:lnTo>
                  <a:lnTo>
                    <a:pt x="726" y="1076"/>
                  </a:lnTo>
                  <a:lnTo>
                    <a:pt x="726" y="1079"/>
                  </a:lnTo>
                  <a:lnTo>
                    <a:pt x="726" y="1079"/>
                  </a:lnTo>
                  <a:lnTo>
                    <a:pt x="726" y="1082"/>
                  </a:lnTo>
                  <a:lnTo>
                    <a:pt x="726" y="1082"/>
                  </a:lnTo>
                  <a:lnTo>
                    <a:pt x="728" y="1082"/>
                  </a:lnTo>
                  <a:lnTo>
                    <a:pt x="728" y="1082"/>
                  </a:lnTo>
                  <a:lnTo>
                    <a:pt x="728" y="1082"/>
                  </a:lnTo>
                  <a:lnTo>
                    <a:pt x="731" y="1084"/>
                  </a:lnTo>
                  <a:lnTo>
                    <a:pt x="731" y="1084"/>
                  </a:lnTo>
                  <a:lnTo>
                    <a:pt x="731" y="1087"/>
                  </a:lnTo>
                  <a:lnTo>
                    <a:pt x="734" y="1100"/>
                  </a:lnTo>
                  <a:lnTo>
                    <a:pt x="736" y="1103"/>
                  </a:lnTo>
                  <a:lnTo>
                    <a:pt x="742" y="1108"/>
                  </a:lnTo>
                  <a:lnTo>
                    <a:pt x="742" y="1111"/>
                  </a:lnTo>
                  <a:lnTo>
                    <a:pt x="742" y="1111"/>
                  </a:lnTo>
                  <a:lnTo>
                    <a:pt x="744" y="1114"/>
                  </a:lnTo>
                  <a:lnTo>
                    <a:pt x="747" y="1114"/>
                  </a:lnTo>
                  <a:lnTo>
                    <a:pt x="747" y="1116"/>
                  </a:lnTo>
                  <a:lnTo>
                    <a:pt x="747" y="1119"/>
                  </a:lnTo>
                  <a:lnTo>
                    <a:pt x="747" y="1122"/>
                  </a:lnTo>
                  <a:lnTo>
                    <a:pt x="747" y="1124"/>
                  </a:lnTo>
                  <a:lnTo>
                    <a:pt x="750" y="1124"/>
                  </a:lnTo>
                  <a:lnTo>
                    <a:pt x="755" y="1127"/>
                  </a:lnTo>
                  <a:lnTo>
                    <a:pt x="755" y="1127"/>
                  </a:lnTo>
                  <a:lnTo>
                    <a:pt x="752" y="1130"/>
                  </a:lnTo>
                  <a:lnTo>
                    <a:pt x="752" y="1130"/>
                  </a:lnTo>
                  <a:lnTo>
                    <a:pt x="752" y="1132"/>
                  </a:lnTo>
                  <a:lnTo>
                    <a:pt x="752" y="1132"/>
                  </a:lnTo>
                  <a:lnTo>
                    <a:pt x="752" y="1135"/>
                  </a:lnTo>
                  <a:lnTo>
                    <a:pt x="755" y="1135"/>
                  </a:lnTo>
                  <a:lnTo>
                    <a:pt x="755" y="1141"/>
                  </a:lnTo>
                  <a:lnTo>
                    <a:pt x="755" y="1146"/>
                  </a:lnTo>
                  <a:lnTo>
                    <a:pt x="760" y="1149"/>
                  </a:lnTo>
                  <a:lnTo>
                    <a:pt x="760" y="1154"/>
                  </a:lnTo>
                  <a:lnTo>
                    <a:pt x="760" y="1157"/>
                  </a:lnTo>
                  <a:lnTo>
                    <a:pt x="760" y="1159"/>
                  </a:lnTo>
                  <a:lnTo>
                    <a:pt x="760" y="1162"/>
                  </a:lnTo>
                  <a:lnTo>
                    <a:pt x="763" y="1162"/>
                  </a:lnTo>
                  <a:lnTo>
                    <a:pt x="766" y="1165"/>
                  </a:lnTo>
                  <a:lnTo>
                    <a:pt x="768" y="1165"/>
                  </a:lnTo>
                  <a:lnTo>
                    <a:pt x="771" y="1165"/>
                  </a:lnTo>
                  <a:lnTo>
                    <a:pt x="771" y="1167"/>
                  </a:lnTo>
                  <a:lnTo>
                    <a:pt x="771" y="1167"/>
                  </a:lnTo>
                  <a:lnTo>
                    <a:pt x="771" y="1170"/>
                  </a:lnTo>
                  <a:lnTo>
                    <a:pt x="771" y="1173"/>
                  </a:lnTo>
                  <a:lnTo>
                    <a:pt x="774" y="1173"/>
                  </a:lnTo>
                  <a:lnTo>
                    <a:pt x="787" y="1178"/>
                  </a:lnTo>
                  <a:lnTo>
                    <a:pt x="790" y="1181"/>
                  </a:lnTo>
                  <a:lnTo>
                    <a:pt x="790" y="1183"/>
                  </a:lnTo>
                  <a:lnTo>
                    <a:pt x="790" y="1186"/>
                  </a:lnTo>
                  <a:lnTo>
                    <a:pt x="790" y="1186"/>
                  </a:lnTo>
                  <a:lnTo>
                    <a:pt x="792" y="1189"/>
                  </a:lnTo>
                  <a:lnTo>
                    <a:pt x="792" y="1189"/>
                  </a:lnTo>
                  <a:lnTo>
                    <a:pt x="795" y="1189"/>
                  </a:lnTo>
                  <a:lnTo>
                    <a:pt x="795" y="1191"/>
                  </a:lnTo>
                  <a:lnTo>
                    <a:pt x="795" y="1191"/>
                  </a:lnTo>
                  <a:lnTo>
                    <a:pt x="795" y="1191"/>
                  </a:lnTo>
                  <a:lnTo>
                    <a:pt x="795" y="1194"/>
                  </a:lnTo>
                  <a:lnTo>
                    <a:pt x="795" y="1197"/>
                  </a:lnTo>
                  <a:lnTo>
                    <a:pt x="798" y="1199"/>
                  </a:lnTo>
                  <a:lnTo>
                    <a:pt x="798" y="1202"/>
                  </a:lnTo>
                  <a:lnTo>
                    <a:pt x="800" y="1202"/>
                  </a:lnTo>
                  <a:lnTo>
                    <a:pt x="803" y="1202"/>
                  </a:lnTo>
                  <a:lnTo>
                    <a:pt x="806" y="1202"/>
                  </a:lnTo>
                  <a:lnTo>
                    <a:pt x="803" y="1205"/>
                  </a:lnTo>
                  <a:lnTo>
                    <a:pt x="803" y="1207"/>
                  </a:lnTo>
                  <a:lnTo>
                    <a:pt x="806" y="1210"/>
                  </a:lnTo>
                  <a:lnTo>
                    <a:pt x="809" y="1213"/>
                  </a:lnTo>
                  <a:lnTo>
                    <a:pt x="811" y="1213"/>
                  </a:lnTo>
                  <a:lnTo>
                    <a:pt x="811" y="1213"/>
                  </a:lnTo>
                  <a:lnTo>
                    <a:pt x="811" y="1215"/>
                  </a:lnTo>
                  <a:lnTo>
                    <a:pt x="809" y="1218"/>
                  </a:lnTo>
                  <a:lnTo>
                    <a:pt x="809" y="1218"/>
                  </a:lnTo>
                  <a:lnTo>
                    <a:pt x="811" y="1221"/>
                  </a:lnTo>
                  <a:lnTo>
                    <a:pt x="811" y="1221"/>
                  </a:lnTo>
                  <a:lnTo>
                    <a:pt x="814" y="1221"/>
                  </a:lnTo>
                  <a:lnTo>
                    <a:pt x="814" y="1223"/>
                  </a:lnTo>
                  <a:lnTo>
                    <a:pt x="814" y="1226"/>
                  </a:lnTo>
                  <a:lnTo>
                    <a:pt x="814" y="1226"/>
                  </a:lnTo>
                  <a:lnTo>
                    <a:pt x="814" y="1226"/>
                  </a:lnTo>
                  <a:lnTo>
                    <a:pt x="814" y="1229"/>
                  </a:lnTo>
                  <a:lnTo>
                    <a:pt x="817" y="1231"/>
                  </a:lnTo>
                  <a:lnTo>
                    <a:pt x="817" y="1231"/>
                  </a:lnTo>
                  <a:lnTo>
                    <a:pt x="819" y="1231"/>
                  </a:lnTo>
                  <a:lnTo>
                    <a:pt x="822" y="1234"/>
                  </a:lnTo>
                  <a:lnTo>
                    <a:pt x="822" y="1234"/>
                  </a:lnTo>
                  <a:lnTo>
                    <a:pt x="825" y="1237"/>
                  </a:lnTo>
                  <a:lnTo>
                    <a:pt x="825" y="1237"/>
                  </a:lnTo>
                  <a:lnTo>
                    <a:pt x="827" y="1237"/>
                  </a:lnTo>
                  <a:lnTo>
                    <a:pt x="827" y="1239"/>
                  </a:lnTo>
                  <a:lnTo>
                    <a:pt x="830" y="1239"/>
                  </a:lnTo>
                  <a:lnTo>
                    <a:pt x="830" y="1242"/>
                  </a:lnTo>
                  <a:lnTo>
                    <a:pt x="830" y="1242"/>
                  </a:lnTo>
                  <a:lnTo>
                    <a:pt x="830" y="1245"/>
                  </a:lnTo>
                  <a:lnTo>
                    <a:pt x="833" y="1247"/>
                  </a:lnTo>
                  <a:lnTo>
                    <a:pt x="833" y="1247"/>
                  </a:lnTo>
                  <a:lnTo>
                    <a:pt x="838" y="1247"/>
                  </a:lnTo>
                  <a:lnTo>
                    <a:pt x="838" y="1247"/>
                  </a:lnTo>
                  <a:lnTo>
                    <a:pt x="841" y="1250"/>
                  </a:lnTo>
                  <a:lnTo>
                    <a:pt x="841" y="1250"/>
                  </a:lnTo>
                  <a:lnTo>
                    <a:pt x="841" y="1250"/>
                  </a:lnTo>
                  <a:lnTo>
                    <a:pt x="843" y="1250"/>
                  </a:lnTo>
                  <a:lnTo>
                    <a:pt x="846" y="1250"/>
                  </a:lnTo>
                  <a:lnTo>
                    <a:pt x="846" y="1250"/>
                  </a:lnTo>
                  <a:lnTo>
                    <a:pt x="849" y="1253"/>
                  </a:lnTo>
                  <a:lnTo>
                    <a:pt x="849" y="1253"/>
                  </a:lnTo>
                  <a:lnTo>
                    <a:pt x="851" y="1253"/>
                  </a:lnTo>
                  <a:lnTo>
                    <a:pt x="854" y="1255"/>
                  </a:lnTo>
                  <a:lnTo>
                    <a:pt x="857" y="1258"/>
                  </a:lnTo>
                  <a:lnTo>
                    <a:pt x="857" y="1258"/>
                  </a:lnTo>
                  <a:lnTo>
                    <a:pt x="857" y="1266"/>
                  </a:lnTo>
                  <a:lnTo>
                    <a:pt x="857" y="1269"/>
                  </a:lnTo>
                  <a:lnTo>
                    <a:pt x="857" y="1269"/>
                  </a:lnTo>
                  <a:lnTo>
                    <a:pt x="857" y="1271"/>
                  </a:lnTo>
                  <a:lnTo>
                    <a:pt x="859" y="1271"/>
                  </a:lnTo>
                  <a:lnTo>
                    <a:pt x="862" y="1271"/>
                  </a:lnTo>
                  <a:lnTo>
                    <a:pt x="862" y="1271"/>
                  </a:lnTo>
                  <a:lnTo>
                    <a:pt x="862" y="1274"/>
                  </a:lnTo>
                  <a:lnTo>
                    <a:pt x="862" y="1274"/>
                  </a:lnTo>
                  <a:lnTo>
                    <a:pt x="862" y="1279"/>
                  </a:lnTo>
                  <a:lnTo>
                    <a:pt x="862" y="1282"/>
                  </a:lnTo>
                  <a:lnTo>
                    <a:pt x="859" y="1285"/>
                  </a:lnTo>
                  <a:lnTo>
                    <a:pt x="859" y="1287"/>
                  </a:lnTo>
                  <a:lnTo>
                    <a:pt x="859" y="1290"/>
                  </a:lnTo>
                  <a:lnTo>
                    <a:pt x="859" y="1290"/>
                  </a:lnTo>
                  <a:lnTo>
                    <a:pt x="859" y="1293"/>
                  </a:lnTo>
                  <a:lnTo>
                    <a:pt x="857" y="1295"/>
                  </a:lnTo>
                  <a:lnTo>
                    <a:pt x="857" y="1295"/>
                  </a:lnTo>
                  <a:lnTo>
                    <a:pt x="857" y="1295"/>
                  </a:lnTo>
                  <a:lnTo>
                    <a:pt x="859" y="1298"/>
                  </a:lnTo>
                  <a:lnTo>
                    <a:pt x="859" y="1298"/>
                  </a:lnTo>
                  <a:lnTo>
                    <a:pt x="859" y="1298"/>
                  </a:lnTo>
                  <a:lnTo>
                    <a:pt x="859" y="1301"/>
                  </a:lnTo>
                  <a:lnTo>
                    <a:pt x="862" y="1301"/>
                  </a:lnTo>
                  <a:lnTo>
                    <a:pt x="862" y="1301"/>
                  </a:lnTo>
                  <a:lnTo>
                    <a:pt x="862" y="1301"/>
                  </a:lnTo>
                  <a:lnTo>
                    <a:pt x="865" y="1303"/>
                  </a:lnTo>
                  <a:lnTo>
                    <a:pt x="865" y="1306"/>
                  </a:lnTo>
                  <a:lnTo>
                    <a:pt x="867" y="1309"/>
                  </a:lnTo>
                  <a:lnTo>
                    <a:pt x="867" y="1311"/>
                  </a:lnTo>
                  <a:lnTo>
                    <a:pt x="867" y="1314"/>
                  </a:lnTo>
                  <a:lnTo>
                    <a:pt x="865" y="1320"/>
                  </a:lnTo>
                  <a:lnTo>
                    <a:pt x="865" y="1322"/>
                  </a:lnTo>
                  <a:lnTo>
                    <a:pt x="865" y="1322"/>
                  </a:lnTo>
                  <a:lnTo>
                    <a:pt x="865" y="1325"/>
                  </a:lnTo>
                  <a:lnTo>
                    <a:pt x="865" y="1325"/>
                  </a:lnTo>
                  <a:lnTo>
                    <a:pt x="867" y="1325"/>
                  </a:lnTo>
                  <a:lnTo>
                    <a:pt x="865" y="1328"/>
                  </a:lnTo>
                  <a:lnTo>
                    <a:pt x="862" y="1333"/>
                  </a:lnTo>
                  <a:lnTo>
                    <a:pt x="865" y="1336"/>
                  </a:lnTo>
                  <a:lnTo>
                    <a:pt x="867" y="1336"/>
                  </a:lnTo>
                  <a:lnTo>
                    <a:pt x="867" y="1338"/>
                  </a:lnTo>
                  <a:lnTo>
                    <a:pt x="870" y="1338"/>
                  </a:lnTo>
                  <a:lnTo>
                    <a:pt x="870" y="1338"/>
                  </a:lnTo>
                  <a:lnTo>
                    <a:pt x="870" y="1338"/>
                  </a:lnTo>
                  <a:lnTo>
                    <a:pt x="873" y="1338"/>
                  </a:lnTo>
                  <a:lnTo>
                    <a:pt x="873" y="1341"/>
                  </a:lnTo>
                  <a:lnTo>
                    <a:pt x="873" y="1344"/>
                  </a:lnTo>
                  <a:lnTo>
                    <a:pt x="873" y="1346"/>
                  </a:lnTo>
                  <a:lnTo>
                    <a:pt x="875" y="1346"/>
                  </a:lnTo>
                  <a:lnTo>
                    <a:pt x="878" y="1352"/>
                  </a:lnTo>
                  <a:lnTo>
                    <a:pt x="881" y="1352"/>
                  </a:lnTo>
                  <a:lnTo>
                    <a:pt x="883" y="1357"/>
                  </a:lnTo>
                  <a:lnTo>
                    <a:pt x="886" y="1360"/>
                  </a:lnTo>
                  <a:lnTo>
                    <a:pt x="889" y="1362"/>
                  </a:lnTo>
                  <a:lnTo>
                    <a:pt x="891" y="1365"/>
                  </a:lnTo>
                  <a:lnTo>
                    <a:pt x="891" y="1370"/>
                  </a:lnTo>
                  <a:lnTo>
                    <a:pt x="894" y="1376"/>
                  </a:lnTo>
                  <a:lnTo>
                    <a:pt x="899" y="1392"/>
                  </a:lnTo>
                  <a:lnTo>
                    <a:pt x="899" y="1394"/>
                  </a:lnTo>
                  <a:lnTo>
                    <a:pt x="899" y="1400"/>
                  </a:lnTo>
                  <a:lnTo>
                    <a:pt x="902" y="1405"/>
                  </a:lnTo>
                  <a:lnTo>
                    <a:pt x="905" y="1405"/>
                  </a:lnTo>
                  <a:lnTo>
                    <a:pt x="907" y="1405"/>
                  </a:lnTo>
                  <a:lnTo>
                    <a:pt x="910" y="1408"/>
                  </a:lnTo>
                  <a:lnTo>
                    <a:pt x="910" y="1413"/>
                  </a:lnTo>
                  <a:lnTo>
                    <a:pt x="910" y="1413"/>
                  </a:lnTo>
                  <a:lnTo>
                    <a:pt x="910" y="1416"/>
                  </a:lnTo>
                  <a:lnTo>
                    <a:pt x="910" y="1418"/>
                  </a:lnTo>
                  <a:lnTo>
                    <a:pt x="907" y="1418"/>
                  </a:lnTo>
                  <a:lnTo>
                    <a:pt x="910" y="1421"/>
                  </a:lnTo>
                  <a:lnTo>
                    <a:pt x="910" y="1424"/>
                  </a:lnTo>
                  <a:lnTo>
                    <a:pt x="913" y="1424"/>
                  </a:lnTo>
                  <a:lnTo>
                    <a:pt x="915" y="1424"/>
                  </a:lnTo>
                  <a:lnTo>
                    <a:pt x="918" y="1424"/>
                  </a:lnTo>
                  <a:lnTo>
                    <a:pt x="918" y="1424"/>
                  </a:lnTo>
                  <a:lnTo>
                    <a:pt x="921" y="1424"/>
                  </a:lnTo>
                  <a:lnTo>
                    <a:pt x="921" y="1424"/>
                  </a:lnTo>
                  <a:lnTo>
                    <a:pt x="921" y="1424"/>
                  </a:lnTo>
                  <a:lnTo>
                    <a:pt x="923" y="1424"/>
                  </a:lnTo>
                  <a:lnTo>
                    <a:pt x="926" y="1424"/>
                  </a:lnTo>
                  <a:lnTo>
                    <a:pt x="929" y="1424"/>
                  </a:lnTo>
                  <a:lnTo>
                    <a:pt x="929" y="1426"/>
                  </a:lnTo>
                  <a:lnTo>
                    <a:pt x="931" y="1424"/>
                  </a:lnTo>
                  <a:lnTo>
                    <a:pt x="937" y="1429"/>
                  </a:lnTo>
                  <a:lnTo>
                    <a:pt x="939" y="1426"/>
                  </a:lnTo>
                  <a:lnTo>
                    <a:pt x="939" y="1429"/>
                  </a:lnTo>
                  <a:lnTo>
                    <a:pt x="942" y="1429"/>
                  </a:lnTo>
                  <a:lnTo>
                    <a:pt x="942" y="1429"/>
                  </a:lnTo>
                  <a:lnTo>
                    <a:pt x="942" y="1426"/>
                  </a:lnTo>
                  <a:lnTo>
                    <a:pt x="942" y="1426"/>
                  </a:lnTo>
                  <a:lnTo>
                    <a:pt x="945" y="1429"/>
                  </a:lnTo>
                  <a:lnTo>
                    <a:pt x="945" y="1429"/>
                  </a:lnTo>
                  <a:lnTo>
                    <a:pt x="947" y="1426"/>
                  </a:lnTo>
                  <a:lnTo>
                    <a:pt x="947" y="1426"/>
                  </a:lnTo>
                  <a:lnTo>
                    <a:pt x="947" y="1429"/>
                  </a:lnTo>
                  <a:lnTo>
                    <a:pt x="950" y="1429"/>
                  </a:lnTo>
                  <a:lnTo>
                    <a:pt x="955" y="1432"/>
                  </a:lnTo>
                  <a:lnTo>
                    <a:pt x="955" y="1434"/>
                  </a:lnTo>
                  <a:lnTo>
                    <a:pt x="955" y="1437"/>
                  </a:lnTo>
                  <a:lnTo>
                    <a:pt x="958" y="1437"/>
                  </a:lnTo>
                  <a:lnTo>
                    <a:pt x="958" y="1437"/>
                  </a:lnTo>
                  <a:lnTo>
                    <a:pt x="961" y="1437"/>
                  </a:lnTo>
                  <a:lnTo>
                    <a:pt x="961" y="1440"/>
                  </a:lnTo>
                  <a:lnTo>
                    <a:pt x="961" y="1440"/>
                  </a:lnTo>
                  <a:lnTo>
                    <a:pt x="961" y="1442"/>
                  </a:lnTo>
                  <a:lnTo>
                    <a:pt x="961" y="1442"/>
                  </a:lnTo>
                  <a:lnTo>
                    <a:pt x="963" y="1442"/>
                  </a:lnTo>
                  <a:lnTo>
                    <a:pt x="966" y="1445"/>
                  </a:lnTo>
                  <a:lnTo>
                    <a:pt x="966" y="1445"/>
                  </a:lnTo>
                  <a:lnTo>
                    <a:pt x="969" y="1445"/>
                  </a:lnTo>
                  <a:lnTo>
                    <a:pt x="974" y="1442"/>
                  </a:lnTo>
                  <a:lnTo>
                    <a:pt x="979" y="1445"/>
                  </a:lnTo>
                  <a:lnTo>
                    <a:pt x="982" y="1445"/>
                  </a:lnTo>
                  <a:lnTo>
                    <a:pt x="987" y="1448"/>
                  </a:lnTo>
                  <a:lnTo>
                    <a:pt x="990" y="1450"/>
                  </a:lnTo>
                  <a:lnTo>
                    <a:pt x="990" y="1448"/>
                  </a:lnTo>
                  <a:lnTo>
                    <a:pt x="990" y="1448"/>
                  </a:lnTo>
                  <a:lnTo>
                    <a:pt x="995" y="1448"/>
                  </a:lnTo>
                  <a:lnTo>
                    <a:pt x="998" y="1450"/>
                  </a:lnTo>
                  <a:lnTo>
                    <a:pt x="1003" y="1450"/>
                  </a:lnTo>
                  <a:lnTo>
                    <a:pt x="1001" y="1453"/>
                  </a:lnTo>
                  <a:lnTo>
                    <a:pt x="1001" y="1456"/>
                  </a:lnTo>
                  <a:lnTo>
                    <a:pt x="1003" y="1456"/>
                  </a:lnTo>
                  <a:lnTo>
                    <a:pt x="1006" y="1456"/>
                  </a:lnTo>
                  <a:lnTo>
                    <a:pt x="1006" y="1458"/>
                  </a:lnTo>
                  <a:lnTo>
                    <a:pt x="1009" y="1461"/>
                  </a:lnTo>
                  <a:lnTo>
                    <a:pt x="1011" y="1464"/>
                  </a:lnTo>
                  <a:lnTo>
                    <a:pt x="1022" y="1466"/>
                  </a:lnTo>
                  <a:lnTo>
                    <a:pt x="1025" y="1469"/>
                  </a:lnTo>
                  <a:lnTo>
                    <a:pt x="1030" y="1469"/>
                  </a:lnTo>
                  <a:lnTo>
                    <a:pt x="1035" y="1466"/>
                  </a:lnTo>
                  <a:lnTo>
                    <a:pt x="1038" y="1469"/>
                  </a:lnTo>
                  <a:lnTo>
                    <a:pt x="1041" y="1472"/>
                  </a:lnTo>
                  <a:lnTo>
                    <a:pt x="1041" y="1472"/>
                  </a:lnTo>
                  <a:lnTo>
                    <a:pt x="1043" y="1472"/>
                  </a:lnTo>
                  <a:lnTo>
                    <a:pt x="1049" y="1469"/>
                  </a:lnTo>
                  <a:lnTo>
                    <a:pt x="1049" y="1469"/>
                  </a:lnTo>
                  <a:lnTo>
                    <a:pt x="1057" y="1469"/>
                  </a:lnTo>
                  <a:lnTo>
                    <a:pt x="1065" y="1469"/>
                  </a:lnTo>
                  <a:lnTo>
                    <a:pt x="1075" y="1469"/>
                  </a:lnTo>
                  <a:lnTo>
                    <a:pt x="1078" y="1469"/>
                  </a:lnTo>
                  <a:lnTo>
                    <a:pt x="1078" y="1472"/>
                  </a:lnTo>
                  <a:lnTo>
                    <a:pt x="1078" y="1472"/>
                  </a:lnTo>
                  <a:lnTo>
                    <a:pt x="1091" y="1472"/>
                  </a:lnTo>
                  <a:lnTo>
                    <a:pt x="1091" y="1472"/>
                  </a:lnTo>
                  <a:lnTo>
                    <a:pt x="1094" y="1474"/>
                  </a:lnTo>
                  <a:lnTo>
                    <a:pt x="1097" y="1474"/>
                  </a:lnTo>
                  <a:lnTo>
                    <a:pt x="1099" y="1477"/>
                  </a:lnTo>
                  <a:lnTo>
                    <a:pt x="1099" y="1480"/>
                  </a:lnTo>
                  <a:lnTo>
                    <a:pt x="1102" y="1482"/>
                  </a:lnTo>
                  <a:lnTo>
                    <a:pt x="1105" y="1482"/>
                  </a:lnTo>
                  <a:lnTo>
                    <a:pt x="1110" y="1488"/>
                  </a:lnTo>
                  <a:lnTo>
                    <a:pt x="1113" y="1491"/>
                  </a:lnTo>
                  <a:lnTo>
                    <a:pt x="1115" y="1491"/>
                  </a:lnTo>
                  <a:lnTo>
                    <a:pt x="1118" y="1491"/>
                  </a:lnTo>
                  <a:lnTo>
                    <a:pt x="1121" y="1491"/>
                  </a:lnTo>
                  <a:lnTo>
                    <a:pt x="1121" y="1493"/>
                  </a:lnTo>
                  <a:lnTo>
                    <a:pt x="1121" y="1496"/>
                  </a:lnTo>
                  <a:lnTo>
                    <a:pt x="1123" y="1496"/>
                  </a:lnTo>
                  <a:lnTo>
                    <a:pt x="1126" y="1496"/>
                  </a:lnTo>
                  <a:lnTo>
                    <a:pt x="1126" y="1496"/>
                  </a:lnTo>
                  <a:lnTo>
                    <a:pt x="1126" y="1496"/>
                  </a:lnTo>
                  <a:lnTo>
                    <a:pt x="1126" y="1496"/>
                  </a:lnTo>
                  <a:lnTo>
                    <a:pt x="1126" y="1496"/>
                  </a:lnTo>
                  <a:lnTo>
                    <a:pt x="1126" y="1496"/>
                  </a:lnTo>
                  <a:lnTo>
                    <a:pt x="1126" y="1496"/>
                  </a:lnTo>
                  <a:lnTo>
                    <a:pt x="1129" y="1496"/>
                  </a:lnTo>
                  <a:lnTo>
                    <a:pt x="1129" y="1496"/>
                  </a:lnTo>
                  <a:lnTo>
                    <a:pt x="1129" y="1499"/>
                  </a:lnTo>
                  <a:lnTo>
                    <a:pt x="1131" y="1499"/>
                  </a:lnTo>
                  <a:lnTo>
                    <a:pt x="1134" y="1496"/>
                  </a:lnTo>
                  <a:lnTo>
                    <a:pt x="1134" y="1493"/>
                  </a:lnTo>
                  <a:lnTo>
                    <a:pt x="1131" y="1491"/>
                  </a:lnTo>
                  <a:lnTo>
                    <a:pt x="1131" y="1488"/>
                  </a:lnTo>
                  <a:lnTo>
                    <a:pt x="1131" y="1488"/>
                  </a:lnTo>
                  <a:lnTo>
                    <a:pt x="1131" y="1488"/>
                  </a:lnTo>
                  <a:lnTo>
                    <a:pt x="1134" y="1485"/>
                  </a:lnTo>
                  <a:lnTo>
                    <a:pt x="1137" y="1488"/>
                  </a:lnTo>
                  <a:lnTo>
                    <a:pt x="1139" y="1485"/>
                  </a:lnTo>
                  <a:lnTo>
                    <a:pt x="1142" y="1485"/>
                  </a:lnTo>
                  <a:lnTo>
                    <a:pt x="1142" y="1482"/>
                  </a:lnTo>
                  <a:lnTo>
                    <a:pt x="1142" y="1482"/>
                  </a:lnTo>
                  <a:lnTo>
                    <a:pt x="1142" y="1482"/>
                  </a:lnTo>
                  <a:lnTo>
                    <a:pt x="1142" y="1482"/>
                  </a:lnTo>
                  <a:lnTo>
                    <a:pt x="1145" y="1480"/>
                  </a:lnTo>
                  <a:lnTo>
                    <a:pt x="1150" y="1482"/>
                  </a:lnTo>
                  <a:lnTo>
                    <a:pt x="1158" y="1480"/>
                  </a:lnTo>
                  <a:lnTo>
                    <a:pt x="1158" y="1480"/>
                  </a:lnTo>
                  <a:lnTo>
                    <a:pt x="1158" y="1472"/>
                  </a:lnTo>
                  <a:lnTo>
                    <a:pt x="1158" y="1469"/>
                  </a:lnTo>
                  <a:lnTo>
                    <a:pt x="1158" y="1464"/>
                  </a:lnTo>
                  <a:lnTo>
                    <a:pt x="1155" y="1464"/>
                  </a:lnTo>
                  <a:lnTo>
                    <a:pt x="1153" y="1466"/>
                  </a:lnTo>
                  <a:lnTo>
                    <a:pt x="1153" y="1466"/>
                  </a:lnTo>
                  <a:lnTo>
                    <a:pt x="1153" y="1469"/>
                  </a:lnTo>
                  <a:lnTo>
                    <a:pt x="1153" y="1472"/>
                  </a:lnTo>
                  <a:lnTo>
                    <a:pt x="1153" y="1474"/>
                  </a:lnTo>
                  <a:lnTo>
                    <a:pt x="1150" y="1474"/>
                  </a:lnTo>
                  <a:lnTo>
                    <a:pt x="1147" y="1477"/>
                  </a:lnTo>
                  <a:lnTo>
                    <a:pt x="1147" y="1477"/>
                  </a:lnTo>
                  <a:lnTo>
                    <a:pt x="1147" y="1477"/>
                  </a:lnTo>
                  <a:lnTo>
                    <a:pt x="1147" y="1477"/>
                  </a:lnTo>
                  <a:lnTo>
                    <a:pt x="1145" y="1477"/>
                  </a:lnTo>
                  <a:lnTo>
                    <a:pt x="1145" y="1477"/>
                  </a:lnTo>
                  <a:lnTo>
                    <a:pt x="1145" y="1477"/>
                  </a:lnTo>
                  <a:lnTo>
                    <a:pt x="1145" y="1474"/>
                  </a:lnTo>
                  <a:lnTo>
                    <a:pt x="1145" y="1472"/>
                  </a:lnTo>
                  <a:lnTo>
                    <a:pt x="1145" y="1469"/>
                  </a:lnTo>
                  <a:lnTo>
                    <a:pt x="1145" y="1466"/>
                  </a:lnTo>
                  <a:lnTo>
                    <a:pt x="1147" y="1466"/>
                  </a:lnTo>
                  <a:lnTo>
                    <a:pt x="1147" y="1466"/>
                  </a:lnTo>
                  <a:lnTo>
                    <a:pt x="1150" y="1464"/>
                  </a:lnTo>
                  <a:lnTo>
                    <a:pt x="1150" y="1464"/>
                  </a:lnTo>
                  <a:lnTo>
                    <a:pt x="1147" y="1461"/>
                  </a:lnTo>
                  <a:lnTo>
                    <a:pt x="1147" y="1461"/>
                  </a:lnTo>
                  <a:lnTo>
                    <a:pt x="1142" y="1461"/>
                  </a:lnTo>
                  <a:lnTo>
                    <a:pt x="1142" y="1461"/>
                  </a:lnTo>
                  <a:lnTo>
                    <a:pt x="1139" y="1461"/>
                  </a:lnTo>
                  <a:lnTo>
                    <a:pt x="1139" y="1461"/>
                  </a:lnTo>
                  <a:lnTo>
                    <a:pt x="1139" y="1461"/>
                  </a:lnTo>
                  <a:lnTo>
                    <a:pt x="1137" y="1458"/>
                  </a:lnTo>
                  <a:lnTo>
                    <a:pt x="1137" y="1456"/>
                  </a:lnTo>
                  <a:lnTo>
                    <a:pt x="1137" y="1450"/>
                  </a:lnTo>
                  <a:lnTo>
                    <a:pt x="1137" y="1448"/>
                  </a:lnTo>
                  <a:lnTo>
                    <a:pt x="1134" y="1445"/>
                  </a:lnTo>
                  <a:lnTo>
                    <a:pt x="1134" y="1445"/>
                  </a:lnTo>
                  <a:lnTo>
                    <a:pt x="1134" y="1442"/>
                  </a:lnTo>
                  <a:lnTo>
                    <a:pt x="1134" y="1440"/>
                  </a:lnTo>
                  <a:lnTo>
                    <a:pt x="1134" y="1440"/>
                  </a:lnTo>
                  <a:lnTo>
                    <a:pt x="1137" y="1440"/>
                  </a:lnTo>
                  <a:lnTo>
                    <a:pt x="1134" y="1437"/>
                  </a:lnTo>
                  <a:lnTo>
                    <a:pt x="1134" y="1437"/>
                  </a:lnTo>
                  <a:lnTo>
                    <a:pt x="1134" y="1437"/>
                  </a:lnTo>
                  <a:lnTo>
                    <a:pt x="1131" y="1437"/>
                  </a:lnTo>
                  <a:lnTo>
                    <a:pt x="1131" y="1437"/>
                  </a:lnTo>
                  <a:lnTo>
                    <a:pt x="1129" y="1437"/>
                  </a:lnTo>
                  <a:lnTo>
                    <a:pt x="1129" y="1434"/>
                  </a:lnTo>
                  <a:lnTo>
                    <a:pt x="1131" y="1429"/>
                  </a:lnTo>
                  <a:lnTo>
                    <a:pt x="1131" y="1429"/>
                  </a:lnTo>
                  <a:lnTo>
                    <a:pt x="1131" y="1429"/>
                  </a:lnTo>
                  <a:lnTo>
                    <a:pt x="1131" y="1426"/>
                  </a:lnTo>
                  <a:lnTo>
                    <a:pt x="1131" y="1426"/>
                  </a:lnTo>
                  <a:lnTo>
                    <a:pt x="1131" y="1426"/>
                  </a:lnTo>
                  <a:lnTo>
                    <a:pt x="1129" y="1429"/>
                  </a:lnTo>
                  <a:lnTo>
                    <a:pt x="1129" y="1429"/>
                  </a:lnTo>
                  <a:lnTo>
                    <a:pt x="1129" y="1429"/>
                  </a:lnTo>
                  <a:lnTo>
                    <a:pt x="1129" y="1429"/>
                  </a:lnTo>
                  <a:lnTo>
                    <a:pt x="1126" y="1429"/>
                  </a:lnTo>
                  <a:lnTo>
                    <a:pt x="1129" y="1426"/>
                  </a:lnTo>
                  <a:lnTo>
                    <a:pt x="1129" y="1424"/>
                  </a:lnTo>
                  <a:lnTo>
                    <a:pt x="1129" y="1424"/>
                  </a:lnTo>
                  <a:lnTo>
                    <a:pt x="1126" y="1424"/>
                  </a:lnTo>
                  <a:lnTo>
                    <a:pt x="1123" y="1424"/>
                  </a:lnTo>
                  <a:lnTo>
                    <a:pt x="1123" y="1421"/>
                  </a:lnTo>
                  <a:lnTo>
                    <a:pt x="1123" y="1418"/>
                  </a:lnTo>
                  <a:lnTo>
                    <a:pt x="1123" y="1418"/>
                  </a:lnTo>
                  <a:lnTo>
                    <a:pt x="1121" y="1418"/>
                  </a:lnTo>
                  <a:lnTo>
                    <a:pt x="1118" y="1418"/>
                  </a:lnTo>
                  <a:lnTo>
                    <a:pt x="1118" y="1418"/>
                  </a:lnTo>
                  <a:lnTo>
                    <a:pt x="1118" y="1416"/>
                  </a:lnTo>
                  <a:lnTo>
                    <a:pt x="1118" y="1413"/>
                  </a:lnTo>
                  <a:lnTo>
                    <a:pt x="1118" y="1410"/>
                  </a:lnTo>
                  <a:lnTo>
                    <a:pt x="1118" y="1408"/>
                  </a:lnTo>
                  <a:lnTo>
                    <a:pt x="1115" y="1408"/>
                  </a:lnTo>
                  <a:lnTo>
                    <a:pt x="1118" y="1405"/>
                  </a:lnTo>
                  <a:lnTo>
                    <a:pt x="1121" y="1405"/>
                  </a:lnTo>
                  <a:lnTo>
                    <a:pt x="1121" y="1402"/>
                  </a:lnTo>
                  <a:lnTo>
                    <a:pt x="1121" y="1405"/>
                  </a:lnTo>
                  <a:lnTo>
                    <a:pt x="1121" y="1405"/>
                  </a:lnTo>
                  <a:lnTo>
                    <a:pt x="1121" y="1405"/>
                  </a:lnTo>
                  <a:lnTo>
                    <a:pt x="1121" y="1402"/>
                  </a:lnTo>
                  <a:lnTo>
                    <a:pt x="1118" y="1392"/>
                  </a:lnTo>
                  <a:lnTo>
                    <a:pt x="1115" y="1384"/>
                  </a:lnTo>
                  <a:lnTo>
                    <a:pt x="1113" y="1373"/>
                  </a:lnTo>
                  <a:lnTo>
                    <a:pt x="1113" y="1368"/>
                  </a:lnTo>
                  <a:lnTo>
                    <a:pt x="1113" y="1365"/>
                  </a:lnTo>
                  <a:lnTo>
                    <a:pt x="1110" y="1362"/>
                  </a:lnTo>
                  <a:lnTo>
                    <a:pt x="1110" y="1362"/>
                  </a:lnTo>
                  <a:lnTo>
                    <a:pt x="1107" y="1362"/>
                  </a:lnTo>
                  <a:lnTo>
                    <a:pt x="1105" y="1362"/>
                  </a:lnTo>
                  <a:lnTo>
                    <a:pt x="1105" y="1362"/>
                  </a:lnTo>
                  <a:lnTo>
                    <a:pt x="1102" y="1360"/>
                  </a:lnTo>
                  <a:lnTo>
                    <a:pt x="1102" y="1357"/>
                  </a:lnTo>
                  <a:lnTo>
                    <a:pt x="1102" y="1354"/>
                  </a:lnTo>
                  <a:lnTo>
                    <a:pt x="1102" y="1352"/>
                  </a:lnTo>
                  <a:lnTo>
                    <a:pt x="1105" y="1352"/>
                  </a:lnTo>
                  <a:lnTo>
                    <a:pt x="1105" y="1352"/>
                  </a:lnTo>
                  <a:lnTo>
                    <a:pt x="1110" y="1357"/>
                  </a:lnTo>
                  <a:lnTo>
                    <a:pt x="1113" y="1354"/>
                  </a:lnTo>
                  <a:lnTo>
                    <a:pt x="1110" y="1352"/>
                  </a:lnTo>
                  <a:lnTo>
                    <a:pt x="1105" y="1349"/>
                  </a:lnTo>
                  <a:lnTo>
                    <a:pt x="1105" y="1349"/>
                  </a:lnTo>
                  <a:lnTo>
                    <a:pt x="1102" y="1346"/>
                  </a:lnTo>
                  <a:lnTo>
                    <a:pt x="1102" y="1344"/>
                  </a:lnTo>
                  <a:lnTo>
                    <a:pt x="1102" y="1338"/>
                  </a:lnTo>
                  <a:lnTo>
                    <a:pt x="1102" y="1336"/>
                  </a:lnTo>
                  <a:lnTo>
                    <a:pt x="1105" y="1336"/>
                  </a:lnTo>
                  <a:lnTo>
                    <a:pt x="1110" y="1336"/>
                  </a:lnTo>
                  <a:lnTo>
                    <a:pt x="1113" y="1333"/>
                  </a:lnTo>
                  <a:lnTo>
                    <a:pt x="1113" y="1330"/>
                  </a:lnTo>
                  <a:lnTo>
                    <a:pt x="1110" y="1328"/>
                  </a:lnTo>
                  <a:lnTo>
                    <a:pt x="1113" y="1325"/>
                  </a:lnTo>
                  <a:lnTo>
                    <a:pt x="1110" y="1325"/>
                  </a:lnTo>
                  <a:lnTo>
                    <a:pt x="1110" y="1322"/>
                  </a:lnTo>
                  <a:lnTo>
                    <a:pt x="1110" y="1322"/>
                  </a:lnTo>
                  <a:lnTo>
                    <a:pt x="1113" y="1322"/>
                  </a:lnTo>
                  <a:lnTo>
                    <a:pt x="1113" y="1320"/>
                  </a:lnTo>
                  <a:lnTo>
                    <a:pt x="1115" y="1320"/>
                  </a:lnTo>
                  <a:lnTo>
                    <a:pt x="1115" y="1317"/>
                  </a:lnTo>
                  <a:lnTo>
                    <a:pt x="1115" y="1317"/>
                  </a:lnTo>
                  <a:lnTo>
                    <a:pt x="1115" y="1314"/>
                  </a:lnTo>
                  <a:lnTo>
                    <a:pt x="1115" y="1311"/>
                  </a:lnTo>
                  <a:lnTo>
                    <a:pt x="1115" y="1311"/>
                  </a:lnTo>
                  <a:lnTo>
                    <a:pt x="1115" y="1309"/>
                  </a:lnTo>
                  <a:lnTo>
                    <a:pt x="1115" y="1306"/>
                  </a:lnTo>
                  <a:lnTo>
                    <a:pt x="1115" y="1303"/>
                  </a:lnTo>
                  <a:lnTo>
                    <a:pt x="1115" y="1303"/>
                  </a:lnTo>
                  <a:lnTo>
                    <a:pt x="1118" y="1303"/>
                  </a:lnTo>
                  <a:lnTo>
                    <a:pt x="1118" y="1301"/>
                  </a:lnTo>
                  <a:lnTo>
                    <a:pt x="1118" y="1298"/>
                  </a:lnTo>
                  <a:lnTo>
                    <a:pt x="1118" y="1298"/>
                  </a:lnTo>
                  <a:lnTo>
                    <a:pt x="1110" y="1301"/>
                  </a:lnTo>
                  <a:lnTo>
                    <a:pt x="1107" y="1301"/>
                  </a:lnTo>
                  <a:lnTo>
                    <a:pt x="1105" y="1303"/>
                  </a:lnTo>
                  <a:lnTo>
                    <a:pt x="1102" y="1303"/>
                  </a:lnTo>
                  <a:lnTo>
                    <a:pt x="1094" y="1301"/>
                  </a:lnTo>
                  <a:lnTo>
                    <a:pt x="1091" y="1301"/>
                  </a:lnTo>
                  <a:lnTo>
                    <a:pt x="1091" y="1298"/>
                  </a:lnTo>
                  <a:lnTo>
                    <a:pt x="1089" y="1298"/>
                  </a:lnTo>
                  <a:lnTo>
                    <a:pt x="1086" y="1298"/>
                  </a:lnTo>
                  <a:lnTo>
                    <a:pt x="1078" y="1298"/>
                  </a:lnTo>
                  <a:lnTo>
                    <a:pt x="1075" y="1298"/>
                  </a:lnTo>
                  <a:lnTo>
                    <a:pt x="1075" y="1295"/>
                  </a:lnTo>
                  <a:lnTo>
                    <a:pt x="1078" y="1295"/>
                  </a:lnTo>
                  <a:lnTo>
                    <a:pt x="1081" y="1295"/>
                  </a:lnTo>
                  <a:lnTo>
                    <a:pt x="1083" y="1295"/>
                  </a:lnTo>
                  <a:lnTo>
                    <a:pt x="1086" y="1295"/>
                  </a:lnTo>
                  <a:lnTo>
                    <a:pt x="1089" y="1293"/>
                  </a:lnTo>
                  <a:lnTo>
                    <a:pt x="1086" y="1293"/>
                  </a:lnTo>
                  <a:lnTo>
                    <a:pt x="1086" y="1290"/>
                  </a:lnTo>
                  <a:lnTo>
                    <a:pt x="1083" y="1293"/>
                  </a:lnTo>
                  <a:lnTo>
                    <a:pt x="1083" y="1293"/>
                  </a:lnTo>
                  <a:lnTo>
                    <a:pt x="1083" y="1293"/>
                  </a:lnTo>
                  <a:lnTo>
                    <a:pt x="1083" y="1290"/>
                  </a:lnTo>
                  <a:lnTo>
                    <a:pt x="1086" y="1290"/>
                  </a:lnTo>
                  <a:lnTo>
                    <a:pt x="1083" y="1287"/>
                  </a:lnTo>
                  <a:lnTo>
                    <a:pt x="1078" y="1282"/>
                  </a:lnTo>
                  <a:lnTo>
                    <a:pt x="1081" y="1282"/>
                  </a:lnTo>
                  <a:lnTo>
                    <a:pt x="1078" y="1279"/>
                  </a:lnTo>
                  <a:lnTo>
                    <a:pt x="1075" y="1274"/>
                  </a:lnTo>
                  <a:lnTo>
                    <a:pt x="1075" y="1271"/>
                  </a:lnTo>
                  <a:lnTo>
                    <a:pt x="1078" y="1274"/>
                  </a:lnTo>
                  <a:lnTo>
                    <a:pt x="1081" y="1277"/>
                  </a:lnTo>
                  <a:lnTo>
                    <a:pt x="1091" y="1290"/>
                  </a:lnTo>
                  <a:lnTo>
                    <a:pt x="1091" y="1293"/>
                  </a:lnTo>
                  <a:lnTo>
                    <a:pt x="1091" y="1293"/>
                  </a:lnTo>
                  <a:lnTo>
                    <a:pt x="1091" y="1295"/>
                  </a:lnTo>
                  <a:lnTo>
                    <a:pt x="1094" y="1295"/>
                  </a:lnTo>
                  <a:lnTo>
                    <a:pt x="1097" y="1295"/>
                  </a:lnTo>
                  <a:lnTo>
                    <a:pt x="1097" y="1293"/>
                  </a:lnTo>
                  <a:lnTo>
                    <a:pt x="1097" y="1293"/>
                  </a:lnTo>
                  <a:lnTo>
                    <a:pt x="1097" y="1293"/>
                  </a:lnTo>
                  <a:lnTo>
                    <a:pt x="1099" y="1287"/>
                  </a:lnTo>
                  <a:lnTo>
                    <a:pt x="1099" y="1287"/>
                  </a:lnTo>
                  <a:lnTo>
                    <a:pt x="1099" y="1290"/>
                  </a:lnTo>
                  <a:lnTo>
                    <a:pt x="1102" y="1287"/>
                  </a:lnTo>
                  <a:lnTo>
                    <a:pt x="1102" y="1287"/>
                  </a:lnTo>
                  <a:lnTo>
                    <a:pt x="1105" y="1287"/>
                  </a:lnTo>
                  <a:lnTo>
                    <a:pt x="1105" y="1285"/>
                  </a:lnTo>
                  <a:lnTo>
                    <a:pt x="1105" y="1285"/>
                  </a:lnTo>
                  <a:lnTo>
                    <a:pt x="1107" y="1282"/>
                  </a:lnTo>
                  <a:lnTo>
                    <a:pt x="1110" y="1279"/>
                  </a:lnTo>
                  <a:lnTo>
                    <a:pt x="1110" y="1282"/>
                  </a:lnTo>
                  <a:lnTo>
                    <a:pt x="1110" y="1285"/>
                  </a:lnTo>
                  <a:lnTo>
                    <a:pt x="1110" y="1287"/>
                  </a:lnTo>
                  <a:lnTo>
                    <a:pt x="1110" y="1287"/>
                  </a:lnTo>
                  <a:lnTo>
                    <a:pt x="1113" y="1287"/>
                  </a:lnTo>
                  <a:lnTo>
                    <a:pt x="1113" y="1287"/>
                  </a:lnTo>
                  <a:lnTo>
                    <a:pt x="1113" y="1287"/>
                  </a:lnTo>
                  <a:lnTo>
                    <a:pt x="1113" y="1287"/>
                  </a:lnTo>
                  <a:lnTo>
                    <a:pt x="1113" y="1287"/>
                  </a:lnTo>
                  <a:lnTo>
                    <a:pt x="1113" y="1290"/>
                  </a:lnTo>
                  <a:lnTo>
                    <a:pt x="1113" y="1290"/>
                  </a:lnTo>
                  <a:lnTo>
                    <a:pt x="1110" y="1290"/>
                  </a:lnTo>
                  <a:lnTo>
                    <a:pt x="1107" y="1290"/>
                  </a:lnTo>
                  <a:lnTo>
                    <a:pt x="1107" y="1290"/>
                  </a:lnTo>
                  <a:lnTo>
                    <a:pt x="1107" y="1290"/>
                  </a:lnTo>
                  <a:lnTo>
                    <a:pt x="1110" y="1290"/>
                  </a:lnTo>
                  <a:lnTo>
                    <a:pt x="1110" y="1293"/>
                  </a:lnTo>
                  <a:lnTo>
                    <a:pt x="1107" y="1293"/>
                  </a:lnTo>
                  <a:lnTo>
                    <a:pt x="1105" y="1295"/>
                  </a:lnTo>
                  <a:lnTo>
                    <a:pt x="1107" y="1298"/>
                  </a:lnTo>
                  <a:lnTo>
                    <a:pt x="1107" y="1298"/>
                  </a:lnTo>
                  <a:lnTo>
                    <a:pt x="1110" y="1293"/>
                  </a:lnTo>
                  <a:lnTo>
                    <a:pt x="1118" y="1290"/>
                  </a:lnTo>
                  <a:lnTo>
                    <a:pt x="1121" y="1290"/>
                  </a:lnTo>
                  <a:lnTo>
                    <a:pt x="1121" y="1285"/>
                  </a:lnTo>
                  <a:lnTo>
                    <a:pt x="1126" y="1271"/>
                  </a:lnTo>
                  <a:lnTo>
                    <a:pt x="1126" y="1269"/>
                  </a:lnTo>
                  <a:lnTo>
                    <a:pt x="1126" y="1269"/>
                  </a:lnTo>
                  <a:lnTo>
                    <a:pt x="1129" y="1266"/>
                  </a:lnTo>
                  <a:lnTo>
                    <a:pt x="1129" y="1258"/>
                  </a:lnTo>
                  <a:lnTo>
                    <a:pt x="1134" y="1253"/>
                  </a:lnTo>
                  <a:lnTo>
                    <a:pt x="1134" y="1250"/>
                  </a:lnTo>
                  <a:lnTo>
                    <a:pt x="1134" y="1247"/>
                  </a:lnTo>
                  <a:lnTo>
                    <a:pt x="1134" y="1245"/>
                  </a:lnTo>
                  <a:lnTo>
                    <a:pt x="1134" y="1245"/>
                  </a:lnTo>
                  <a:lnTo>
                    <a:pt x="1137" y="1242"/>
                  </a:lnTo>
                  <a:lnTo>
                    <a:pt x="1137" y="1239"/>
                  </a:lnTo>
                  <a:lnTo>
                    <a:pt x="1137" y="1239"/>
                  </a:lnTo>
                  <a:lnTo>
                    <a:pt x="1137" y="1237"/>
                  </a:lnTo>
                  <a:lnTo>
                    <a:pt x="1126" y="1231"/>
                  </a:lnTo>
                  <a:lnTo>
                    <a:pt x="1123" y="1231"/>
                  </a:lnTo>
                  <a:lnTo>
                    <a:pt x="1121" y="1226"/>
                  </a:lnTo>
                  <a:lnTo>
                    <a:pt x="1121" y="1226"/>
                  </a:lnTo>
                  <a:lnTo>
                    <a:pt x="1121" y="1223"/>
                  </a:lnTo>
                  <a:lnTo>
                    <a:pt x="1121" y="1221"/>
                  </a:lnTo>
                  <a:lnTo>
                    <a:pt x="1121" y="1218"/>
                  </a:lnTo>
                  <a:lnTo>
                    <a:pt x="1121" y="1218"/>
                  </a:lnTo>
                  <a:lnTo>
                    <a:pt x="1118" y="1221"/>
                  </a:lnTo>
                  <a:lnTo>
                    <a:pt x="1118" y="1221"/>
                  </a:lnTo>
                  <a:lnTo>
                    <a:pt x="1115" y="1218"/>
                  </a:lnTo>
                  <a:lnTo>
                    <a:pt x="1113" y="1221"/>
                  </a:lnTo>
                  <a:lnTo>
                    <a:pt x="1110" y="1218"/>
                  </a:lnTo>
                  <a:lnTo>
                    <a:pt x="1107" y="1218"/>
                  </a:lnTo>
                  <a:lnTo>
                    <a:pt x="1105" y="1213"/>
                  </a:lnTo>
                  <a:lnTo>
                    <a:pt x="1107" y="1213"/>
                  </a:lnTo>
                  <a:lnTo>
                    <a:pt x="1107" y="1213"/>
                  </a:lnTo>
                  <a:lnTo>
                    <a:pt x="1107" y="1213"/>
                  </a:lnTo>
                  <a:lnTo>
                    <a:pt x="1107" y="1213"/>
                  </a:lnTo>
                  <a:lnTo>
                    <a:pt x="1107" y="1215"/>
                  </a:lnTo>
                  <a:lnTo>
                    <a:pt x="1110" y="1215"/>
                  </a:lnTo>
                  <a:lnTo>
                    <a:pt x="1110" y="1215"/>
                  </a:lnTo>
                  <a:lnTo>
                    <a:pt x="1110" y="1215"/>
                  </a:lnTo>
                  <a:lnTo>
                    <a:pt x="1113" y="1215"/>
                  </a:lnTo>
                  <a:lnTo>
                    <a:pt x="1113" y="1215"/>
                  </a:lnTo>
                  <a:lnTo>
                    <a:pt x="1113" y="1215"/>
                  </a:lnTo>
                  <a:lnTo>
                    <a:pt x="1113" y="1213"/>
                  </a:lnTo>
                  <a:lnTo>
                    <a:pt x="1115" y="1213"/>
                  </a:lnTo>
                  <a:lnTo>
                    <a:pt x="1123" y="1213"/>
                  </a:lnTo>
                  <a:lnTo>
                    <a:pt x="1126" y="1213"/>
                  </a:lnTo>
                  <a:lnTo>
                    <a:pt x="1126" y="1213"/>
                  </a:lnTo>
                  <a:lnTo>
                    <a:pt x="1126" y="1215"/>
                  </a:lnTo>
                  <a:lnTo>
                    <a:pt x="1126" y="1215"/>
                  </a:lnTo>
                  <a:lnTo>
                    <a:pt x="1126" y="1215"/>
                  </a:lnTo>
                  <a:lnTo>
                    <a:pt x="1129" y="1215"/>
                  </a:lnTo>
                  <a:lnTo>
                    <a:pt x="1134" y="1213"/>
                  </a:lnTo>
                  <a:lnTo>
                    <a:pt x="1137" y="1213"/>
                  </a:lnTo>
                  <a:lnTo>
                    <a:pt x="1139" y="1213"/>
                  </a:lnTo>
                  <a:lnTo>
                    <a:pt x="1139" y="1215"/>
                  </a:lnTo>
                  <a:lnTo>
                    <a:pt x="1142" y="1215"/>
                  </a:lnTo>
                  <a:lnTo>
                    <a:pt x="1142" y="1218"/>
                  </a:lnTo>
                  <a:lnTo>
                    <a:pt x="1139" y="1218"/>
                  </a:lnTo>
                  <a:lnTo>
                    <a:pt x="1139" y="1221"/>
                  </a:lnTo>
                  <a:lnTo>
                    <a:pt x="1145" y="1221"/>
                  </a:lnTo>
                  <a:lnTo>
                    <a:pt x="1147" y="1218"/>
                  </a:lnTo>
                  <a:lnTo>
                    <a:pt x="1155" y="1205"/>
                  </a:lnTo>
                  <a:lnTo>
                    <a:pt x="1161" y="1197"/>
                  </a:lnTo>
                  <a:lnTo>
                    <a:pt x="1161" y="1197"/>
                  </a:lnTo>
                  <a:lnTo>
                    <a:pt x="1161" y="1197"/>
                  </a:lnTo>
                  <a:lnTo>
                    <a:pt x="1161" y="1197"/>
                  </a:lnTo>
                  <a:lnTo>
                    <a:pt x="1161" y="1197"/>
                  </a:lnTo>
                  <a:lnTo>
                    <a:pt x="1163" y="1191"/>
                  </a:lnTo>
                  <a:lnTo>
                    <a:pt x="1163" y="1191"/>
                  </a:lnTo>
                  <a:lnTo>
                    <a:pt x="1166" y="1189"/>
                  </a:lnTo>
                  <a:lnTo>
                    <a:pt x="1166" y="1189"/>
                  </a:lnTo>
                  <a:lnTo>
                    <a:pt x="1166" y="1189"/>
                  </a:lnTo>
                  <a:lnTo>
                    <a:pt x="1166" y="1186"/>
                  </a:lnTo>
                  <a:lnTo>
                    <a:pt x="1166" y="1181"/>
                  </a:lnTo>
                  <a:lnTo>
                    <a:pt x="1166" y="1178"/>
                  </a:lnTo>
                  <a:lnTo>
                    <a:pt x="1163" y="1178"/>
                  </a:lnTo>
                  <a:lnTo>
                    <a:pt x="1163" y="1178"/>
                  </a:lnTo>
                  <a:lnTo>
                    <a:pt x="1163" y="1178"/>
                  </a:lnTo>
                  <a:lnTo>
                    <a:pt x="1163" y="1178"/>
                  </a:lnTo>
                  <a:lnTo>
                    <a:pt x="1163" y="1178"/>
                  </a:lnTo>
                  <a:lnTo>
                    <a:pt x="1163" y="1181"/>
                  </a:lnTo>
                  <a:lnTo>
                    <a:pt x="1161" y="1183"/>
                  </a:lnTo>
                  <a:lnTo>
                    <a:pt x="1155" y="1186"/>
                  </a:lnTo>
                  <a:lnTo>
                    <a:pt x="1155" y="1186"/>
                  </a:lnTo>
                  <a:lnTo>
                    <a:pt x="1155" y="1189"/>
                  </a:lnTo>
                  <a:lnTo>
                    <a:pt x="1153" y="1191"/>
                  </a:lnTo>
                  <a:lnTo>
                    <a:pt x="1153" y="1191"/>
                  </a:lnTo>
                  <a:lnTo>
                    <a:pt x="1153" y="1194"/>
                  </a:lnTo>
                  <a:lnTo>
                    <a:pt x="1150" y="1194"/>
                  </a:lnTo>
                  <a:lnTo>
                    <a:pt x="1150" y="1194"/>
                  </a:lnTo>
                  <a:lnTo>
                    <a:pt x="1150" y="1191"/>
                  </a:lnTo>
                  <a:lnTo>
                    <a:pt x="1150" y="1191"/>
                  </a:lnTo>
                  <a:lnTo>
                    <a:pt x="1150" y="1189"/>
                  </a:lnTo>
                  <a:lnTo>
                    <a:pt x="1147" y="1186"/>
                  </a:lnTo>
                  <a:lnTo>
                    <a:pt x="1145" y="1186"/>
                  </a:lnTo>
                  <a:lnTo>
                    <a:pt x="1142" y="1186"/>
                  </a:lnTo>
                  <a:lnTo>
                    <a:pt x="1142" y="1186"/>
                  </a:lnTo>
                  <a:lnTo>
                    <a:pt x="1145" y="1181"/>
                  </a:lnTo>
                  <a:lnTo>
                    <a:pt x="1150" y="1175"/>
                  </a:lnTo>
                  <a:lnTo>
                    <a:pt x="1147" y="1175"/>
                  </a:lnTo>
                  <a:lnTo>
                    <a:pt x="1147" y="1175"/>
                  </a:lnTo>
                  <a:lnTo>
                    <a:pt x="1147" y="1173"/>
                  </a:lnTo>
                  <a:lnTo>
                    <a:pt x="1147" y="1173"/>
                  </a:lnTo>
                  <a:lnTo>
                    <a:pt x="1150" y="1173"/>
                  </a:lnTo>
                  <a:lnTo>
                    <a:pt x="1150" y="1173"/>
                  </a:lnTo>
                  <a:lnTo>
                    <a:pt x="1153" y="1173"/>
                  </a:lnTo>
                  <a:lnTo>
                    <a:pt x="1150" y="1175"/>
                  </a:lnTo>
                  <a:lnTo>
                    <a:pt x="1155" y="1173"/>
                  </a:lnTo>
                  <a:lnTo>
                    <a:pt x="1161" y="1170"/>
                  </a:lnTo>
                  <a:lnTo>
                    <a:pt x="1163" y="1167"/>
                  </a:lnTo>
                  <a:lnTo>
                    <a:pt x="1166" y="1165"/>
                  </a:lnTo>
                  <a:lnTo>
                    <a:pt x="1166" y="1165"/>
                  </a:lnTo>
                  <a:lnTo>
                    <a:pt x="1166" y="1167"/>
                  </a:lnTo>
                  <a:lnTo>
                    <a:pt x="1166" y="1173"/>
                  </a:lnTo>
                  <a:lnTo>
                    <a:pt x="1169" y="1173"/>
                  </a:lnTo>
                  <a:lnTo>
                    <a:pt x="1166" y="1173"/>
                  </a:lnTo>
                  <a:lnTo>
                    <a:pt x="1166" y="1175"/>
                  </a:lnTo>
                  <a:lnTo>
                    <a:pt x="1166" y="1175"/>
                  </a:lnTo>
                  <a:lnTo>
                    <a:pt x="1166" y="1175"/>
                  </a:lnTo>
                  <a:lnTo>
                    <a:pt x="1171" y="1175"/>
                  </a:lnTo>
                  <a:lnTo>
                    <a:pt x="1171" y="1175"/>
                  </a:lnTo>
                  <a:lnTo>
                    <a:pt x="1174" y="1173"/>
                  </a:lnTo>
                  <a:lnTo>
                    <a:pt x="1174" y="1170"/>
                  </a:lnTo>
                  <a:lnTo>
                    <a:pt x="1174" y="1167"/>
                  </a:lnTo>
                  <a:lnTo>
                    <a:pt x="1174" y="1165"/>
                  </a:lnTo>
                  <a:lnTo>
                    <a:pt x="1174" y="1165"/>
                  </a:lnTo>
                  <a:lnTo>
                    <a:pt x="1177" y="1159"/>
                  </a:lnTo>
                  <a:lnTo>
                    <a:pt x="1177" y="1157"/>
                  </a:lnTo>
                  <a:lnTo>
                    <a:pt x="1179" y="1157"/>
                  </a:lnTo>
                  <a:lnTo>
                    <a:pt x="1179" y="1159"/>
                  </a:lnTo>
                  <a:lnTo>
                    <a:pt x="1179" y="1162"/>
                  </a:lnTo>
                  <a:lnTo>
                    <a:pt x="1177" y="1165"/>
                  </a:lnTo>
                  <a:lnTo>
                    <a:pt x="1179" y="1167"/>
                  </a:lnTo>
                  <a:lnTo>
                    <a:pt x="1177" y="1170"/>
                  </a:lnTo>
                  <a:lnTo>
                    <a:pt x="1177" y="1173"/>
                  </a:lnTo>
                  <a:lnTo>
                    <a:pt x="1174" y="1178"/>
                  </a:lnTo>
                  <a:lnTo>
                    <a:pt x="1177" y="1175"/>
                  </a:lnTo>
                  <a:lnTo>
                    <a:pt x="1182" y="1175"/>
                  </a:lnTo>
                  <a:lnTo>
                    <a:pt x="1182" y="1173"/>
                  </a:lnTo>
                  <a:lnTo>
                    <a:pt x="1187" y="1167"/>
                  </a:lnTo>
                  <a:lnTo>
                    <a:pt x="1190" y="1165"/>
                  </a:lnTo>
                  <a:lnTo>
                    <a:pt x="1193" y="1162"/>
                  </a:lnTo>
                  <a:lnTo>
                    <a:pt x="1195" y="1159"/>
                  </a:lnTo>
                  <a:lnTo>
                    <a:pt x="1193" y="1154"/>
                  </a:lnTo>
                  <a:lnTo>
                    <a:pt x="1193" y="1151"/>
                  </a:lnTo>
                  <a:lnTo>
                    <a:pt x="1195" y="1149"/>
                  </a:lnTo>
                  <a:lnTo>
                    <a:pt x="1195" y="1146"/>
                  </a:lnTo>
                  <a:lnTo>
                    <a:pt x="1193" y="1143"/>
                  </a:lnTo>
                  <a:lnTo>
                    <a:pt x="1190" y="1141"/>
                  </a:lnTo>
                  <a:lnTo>
                    <a:pt x="1187" y="1135"/>
                  </a:lnTo>
                  <a:lnTo>
                    <a:pt x="1187" y="1132"/>
                  </a:lnTo>
                  <a:lnTo>
                    <a:pt x="1190" y="1135"/>
                  </a:lnTo>
                  <a:lnTo>
                    <a:pt x="1193" y="1135"/>
                  </a:lnTo>
                  <a:lnTo>
                    <a:pt x="1195" y="1138"/>
                  </a:lnTo>
                  <a:lnTo>
                    <a:pt x="1195" y="1135"/>
                  </a:lnTo>
                  <a:lnTo>
                    <a:pt x="1195" y="1135"/>
                  </a:lnTo>
                  <a:lnTo>
                    <a:pt x="1195" y="1132"/>
                  </a:lnTo>
                  <a:lnTo>
                    <a:pt x="1193" y="1130"/>
                  </a:lnTo>
                  <a:lnTo>
                    <a:pt x="1190" y="1130"/>
                  </a:lnTo>
                  <a:lnTo>
                    <a:pt x="1190" y="1130"/>
                  </a:lnTo>
                  <a:lnTo>
                    <a:pt x="1190" y="1127"/>
                  </a:lnTo>
                  <a:lnTo>
                    <a:pt x="1193" y="1127"/>
                  </a:lnTo>
                  <a:lnTo>
                    <a:pt x="1193" y="1127"/>
                  </a:lnTo>
                  <a:lnTo>
                    <a:pt x="1193" y="1127"/>
                  </a:lnTo>
                  <a:lnTo>
                    <a:pt x="1195" y="1130"/>
                  </a:lnTo>
                  <a:lnTo>
                    <a:pt x="1195" y="1132"/>
                  </a:lnTo>
                  <a:lnTo>
                    <a:pt x="1198" y="1132"/>
                  </a:lnTo>
                  <a:lnTo>
                    <a:pt x="1198" y="1132"/>
                  </a:lnTo>
                  <a:lnTo>
                    <a:pt x="1198" y="1132"/>
                  </a:lnTo>
                  <a:lnTo>
                    <a:pt x="1198" y="1135"/>
                  </a:lnTo>
                  <a:lnTo>
                    <a:pt x="1198" y="1135"/>
                  </a:lnTo>
                  <a:lnTo>
                    <a:pt x="1201" y="1135"/>
                  </a:lnTo>
                  <a:lnTo>
                    <a:pt x="1203" y="1138"/>
                  </a:lnTo>
                  <a:lnTo>
                    <a:pt x="1203" y="1138"/>
                  </a:lnTo>
                  <a:lnTo>
                    <a:pt x="1203" y="1138"/>
                  </a:lnTo>
                  <a:lnTo>
                    <a:pt x="1203" y="1143"/>
                  </a:lnTo>
                  <a:lnTo>
                    <a:pt x="1206" y="1146"/>
                  </a:lnTo>
                  <a:lnTo>
                    <a:pt x="1206" y="1149"/>
                  </a:lnTo>
                  <a:lnTo>
                    <a:pt x="1209" y="1146"/>
                  </a:lnTo>
                  <a:lnTo>
                    <a:pt x="1211" y="1149"/>
                  </a:lnTo>
                  <a:lnTo>
                    <a:pt x="1225" y="1141"/>
                  </a:lnTo>
                  <a:lnTo>
                    <a:pt x="1225" y="1141"/>
                  </a:lnTo>
                  <a:lnTo>
                    <a:pt x="1230" y="1138"/>
                  </a:lnTo>
                  <a:lnTo>
                    <a:pt x="1233" y="1135"/>
                  </a:lnTo>
                  <a:lnTo>
                    <a:pt x="1241" y="1132"/>
                  </a:lnTo>
                  <a:lnTo>
                    <a:pt x="1241" y="1127"/>
                  </a:lnTo>
                  <a:lnTo>
                    <a:pt x="1238" y="1124"/>
                  </a:lnTo>
                  <a:lnTo>
                    <a:pt x="1233" y="1124"/>
                  </a:lnTo>
                  <a:lnTo>
                    <a:pt x="1227" y="1124"/>
                  </a:lnTo>
                  <a:lnTo>
                    <a:pt x="1227" y="1124"/>
                  </a:lnTo>
                  <a:lnTo>
                    <a:pt x="1225" y="1127"/>
                  </a:lnTo>
                  <a:lnTo>
                    <a:pt x="1222" y="1127"/>
                  </a:lnTo>
                  <a:lnTo>
                    <a:pt x="1222" y="1124"/>
                  </a:lnTo>
                  <a:lnTo>
                    <a:pt x="1222" y="1124"/>
                  </a:lnTo>
                  <a:lnTo>
                    <a:pt x="1230" y="1122"/>
                  </a:lnTo>
                  <a:lnTo>
                    <a:pt x="1227" y="1119"/>
                  </a:lnTo>
                  <a:lnTo>
                    <a:pt x="1227" y="1116"/>
                  </a:lnTo>
                  <a:lnTo>
                    <a:pt x="1227" y="1116"/>
                  </a:lnTo>
                  <a:lnTo>
                    <a:pt x="1227" y="1116"/>
                  </a:lnTo>
                  <a:lnTo>
                    <a:pt x="1225" y="1114"/>
                  </a:lnTo>
                  <a:lnTo>
                    <a:pt x="1219" y="1111"/>
                  </a:lnTo>
                  <a:lnTo>
                    <a:pt x="1219" y="1111"/>
                  </a:lnTo>
                  <a:lnTo>
                    <a:pt x="1217" y="1114"/>
                  </a:lnTo>
                  <a:lnTo>
                    <a:pt x="1217" y="1114"/>
                  </a:lnTo>
                  <a:lnTo>
                    <a:pt x="1214" y="1111"/>
                  </a:lnTo>
                  <a:lnTo>
                    <a:pt x="1214" y="1111"/>
                  </a:lnTo>
                  <a:lnTo>
                    <a:pt x="1217" y="1108"/>
                  </a:lnTo>
                  <a:lnTo>
                    <a:pt x="1217" y="1106"/>
                  </a:lnTo>
                  <a:lnTo>
                    <a:pt x="1214" y="1106"/>
                  </a:lnTo>
                  <a:lnTo>
                    <a:pt x="1214" y="1103"/>
                  </a:lnTo>
                  <a:lnTo>
                    <a:pt x="1211" y="1098"/>
                  </a:lnTo>
                  <a:lnTo>
                    <a:pt x="1209" y="1098"/>
                  </a:lnTo>
                  <a:lnTo>
                    <a:pt x="1209" y="1095"/>
                  </a:lnTo>
                  <a:lnTo>
                    <a:pt x="1209" y="1090"/>
                  </a:lnTo>
                  <a:lnTo>
                    <a:pt x="1211" y="1092"/>
                  </a:lnTo>
                  <a:lnTo>
                    <a:pt x="1211" y="1092"/>
                  </a:lnTo>
                  <a:lnTo>
                    <a:pt x="1211" y="1092"/>
                  </a:lnTo>
                  <a:lnTo>
                    <a:pt x="1214" y="1092"/>
                  </a:lnTo>
                  <a:lnTo>
                    <a:pt x="1214" y="1092"/>
                  </a:lnTo>
                  <a:lnTo>
                    <a:pt x="1217" y="1092"/>
                  </a:lnTo>
                  <a:lnTo>
                    <a:pt x="1219" y="1092"/>
                  </a:lnTo>
                  <a:lnTo>
                    <a:pt x="1219" y="1095"/>
                  </a:lnTo>
                  <a:lnTo>
                    <a:pt x="1219" y="1095"/>
                  </a:lnTo>
                  <a:lnTo>
                    <a:pt x="1219" y="1095"/>
                  </a:lnTo>
                  <a:lnTo>
                    <a:pt x="1219" y="1098"/>
                  </a:lnTo>
                  <a:lnTo>
                    <a:pt x="1219" y="1100"/>
                  </a:lnTo>
                  <a:lnTo>
                    <a:pt x="1219" y="1100"/>
                  </a:lnTo>
                  <a:lnTo>
                    <a:pt x="1222" y="1100"/>
                  </a:lnTo>
                  <a:lnTo>
                    <a:pt x="1222" y="1103"/>
                  </a:lnTo>
                  <a:lnTo>
                    <a:pt x="1222" y="1103"/>
                  </a:lnTo>
                  <a:lnTo>
                    <a:pt x="1225" y="1103"/>
                  </a:lnTo>
                  <a:lnTo>
                    <a:pt x="1225" y="1103"/>
                  </a:lnTo>
                  <a:lnTo>
                    <a:pt x="1225" y="1103"/>
                  </a:lnTo>
                  <a:lnTo>
                    <a:pt x="1227" y="1103"/>
                  </a:lnTo>
                  <a:lnTo>
                    <a:pt x="1227" y="1103"/>
                  </a:lnTo>
                  <a:lnTo>
                    <a:pt x="1230" y="1103"/>
                  </a:lnTo>
                  <a:lnTo>
                    <a:pt x="1230" y="1106"/>
                  </a:lnTo>
                  <a:lnTo>
                    <a:pt x="1235" y="1103"/>
                  </a:lnTo>
                  <a:lnTo>
                    <a:pt x="1235" y="1106"/>
                  </a:lnTo>
                  <a:lnTo>
                    <a:pt x="1235" y="1108"/>
                  </a:lnTo>
                  <a:lnTo>
                    <a:pt x="1233" y="1108"/>
                  </a:lnTo>
                  <a:lnTo>
                    <a:pt x="1230" y="1108"/>
                  </a:lnTo>
                  <a:lnTo>
                    <a:pt x="1230" y="1111"/>
                  </a:lnTo>
                  <a:lnTo>
                    <a:pt x="1233" y="1111"/>
                  </a:lnTo>
                  <a:lnTo>
                    <a:pt x="1238" y="1108"/>
                  </a:lnTo>
                  <a:lnTo>
                    <a:pt x="1243" y="1103"/>
                  </a:lnTo>
                  <a:lnTo>
                    <a:pt x="1241" y="1103"/>
                  </a:lnTo>
                  <a:lnTo>
                    <a:pt x="1238" y="1103"/>
                  </a:lnTo>
                  <a:lnTo>
                    <a:pt x="1238" y="1100"/>
                  </a:lnTo>
                  <a:lnTo>
                    <a:pt x="1238" y="1098"/>
                  </a:lnTo>
                  <a:lnTo>
                    <a:pt x="1238" y="1098"/>
                  </a:lnTo>
                  <a:lnTo>
                    <a:pt x="1238" y="1098"/>
                  </a:lnTo>
                  <a:lnTo>
                    <a:pt x="1238" y="1095"/>
                  </a:lnTo>
                  <a:lnTo>
                    <a:pt x="1238" y="1095"/>
                  </a:lnTo>
                  <a:lnTo>
                    <a:pt x="1241" y="1095"/>
                  </a:lnTo>
                  <a:lnTo>
                    <a:pt x="1241" y="1092"/>
                  </a:lnTo>
                  <a:lnTo>
                    <a:pt x="1241" y="1092"/>
                  </a:lnTo>
                  <a:lnTo>
                    <a:pt x="1241" y="1092"/>
                  </a:lnTo>
                  <a:lnTo>
                    <a:pt x="1238" y="1092"/>
                  </a:lnTo>
                  <a:lnTo>
                    <a:pt x="1238" y="1092"/>
                  </a:lnTo>
                  <a:lnTo>
                    <a:pt x="1238" y="1092"/>
                  </a:lnTo>
                  <a:lnTo>
                    <a:pt x="1235" y="1092"/>
                  </a:lnTo>
                  <a:lnTo>
                    <a:pt x="1235" y="1090"/>
                  </a:lnTo>
                  <a:lnTo>
                    <a:pt x="1235" y="1087"/>
                  </a:lnTo>
                  <a:lnTo>
                    <a:pt x="1235" y="1084"/>
                  </a:lnTo>
                  <a:lnTo>
                    <a:pt x="1235" y="1084"/>
                  </a:lnTo>
                  <a:lnTo>
                    <a:pt x="1235" y="1087"/>
                  </a:lnTo>
                  <a:lnTo>
                    <a:pt x="1238" y="1090"/>
                  </a:lnTo>
                  <a:lnTo>
                    <a:pt x="1238" y="1090"/>
                  </a:lnTo>
                  <a:lnTo>
                    <a:pt x="1241" y="1090"/>
                  </a:lnTo>
                  <a:lnTo>
                    <a:pt x="1241" y="1087"/>
                  </a:lnTo>
                  <a:lnTo>
                    <a:pt x="1243" y="1090"/>
                  </a:lnTo>
                  <a:lnTo>
                    <a:pt x="1243" y="1092"/>
                  </a:lnTo>
                  <a:lnTo>
                    <a:pt x="1243" y="1095"/>
                  </a:lnTo>
                  <a:lnTo>
                    <a:pt x="1241" y="1095"/>
                  </a:lnTo>
                  <a:lnTo>
                    <a:pt x="1243" y="1098"/>
                  </a:lnTo>
                  <a:lnTo>
                    <a:pt x="1246" y="1100"/>
                  </a:lnTo>
                  <a:lnTo>
                    <a:pt x="1246" y="1100"/>
                  </a:lnTo>
                  <a:lnTo>
                    <a:pt x="1246" y="1103"/>
                  </a:lnTo>
                  <a:lnTo>
                    <a:pt x="1246" y="1103"/>
                  </a:lnTo>
                  <a:lnTo>
                    <a:pt x="1249" y="1103"/>
                  </a:lnTo>
                  <a:lnTo>
                    <a:pt x="1251" y="1100"/>
                  </a:lnTo>
                  <a:lnTo>
                    <a:pt x="1254" y="1095"/>
                  </a:lnTo>
                  <a:lnTo>
                    <a:pt x="1257" y="1095"/>
                  </a:lnTo>
                  <a:lnTo>
                    <a:pt x="1257" y="1098"/>
                  </a:lnTo>
                  <a:lnTo>
                    <a:pt x="1259" y="1095"/>
                  </a:lnTo>
                  <a:lnTo>
                    <a:pt x="1262" y="1095"/>
                  </a:lnTo>
                  <a:lnTo>
                    <a:pt x="1262" y="1095"/>
                  </a:lnTo>
                  <a:lnTo>
                    <a:pt x="1265" y="1095"/>
                  </a:lnTo>
                  <a:lnTo>
                    <a:pt x="1267" y="1095"/>
                  </a:lnTo>
                  <a:lnTo>
                    <a:pt x="1265" y="1095"/>
                  </a:lnTo>
                  <a:lnTo>
                    <a:pt x="1262" y="1100"/>
                  </a:lnTo>
                  <a:lnTo>
                    <a:pt x="1262" y="1103"/>
                  </a:lnTo>
                  <a:lnTo>
                    <a:pt x="1262" y="1103"/>
                  </a:lnTo>
                  <a:lnTo>
                    <a:pt x="1265" y="1103"/>
                  </a:lnTo>
                  <a:lnTo>
                    <a:pt x="1267" y="1103"/>
                  </a:lnTo>
                  <a:lnTo>
                    <a:pt x="1270" y="1103"/>
                  </a:lnTo>
                  <a:lnTo>
                    <a:pt x="1270" y="1103"/>
                  </a:lnTo>
                  <a:lnTo>
                    <a:pt x="1273" y="1103"/>
                  </a:lnTo>
                  <a:lnTo>
                    <a:pt x="1273" y="1103"/>
                  </a:lnTo>
                  <a:lnTo>
                    <a:pt x="1273" y="1103"/>
                  </a:lnTo>
                  <a:lnTo>
                    <a:pt x="1270" y="1106"/>
                  </a:lnTo>
                  <a:lnTo>
                    <a:pt x="1265" y="1106"/>
                  </a:lnTo>
                  <a:lnTo>
                    <a:pt x="1262" y="1106"/>
                  </a:lnTo>
                  <a:lnTo>
                    <a:pt x="1262" y="1108"/>
                  </a:lnTo>
                  <a:lnTo>
                    <a:pt x="1265" y="1108"/>
                  </a:lnTo>
                  <a:lnTo>
                    <a:pt x="1270" y="1108"/>
                  </a:lnTo>
                  <a:lnTo>
                    <a:pt x="1278" y="1103"/>
                  </a:lnTo>
                  <a:lnTo>
                    <a:pt x="1281" y="1103"/>
                  </a:lnTo>
                  <a:lnTo>
                    <a:pt x="1281" y="1103"/>
                  </a:lnTo>
                  <a:lnTo>
                    <a:pt x="1286" y="1100"/>
                  </a:lnTo>
                  <a:lnTo>
                    <a:pt x="1289" y="1098"/>
                  </a:lnTo>
                  <a:lnTo>
                    <a:pt x="1291" y="1100"/>
                  </a:lnTo>
                  <a:lnTo>
                    <a:pt x="1291" y="1103"/>
                  </a:lnTo>
                  <a:lnTo>
                    <a:pt x="1291" y="1103"/>
                  </a:lnTo>
                  <a:lnTo>
                    <a:pt x="1291" y="1106"/>
                  </a:lnTo>
                  <a:lnTo>
                    <a:pt x="1289" y="1106"/>
                  </a:lnTo>
                  <a:lnTo>
                    <a:pt x="1270" y="1116"/>
                  </a:lnTo>
                  <a:lnTo>
                    <a:pt x="1267" y="1119"/>
                  </a:lnTo>
                  <a:lnTo>
                    <a:pt x="1265" y="1122"/>
                  </a:lnTo>
                  <a:lnTo>
                    <a:pt x="1267" y="1122"/>
                  </a:lnTo>
                  <a:lnTo>
                    <a:pt x="1275" y="1116"/>
                  </a:lnTo>
                  <a:lnTo>
                    <a:pt x="1283" y="1114"/>
                  </a:lnTo>
                  <a:lnTo>
                    <a:pt x="1289" y="1106"/>
                  </a:lnTo>
                  <a:lnTo>
                    <a:pt x="1302" y="1103"/>
                  </a:lnTo>
                  <a:lnTo>
                    <a:pt x="1310" y="1098"/>
                  </a:lnTo>
                  <a:lnTo>
                    <a:pt x="1323" y="1090"/>
                  </a:lnTo>
                  <a:lnTo>
                    <a:pt x="1321" y="1090"/>
                  </a:lnTo>
                  <a:lnTo>
                    <a:pt x="1315" y="1092"/>
                  </a:lnTo>
                  <a:lnTo>
                    <a:pt x="1299" y="1100"/>
                  </a:lnTo>
                  <a:lnTo>
                    <a:pt x="1299" y="1103"/>
                  </a:lnTo>
                  <a:lnTo>
                    <a:pt x="1297" y="1103"/>
                  </a:lnTo>
                  <a:lnTo>
                    <a:pt x="1297" y="1103"/>
                  </a:lnTo>
                  <a:lnTo>
                    <a:pt x="1297" y="1103"/>
                  </a:lnTo>
                  <a:lnTo>
                    <a:pt x="1297" y="1100"/>
                  </a:lnTo>
                  <a:lnTo>
                    <a:pt x="1297" y="1100"/>
                  </a:lnTo>
                  <a:lnTo>
                    <a:pt x="1297" y="1100"/>
                  </a:lnTo>
                  <a:lnTo>
                    <a:pt x="1297" y="1098"/>
                  </a:lnTo>
                  <a:lnTo>
                    <a:pt x="1297" y="1098"/>
                  </a:lnTo>
                  <a:lnTo>
                    <a:pt x="1297" y="1095"/>
                  </a:lnTo>
                  <a:lnTo>
                    <a:pt x="1297" y="1092"/>
                  </a:lnTo>
                  <a:lnTo>
                    <a:pt x="1313" y="1087"/>
                  </a:lnTo>
                  <a:lnTo>
                    <a:pt x="1315" y="1087"/>
                  </a:lnTo>
                  <a:lnTo>
                    <a:pt x="1323" y="1087"/>
                  </a:lnTo>
                  <a:lnTo>
                    <a:pt x="1329" y="1087"/>
                  </a:lnTo>
                  <a:lnTo>
                    <a:pt x="1334" y="1084"/>
                  </a:lnTo>
                  <a:lnTo>
                    <a:pt x="1339" y="1082"/>
                  </a:lnTo>
                  <a:lnTo>
                    <a:pt x="1353" y="1071"/>
                  </a:lnTo>
                  <a:lnTo>
                    <a:pt x="1361" y="1066"/>
                  </a:lnTo>
                  <a:lnTo>
                    <a:pt x="1364" y="1063"/>
                  </a:lnTo>
                  <a:lnTo>
                    <a:pt x="1366" y="1063"/>
                  </a:lnTo>
                  <a:lnTo>
                    <a:pt x="1366" y="1063"/>
                  </a:lnTo>
                  <a:lnTo>
                    <a:pt x="1374" y="1058"/>
                  </a:lnTo>
                  <a:lnTo>
                    <a:pt x="1380" y="1050"/>
                  </a:lnTo>
                  <a:lnTo>
                    <a:pt x="1382" y="1047"/>
                  </a:lnTo>
                  <a:lnTo>
                    <a:pt x="1390" y="1039"/>
                  </a:lnTo>
                  <a:lnTo>
                    <a:pt x="1393" y="1039"/>
                  </a:lnTo>
                  <a:lnTo>
                    <a:pt x="1393" y="1036"/>
                  </a:lnTo>
                  <a:lnTo>
                    <a:pt x="1393" y="1034"/>
                  </a:lnTo>
                  <a:lnTo>
                    <a:pt x="1390" y="1028"/>
                  </a:lnTo>
                  <a:lnTo>
                    <a:pt x="1390" y="1026"/>
                  </a:lnTo>
                  <a:lnTo>
                    <a:pt x="1393" y="1020"/>
                  </a:lnTo>
                  <a:lnTo>
                    <a:pt x="1390" y="1018"/>
                  </a:lnTo>
                  <a:lnTo>
                    <a:pt x="1390" y="1018"/>
                  </a:lnTo>
                  <a:lnTo>
                    <a:pt x="1390" y="1018"/>
                  </a:lnTo>
                  <a:lnTo>
                    <a:pt x="1393" y="1018"/>
                  </a:lnTo>
                  <a:lnTo>
                    <a:pt x="1396" y="1018"/>
                  </a:lnTo>
                  <a:lnTo>
                    <a:pt x="1396" y="1020"/>
                  </a:lnTo>
                  <a:lnTo>
                    <a:pt x="1398" y="1020"/>
                  </a:lnTo>
                  <a:lnTo>
                    <a:pt x="1401" y="1018"/>
                  </a:lnTo>
                  <a:lnTo>
                    <a:pt x="1409" y="1007"/>
                  </a:lnTo>
                  <a:lnTo>
                    <a:pt x="1409" y="1007"/>
                  </a:lnTo>
                  <a:lnTo>
                    <a:pt x="1409" y="1004"/>
                  </a:lnTo>
                  <a:lnTo>
                    <a:pt x="1409" y="1004"/>
                  </a:lnTo>
                  <a:lnTo>
                    <a:pt x="1409" y="1004"/>
                  </a:lnTo>
                  <a:lnTo>
                    <a:pt x="1412" y="1004"/>
                  </a:lnTo>
                  <a:lnTo>
                    <a:pt x="1412" y="1004"/>
                  </a:lnTo>
                  <a:lnTo>
                    <a:pt x="1414" y="1004"/>
                  </a:lnTo>
                  <a:lnTo>
                    <a:pt x="1414" y="1002"/>
                  </a:lnTo>
                  <a:lnTo>
                    <a:pt x="1414" y="999"/>
                  </a:lnTo>
                  <a:lnTo>
                    <a:pt x="1417" y="999"/>
                  </a:lnTo>
                  <a:lnTo>
                    <a:pt x="1417" y="1002"/>
                  </a:lnTo>
                  <a:lnTo>
                    <a:pt x="1420" y="1002"/>
                  </a:lnTo>
                  <a:lnTo>
                    <a:pt x="1422" y="996"/>
                  </a:lnTo>
                  <a:lnTo>
                    <a:pt x="1422" y="994"/>
                  </a:lnTo>
                  <a:lnTo>
                    <a:pt x="1422" y="991"/>
                  </a:lnTo>
                  <a:lnTo>
                    <a:pt x="1425" y="991"/>
                  </a:lnTo>
                  <a:lnTo>
                    <a:pt x="1428" y="991"/>
                  </a:lnTo>
                  <a:lnTo>
                    <a:pt x="1430" y="994"/>
                  </a:lnTo>
                  <a:lnTo>
                    <a:pt x="1430" y="991"/>
                  </a:lnTo>
                  <a:lnTo>
                    <a:pt x="1430" y="991"/>
                  </a:lnTo>
                  <a:lnTo>
                    <a:pt x="1430" y="991"/>
                  </a:lnTo>
                  <a:lnTo>
                    <a:pt x="1430" y="991"/>
                  </a:lnTo>
                  <a:lnTo>
                    <a:pt x="1425" y="988"/>
                  </a:lnTo>
                  <a:lnTo>
                    <a:pt x="1422" y="988"/>
                  </a:lnTo>
                  <a:lnTo>
                    <a:pt x="1422" y="988"/>
                  </a:lnTo>
                  <a:lnTo>
                    <a:pt x="1420" y="983"/>
                  </a:lnTo>
                  <a:lnTo>
                    <a:pt x="1420" y="983"/>
                  </a:lnTo>
                  <a:lnTo>
                    <a:pt x="1420" y="983"/>
                  </a:lnTo>
                  <a:lnTo>
                    <a:pt x="1420" y="983"/>
                  </a:lnTo>
                  <a:lnTo>
                    <a:pt x="1417" y="983"/>
                  </a:lnTo>
                  <a:lnTo>
                    <a:pt x="1417" y="983"/>
                  </a:lnTo>
                  <a:lnTo>
                    <a:pt x="1417" y="983"/>
                  </a:lnTo>
                  <a:lnTo>
                    <a:pt x="1420" y="986"/>
                  </a:lnTo>
                  <a:lnTo>
                    <a:pt x="1420" y="986"/>
                  </a:lnTo>
                  <a:lnTo>
                    <a:pt x="1417" y="986"/>
                  </a:lnTo>
                  <a:lnTo>
                    <a:pt x="1414" y="983"/>
                  </a:lnTo>
                  <a:lnTo>
                    <a:pt x="1414" y="980"/>
                  </a:lnTo>
                  <a:lnTo>
                    <a:pt x="1412" y="980"/>
                  </a:lnTo>
                  <a:lnTo>
                    <a:pt x="1412" y="980"/>
                  </a:lnTo>
                  <a:lnTo>
                    <a:pt x="1414" y="978"/>
                  </a:lnTo>
                  <a:lnTo>
                    <a:pt x="1417" y="978"/>
                  </a:lnTo>
                  <a:lnTo>
                    <a:pt x="1417" y="975"/>
                  </a:lnTo>
                  <a:lnTo>
                    <a:pt x="1417" y="975"/>
                  </a:lnTo>
                  <a:lnTo>
                    <a:pt x="1409" y="972"/>
                  </a:lnTo>
                  <a:lnTo>
                    <a:pt x="1404" y="970"/>
                  </a:lnTo>
                  <a:lnTo>
                    <a:pt x="1406" y="964"/>
                  </a:lnTo>
                  <a:lnTo>
                    <a:pt x="1406" y="964"/>
                  </a:lnTo>
                  <a:lnTo>
                    <a:pt x="1409" y="962"/>
                  </a:lnTo>
                  <a:lnTo>
                    <a:pt x="1409" y="959"/>
                  </a:lnTo>
                  <a:lnTo>
                    <a:pt x="1406" y="956"/>
                  </a:lnTo>
                  <a:lnTo>
                    <a:pt x="1404" y="953"/>
                  </a:lnTo>
                  <a:lnTo>
                    <a:pt x="1404" y="951"/>
                  </a:lnTo>
                  <a:lnTo>
                    <a:pt x="1406" y="951"/>
                  </a:lnTo>
                  <a:lnTo>
                    <a:pt x="1406" y="948"/>
                  </a:lnTo>
                  <a:lnTo>
                    <a:pt x="1406" y="948"/>
                  </a:lnTo>
                  <a:lnTo>
                    <a:pt x="1404" y="948"/>
                  </a:lnTo>
                  <a:lnTo>
                    <a:pt x="1404" y="948"/>
                  </a:lnTo>
                  <a:lnTo>
                    <a:pt x="1401" y="948"/>
                  </a:lnTo>
                  <a:lnTo>
                    <a:pt x="1401" y="948"/>
                  </a:lnTo>
                  <a:lnTo>
                    <a:pt x="1398" y="945"/>
                  </a:lnTo>
                  <a:lnTo>
                    <a:pt x="1398" y="945"/>
                  </a:lnTo>
                  <a:lnTo>
                    <a:pt x="1406" y="945"/>
                  </a:lnTo>
                  <a:lnTo>
                    <a:pt x="1412" y="945"/>
                  </a:lnTo>
                  <a:lnTo>
                    <a:pt x="1414" y="951"/>
                  </a:lnTo>
                  <a:lnTo>
                    <a:pt x="1420" y="951"/>
                  </a:lnTo>
                  <a:lnTo>
                    <a:pt x="1422" y="948"/>
                  </a:lnTo>
                  <a:lnTo>
                    <a:pt x="1425" y="943"/>
                  </a:lnTo>
                  <a:lnTo>
                    <a:pt x="1425" y="940"/>
                  </a:lnTo>
                  <a:lnTo>
                    <a:pt x="1425" y="937"/>
                  </a:lnTo>
                  <a:lnTo>
                    <a:pt x="1428" y="937"/>
                  </a:lnTo>
                  <a:lnTo>
                    <a:pt x="1433" y="935"/>
                  </a:lnTo>
                  <a:lnTo>
                    <a:pt x="1436" y="932"/>
                  </a:lnTo>
                  <a:lnTo>
                    <a:pt x="1436" y="932"/>
                  </a:lnTo>
                  <a:lnTo>
                    <a:pt x="1438" y="932"/>
                  </a:lnTo>
                  <a:lnTo>
                    <a:pt x="1438" y="935"/>
                  </a:lnTo>
                  <a:lnTo>
                    <a:pt x="1438" y="937"/>
                  </a:lnTo>
                  <a:lnTo>
                    <a:pt x="1441" y="937"/>
                  </a:lnTo>
                  <a:lnTo>
                    <a:pt x="1441" y="937"/>
                  </a:lnTo>
                  <a:lnTo>
                    <a:pt x="1441" y="940"/>
                  </a:lnTo>
                  <a:lnTo>
                    <a:pt x="1444" y="943"/>
                  </a:lnTo>
                  <a:lnTo>
                    <a:pt x="1441" y="945"/>
                  </a:lnTo>
                  <a:lnTo>
                    <a:pt x="1441" y="953"/>
                  </a:lnTo>
                  <a:lnTo>
                    <a:pt x="1438" y="959"/>
                  </a:lnTo>
                  <a:lnTo>
                    <a:pt x="1438" y="962"/>
                  </a:lnTo>
                  <a:lnTo>
                    <a:pt x="1436" y="964"/>
                  </a:lnTo>
                  <a:lnTo>
                    <a:pt x="1436" y="964"/>
                  </a:lnTo>
                  <a:lnTo>
                    <a:pt x="1433" y="967"/>
                  </a:lnTo>
                  <a:lnTo>
                    <a:pt x="1430" y="967"/>
                  </a:lnTo>
                  <a:lnTo>
                    <a:pt x="1430" y="967"/>
                  </a:lnTo>
                  <a:lnTo>
                    <a:pt x="1433" y="970"/>
                  </a:lnTo>
                  <a:lnTo>
                    <a:pt x="1433" y="970"/>
                  </a:lnTo>
                  <a:lnTo>
                    <a:pt x="1436" y="970"/>
                  </a:lnTo>
                  <a:lnTo>
                    <a:pt x="1441" y="967"/>
                  </a:lnTo>
                  <a:lnTo>
                    <a:pt x="1460" y="962"/>
                  </a:lnTo>
                  <a:lnTo>
                    <a:pt x="1462" y="962"/>
                  </a:lnTo>
                  <a:lnTo>
                    <a:pt x="1462" y="962"/>
                  </a:lnTo>
                  <a:lnTo>
                    <a:pt x="1465" y="964"/>
                  </a:lnTo>
                  <a:lnTo>
                    <a:pt x="1468" y="964"/>
                  </a:lnTo>
                  <a:lnTo>
                    <a:pt x="1470" y="964"/>
                  </a:lnTo>
                  <a:lnTo>
                    <a:pt x="1470" y="962"/>
                  </a:lnTo>
                  <a:lnTo>
                    <a:pt x="1470" y="964"/>
                  </a:lnTo>
                  <a:lnTo>
                    <a:pt x="1470" y="967"/>
                  </a:lnTo>
                  <a:lnTo>
                    <a:pt x="1468" y="970"/>
                  </a:lnTo>
                  <a:lnTo>
                    <a:pt x="1468" y="970"/>
                  </a:lnTo>
                  <a:lnTo>
                    <a:pt x="1460" y="970"/>
                  </a:lnTo>
                  <a:lnTo>
                    <a:pt x="1460" y="970"/>
                  </a:lnTo>
                  <a:lnTo>
                    <a:pt x="1457" y="970"/>
                  </a:lnTo>
                  <a:lnTo>
                    <a:pt x="1454" y="975"/>
                  </a:lnTo>
                  <a:lnTo>
                    <a:pt x="1454" y="975"/>
                  </a:lnTo>
                  <a:lnTo>
                    <a:pt x="1452" y="975"/>
                  </a:lnTo>
                  <a:lnTo>
                    <a:pt x="1452" y="975"/>
                  </a:lnTo>
                  <a:lnTo>
                    <a:pt x="1449" y="978"/>
                  </a:lnTo>
                  <a:lnTo>
                    <a:pt x="1446" y="978"/>
                  </a:lnTo>
                  <a:lnTo>
                    <a:pt x="1436" y="988"/>
                  </a:lnTo>
                  <a:lnTo>
                    <a:pt x="1436" y="991"/>
                  </a:lnTo>
                  <a:lnTo>
                    <a:pt x="1436" y="991"/>
                  </a:lnTo>
                  <a:lnTo>
                    <a:pt x="1438" y="994"/>
                  </a:lnTo>
                  <a:lnTo>
                    <a:pt x="1441" y="991"/>
                  </a:lnTo>
                  <a:lnTo>
                    <a:pt x="1446" y="983"/>
                  </a:lnTo>
                  <a:lnTo>
                    <a:pt x="1452" y="980"/>
                  </a:lnTo>
                  <a:lnTo>
                    <a:pt x="1489" y="959"/>
                  </a:lnTo>
                  <a:lnTo>
                    <a:pt x="1502" y="953"/>
                  </a:lnTo>
                  <a:lnTo>
                    <a:pt x="1513" y="948"/>
                  </a:lnTo>
                  <a:lnTo>
                    <a:pt x="1516" y="945"/>
                  </a:lnTo>
                  <a:lnTo>
                    <a:pt x="1521" y="943"/>
                  </a:lnTo>
                  <a:lnTo>
                    <a:pt x="1524" y="943"/>
                  </a:lnTo>
                  <a:lnTo>
                    <a:pt x="1540" y="943"/>
                  </a:lnTo>
                  <a:lnTo>
                    <a:pt x="1542" y="943"/>
                  </a:lnTo>
                  <a:lnTo>
                    <a:pt x="1545" y="943"/>
                  </a:lnTo>
                  <a:lnTo>
                    <a:pt x="1545" y="940"/>
                  </a:lnTo>
                  <a:lnTo>
                    <a:pt x="1545" y="937"/>
                  </a:lnTo>
                  <a:lnTo>
                    <a:pt x="1537" y="929"/>
                  </a:lnTo>
                  <a:lnTo>
                    <a:pt x="1534" y="924"/>
                  </a:lnTo>
                  <a:lnTo>
                    <a:pt x="1534" y="919"/>
                  </a:lnTo>
                  <a:lnTo>
                    <a:pt x="1542" y="905"/>
                  </a:lnTo>
                  <a:lnTo>
                    <a:pt x="1545" y="903"/>
                  </a:lnTo>
                  <a:lnTo>
                    <a:pt x="1545" y="900"/>
                  </a:lnTo>
                  <a:lnTo>
                    <a:pt x="1545" y="897"/>
                  </a:lnTo>
                  <a:lnTo>
                    <a:pt x="1550" y="897"/>
                  </a:lnTo>
                  <a:lnTo>
                    <a:pt x="1550" y="897"/>
                  </a:lnTo>
                  <a:lnTo>
                    <a:pt x="1550" y="897"/>
                  </a:lnTo>
                  <a:lnTo>
                    <a:pt x="1553" y="895"/>
                  </a:lnTo>
                  <a:lnTo>
                    <a:pt x="1561" y="887"/>
                  </a:lnTo>
                  <a:lnTo>
                    <a:pt x="1558" y="884"/>
                  </a:lnTo>
                  <a:lnTo>
                    <a:pt x="1558" y="881"/>
                  </a:lnTo>
                  <a:lnTo>
                    <a:pt x="1561" y="879"/>
                  </a:lnTo>
                  <a:lnTo>
                    <a:pt x="1561" y="876"/>
                  </a:lnTo>
                  <a:lnTo>
                    <a:pt x="1561" y="873"/>
                  </a:lnTo>
                  <a:lnTo>
                    <a:pt x="1561" y="873"/>
                  </a:lnTo>
                  <a:lnTo>
                    <a:pt x="1561" y="871"/>
                  </a:lnTo>
                  <a:lnTo>
                    <a:pt x="1561" y="868"/>
                  </a:lnTo>
                  <a:lnTo>
                    <a:pt x="1558" y="865"/>
                  </a:lnTo>
                  <a:lnTo>
                    <a:pt x="1558" y="865"/>
                  </a:lnTo>
                  <a:lnTo>
                    <a:pt x="1558" y="863"/>
                  </a:lnTo>
                  <a:lnTo>
                    <a:pt x="1558" y="860"/>
                  </a:lnTo>
                  <a:lnTo>
                    <a:pt x="1561" y="860"/>
                  </a:lnTo>
                  <a:lnTo>
                    <a:pt x="1558" y="857"/>
                  </a:lnTo>
                  <a:lnTo>
                    <a:pt x="1558" y="855"/>
                  </a:lnTo>
                  <a:lnTo>
                    <a:pt x="1556" y="852"/>
                  </a:lnTo>
                  <a:lnTo>
                    <a:pt x="1553" y="849"/>
                  </a:lnTo>
                  <a:lnTo>
                    <a:pt x="1553" y="844"/>
                  </a:lnTo>
                  <a:lnTo>
                    <a:pt x="1553" y="841"/>
                  </a:lnTo>
                  <a:lnTo>
                    <a:pt x="1556" y="839"/>
                  </a:lnTo>
                  <a:lnTo>
                    <a:pt x="1558" y="836"/>
                  </a:lnTo>
                  <a:lnTo>
                    <a:pt x="1558" y="833"/>
                  </a:lnTo>
                  <a:lnTo>
                    <a:pt x="1558" y="831"/>
                  </a:lnTo>
                  <a:lnTo>
                    <a:pt x="1558" y="828"/>
                  </a:lnTo>
                  <a:lnTo>
                    <a:pt x="1556" y="825"/>
                  </a:lnTo>
                  <a:lnTo>
                    <a:pt x="1556" y="825"/>
                  </a:lnTo>
                  <a:lnTo>
                    <a:pt x="1556" y="823"/>
                  </a:lnTo>
                  <a:lnTo>
                    <a:pt x="1556" y="820"/>
                  </a:lnTo>
                  <a:lnTo>
                    <a:pt x="1556" y="820"/>
                  </a:lnTo>
                  <a:lnTo>
                    <a:pt x="1556" y="820"/>
                  </a:lnTo>
                  <a:lnTo>
                    <a:pt x="1556" y="817"/>
                  </a:lnTo>
                  <a:lnTo>
                    <a:pt x="1556" y="815"/>
                  </a:lnTo>
                  <a:lnTo>
                    <a:pt x="1558" y="812"/>
                  </a:lnTo>
                  <a:lnTo>
                    <a:pt x="1561" y="812"/>
                  </a:lnTo>
                  <a:lnTo>
                    <a:pt x="1561" y="809"/>
                  </a:lnTo>
                  <a:lnTo>
                    <a:pt x="1561" y="804"/>
                  </a:lnTo>
                  <a:lnTo>
                    <a:pt x="1561" y="801"/>
                  </a:lnTo>
                  <a:lnTo>
                    <a:pt x="1566" y="799"/>
                  </a:lnTo>
                  <a:lnTo>
                    <a:pt x="1566" y="796"/>
                  </a:lnTo>
                  <a:lnTo>
                    <a:pt x="1569" y="788"/>
                  </a:lnTo>
                  <a:lnTo>
                    <a:pt x="1572" y="780"/>
                  </a:lnTo>
                  <a:lnTo>
                    <a:pt x="1572" y="777"/>
                  </a:lnTo>
                  <a:lnTo>
                    <a:pt x="1572" y="777"/>
                  </a:lnTo>
                  <a:lnTo>
                    <a:pt x="1572" y="774"/>
                  </a:lnTo>
                  <a:lnTo>
                    <a:pt x="1572" y="774"/>
                  </a:lnTo>
                  <a:lnTo>
                    <a:pt x="1572" y="772"/>
                  </a:lnTo>
                  <a:lnTo>
                    <a:pt x="1572" y="769"/>
                  </a:lnTo>
                  <a:lnTo>
                    <a:pt x="1572" y="769"/>
                  </a:lnTo>
                  <a:lnTo>
                    <a:pt x="1572" y="766"/>
                  </a:lnTo>
                  <a:lnTo>
                    <a:pt x="1574" y="764"/>
                  </a:lnTo>
                  <a:lnTo>
                    <a:pt x="1574" y="764"/>
                  </a:lnTo>
                  <a:lnTo>
                    <a:pt x="1574" y="764"/>
                  </a:lnTo>
                  <a:lnTo>
                    <a:pt x="1574" y="761"/>
                  </a:lnTo>
                  <a:lnTo>
                    <a:pt x="1574" y="761"/>
                  </a:lnTo>
                  <a:lnTo>
                    <a:pt x="1572" y="758"/>
                  </a:lnTo>
                  <a:lnTo>
                    <a:pt x="1569" y="753"/>
                  </a:lnTo>
                  <a:lnTo>
                    <a:pt x="1572" y="753"/>
                  </a:lnTo>
                  <a:lnTo>
                    <a:pt x="1572" y="753"/>
                  </a:lnTo>
                  <a:lnTo>
                    <a:pt x="1577" y="750"/>
                  </a:lnTo>
                  <a:lnTo>
                    <a:pt x="1577" y="750"/>
                  </a:lnTo>
                  <a:lnTo>
                    <a:pt x="1577" y="748"/>
                  </a:lnTo>
                  <a:lnTo>
                    <a:pt x="1577" y="748"/>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16" name="Freeform 13">
              <a:extLst>
                <a:ext uri="{FF2B5EF4-FFF2-40B4-BE49-F238E27FC236}">
                  <a16:creationId xmlns="" xmlns:a16="http://schemas.microsoft.com/office/drawing/2014/main" id="{24F0A3B0-6C47-41BD-8661-B274FCD2DBFA}"/>
                </a:ext>
              </a:extLst>
            </p:cNvPr>
            <p:cNvSpPr>
              <a:spLocks/>
            </p:cNvSpPr>
            <p:nvPr/>
          </p:nvSpPr>
          <p:spPr bwMode="auto">
            <a:xfrm>
              <a:off x="4763" y="1811"/>
              <a:ext cx="955" cy="350"/>
            </a:xfrm>
            <a:custGeom>
              <a:avLst/>
              <a:gdLst>
                <a:gd name="T0" fmla="*/ 811 w 955"/>
                <a:gd name="T1" fmla="*/ 27 h 350"/>
                <a:gd name="T2" fmla="*/ 905 w 955"/>
                <a:gd name="T3" fmla="*/ 11 h 350"/>
                <a:gd name="T4" fmla="*/ 945 w 955"/>
                <a:gd name="T5" fmla="*/ 3 h 350"/>
                <a:gd name="T6" fmla="*/ 950 w 955"/>
                <a:gd name="T7" fmla="*/ 30 h 350"/>
                <a:gd name="T8" fmla="*/ 955 w 955"/>
                <a:gd name="T9" fmla="*/ 40 h 350"/>
                <a:gd name="T10" fmla="*/ 931 w 955"/>
                <a:gd name="T11" fmla="*/ 51 h 350"/>
                <a:gd name="T12" fmla="*/ 918 w 955"/>
                <a:gd name="T13" fmla="*/ 81 h 350"/>
                <a:gd name="T14" fmla="*/ 913 w 955"/>
                <a:gd name="T15" fmla="*/ 78 h 350"/>
                <a:gd name="T16" fmla="*/ 907 w 955"/>
                <a:gd name="T17" fmla="*/ 75 h 350"/>
                <a:gd name="T18" fmla="*/ 899 w 955"/>
                <a:gd name="T19" fmla="*/ 78 h 350"/>
                <a:gd name="T20" fmla="*/ 883 w 955"/>
                <a:gd name="T21" fmla="*/ 86 h 350"/>
                <a:gd name="T22" fmla="*/ 875 w 955"/>
                <a:gd name="T23" fmla="*/ 102 h 350"/>
                <a:gd name="T24" fmla="*/ 865 w 955"/>
                <a:gd name="T25" fmla="*/ 107 h 350"/>
                <a:gd name="T26" fmla="*/ 862 w 955"/>
                <a:gd name="T27" fmla="*/ 99 h 350"/>
                <a:gd name="T28" fmla="*/ 854 w 955"/>
                <a:gd name="T29" fmla="*/ 99 h 350"/>
                <a:gd name="T30" fmla="*/ 843 w 955"/>
                <a:gd name="T31" fmla="*/ 110 h 350"/>
                <a:gd name="T32" fmla="*/ 838 w 955"/>
                <a:gd name="T33" fmla="*/ 115 h 350"/>
                <a:gd name="T34" fmla="*/ 827 w 955"/>
                <a:gd name="T35" fmla="*/ 118 h 350"/>
                <a:gd name="T36" fmla="*/ 830 w 955"/>
                <a:gd name="T37" fmla="*/ 123 h 350"/>
                <a:gd name="T38" fmla="*/ 825 w 955"/>
                <a:gd name="T39" fmla="*/ 139 h 350"/>
                <a:gd name="T40" fmla="*/ 809 w 955"/>
                <a:gd name="T41" fmla="*/ 145 h 350"/>
                <a:gd name="T42" fmla="*/ 795 w 955"/>
                <a:gd name="T43" fmla="*/ 155 h 350"/>
                <a:gd name="T44" fmla="*/ 787 w 955"/>
                <a:gd name="T45" fmla="*/ 163 h 350"/>
                <a:gd name="T46" fmla="*/ 774 w 955"/>
                <a:gd name="T47" fmla="*/ 174 h 350"/>
                <a:gd name="T48" fmla="*/ 761 w 955"/>
                <a:gd name="T49" fmla="*/ 179 h 350"/>
                <a:gd name="T50" fmla="*/ 753 w 955"/>
                <a:gd name="T51" fmla="*/ 182 h 350"/>
                <a:gd name="T52" fmla="*/ 742 w 955"/>
                <a:gd name="T53" fmla="*/ 185 h 350"/>
                <a:gd name="T54" fmla="*/ 726 w 955"/>
                <a:gd name="T55" fmla="*/ 193 h 350"/>
                <a:gd name="T56" fmla="*/ 718 w 955"/>
                <a:gd name="T57" fmla="*/ 203 h 350"/>
                <a:gd name="T58" fmla="*/ 715 w 955"/>
                <a:gd name="T59" fmla="*/ 214 h 350"/>
                <a:gd name="T60" fmla="*/ 713 w 955"/>
                <a:gd name="T61" fmla="*/ 227 h 350"/>
                <a:gd name="T62" fmla="*/ 697 w 955"/>
                <a:gd name="T63" fmla="*/ 235 h 350"/>
                <a:gd name="T64" fmla="*/ 691 w 955"/>
                <a:gd name="T65" fmla="*/ 235 h 350"/>
                <a:gd name="T66" fmla="*/ 686 w 955"/>
                <a:gd name="T67" fmla="*/ 251 h 350"/>
                <a:gd name="T68" fmla="*/ 654 w 955"/>
                <a:gd name="T69" fmla="*/ 276 h 350"/>
                <a:gd name="T70" fmla="*/ 539 w 955"/>
                <a:gd name="T71" fmla="*/ 292 h 350"/>
                <a:gd name="T72" fmla="*/ 395 w 955"/>
                <a:gd name="T73" fmla="*/ 308 h 350"/>
                <a:gd name="T74" fmla="*/ 248 w 955"/>
                <a:gd name="T75" fmla="*/ 324 h 350"/>
                <a:gd name="T76" fmla="*/ 195 w 955"/>
                <a:gd name="T77" fmla="*/ 332 h 350"/>
                <a:gd name="T78" fmla="*/ 75 w 955"/>
                <a:gd name="T79" fmla="*/ 345 h 350"/>
                <a:gd name="T80" fmla="*/ 3 w 955"/>
                <a:gd name="T81" fmla="*/ 348 h 350"/>
                <a:gd name="T82" fmla="*/ 16 w 955"/>
                <a:gd name="T83" fmla="*/ 332 h 350"/>
                <a:gd name="T84" fmla="*/ 19 w 955"/>
                <a:gd name="T85" fmla="*/ 300 h 350"/>
                <a:gd name="T86" fmla="*/ 30 w 955"/>
                <a:gd name="T87" fmla="*/ 276 h 350"/>
                <a:gd name="T88" fmla="*/ 35 w 955"/>
                <a:gd name="T89" fmla="*/ 262 h 350"/>
                <a:gd name="T90" fmla="*/ 35 w 955"/>
                <a:gd name="T91" fmla="*/ 243 h 350"/>
                <a:gd name="T92" fmla="*/ 54 w 955"/>
                <a:gd name="T93" fmla="*/ 217 h 350"/>
                <a:gd name="T94" fmla="*/ 56 w 955"/>
                <a:gd name="T95" fmla="*/ 203 h 350"/>
                <a:gd name="T96" fmla="*/ 67 w 955"/>
                <a:gd name="T97" fmla="*/ 185 h 350"/>
                <a:gd name="T98" fmla="*/ 70 w 955"/>
                <a:gd name="T99" fmla="*/ 163 h 350"/>
                <a:gd name="T100" fmla="*/ 72 w 955"/>
                <a:gd name="T101" fmla="*/ 153 h 350"/>
                <a:gd name="T102" fmla="*/ 75 w 955"/>
                <a:gd name="T103" fmla="*/ 131 h 350"/>
                <a:gd name="T104" fmla="*/ 83 w 955"/>
                <a:gd name="T105" fmla="*/ 131 h 350"/>
                <a:gd name="T106" fmla="*/ 238 w 955"/>
                <a:gd name="T107" fmla="*/ 115 h 350"/>
                <a:gd name="T108" fmla="*/ 232 w 955"/>
                <a:gd name="T109" fmla="*/ 89 h 350"/>
                <a:gd name="T110" fmla="*/ 259 w 955"/>
                <a:gd name="T111" fmla="*/ 94 h 350"/>
                <a:gd name="T112" fmla="*/ 296 w 955"/>
                <a:gd name="T113" fmla="*/ 89 h 350"/>
                <a:gd name="T114" fmla="*/ 387 w 955"/>
                <a:gd name="T115" fmla="*/ 78 h 350"/>
                <a:gd name="T116" fmla="*/ 416 w 955"/>
                <a:gd name="T117" fmla="*/ 72 h 350"/>
                <a:gd name="T118" fmla="*/ 595 w 955"/>
                <a:gd name="T119" fmla="*/ 56 h 350"/>
                <a:gd name="T120" fmla="*/ 723 w 955"/>
                <a:gd name="T121" fmla="*/ 4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5" h="350">
                  <a:moveTo>
                    <a:pt x="729" y="38"/>
                  </a:moveTo>
                  <a:lnTo>
                    <a:pt x="742" y="35"/>
                  </a:lnTo>
                  <a:lnTo>
                    <a:pt x="753" y="35"/>
                  </a:lnTo>
                  <a:lnTo>
                    <a:pt x="763" y="32"/>
                  </a:lnTo>
                  <a:lnTo>
                    <a:pt x="777" y="30"/>
                  </a:lnTo>
                  <a:lnTo>
                    <a:pt x="787" y="30"/>
                  </a:lnTo>
                  <a:lnTo>
                    <a:pt x="801" y="27"/>
                  </a:lnTo>
                  <a:lnTo>
                    <a:pt x="811" y="27"/>
                  </a:lnTo>
                  <a:lnTo>
                    <a:pt x="822" y="24"/>
                  </a:lnTo>
                  <a:lnTo>
                    <a:pt x="835" y="22"/>
                  </a:lnTo>
                  <a:lnTo>
                    <a:pt x="846" y="22"/>
                  </a:lnTo>
                  <a:lnTo>
                    <a:pt x="859" y="19"/>
                  </a:lnTo>
                  <a:lnTo>
                    <a:pt x="870" y="16"/>
                  </a:lnTo>
                  <a:lnTo>
                    <a:pt x="881" y="14"/>
                  </a:lnTo>
                  <a:lnTo>
                    <a:pt x="894" y="14"/>
                  </a:lnTo>
                  <a:lnTo>
                    <a:pt x="905" y="11"/>
                  </a:lnTo>
                  <a:lnTo>
                    <a:pt x="915" y="8"/>
                  </a:lnTo>
                  <a:lnTo>
                    <a:pt x="921" y="8"/>
                  </a:lnTo>
                  <a:lnTo>
                    <a:pt x="923" y="8"/>
                  </a:lnTo>
                  <a:lnTo>
                    <a:pt x="926" y="6"/>
                  </a:lnTo>
                  <a:lnTo>
                    <a:pt x="926" y="6"/>
                  </a:lnTo>
                  <a:lnTo>
                    <a:pt x="926" y="6"/>
                  </a:lnTo>
                  <a:lnTo>
                    <a:pt x="934" y="3"/>
                  </a:lnTo>
                  <a:lnTo>
                    <a:pt x="945" y="3"/>
                  </a:lnTo>
                  <a:lnTo>
                    <a:pt x="955" y="0"/>
                  </a:lnTo>
                  <a:lnTo>
                    <a:pt x="950" y="11"/>
                  </a:lnTo>
                  <a:lnTo>
                    <a:pt x="950" y="14"/>
                  </a:lnTo>
                  <a:lnTo>
                    <a:pt x="950" y="14"/>
                  </a:lnTo>
                  <a:lnTo>
                    <a:pt x="953" y="16"/>
                  </a:lnTo>
                  <a:lnTo>
                    <a:pt x="953" y="19"/>
                  </a:lnTo>
                  <a:lnTo>
                    <a:pt x="953" y="24"/>
                  </a:lnTo>
                  <a:lnTo>
                    <a:pt x="950" y="30"/>
                  </a:lnTo>
                  <a:lnTo>
                    <a:pt x="950" y="32"/>
                  </a:lnTo>
                  <a:lnTo>
                    <a:pt x="950" y="32"/>
                  </a:lnTo>
                  <a:lnTo>
                    <a:pt x="950" y="32"/>
                  </a:lnTo>
                  <a:lnTo>
                    <a:pt x="953" y="35"/>
                  </a:lnTo>
                  <a:lnTo>
                    <a:pt x="953" y="38"/>
                  </a:lnTo>
                  <a:lnTo>
                    <a:pt x="953" y="38"/>
                  </a:lnTo>
                  <a:lnTo>
                    <a:pt x="955" y="38"/>
                  </a:lnTo>
                  <a:lnTo>
                    <a:pt x="955" y="40"/>
                  </a:lnTo>
                  <a:lnTo>
                    <a:pt x="953" y="40"/>
                  </a:lnTo>
                  <a:lnTo>
                    <a:pt x="950" y="40"/>
                  </a:lnTo>
                  <a:lnTo>
                    <a:pt x="945" y="38"/>
                  </a:lnTo>
                  <a:lnTo>
                    <a:pt x="942" y="38"/>
                  </a:lnTo>
                  <a:lnTo>
                    <a:pt x="942" y="38"/>
                  </a:lnTo>
                  <a:lnTo>
                    <a:pt x="934" y="46"/>
                  </a:lnTo>
                  <a:lnTo>
                    <a:pt x="931" y="48"/>
                  </a:lnTo>
                  <a:lnTo>
                    <a:pt x="931" y="51"/>
                  </a:lnTo>
                  <a:lnTo>
                    <a:pt x="923" y="72"/>
                  </a:lnTo>
                  <a:lnTo>
                    <a:pt x="923" y="75"/>
                  </a:lnTo>
                  <a:lnTo>
                    <a:pt x="923" y="75"/>
                  </a:lnTo>
                  <a:lnTo>
                    <a:pt x="921" y="75"/>
                  </a:lnTo>
                  <a:lnTo>
                    <a:pt x="921" y="78"/>
                  </a:lnTo>
                  <a:lnTo>
                    <a:pt x="918" y="81"/>
                  </a:lnTo>
                  <a:lnTo>
                    <a:pt x="918" y="81"/>
                  </a:lnTo>
                  <a:lnTo>
                    <a:pt x="918" y="81"/>
                  </a:lnTo>
                  <a:lnTo>
                    <a:pt x="915" y="81"/>
                  </a:lnTo>
                  <a:lnTo>
                    <a:pt x="915" y="81"/>
                  </a:lnTo>
                  <a:lnTo>
                    <a:pt x="913" y="81"/>
                  </a:lnTo>
                  <a:lnTo>
                    <a:pt x="913" y="81"/>
                  </a:lnTo>
                  <a:lnTo>
                    <a:pt x="913" y="78"/>
                  </a:lnTo>
                  <a:lnTo>
                    <a:pt x="913" y="78"/>
                  </a:lnTo>
                  <a:lnTo>
                    <a:pt x="913" y="78"/>
                  </a:lnTo>
                  <a:lnTo>
                    <a:pt x="913" y="78"/>
                  </a:lnTo>
                  <a:lnTo>
                    <a:pt x="910" y="78"/>
                  </a:lnTo>
                  <a:lnTo>
                    <a:pt x="910" y="75"/>
                  </a:lnTo>
                  <a:lnTo>
                    <a:pt x="910" y="75"/>
                  </a:lnTo>
                  <a:lnTo>
                    <a:pt x="910" y="75"/>
                  </a:lnTo>
                  <a:lnTo>
                    <a:pt x="910" y="75"/>
                  </a:lnTo>
                  <a:lnTo>
                    <a:pt x="910" y="75"/>
                  </a:lnTo>
                  <a:lnTo>
                    <a:pt x="907" y="75"/>
                  </a:lnTo>
                  <a:lnTo>
                    <a:pt x="907" y="75"/>
                  </a:lnTo>
                  <a:lnTo>
                    <a:pt x="905" y="75"/>
                  </a:lnTo>
                  <a:lnTo>
                    <a:pt x="905" y="75"/>
                  </a:lnTo>
                  <a:lnTo>
                    <a:pt x="905" y="75"/>
                  </a:lnTo>
                  <a:lnTo>
                    <a:pt x="905" y="72"/>
                  </a:lnTo>
                  <a:lnTo>
                    <a:pt x="902" y="75"/>
                  </a:lnTo>
                  <a:lnTo>
                    <a:pt x="902" y="75"/>
                  </a:lnTo>
                  <a:lnTo>
                    <a:pt x="902" y="75"/>
                  </a:lnTo>
                  <a:lnTo>
                    <a:pt x="899" y="78"/>
                  </a:lnTo>
                  <a:lnTo>
                    <a:pt x="897" y="78"/>
                  </a:lnTo>
                  <a:lnTo>
                    <a:pt x="894" y="78"/>
                  </a:lnTo>
                  <a:lnTo>
                    <a:pt x="894" y="78"/>
                  </a:lnTo>
                  <a:lnTo>
                    <a:pt x="891" y="81"/>
                  </a:lnTo>
                  <a:lnTo>
                    <a:pt x="889" y="83"/>
                  </a:lnTo>
                  <a:lnTo>
                    <a:pt x="886" y="83"/>
                  </a:lnTo>
                  <a:lnTo>
                    <a:pt x="886" y="83"/>
                  </a:lnTo>
                  <a:lnTo>
                    <a:pt x="883" y="86"/>
                  </a:lnTo>
                  <a:lnTo>
                    <a:pt x="881" y="91"/>
                  </a:lnTo>
                  <a:lnTo>
                    <a:pt x="878" y="94"/>
                  </a:lnTo>
                  <a:lnTo>
                    <a:pt x="878" y="97"/>
                  </a:lnTo>
                  <a:lnTo>
                    <a:pt x="878" y="97"/>
                  </a:lnTo>
                  <a:lnTo>
                    <a:pt x="875" y="99"/>
                  </a:lnTo>
                  <a:lnTo>
                    <a:pt x="875" y="102"/>
                  </a:lnTo>
                  <a:lnTo>
                    <a:pt x="875" y="102"/>
                  </a:lnTo>
                  <a:lnTo>
                    <a:pt x="875" y="102"/>
                  </a:lnTo>
                  <a:lnTo>
                    <a:pt x="875" y="102"/>
                  </a:lnTo>
                  <a:lnTo>
                    <a:pt x="870" y="107"/>
                  </a:lnTo>
                  <a:lnTo>
                    <a:pt x="867" y="107"/>
                  </a:lnTo>
                  <a:lnTo>
                    <a:pt x="867" y="107"/>
                  </a:lnTo>
                  <a:lnTo>
                    <a:pt x="867" y="107"/>
                  </a:lnTo>
                  <a:lnTo>
                    <a:pt x="867" y="107"/>
                  </a:lnTo>
                  <a:lnTo>
                    <a:pt x="865" y="107"/>
                  </a:lnTo>
                  <a:lnTo>
                    <a:pt x="865" y="107"/>
                  </a:lnTo>
                  <a:lnTo>
                    <a:pt x="865" y="107"/>
                  </a:lnTo>
                  <a:lnTo>
                    <a:pt x="865" y="107"/>
                  </a:lnTo>
                  <a:lnTo>
                    <a:pt x="865" y="105"/>
                  </a:lnTo>
                  <a:lnTo>
                    <a:pt x="862" y="105"/>
                  </a:lnTo>
                  <a:lnTo>
                    <a:pt x="862" y="105"/>
                  </a:lnTo>
                  <a:lnTo>
                    <a:pt x="862" y="102"/>
                  </a:lnTo>
                  <a:lnTo>
                    <a:pt x="862" y="102"/>
                  </a:lnTo>
                  <a:lnTo>
                    <a:pt x="862" y="99"/>
                  </a:lnTo>
                  <a:lnTo>
                    <a:pt x="862" y="99"/>
                  </a:lnTo>
                  <a:lnTo>
                    <a:pt x="862" y="99"/>
                  </a:lnTo>
                  <a:lnTo>
                    <a:pt x="862" y="99"/>
                  </a:lnTo>
                  <a:lnTo>
                    <a:pt x="859" y="97"/>
                  </a:lnTo>
                  <a:lnTo>
                    <a:pt x="859" y="97"/>
                  </a:lnTo>
                  <a:lnTo>
                    <a:pt x="859" y="97"/>
                  </a:lnTo>
                  <a:lnTo>
                    <a:pt x="857" y="97"/>
                  </a:lnTo>
                  <a:lnTo>
                    <a:pt x="854" y="99"/>
                  </a:lnTo>
                  <a:lnTo>
                    <a:pt x="851" y="102"/>
                  </a:lnTo>
                  <a:lnTo>
                    <a:pt x="843" y="107"/>
                  </a:lnTo>
                  <a:lnTo>
                    <a:pt x="843" y="107"/>
                  </a:lnTo>
                  <a:lnTo>
                    <a:pt x="843" y="107"/>
                  </a:lnTo>
                  <a:lnTo>
                    <a:pt x="843" y="107"/>
                  </a:lnTo>
                  <a:lnTo>
                    <a:pt x="843" y="110"/>
                  </a:lnTo>
                  <a:lnTo>
                    <a:pt x="843" y="110"/>
                  </a:lnTo>
                  <a:lnTo>
                    <a:pt x="843" y="110"/>
                  </a:lnTo>
                  <a:lnTo>
                    <a:pt x="841" y="113"/>
                  </a:lnTo>
                  <a:lnTo>
                    <a:pt x="841" y="113"/>
                  </a:lnTo>
                  <a:lnTo>
                    <a:pt x="841" y="115"/>
                  </a:lnTo>
                  <a:lnTo>
                    <a:pt x="841" y="115"/>
                  </a:lnTo>
                  <a:lnTo>
                    <a:pt x="841" y="115"/>
                  </a:lnTo>
                  <a:lnTo>
                    <a:pt x="841" y="115"/>
                  </a:lnTo>
                  <a:lnTo>
                    <a:pt x="838" y="115"/>
                  </a:lnTo>
                  <a:lnTo>
                    <a:pt x="838" y="115"/>
                  </a:lnTo>
                  <a:lnTo>
                    <a:pt x="835" y="115"/>
                  </a:lnTo>
                  <a:lnTo>
                    <a:pt x="835" y="115"/>
                  </a:lnTo>
                  <a:lnTo>
                    <a:pt x="833" y="115"/>
                  </a:lnTo>
                  <a:lnTo>
                    <a:pt x="833" y="115"/>
                  </a:lnTo>
                  <a:lnTo>
                    <a:pt x="830" y="115"/>
                  </a:lnTo>
                  <a:lnTo>
                    <a:pt x="830" y="115"/>
                  </a:lnTo>
                  <a:lnTo>
                    <a:pt x="830" y="115"/>
                  </a:lnTo>
                  <a:lnTo>
                    <a:pt x="827" y="118"/>
                  </a:lnTo>
                  <a:lnTo>
                    <a:pt x="827" y="118"/>
                  </a:lnTo>
                  <a:lnTo>
                    <a:pt x="827" y="118"/>
                  </a:lnTo>
                  <a:lnTo>
                    <a:pt x="827" y="118"/>
                  </a:lnTo>
                  <a:lnTo>
                    <a:pt x="827" y="121"/>
                  </a:lnTo>
                  <a:lnTo>
                    <a:pt x="827" y="121"/>
                  </a:lnTo>
                  <a:lnTo>
                    <a:pt x="830" y="121"/>
                  </a:lnTo>
                  <a:lnTo>
                    <a:pt x="830" y="123"/>
                  </a:lnTo>
                  <a:lnTo>
                    <a:pt x="830" y="123"/>
                  </a:lnTo>
                  <a:lnTo>
                    <a:pt x="830" y="126"/>
                  </a:lnTo>
                  <a:lnTo>
                    <a:pt x="830" y="126"/>
                  </a:lnTo>
                  <a:lnTo>
                    <a:pt x="830" y="129"/>
                  </a:lnTo>
                  <a:lnTo>
                    <a:pt x="830" y="129"/>
                  </a:lnTo>
                  <a:lnTo>
                    <a:pt x="830" y="129"/>
                  </a:lnTo>
                  <a:lnTo>
                    <a:pt x="827" y="131"/>
                  </a:lnTo>
                  <a:lnTo>
                    <a:pt x="827" y="137"/>
                  </a:lnTo>
                  <a:lnTo>
                    <a:pt x="825" y="139"/>
                  </a:lnTo>
                  <a:lnTo>
                    <a:pt x="822" y="139"/>
                  </a:lnTo>
                  <a:lnTo>
                    <a:pt x="822" y="139"/>
                  </a:lnTo>
                  <a:lnTo>
                    <a:pt x="819" y="139"/>
                  </a:lnTo>
                  <a:lnTo>
                    <a:pt x="817" y="139"/>
                  </a:lnTo>
                  <a:lnTo>
                    <a:pt x="814" y="139"/>
                  </a:lnTo>
                  <a:lnTo>
                    <a:pt x="814" y="139"/>
                  </a:lnTo>
                  <a:lnTo>
                    <a:pt x="814" y="142"/>
                  </a:lnTo>
                  <a:lnTo>
                    <a:pt x="809" y="145"/>
                  </a:lnTo>
                  <a:lnTo>
                    <a:pt x="803" y="147"/>
                  </a:lnTo>
                  <a:lnTo>
                    <a:pt x="803" y="147"/>
                  </a:lnTo>
                  <a:lnTo>
                    <a:pt x="803" y="147"/>
                  </a:lnTo>
                  <a:lnTo>
                    <a:pt x="801" y="150"/>
                  </a:lnTo>
                  <a:lnTo>
                    <a:pt x="798" y="153"/>
                  </a:lnTo>
                  <a:lnTo>
                    <a:pt x="795" y="153"/>
                  </a:lnTo>
                  <a:lnTo>
                    <a:pt x="795" y="153"/>
                  </a:lnTo>
                  <a:lnTo>
                    <a:pt x="795" y="155"/>
                  </a:lnTo>
                  <a:lnTo>
                    <a:pt x="795" y="155"/>
                  </a:lnTo>
                  <a:lnTo>
                    <a:pt x="793" y="158"/>
                  </a:lnTo>
                  <a:lnTo>
                    <a:pt x="790" y="161"/>
                  </a:lnTo>
                  <a:lnTo>
                    <a:pt x="790" y="161"/>
                  </a:lnTo>
                  <a:lnTo>
                    <a:pt x="790" y="161"/>
                  </a:lnTo>
                  <a:lnTo>
                    <a:pt x="787" y="161"/>
                  </a:lnTo>
                  <a:lnTo>
                    <a:pt x="787" y="161"/>
                  </a:lnTo>
                  <a:lnTo>
                    <a:pt x="787" y="163"/>
                  </a:lnTo>
                  <a:lnTo>
                    <a:pt x="785" y="163"/>
                  </a:lnTo>
                  <a:lnTo>
                    <a:pt x="785" y="166"/>
                  </a:lnTo>
                  <a:lnTo>
                    <a:pt x="782" y="166"/>
                  </a:lnTo>
                  <a:lnTo>
                    <a:pt x="782" y="169"/>
                  </a:lnTo>
                  <a:lnTo>
                    <a:pt x="777" y="171"/>
                  </a:lnTo>
                  <a:lnTo>
                    <a:pt x="774" y="171"/>
                  </a:lnTo>
                  <a:lnTo>
                    <a:pt x="774" y="174"/>
                  </a:lnTo>
                  <a:lnTo>
                    <a:pt x="774" y="174"/>
                  </a:lnTo>
                  <a:lnTo>
                    <a:pt x="771" y="177"/>
                  </a:lnTo>
                  <a:lnTo>
                    <a:pt x="771" y="179"/>
                  </a:lnTo>
                  <a:lnTo>
                    <a:pt x="769" y="179"/>
                  </a:lnTo>
                  <a:lnTo>
                    <a:pt x="763" y="182"/>
                  </a:lnTo>
                  <a:lnTo>
                    <a:pt x="761" y="182"/>
                  </a:lnTo>
                  <a:lnTo>
                    <a:pt x="761" y="182"/>
                  </a:lnTo>
                  <a:lnTo>
                    <a:pt x="761" y="182"/>
                  </a:lnTo>
                  <a:lnTo>
                    <a:pt x="761" y="179"/>
                  </a:lnTo>
                  <a:lnTo>
                    <a:pt x="758" y="179"/>
                  </a:lnTo>
                  <a:lnTo>
                    <a:pt x="758" y="179"/>
                  </a:lnTo>
                  <a:lnTo>
                    <a:pt x="758" y="179"/>
                  </a:lnTo>
                  <a:lnTo>
                    <a:pt x="755" y="182"/>
                  </a:lnTo>
                  <a:lnTo>
                    <a:pt x="753" y="182"/>
                  </a:lnTo>
                  <a:lnTo>
                    <a:pt x="753" y="182"/>
                  </a:lnTo>
                  <a:lnTo>
                    <a:pt x="753" y="182"/>
                  </a:lnTo>
                  <a:lnTo>
                    <a:pt x="753" y="182"/>
                  </a:lnTo>
                  <a:lnTo>
                    <a:pt x="750" y="182"/>
                  </a:lnTo>
                  <a:lnTo>
                    <a:pt x="750" y="182"/>
                  </a:lnTo>
                  <a:lnTo>
                    <a:pt x="750" y="182"/>
                  </a:lnTo>
                  <a:lnTo>
                    <a:pt x="747" y="182"/>
                  </a:lnTo>
                  <a:lnTo>
                    <a:pt x="747" y="182"/>
                  </a:lnTo>
                  <a:lnTo>
                    <a:pt x="745" y="182"/>
                  </a:lnTo>
                  <a:lnTo>
                    <a:pt x="742" y="182"/>
                  </a:lnTo>
                  <a:lnTo>
                    <a:pt x="742" y="185"/>
                  </a:lnTo>
                  <a:lnTo>
                    <a:pt x="739" y="185"/>
                  </a:lnTo>
                  <a:lnTo>
                    <a:pt x="737" y="187"/>
                  </a:lnTo>
                  <a:lnTo>
                    <a:pt x="734" y="190"/>
                  </a:lnTo>
                  <a:lnTo>
                    <a:pt x="734" y="190"/>
                  </a:lnTo>
                  <a:lnTo>
                    <a:pt x="734" y="190"/>
                  </a:lnTo>
                  <a:lnTo>
                    <a:pt x="729" y="193"/>
                  </a:lnTo>
                  <a:lnTo>
                    <a:pt x="729" y="193"/>
                  </a:lnTo>
                  <a:lnTo>
                    <a:pt x="726" y="193"/>
                  </a:lnTo>
                  <a:lnTo>
                    <a:pt x="726" y="193"/>
                  </a:lnTo>
                  <a:lnTo>
                    <a:pt x="726" y="198"/>
                  </a:lnTo>
                  <a:lnTo>
                    <a:pt x="723" y="198"/>
                  </a:lnTo>
                  <a:lnTo>
                    <a:pt x="723" y="201"/>
                  </a:lnTo>
                  <a:lnTo>
                    <a:pt x="723" y="201"/>
                  </a:lnTo>
                  <a:lnTo>
                    <a:pt x="718" y="203"/>
                  </a:lnTo>
                  <a:lnTo>
                    <a:pt x="718" y="203"/>
                  </a:lnTo>
                  <a:lnTo>
                    <a:pt x="718" y="203"/>
                  </a:lnTo>
                  <a:lnTo>
                    <a:pt x="715" y="206"/>
                  </a:lnTo>
                  <a:lnTo>
                    <a:pt x="715" y="209"/>
                  </a:lnTo>
                  <a:lnTo>
                    <a:pt x="715" y="209"/>
                  </a:lnTo>
                  <a:lnTo>
                    <a:pt x="715" y="209"/>
                  </a:lnTo>
                  <a:lnTo>
                    <a:pt x="715" y="209"/>
                  </a:lnTo>
                  <a:lnTo>
                    <a:pt x="715" y="211"/>
                  </a:lnTo>
                  <a:lnTo>
                    <a:pt x="715" y="211"/>
                  </a:lnTo>
                  <a:lnTo>
                    <a:pt x="715" y="214"/>
                  </a:lnTo>
                  <a:lnTo>
                    <a:pt x="715" y="214"/>
                  </a:lnTo>
                  <a:lnTo>
                    <a:pt x="715" y="214"/>
                  </a:lnTo>
                  <a:lnTo>
                    <a:pt x="713" y="217"/>
                  </a:lnTo>
                  <a:lnTo>
                    <a:pt x="713" y="219"/>
                  </a:lnTo>
                  <a:lnTo>
                    <a:pt x="713" y="219"/>
                  </a:lnTo>
                  <a:lnTo>
                    <a:pt x="713" y="219"/>
                  </a:lnTo>
                  <a:lnTo>
                    <a:pt x="713" y="225"/>
                  </a:lnTo>
                  <a:lnTo>
                    <a:pt x="713" y="227"/>
                  </a:lnTo>
                  <a:lnTo>
                    <a:pt x="713" y="227"/>
                  </a:lnTo>
                  <a:lnTo>
                    <a:pt x="710" y="230"/>
                  </a:lnTo>
                  <a:lnTo>
                    <a:pt x="710" y="230"/>
                  </a:lnTo>
                  <a:lnTo>
                    <a:pt x="707" y="233"/>
                  </a:lnTo>
                  <a:lnTo>
                    <a:pt x="707" y="233"/>
                  </a:lnTo>
                  <a:lnTo>
                    <a:pt x="705" y="233"/>
                  </a:lnTo>
                  <a:lnTo>
                    <a:pt x="699" y="233"/>
                  </a:lnTo>
                  <a:lnTo>
                    <a:pt x="697" y="235"/>
                  </a:lnTo>
                  <a:lnTo>
                    <a:pt x="697" y="235"/>
                  </a:lnTo>
                  <a:lnTo>
                    <a:pt x="697" y="233"/>
                  </a:lnTo>
                  <a:lnTo>
                    <a:pt x="697" y="233"/>
                  </a:lnTo>
                  <a:lnTo>
                    <a:pt x="694" y="233"/>
                  </a:lnTo>
                  <a:lnTo>
                    <a:pt x="694" y="233"/>
                  </a:lnTo>
                  <a:lnTo>
                    <a:pt x="694" y="233"/>
                  </a:lnTo>
                  <a:lnTo>
                    <a:pt x="691" y="233"/>
                  </a:lnTo>
                  <a:lnTo>
                    <a:pt x="691" y="235"/>
                  </a:lnTo>
                  <a:lnTo>
                    <a:pt x="689" y="235"/>
                  </a:lnTo>
                  <a:lnTo>
                    <a:pt x="689" y="238"/>
                  </a:lnTo>
                  <a:lnTo>
                    <a:pt x="686" y="238"/>
                  </a:lnTo>
                  <a:lnTo>
                    <a:pt x="686" y="241"/>
                  </a:lnTo>
                  <a:lnTo>
                    <a:pt x="686" y="241"/>
                  </a:lnTo>
                  <a:lnTo>
                    <a:pt x="686" y="243"/>
                  </a:lnTo>
                  <a:lnTo>
                    <a:pt x="686" y="246"/>
                  </a:lnTo>
                  <a:lnTo>
                    <a:pt x="686" y="251"/>
                  </a:lnTo>
                  <a:lnTo>
                    <a:pt x="686" y="260"/>
                  </a:lnTo>
                  <a:lnTo>
                    <a:pt x="686" y="268"/>
                  </a:lnTo>
                  <a:lnTo>
                    <a:pt x="689" y="273"/>
                  </a:lnTo>
                  <a:lnTo>
                    <a:pt x="678" y="276"/>
                  </a:lnTo>
                  <a:lnTo>
                    <a:pt x="667" y="276"/>
                  </a:lnTo>
                  <a:lnTo>
                    <a:pt x="659" y="276"/>
                  </a:lnTo>
                  <a:lnTo>
                    <a:pt x="657" y="276"/>
                  </a:lnTo>
                  <a:lnTo>
                    <a:pt x="654" y="276"/>
                  </a:lnTo>
                  <a:lnTo>
                    <a:pt x="641" y="278"/>
                  </a:lnTo>
                  <a:lnTo>
                    <a:pt x="625" y="281"/>
                  </a:lnTo>
                  <a:lnTo>
                    <a:pt x="611" y="284"/>
                  </a:lnTo>
                  <a:lnTo>
                    <a:pt x="595" y="284"/>
                  </a:lnTo>
                  <a:lnTo>
                    <a:pt x="582" y="286"/>
                  </a:lnTo>
                  <a:lnTo>
                    <a:pt x="569" y="289"/>
                  </a:lnTo>
                  <a:lnTo>
                    <a:pt x="553" y="289"/>
                  </a:lnTo>
                  <a:lnTo>
                    <a:pt x="539" y="292"/>
                  </a:lnTo>
                  <a:lnTo>
                    <a:pt x="520" y="294"/>
                  </a:lnTo>
                  <a:lnTo>
                    <a:pt x="502" y="297"/>
                  </a:lnTo>
                  <a:lnTo>
                    <a:pt x="486" y="297"/>
                  </a:lnTo>
                  <a:lnTo>
                    <a:pt x="467" y="300"/>
                  </a:lnTo>
                  <a:lnTo>
                    <a:pt x="448" y="302"/>
                  </a:lnTo>
                  <a:lnTo>
                    <a:pt x="430" y="305"/>
                  </a:lnTo>
                  <a:lnTo>
                    <a:pt x="411" y="308"/>
                  </a:lnTo>
                  <a:lnTo>
                    <a:pt x="395" y="308"/>
                  </a:lnTo>
                  <a:lnTo>
                    <a:pt x="376" y="310"/>
                  </a:lnTo>
                  <a:lnTo>
                    <a:pt x="358" y="313"/>
                  </a:lnTo>
                  <a:lnTo>
                    <a:pt x="339" y="313"/>
                  </a:lnTo>
                  <a:lnTo>
                    <a:pt x="320" y="316"/>
                  </a:lnTo>
                  <a:lnTo>
                    <a:pt x="304" y="318"/>
                  </a:lnTo>
                  <a:lnTo>
                    <a:pt x="286" y="318"/>
                  </a:lnTo>
                  <a:lnTo>
                    <a:pt x="267" y="321"/>
                  </a:lnTo>
                  <a:lnTo>
                    <a:pt x="248" y="324"/>
                  </a:lnTo>
                  <a:lnTo>
                    <a:pt x="246" y="324"/>
                  </a:lnTo>
                  <a:lnTo>
                    <a:pt x="243" y="324"/>
                  </a:lnTo>
                  <a:lnTo>
                    <a:pt x="246" y="326"/>
                  </a:lnTo>
                  <a:lnTo>
                    <a:pt x="246" y="326"/>
                  </a:lnTo>
                  <a:lnTo>
                    <a:pt x="240" y="326"/>
                  </a:lnTo>
                  <a:lnTo>
                    <a:pt x="224" y="329"/>
                  </a:lnTo>
                  <a:lnTo>
                    <a:pt x="211" y="332"/>
                  </a:lnTo>
                  <a:lnTo>
                    <a:pt x="195" y="332"/>
                  </a:lnTo>
                  <a:lnTo>
                    <a:pt x="182" y="334"/>
                  </a:lnTo>
                  <a:lnTo>
                    <a:pt x="166" y="334"/>
                  </a:lnTo>
                  <a:lnTo>
                    <a:pt x="150" y="337"/>
                  </a:lnTo>
                  <a:lnTo>
                    <a:pt x="136" y="337"/>
                  </a:lnTo>
                  <a:lnTo>
                    <a:pt x="120" y="340"/>
                  </a:lnTo>
                  <a:lnTo>
                    <a:pt x="107" y="342"/>
                  </a:lnTo>
                  <a:lnTo>
                    <a:pt x="91" y="342"/>
                  </a:lnTo>
                  <a:lnTo>
                    <a:pt x="75" y="345"/>
                  </a:lnTo>
                  <a:lnTo>
                    <a:pt x="62" y="345"/>
                  </a:lnTo>
                  <a:lnTo>
                    <a:pt x="46" y="348"/>
                  </a:lnTo>
                  <a:lnTo>
                    <a:pt x="32" y="348"/>
                  </a:lnTo>
                  <a:lnTo>
                    <a:pt x="16" y="350"/>
                  </a:lnTo>
                  <a:lnTo>
                    <a:pt x="0" y="350"/>
                  </a:lnTo>
                  <a:lnTo>
                    <a:pt x="0" y="350"/>
                  </a:lnTo>
                  <a:lnTo>
                    <a:pt x="0" y="348"/>
                  </a:lnTo>
                  <a:lnTo>
                    <a:pt x="3" y="348"/>
                  </a:lnTo>
                  <a:lnTo>
                    <a:pt x="6" y="345"/>
                  </a:lnTo>
                  <a:lnTo>
                    <a:pt x="11" y="342"/>
                  </a:lnTo>
                  <a:lnTo>
                    <a:pt x="11" y="342"/>
                  </a:lnTo>
                  <a:lnTo>
                    <a:pt x="14" y="340"/>
                  </a:lnTo>
                  <a:lnTo>
                    <a:pt x="14" y="337"/>
                  </a:lnTo>
                  <a:lnTo>
                    <a:pt x="14" y="334"/>
                  </a:lnTo>
                  <a:lnTo>
                    <a:pt x="14" y="332"/>
                  </a:lnTo>
                  <a:lnTo>
                    <a:pt x="16" y="332"/>
                  </a:lnTo>
                  <a:lnTo>
                    <a:pt x="19" y="332"/>
                  </a:lnTo>
                  <a:lnTo>
                    <a:pt x="22" y="332"/>
                  </a:lnTo>
                  <a:lnTo>
                    <a:pt x="24" y="326"/>
                  </a:lnTo>
                  <a:lnTo>
                    <a:pt x="24" y="321"/>
                  </a:lnTo>
                  <a:lnTo>
                    <a:pt x="22" y="316"/>
                  </a:lnTo>
                  <a:lnTo>
                    <a:pt x="19" y="310"/>
                  </a:lnTo>
                  <a:lnTo>
                    <a:pt x="19" y="308"/>
                  </a:lnTo>
                  <a:lnTo>
                    <a:pt x="19" y="300"/>
                  </a:lnTo>
                  <a:lnTo>
                    <a:pt x="19" y="297"/>
                  </a:lnTo>
                  <a:lnTo>
                    <a:pt x="19" y="294"/>
                  </a:lnTo>
                  <a:lnTo>
                    <a:pt x="24" y="289"/>
                  </a:lnTo>
                  <a:lnTo>
                    <a:pt x="27" y="286"/>
                  </a:lnTo>
                  <a:lnTo>
                    <a:pt x="27" y="284"/>
                  </a:lnTo>
                  <a:lnTo>
                    <a:pt x="30" y="281"/>
                  </a:lnTo>
                  <a:lnTo>
                    <a:pt x="27" y="278"/>
                  </a:lnTo>
                  <a:lnTo>
                    <a:pt x="30" y="276"/>
                  </a:lnTo>
                  <a:lnTo>
                    <a:pt x="30" y="276"/>
                  </a:lnTo>
                  <a:lnTo>
                    <a:pt x="32" y="273"/>
                  </a:lnTo>
                  <a:lnTo>
                    <a:pt x="35" y="273"/>
                  </a:lnTo>
                  <a:lnTo>
                    <a:pt x="38" y="273"/>
                  </a:lnTo>
                  <a:lnTo>
                    <a:pt x="38" y="270"/>
                  </a:lnTo>
                  <a:lnTo>
                    <a:pt x="38" y="268"/>
                  </a:lnTo>
                  <a:lnTo>
                    <a:pt x="35" y="265"/>
                  </a:lnTo>
                  <a:lnTo>
                    <a:pt x="35" y="262"/>
                  </a:lnTo>
                  <a:lnTo>
                    <a:pt x="35" y="262"/>
                  </a:lnTo>
                  <a:lnTo>
                    <a:pt x="38" y="260"/>
                  </a:lnTo>
                  <a:lnTo>
                    <a:pt x="38" y="257"/>
                  </a:lnTo>
                  <a:lnTo>
                    <a:pt x="38" y="254"/>
                  </a:lnTo>
                  <a:lnTo>
                    <a:pt x="35" y="251"/>
                  </a:lnTo>
                  <a:lnTo>
                    <a:pt x="32" y="249"/>
                  </a:lnTo>
                  <a:lnTo>
                    <a:pt x="32" y="246"/>
                  </a:lnTo>
                  <a:lnTo>
                    <a:pt x="35" y="243"/>
                  </a:lnTo>
                  <a:lnTo>
                    <a:pt x="51" y="235"/>
                  </a:lnTo>
                  <a:lnTo>
                    <a:pt x="56" y="227"/>
                  </a:lnTo>
                  <a:lnTo>
                    <a:pt x="56" y="225"/>
                  </a:lnTo>
                  <a:lnTo>
                    <a:pt x="54" y="225"/>
                  </a:lnTo>
                  <a:lnTo>
                    <a:pt x="51" y="222"/>
                  </a:lnTo>
                  <a:lnTo>
                    <a:pt x="51" y="219"/>
                  </a:lnTo>
                  <a:lnTo>
                    <a:pt x="51" y="217"/>
                  </a:lnTo>
                  <a:lnTo>
                    <a:pt x="54" y="217"/>
                  </a:lnTo>
                  <a:lnTo>
                    <a:pt x="56" y="217"/>
                  </a:lnTo>
                  <a:lnTo>
                    <a:pt x="62" y="219"/>
                  </a:lnTo>
                  <a:lnTo>
                    <a:pt x="62" y="219"/>
                  </a:lnTo>
                  <a:lnTo>
                    <a:pt x="62" y="217"/>
                  </a:lnTo>
                  <a:lnTo>
                    <a:pt x="62" y="211"/>
                  </a:lnTo>
                  <a:lnTo>
                    <a:pt x="56" y="209"/>
                  </a:lnTo>
                  <a:lnTo>
                    <a:pt x="56" y="206"/>
                  </a:lnTo>
                  <a:lnTo>
                    <a:pt x="56" y="203"/>
                  </a:lnTo>
                  <a:lnTo>
                    <a:pt x="56" y="201"/>
                  </a:lnTo>
                  <a:lnTo>
                    <a:pt x="59" y="193"/>
                  </a:lnTo>
                  <a:lnTo>
                    <a:pt x="59" y="190"/>
                  </a:lnTo>
                  <a:lnTo>
                    <a:pt x="59" y="190"/>
                  </a:lnTo>
                  <a:lnTo>
                    <a:pt x="62" y="187"/>
                  </a:lnTo>
                  <a:lnTo>
                    <a:pt x="64" y="187"/>
                  </a:lnTo>
                  <a:lnTo>
                    <a:pt x="64" y="187"/>
                  </a:lnTo>
                  <a:lnTo>
                    <a:pt x="67" y="185"/>
                  </a:lnTo>
                  <a:lnTo>
                    <a:pt x="62" y="179"/>
                  </a:lnTo>
                  <a:lnTo>
                    <a:pt x="56" y="169"/>
                  </a:lnTo>
                  <a:lnTo>
                    <a:pt x="56" y="169"/>
                  </a:lnTo>
                  <a:lnTo>
                    <a:pt x="67" y="169"/>
                  </a:lnTo>
                  <a:lnTo>
                    <a:pt x="70" y="166"/>
                  </a:lnTo>
                  <a:lnTo>
                    <a:pt x="70" y="166"/>
                  </a:lnTo>
                  <a:lnTo>
                    <a:pt x="70" y="163"/>
                  </a:lnTo>
                  <a:lnTo>
                    <a:pt x="70" y="163"/>
                  </a:lnTo>
                  <a:lnTo>
                    <a:pt x="67" y="163"/>
                  </a:lnTo>
                  <a:lnTo>
                    <a:pt x="64" y="161"/>
                  </a:lnTo>
                  <a:lnTo>
                    <a:pt x="62" y="158"/>
                  </a:lnTo>
                  <a:lnTo>
                    <a:pt x="62" y="155"/>
                  </a:lnTo>
                  <a:lnTo>
                    <a:pt x="64" y="155"/>
                  </a:lnTo>
                  <a:lnTo>
                    <a:pt x="67" y="155"/>
                  </a:lnTo>
                  <a:lnTo>
                    <a:pt x="70" y="153"/>
                  </a:lnTo>
                  <a:lnTo>
                    <a:pt x="72" y="153"/>
                  </a:lnTo>
                  <a:lnTo>
                    <a:pt x="72" y="150"/>
                  </a:lnTo>
                  <a:lnTo>
                    <a:pt x="72" y="147"/>
                  </a:lnTo>
                  <a:lnTo>
                    <a:pt x="70" y="139"/>
                  </a:lnTo>
                  <a:lnTo>
                    <a:pt x="67" y="139"/>
                  </a:lnTo>
                  <a:lnTo>
                    <a:pt x="70" y="137"/>
                  </a:lnTo>
                  <a:lnTo>
                    <a:pt x="67" y="134"/>
                  </a:lnTo>
                  <a:lnTo>
                    <a:pt x="67" y="134"/>
                  </a:lnTo>
                  <a:lnTo>
                    <a:pt x="75" y="131"/>
                  </a:lnTo>
                  <a:lnTo>
                    <a:pt x="75" y="134"/>
                  </a:lnTo>
                  <a:lnTo>
                    <a:pt x="72" y="137"/>
                  </a:lnTo>
                  <a:lnTo>
                    <a:pt x="75" y="139"/>
                  </a:lnTo>
                  <a:lnTo>
                    <a:pt x="78" y="139"/>
                  </a:lnTo>
                  <a:lnTo>
                    <a:pt x="78" y="137"/>
                  </a:lnTo>
                  <a:lnTo>
                    <a:pt x="80" y="137"/>
                  </a:lnTo>
                  <a:lnTo>
                    <a:pt x="83" y="134"/>
                  </a:lnTo>
                  <a:lnTo>
                    <a:pt x="83" y="131"/>
                  </a:lnTo>
                  <a:lnTo>
                    <a:pt x="102" y="129"/>
                  </a:lnTo>
                  <a:lnTo>
                    <a:pt x="120" y="129"/>
                  </a:lnTo>
                  <a:lnTo>
                    <a:pt x="142" y="126"/>
                  </a:lnTo>
                  <a:lnTo>
                    <a:pt x="160" y="123"/>
                  </a:lnTo>
                  <a:lnTo>
                    <a:pt x="179" y="123"/>
                  </a:lnTo>
                  <a:lnTo>
                    <a:pt x="200" y="121"/>
                  </a:lnTo>
                  <a:lnTo>
                    <a:pt x="219" y="118"/>
                  </a:lnTo>
                  <a:lnTo>
                    <a:pt x="238" y="115"/>
                  </a:lnTo>
                  <a:lnTo>
                    <a:pt x="238" y="113"/>
                  </a:lnTo>
                  <a:lnTo>
                    <a:pt x="238" y="107"/>
                  </a:lnTo>
                  <a:lnTo>
                    <a:pt x="238" y="105"/>
                  </a:lnTo>
                  <a:lnTo>
                    <a:pt x="235" y="99"/>
                  </a:lnTo>
                  <a:lnTo>
                    <a:pt x="232" y="91"/>
                  </a:lnTo>
                  <a:lnTo>
                    <a:pt x="232" y="91"/>
                  </a:lnTo>
                  <a:lnTo>
                    <a:pt x="232" y="89"/>
                  </a:lnTo>
                  <a:lnTo>
                    <a:pt x="232" y="89"/>
                  </a:lnTo>
                  <a:lnTo>
                    <a:pt x="232" y="89"/>
                  </a:lnTo>
                  <a:lnTo>
                    <a:pt x="240" y="89"/>
                  </a:lnTo>
                  <a:lnTo>
                    <a:pt x="248" y="89"/>
                  </a:lnTo>
                  <a:lnTo>
                    <a:pt x="256" y="89"/>
                  </a:lnTo>
                  <a:lnTo>
                    <a:pt x="256" y="89"/>
                  </a:lnTo>
                  <a:lnTo>
                    <a:pt x="256" y="91"/>
                  </a:lnTo>
                  <a:lnTo>
                    <a:pt x="259" y="91"/>
                  </a:lnTo>
                  <a:lnTo>
                    <a:pt x="259" y="94"/>
                  </a:lnTo>
                  <a:lnTo>
                    <a:pt x="259" y="94"/>
                  </a:lnTo>
                  <a:lnTo>
                    <a:pt x="259" y="94"/>
                  </a:lnTo>
                  <a:lnTo>
                    <a:pt x="264" y="91"/>
                  </a:lnTo>
                  <a:lnTo>
                    <a:pt x="267" y="91"/>
                  </a:lnTo>
                  <a:lnTo>
                    <a:pt x="270" y="91"/>
                  </a:lnTo>
                  <a:lnTo>
                    <a:pt x="278" y="91"/>
                  </a:lnTo>
                  <a:lnTo>
                    <a:pt x="286" y="89"/>
                  </a:lnTo>
                  <a:lnTo>
                    <a:pt x="296" y="89"/>
                  </a:lnTo>
                  <a:lnTo>
                    <a:pt x="307" y="86"/>
                  </a:lnTo>
                  <a:lnTo>
                    <a:pt x="320" y="86"/>
                  </a:lnTo>
                  <a:lnTo>
                    <a:pt x="331" y="83"/>
                  </a:lnTo>
                  <a:lnTo>
                    <a:pt x="344" y="83"/>
                  </a:lnTo>
                  <a:lnTo>
                    <a:pt x="358" y="81"/>
                  </a:lnTo>
                  <a:lnTo>
                    <a:pt x="368" y="81"/>
                  </a:lnTo>
                  <a:lnTo>
                    <a:pt x="379" y="78"/>
                  </a:lnTo>
                  <a:lnTo>
                    <a:pt x="387" y="78"/>
                  </a:lnTo>
                  <a:lnTo>
                    <a:pt x="392" y="75"/>
                  </a:lnTo>
                  <a:lnTo>
                    <a:pt x="398" y="75"/>
                  </a:lnTo>
                  <a:lnTo>
                    <a:pt x="400" y="75"/>
                  </a:lnTo>
                  <a:lnTo>
                    <a:pt x="403" y="75"/>
                  </a:lnTo>
                  <a:lnTo>
                    <a:pt x="408" y="72"/>
                  </a:lnTo>
                  <a:lnTo>
                    <a:pt x="408" y="72"/>
                  </a:lnTo>
                  <a:lnTo>
                    <a:pt x="414" y="72"/>
                  </a:lnTo>
                  <a:lnTo>
                    <a:pt x="416" y="72"/>
                  </a:lnTo>
                  <a:lnTo>
                    <a:pt x="427" y="72"/>
                  </a:lnTo>
                  <a:lnTo>
                    <a:pt x="443" y="70"/>
                  </a:lnTo>
                  <a:lnTo>
                    <a:pt x="462" y="67"/>
                  </a:lnTo>
                  <a:lnTo>
                    <a:pt x="483" y="67"/>
                  </a:lnTo>
                  <a:lnTo>
                    <a:pt x="510" y="64"/>
                  </a:lnTo>
                  <a:lnTo>
                    <a:pt x="537" y="62"/>
                  </a:lnTo>
                  <a:lnTo>
                    <a:pt x="566" y="59"/>
                  </a:lnTo>
                  <a:lnTo>
                    <a:pt x="595" y="56"/>
                  </a:lnTo>
                  <a:lnTo>
                    <a:pt x="622" y="51"/>
                  </a:lnTo>
                  <a:lnTo>
                    <a:pt x="646" y="48"/>
                  </a:lnTo>
                  <a:lnTo>
                    <a:pt x="670" y="48"/>
                  </a:lnTo>
                  <a:lnTo>
                    <a:pt x="689" y="46"/>
                  </a:lnTo>
                  <a:lnTo>
                    <a:pt x="705" y="43"/>
                  </a:lnTo>
                  <a:lnTo>
                    <a:pt x="713" y="43"/>
                  </a:lnTo>
                  <a:lnTo>
                    <a:pt x="718" y="43"/>
                  </a:lnTo>
                  <a:lnTo>
                    <a:pt x="723" y="40"/>
                  </a:lnTo>
                  <a:lnTo>
                    <a:pt x="726" y="40"/>
                  </a:lnTo>
                  <a:lnTo>
                    <a:pt x="729" y="38"/>
                  </a:lnTo>
                  <a:lnTo>
                    <a:pt x="729" y="38"/>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17" name="Freeform 14">
              <a:extLst>
                <a:ext uri="{FF2B5EF4-FFF2-40B4-BE49-F238E27FC236}">
                  <a16:creationId xmlns="" xmlns:a16="http://schemas.microsoft.com/office/drawing/2014/main" id="{088A96D3-1557-4CFC-B199-6F75BC40266E}"/>
                </a:ext>
              </a:extLst>
            </p:cNvPr>
            <p:cNvSpPr>
              <a:spLocks/>
            </p:cNvSpPr>
            <p:nvPr/>
          </p:nvSpPr>
          <p:spPr bwMode="auto">
            <a:xfrm>
              <a:off x="3221" y="687"/>
              <a:ext cx="798" cy="470"/>
            </a:xfrm>
            <a:custGeom>
              <a:avLst/>
              <a:gdLst>
                <a:gd name="T0" fmla="*/ 774 w 798"/>
                <a:gd name="T1" fmla="*/ 13 h 470"/>
                <a:gd name="T2" fmla="*/ 766 w 798"/>
                <a:gd name="T3" fmla="*/ 26 h 470"/>
                <a:gd name="T4" fmla="*/ 747 w 798"/>
                <a:gd name="T5" fmla="*/ 42 h 470"/>
                <a:gd name="T6" fmla="*/ 755 w 798"/>
                <a:gd name="T7" fmla="*/ 58 h 470"/>
                <a:gd name="T8" fmla="*/ 779 w 798"/>
                <a:gd name="T9" fmla="*/ 77 h 470"/>
                <a:gd name="T10" fmla="*/ 790 w 798"/>
                <a:gd name="T11" fmla="*/ 88 h 470"/>
                <a:gd name="T12" fmla="*/ 792 w 798"/>
                <a:gd name="T13" fmla="*/ 213 h 470"/>
                <a:gd name="T14" fmla="*/ 782 w 798"/>
                <a:gd name="T15" fmla="*/ 334 h 470"/>
                <a:gd name="T16" fmla="*/ 782 w 798"/>
                <a:gd name="T17" fmla="*/ 342 h 470"/>
                <a:gd name="T18" fmla="*/ 787 w 798"/>
                <a:gd name="T19" fmla="*/ 350 h 470"/>
                <a:gd name="T20" fmla="*/ 787 w 798"/>
                <a:gd name="T21" fmla="*/ 363 h 470"/>
                <a:gd name="T22" fmla="*/ 784 w 798"/>
                <a:gd name="T23" fmla="*/ 366 h 470"/>
                <a:gd name="T24" fmla="*/ 784 w 798"/>
                <a:gd name="T25" fmla="*/ 368 h 470"/>
                <a:gd name="T26" fmla="*/ 787 w 798"/>
                <a:gd name="T27" fmla="*/ 371 h 470"/>
                <a:gd name="T28" fmla="*/ 795 w 798"/>
                <a:gd name="T29" fmla="*/ 374 h 470"/>
                <a:gd name="T30" fmla="*/ 798 w 798"/>
                <a:gd name="T31" fmla="*/ 384 h 470"/>
                <a:gd name="T32" fmla="*/ 792 w 798"/>
                <a:gd name="T33" fmla="*/ 395 h 470"/>
                <a:gd name="T34" fmla="*/ 795 w 798"/>
                <a:gd name="T35" fmla="*/ 400 h 470"/>
                <a:gd name="T36" fmla="*/ 792 w 798"/>
                <a:gd name="T37" fmla="*/ 406 h 470"/>
                <a:gd name="T38" fmla="*/ 790 w 798"/>
                <a:gd name="T39" fmla="*/ 414 h 470"/>
                <a:gd name="T40" fmla="*/ 787 w 798"/>
                <a:gd name="T41" fmla="*/ 419 h 470"/>
                <a:gd name="T42" fmla="*/ 784 w 798"/>
                <a:gd name="T43" fmla="*/ 424 h 470"/>
                <a:gd name="T44" fmla="*/ 784 w 798"/>
                <a:gd name="T45" fmla="*/ 427 h 470"/>
                <a:gd name="T46" fmla="*/ 779 w 798"/>
                <a:gd name="T47" fmla="*/ 438 h 470"/>
                <a:gd name="T48" fmla="*/ 790 w 798"/>
                <a:gd name="T49" fmla="*/ 448 h 470"/>
                <a:gd name="T50" fmla="*/ 792 w 798"/>
                <a:gd name="T51" fmla="*/ 451 h 470"/>
                <a:gd name="T52" fmla="*/ 792 w 798"/>
                <a:gd name="T53" fmla="*/ 456 h 470"/>
                <a:gd name="T54" fmla="*/ 795 w 798"/>
                <a:gd name="T55" fmla="*/ 459 h 470"/>
                <a:gd name="T56" fmla="*/ 784 w 798"/>
                <a:gd name="T57" fmla="*/ 467 h 470"/>
                <a:gd name="T58" fmla="*/ 774 w 798"/>
                <a:gd name="T59" fmla="*/ 454 h 470"/>
                <a:gd name="T60" fmla="*/ 774 w 798"/>
                <a:gd name="T61" fmla="*/ 448 h 470"/>
                <a:gd name="T62" fmla="*/ 763 w 798"/>
                <a:gd name="T63" fmla="*/ 446 h 470"/>
                <a:gd name="T64" fmla="*/ 747 w 798"/>
                <a:gd name="T65" fmla="*/ 438 h 470"/>
                <a:gd name="T66" fmla="*/ 736 w 798"/>
                <a:gd name="T67" fmla="*/ 435 h 470"/>
                <a:gd name="T68" fmla="*/ 720 w 798"/>
                <a:gd name="T69" fmla="*/ 427 h 470"/>
                <a:gd name="T70" fmla="*/ 686 w 798"/>
                <a:gd name="T71" fmla="*/ 424 h 470"/>
                <a:gd name="T72" fmla="*/ 667 w 798"/>
                <a:gd name="T73" fmla="*/ 424 h 470"/>
                <a:gd name="T74" fmla="*/ 648 w 798"/>
                <a:gd name="T75" fmla="*/ 427 h 470"/>
                <a:gd name="T76" fmla="*/ 643 w 798"/>
                <a:gd name="T77" fmla="*/ 435 h 470"/>
                <a:gd name="T78" fmla="*/ 627 w 798"/>
                <a:gd name="T79" fmla="*/ 432 h 470"/>
                <a:gd name="T80" fmla="*/ 600 w 798"/>
                <a:gd name="T81" fmla="*/ 416 h 470"/>
                <a:gd name="T82" fmla="*/ 584 w 798"/>
                <a:gd name="T83" fmla="*/ 408 h 470"/>
                <a:gd name="T84" fmla="*/ 486 w 798"/>
                <a:gd name="T85" fmla="*/ 408 h 470"/>
                <a:gd name="T86" fmla="*/ 376 w 798"/>
                <a:gd name="T87" fmla="*/ 408 h 470"/>
                <a:gd name="T88" fmla="*/ 269 w 798"/>
                <a:gd name="T89" fmla="*/ 408 h 470"/>
                <a:gd name="T90" fmla="*/ 163 w 798"/>
                <a:gd name="T91" fmla="*/ 406 h 470"/>
                <a:gd name="T92" fmla="*/ 53 w 798"/>
                <a:gd name="T93" fmla="*/ 403 h 470"/>
                <a:gd name="T94" fmla="*/ 3 w 798"/>
                <a:gd name="T95" fmla="*/ 350 h 470"/>
                <a:gd name="T96" fmla="*/ 5 w 798"/>
                <a:gd name="T97" fmla="*/ 245 h 470"/>
                <a:gd name="T98" fmla="*/ 8 w 798"/>
                <a:gd name="T99" fmla="*/ 144 h 470"/>
                <a:gd name="T100" fmla="*/ 13 w 798"/>
                <a:gd name="T101" fmla="*/ 88 h 470"/>
                <a:gd name="T102" fmla="*/ 16 w 798"/>
                <a:gd name="T103" fmla="*/ 0 h 470"/>
                <a:gd name="T104" fmla="*/ 160 w 798"/>
                <a:gd name="T105" fmla="*/ 2 h 470"/>
                <a:gd name="T106" fmla="*/ 301 w 798"/>
                <a:gd name="T107" fmla="*/ 5 h 470"/>
                <a:gd name="T108" fmla="*/ 443 w 798"/>
                <a:gd name="T109" fmla="*/ 5 h 470"/>
                <a:gd name="T110" fmla="*/ 584 w 798"/>
                <a:gd name="T111" fmla="*/ 5 h 470"/>
                <a:gd name="T112" fmla="*/ 728 w 798"/>
                <a:gd name="T113" fmla="*/ 2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8" h="470">
                  <a:moveTo>
                    <a:pt x="776" y="0"/>
                  </a:moveTo>
                  <a:lnTo>
                    <a:pt x="774" y="2"/>
                  </a:lnTo>
                  <a:lnTo>
                    <a:pt x="774" y="2"/>
                  </a:lnTo>
                  <a:lnTo>
                    <a:pt x="774" y="2"/>
                  </a:lnTo>
                  <a:lnTo>
                    <a:pt x="774" y="5"/>
                  </a:lnTo>
                  <a:lnTo>
                    <a:pt x="774" y="13"/>
                  </a:lnTo>
                  <a:lnTo>
                    <a:pt x="774" y="16"/>
                  </a:lnTo>
                  <a:lnTo>
                    <a:pt x="771" y="18"/>
                  </a:lnTo>
                  <a:lnTo>
                    <a:pt x="768" y="24"/>
                  </a:lnTo>
                  <a:lnTo>
                    <a:pt x="768" y="26"/>
                  </a:lnTo>
                  <a:lnTo>
                    <a:pt x="766" y="26"/>
                  </a:lnTo>
                  <a:lnTo>
                    <a:pt x="766" y="26"/>
                  </a:lnTo>
                  <a:lnTo>
                    <a:pt x="763" y="29"/>
                  </a:lnTo>
                  <a:lnTo>
                    <a:pt x="755" y="34"/>
                  </a:lnTo>
                  <a:lnTo>
                    <a:pt x="755" y="34"/>
                  </a:lnTo>
                  <a:lnTo>
                    <a:pt x="752" y="37"/>
                  </a:lnTo>
                  <a:lnTo>
                    <a:pt x="750" y="40"/>
                  </a:lnTo>
                  <a:lnTo>
                    <a:pt x="747" y="42"/>
                  </a:lnTo>
                  <a:lnTo>
                    <a:pt x="747" y="42"/>
                  </a:lnTo>
                  <a:lnTo>
                    <a:pt x="747" y="45"/>
                  </a:lnTo>
                  <a:lnTo>
                    <a:pt x="744" y="48"/>
                  </a:lnTo>
                  <a:lnTo>
                    <a:pt x="747" y="50"/>
                  </a:lnTo>
                  <a:lnTo>
                    <a:pt x="752" y="56"/>
                  </a:lnTo>
                  <a:lnTo>
                    <a:pt x="755" y="58"/>
                  </a:lnTo>
                  <a:lnTo>
                    <a:pt x="760" y="66"/>
                  </a:lnTo>
                  <a:lnTo>
                    <a:pt x="763" y="72"/>
                  </a:lnTo>
                  <a:lnTo>
                    <a:pt x="763" y="74"/>
                  </a:lnTo>
                  <a:lnTo>
                    <a:pt x="771" y="74"/>
                  </a:lnTo>
                  <a:lnTo>
                    <a:pt x="776" y="74"/>
                  </a:lnTo>
                  <a:lnTo>
                    <a:pt x="779" y="77"/>
                  </a:lnTo>
                  <a:lnTo>
                    <a:pt x="782" y="77"/>
                  </a:lnTo>
                  <a:lnTo>
                    <a:pt x="784" y="80"/>
                  </a:lnTo>
                  <a:lnTo>
                    <a:pt x="784" y="80"/>
                  </a:lnTo>
                  <a:lnTo>
                    <a:pt x="787" y="85"/>
                  </a:lnTo>
                  <a:lnTo>
                    <a:pt x="787" y="88"/>
                  </a:lnTo>
                  <a:lnTo>
                    <a:pt x="790" y="88"/>
                  </a:lnTo>
                  <a:lnTo>
                    <a:pt x="790" y="88"/>
                  </a:lnTo>
                  <a:lnTo>
                    <a:pt x="790" y="93"/>
                  </a:lnTo>
                  <a:lnTo>
                    <a:pt x="790" y="122"/>
                  </a:lnTo>
                  <a:lnTo>
                    <a:pt x="790" y="152"/>
                  </a:lnTo>
                  <a:lnTo>
                    <a:pt x="792" y="184"/>
                  </a:lnTo>
                  <a:lnTo>
                    <a:pt x="792" y="213"/>
                  </a:lnTo>
                  <a:lnTo>
                    <a:pt x="792" y="243"/>
                  </a:lnTo>
                  <a:lnTo>
                    <a:pt x="795" y="272"/>
                  </a:lnTo>
                  <a:lnTo>
                    <a:pt x="795" y="304"/>
                  </a:lnTo>
                  <a:lnTo>
                    <a:pt x="798" y="334"/>
                  </a:lnTo>
                  <a:lnTo>
                    <a:pt x="782" y="334"/>
                  </a:lnTo>
                  <a:lnTo>
                    <a:pt x="782" y="334"/>
                  </a:lnTo>
                  <a:lnTo>
                    <a:pt x="782" y="336"/>
                  </a:lnTo>
                  <a:lnTo>
                    <a:pt x="782" y="336"/>
                  </a:lnTo>
                  <a:lnTo>
                    <a:pt x="782" y="336"/>
                  </a:lnTo>
                  <a:lnTo>
                    <a:pt x="782" y="339"/>
                  </a:lnTo>
                  <a:lnTo>
                    <a:pt x="782" y="339"/>
                  </a:lnTo>
                  <a:lnTo>
                    <a:pt x="782" y="342"/>
                  </a:lnTo>
                  <a:lnTo>
                    <a:pt x="782" y="342"/>
                  </a:lnTo>
                  <a:lnTo>
                    <a:pt x="782" y="344"/>
                  </a:lnTo>
                  <a:lnTo>
                    <a:pt x="784" y="344"/>
                  </a:lnTo>
                  <a:lnTo>
                    <a:pt x="784" y="347"/>
                  </a:lnTo>
                  <a:lnTo>
                    <a:pt x="787" y="347"/>
                  </a:lnTo>
                  <a:lnTo>
                    <a:pt x="787" y="350"/>
                  </a:lnTo>
                  <a:lnTo>
                    <a:pt x="787" y="350"/>
                  </a:lnTo>
                  <a:lnTo>
                    <a:pt x="790" y="350"/>
                  </a:lnTo>
                  <a:lnTo>
                    <a:pt x="790" y="358"/>
                  </a:lnTo>
                  <a:lnTo>
                    <a:pt x="790" y="360"/>
                  </a:lnTo>
                  <a:lnTo>
                    <a:pt x="787" y="363"/>
                  </a:lnTo>
                  <a:lnTo>
                    <a:pt x="787" y="363"/>
                  </a:lnTo>
                  <a:lnTo>
                    <a:pt x="787" y="363"/>
                  </a:lnTo>
                  <a:lnTo>
                    <a:pt x="787" y="363"/>
                  </a:lnTo>
                  <a:lnTo>
                    <a:pt x="784" y="363"/>
                  </a:lnTo>
                  <a:lnTo>
                    <a:pt x="784" y="363"/>
                  </a:lnTo>
                  <a:lnTo>
                    <a:pt x="784" y="363"/>
                  </a:lnTo>
                  <a:lnTo>
                    <a:pt x="784" y="366"/>
                  </a:lnTo>
                  <a:lnTo>
                    <a:pt x="784" y="366"/>
                  </a:lnTo>
                  <a:lnTo>
                    <a:pt x="787" y="366"/>
                  </a:lnTo>
                  <a:lnTo>
                    <a:pt x="787" y="368"/>
                  </a:lnTo>
                  <a:lnTo>
                    <a:pt x="787" y="368"/>
                  </a:lnTo>
                  <a:lnTo>
                    <a:pt x="787" y="368"/>
                  </a:lnTo>
                  <a:lnTo>
                    <a:pt x="784" y="368"/>
                  </a:lnTo>
                  <a:lnTo>
                    <a:pt x="784" y="371"/>
                  </a:lnTo>
                  <a:lnTo>
                    <a:pt x="784" y="371"/>
                  </a:lnTo>
                  <a:lnTo>
                    <a:pt x="784" y="371"/>
                  </a:lnTo>
                  <a:lnTo>
                    <a:pt x="787" y="371"/>
                  </a:lnTo>
                  <a:lnTo>
                    <a:pt x="787" y="371"/>
                  </a:lnTo>
                  <a:lnTo>
                    <a:pt x="787" y="371"/>
                  </a:lnTo>
                  <a:lnTo>
                    <a:pt x="790" y="371"/>
                  </a:lnTo>
                  <a:lnTo>
                    <a:pt x="792" y="374"/>
                  </a:lnTo>
                  <a:lnTo>
                    <a:pt x="792" y="374"/>
                  </a:lnTo>
                  <a:lnTo>
                    <a:pt x="792" y="371"/>
                  </a:lnTo>
                  <a:lnTo>
                    <a:pt x="795" y="371"/>
                  </a:lnTo>
                  <a:lnTo>
                    <a:pt x="795" y="374"/>
                  </a:lnTo>
                  <a:lnTo>
                    <a:pt x="795" y="374"/>
                  </a:lnTo>
                  <a:lnTo>
                    <a:pt x="795" y="374"/>
                  </a:lnTo>
                  <a:lnTo>
                    <a:pt x="795" y="376"/>
                  </a:lnTo>
                  <a:lnTo>
                    <a:pt x="798" y="382"/>
                  </a:lnTo>
                  <a:lnTo>
                    <a:pt x="798" y="382"/>
                  </a:lnTo>
                  <a:lnTo>
                    <a:pt x="798" y="384"/>
                  </a:lnTo>
                  <a:lnTo>
                    <a:pt x="798" y="384"/>
                  </a:lnTo>
                  <a:lnTo>
                    <a:pt x="798" y="384"/>
                  </a:lnTo>
                  <a:lnTo>
                    <a:pt x="798" y="392"/>
                  </a:lnTo>
                  <a:lnTo>
                    <a:pt x="798" y="392"/>
                  </a:lnTo>
                  <a:lnTo>
                    <a:pt x="795" y="392"/>
                  </a:lnTo>
                  <a:lnTo>
                    <a:pt x="792" y="395"/>
                  </a:lnTo>
                  <a:lnTo>
                    <a:pt x="792" y="398"/>
                  </a:lnTo>
                  <a:lnTo>
                    <a:pt x="792" y="398"/>
                  </a:lnTo>
                  <a:lnTo>
                    <a:pt x="792" y="398"/>
                  </a:lnTo>
                  <a:lnTo>
                    <a:pt x="792" y="398"/>
                  </a:lnTo>
                  <a:lnTo>
                    <a:pt x="792" y="400"/>
                  </a:lnTo>
                  <a:lnTo>
                    <a:pt x="795" y="400"/>
                  </a:lnTo>
                  <a:lnTo>
                    <a:pt x="792" y="400"/>
                  </a:lnTo>
                  <a:lnTo>
                    <a:pt x="792" y="403"/>
                  </a:lnTo>
                  <a:lnTo>
                    <a:pt x="792" y="403"/>
                  </a:lnTo>
                  <a:lnTo>
                    <a:pt x="792" y="403"/>
                  </a:lnTo>
                  <a:lnTo>
                    <a:pt x="792" y="403"/>
                  </a:lnTo>
                  <a:lnTo>
                    <a:pt x="792" y="406"/>
                  </a:lnTo>
                  <a:lnTo>
                    <a:pt x="792" y="408"/>
                  </a:lnTo>
                  <a:lnTo>
                    <a:pt x="792" y="408"/>
                  </a:lnTo>
                  <a:lnTo>
                    <a:pt x="792" y="408"/>
                  </a:lnTo>
                  <a:lnTo>
                    <a:pt x="790" y="411"/>
                  </a:lnTo>
                  <a:lnTo>
                    <a:pt x="790" y="411"/>
                  </a:lnTo>
                  <a:lnTo>
                    <a:pt x="790" y="414"/>
                  </a:lnTo>
                  <a:lnTo>
                    <a:pt x="790" y="416"/>
                  </a:lnTo>
                  <a:lnTo>
                    <a:pt x="790" y="419"/>
                  </a:lnTo>
                  <a:lnTo>
                    <a:pt x="790" y="419"/>
                  </a:lnTo>
                  <a:lnTo>
                    <a:pt x="790" y="419"/>
                  </a:lnTo>
                  <a:lnTo>
                    <a:pt x="790" y="419"/>
                  </a:lnTo>
                  <a:lnTo>
                    <a:pt x="787" y="419"/>
                  </a:lnTo>
                  <a:lnTo>
                    <a:pt x="787" y="422"/>
                  </a:lnTo>
                  <a:lnTo>
                    <a:pt x="787" y="422"/>
                  </a:lnTo>
                  <a:lnTo>
                    <a:pt x="787" y="424"/>
                  </a:lnTo>
                  <a:lnTo>
                    <a:pt x="787" y="424"/>
                  </a:lnTo>
                  <a:lnTo>
                    <a:pt x="787" y="424"/>
                  </a:lnTo>
                  <a:lnTo>
                    <a:pt x="784" y="424"/>
                  </a:lnTo>
                  <a:lnTo>
                    <a:pt x="784" y="424"/>
                  </a:lnTo>
                  <a:lnTo>
                    <a:pt x="784" y="424"/>
                  </a:lnTo>
                  <a:lnTo>
                    <a:pt x="784" y="427"/>
                  </a:lnTo>
                  <a:lnTo>
                    <a:pt x="784" y="427"/>
                  </a:lnTo>
                  <a:lnTo>
                    <a:pt x="784" y="427"/>
                  </a:lnTo>
                  <a:lnTo>
                    <a:pt x="784" y="427"/>
                  </a:lnTo>
                  <a:lnTo>
                    <a:pt x="784" y="430"/>
                  </a:lnTo>
                  <a:lnTo>
                    <a:pt x="784" y="430"/>
                  </a:lnTo>
                  <a:lnTo>
                    <a:pt x="782" y="432"/>
                  </a:lnTo>
                  <a:lnTo>
                    <a:pt x="782" y="435"/>
                  </a:lnTo>
                  <a:lnTo>
                    <a:pt x="782" y="435"/>
                  </a:lnTo>
                  <a:lnTo>
                    <a:pt x="779" y="438"/>
                  </a:lnTo>
                  <a:lnTo>
                    <a:pt x="782" y="438"/>
                  </a:lnTo>
                  <a:lnTo>
                    <a:pt x="782" y="440"/>
                  </a:lnTo>
                  <a:lnTo>
                    <a:pt x="782" y="443"/>
                  </a:lnTo>
                  <a:lnTo>
                    <a:pt x="784" y="443"/>
                  </a:lnTo>
                  <a:lnTo>
                    <a:pt x="784" y="443"/>
                  </a:lnTo>
                  <a:lnTo>
                    <a:pt x="790" y="448"/>
                  </a:lnTo>
                  <a:lnTo>
                    <a:pt x="792" y="448"/>
                  </a:lnTo>
                  <a:lnTo>
                    <a:pt x="792" y="448"/>
                  </a:lnTo>
                  <a:lnTo>
                    <a:pt x="792" y="451"/>
                  </a:lnTo>
                  <a:lnTo>
                    <a:pt x="792" y="451"/>
                  </a:lnTo>
                  <a:lnTo>
                    <a:pt x="792" y="451"/>
                  </a:lnTo>
                  <a:lnTo>
                    <a:pt x="792" y="451"/>
                  </a:lnTo>
                  <a:lnTo>
                    <a:pt x="792" y="454"/>
                  </a:lnTo>
                  <a:lnTo>
                    <a:pt x="790" y="454"/>
                  </a:lnTo>
                  <a:lnTo>
                    <a:pt x="790" y="454"/>
                  </a:lnTo>
                  <a:lnTo>
                    <a:pt x="792" y="454"/>
                  </a:lnTo>
                  <a:lnTo>
                    <a:pt x="792" y="454"/>
                  </a:lnTo>
                  <a:lnTo>
                    <a:pt x="792" y="456"/>
                  </a:lnTo>
                  <a:lnTo>
                    <a:pt x="795" y="456"/>
                  </a:lnTo>
                  <a:lnTo>
                    <a:pt x="795" y="456"/>
                  </a:lnTo>
                  <a:lnTo>
                    <a:pt x="795" y="456"/>
                  </a:lnTo>
                  <a:lnTo>
                    <a:pt x="795" y="459"/>
                  </a:lnTo>
                  <a:lnTo>
                    <a:pt x="795" y="459"/>
                  </a:lnTo>
                  <a:lnTo>
                    <a:pt x="795" y="459"/>
                  </a:lnTo>
                  <a:lnTo>
                    <a:pt x="795" y="462"/>
                  </a:lnTo>
                  <a:lnTo>
                    <a:pt x="795" y="462"/>
                  </a:lnTo>
                  <a:lnTo>
                    <a:pt x="798" y="462"/>
                  </a:lnTo>
                  <a:lnTo>
                    <a:pt x="798" y="464"/>
                  </a:lnTo>
                  <a:lnTo>
                    <a:pt x="798" y="470"/>
                  </a:lnTo>
                  <a:lnTo>
                    <a:pt x="784" y="467"/>
                  </a:lnTo>
                  <a:lnTo>
                    <a:pt x="782" y="467"/>
                  </a:lnTo>
                  <a:lnTo>
                    <a:pt x="782" y="464"/>
                  </a:lnTo>
                  <a:lnTo>
                    <a:pt x="782" y="462"/>
                  </a:lnTo>
                  <a:lnTo>
                    <a:pt x="779" y="459"/>
                  </a:lnTo>
                  <a:lnTo>
                    <a:pt x="774" y="456"/>
                  </a:lnTo>
                  <a:lnTo>
                    <a:pt x="774" y="454"/>
                  </a:lnTo>
                  <a:lnTo>
                    <a:pt x="774" y="454"/>
                  </a:lnTo>
                  <a:lnTo>
                    <a:pt x="774" y="451"/>
                  </a:lnTo>
                  <a:lnTo>
                    <a:pt x="774" y="451"/>
                  </a:lnTo>
                  <a:lnTo>
                    <a:pt x="774" y="448"/>
                  </a:lnTo>
                  <a:lnTo>
                    <a:pt x="774" y="448"/>
                  </a:lnTo>
                  <a:lnTo>
                    <a:pt x="774" y="448"/>
                  </a:lnTo>
                  <a:lnTo>
                    <a:pt x="771" y="446"/>
                  </a:lnTo>
                  <a:lnTo>
                    <a:pt x="771" y="446"/>
                  </a:lnTo>
                  <a:lnTo>
                    <a:pt x="766" y="448"/>
                  </a:lnTo>
                  <a:lnTo>
                    <a:pt x="766" y="448"/>
                  </a:lnTo>
                  <a:lnTo>
                    <a:pt x="763" y="446"/>
                  </a:lnTo>
                  <a:lnTo>
                    <a:pt x="763" y="446"/>
                  </a:lnTo>
                  <a:lnTo>
                    <a:pt x="763" y="446"/>
                  </a:lnTo>
                  <a:lnTo>
                    <a:pt x="760" y="443"/>
                  </a:lnTo>
                  <a:lnTo>
                    <a:pt x="760" y="443"/>
                  </a:lnTo>
                  <a:lnTo>
                    <a:pt x="760" y="440"/>
                  </a:lnTo>
                  <a:lnTo>
                    <a:pt x="758" y="440"/>
                  </a:lnTo>
                  <a:lnTo>
                    <a:pt x="747" y="438"/>
                  </a:lnTo>
                  <a:lnTo>
                    <a:pt x="744" y="438"/>
                  </a:lnTo>
                  <a:lnTo>
                    <a:pt x="744" y="438"/>
                  </a:lnTo>
                  <a:lnTo>
                    <a:pt x="744" y="438"/>
                  </a:lnTo>
                  <a:lnTo>
                    <a:pt x="742" y="435"/>
                  </a:lnTo>
                  <a:lnTo>
                    <a:pt x="739" y="435"/>
                  </a:lnTo>
                  <a:lnTo>
                    <a:pt x="736" y="435"/>
                  </a:lnTo>
                  <a:lnTo>
                    <a:pt x="736" y="435"/>
                  </a:lnTo>
                  <a:lnTo>
                    <a:pt x="731" y="435"/>
                  </a:lnTo>
                  <a:lnTo>
                    <a:pt x="728" y="432"/>
                  </a:lnTo>
                  <a:lnTo>
                    <a:pt x="726" y="432"/>
                  </a:lnTo>
                  <a:lnTo>
                    <a:pt x="723" y="430"/>
                  </a:lnTo>
                  <a:lnTo>
                    <a:pt x="720" y="427"/>
                  </a:lnTo>
                  <a:lnTo>
                    <a:pt x="718" y="424"/>
                  </a:lnTo>
                  <a:lnTo>
                    <a:pt x="715" y="422"/>
                  </a:lnTo>
                  <a:lnTo>
                    <a:pt x="712" y="422"/>
                  </a:lnTo>
                  <a:lnTo>
                    <a:pt x="710" y="419"/>
                  </a:lnTo>
                  <a:lnTo>
                    <a:pt x="688" y="424"/>
                  </a:lnTo>
                  <a:lnTo>
                    <a:pt x="686" y="424"/>
                  </a:lnTo>
                  <a:lnTo>
                    <a:pt x="678" y="422"/>
                  </a:lnTo>
                  <a:lnTo>
                    <a:pt x="675" y="424"/>
                  </a:lnTo>
                  <a:lnTo>
                    <a:pt x="672" y="427"/>
                  </a:lnTo>
                  <a:lnTo>
                    <a:pt x="670" y="427"/>
                  </a:lnTo>
                  <a:lnTo>
                    <a:pt x="667" y="424"/>
                  </a:lnTo>
                  <a:lnTo>
                    <a:pt x="667" y="424"/>
                  </a:lnTo>
                  <a:lnTo>
                    <a:pt x="664" y="424"/>
                  </a:lnTo>
                  <a:lnTo>
                    <a:pt x="659" y="424"/>
                  </a:lnTo>
                  <a:lnTo>
                    <a:pt x="654" y="424"/>
                  </a:lnTo>
                  <a:lnTo>
                    <a:pt x="651" y="424"/>
                  </a:lnTo>
                  <a:lnTo>
                    <a:pt x="648" y="424"/>
                  </a:lnTo>
                  <a:lnTo>
                    <a:pt x="648" y="427"/>
                  </a:lnTo>
                  <a:lnTo>
                    <a:pt x="648" y="427"/>
                  </a:lnTo>
                  <a:lnTo>
                    <a:pt x="646" y="430"/>
                  </a:lnTo>
                  <a:lnTo>
                    <a:pt x="646" y="432"/>
                  </a:lnTo>
                  <a:lnTo>
                    <a:pt x="646" y="432"/>
                  </a:lnTo>
                  <a:lnTo>
                    <a:pt x="646" y="432"/>
                  </a:lnTo>
                  <a:lnTo>
                    <a:pt x="643" y="435"/>
                  </a:lnTo>
                  <a:lnTo>
                    <a:pt x="640" y="435"/>
                  </a:lnTo>
                  <a:lnTo>
                    <a:pt x="638" y="435"/>
                  </a:lnTo>
                  <a:lnTo>
                    <a:pt x="635" y="435"/>
                  </a:lnTo>
                  <a:lnTo>
                    <a:pt x="627" y="432"/>
                  </a:lnTo>
                  <a:lnTo>
                    <a:pt x="627" y="432"/>
                  </a:lnTo>
                  <a:lnTo>
                    <a:pt x="627" y="432"/>
                  </a:lnTo>
                  <a:lnTo>
                    <a:pt x="624" y="430"/>
                  </a:lnTo>
                  <a:lnTo>
                    <a:pt x="611" y="424"/>
                  </a:lnTo>
                  <a:lnTo>
                    <a:pt x="606" y="422"/>
                  </a:lnTo>
                  <a:lnTo>
                    <a:pt x="600" y="419"/>
                  </a:lnTo>
                  <a:lnTo>
                    <a:pt x="600" y="416"/>
                  </a:lnTo>
                  <a:lnTo>
                    <a:pt x="600" y="416"/>
                  </a:lnTo>
                  <a:lnTo>
                    <a:pt x="598" y="416"/>
                  </a:lnTo>
                  <a:lnTo>
                    <a:pt x="587" y="411"/>
                  </a:lnTo>
                  <a:lnTo>
                    <a:pt x="587" y="411"/>
                  </a:lnTo>
                  <a:lnTo>
                    <a:pt x="584" y="408"/>
                  </a:lnTo>
                  <a:lnTo>
                    <a:pt x="584" y="408"/>
                  </a:lnTo>
                  <a:lnTo>
                    <a:pt x="584" y="408"/>
                  </a:lnTo>
                  <a:lnTo>
                    <a:pt x="574" y="408"/>
                  </a:lnTo>
                  <a:lnTo>
                    <a:pt x="558" y="408"/>
                  </a:lnTo>
                  <a:lnTo>
                    <a:pt x="539" y="408"/>
                  </a:lnTo>
                  <a:lnTo>
                    <a:pt x="520" y="408"/>
                  </a:lnTo>
                  <a:lnTo>
                    <a:pt x="504" y="408"/>
                  </a:lnTo>
                  <a:lnTo>
                    <a:pt x="486" y="408"/>
                  </a:lnTo>
                  <a:lnTo>
                    <a:pt x="467" y="408"/>
                  </a:lnTo>
                  <a:lnTo>
                    <a:pt x="448" y="408"/>
                  </a:lnTo>
                  <a:lnTo>
                    <a:pt x="432" y="408"/>
                  </a:lnTo>
                  <a:lnTo>
                    <a:pt x="413" y="408"/>
                  </a:lnTo>
                  <a:lnTo>
                    <a:pt x="395" y="408"/>
                  </a:lnTo>
                  <a:lnTo>
                    <a:pt x="376" y="408"/>
                  </a:lnTo>
                  <a:lnTo>
                    <a:pt x="360" y="408"/>
                  </a:lnTo>
                  <a:lnTo>
                    <a:pt x="341" y="408"/>
                  </a:lnTo>
                  <a:lnTo>
                    <a:pt x="323" y="408"/>
                  </a:lnTo>
                  <a:lnTo>
                    <a:pt x="304" y="408"/>
                  </a:lnTo>
                  <a:lnTo>
                    <a:pt x="288" y="408"/>
                  </a:lnTo>
                  <a:lnTo>
                    <a:pt x="269" y="408"/>
                  </a:lnTo>
                  <a:lnTo>
                    <a:pt x="251" y="406"/>
                  </a:lnTo>
                  <a:lnTo>
                    <a:pt x="235" y="406"/>
                  </a:lnTo>
                  <a:lnTo>
                    <a:pt x="216" y="406"/>
                  </a:lnTo>
                  <a:lnTo>
                    <a:pt x="197" y="406"/>
                  </a:lnTo>
                  <a:lnTo>
                    <a:pt x="179" y="406"/>
                  </a:lnTo>
                  <a:lnTo>
                    <a:pt x="163" y="406"/>
                  </a:lnTo>
                  <a:lnTo>
                    <a:pt x="144" y="406"/>
                  </a:lnTo>
                  <a:lnTo>
                    <a:pt x="125" y="403"/>
                  </a:lnTo>
                  <a:lnTo>
                    <a:pt x="107" y="403"/>
                  </a:lnTo>
                  <a:lnTo>
                    <a:pt x="91" y="403"/>
                  </a:lnTo>
                  <a:lnTo>
                    <a:pt x="72" y="403"/>
                  </a:lnTo>
                  <a:lnTo>
                    <a:pt x="53" y="403"/>
                  </a:lnTo>
                  <a:lnTo>
                    <a:pt x="35" y="403"/>
                  </a:lnTo>
                  <a:lnTo>
                    <a:pt x="19" y="400"/>
                  </a:lnTo>
                  <a:lnTo>
                    <a:pt x="0" y="400"/>
                  </a:lnTo>
                  <a:lnTo>
                    <a:pt x="0" y="384"/>
                  </a:lnTo>
                  <a:lnTo>
                    <a:pt x="0" y="366"/>
                  </a:lnTo>
                  <a:lnTo>
                    <a:pt x="3" y="350"/>
                  </a:lnTo>
                  <a:lnTo>
                    <a:pt x="3" y="331"/>
                  </a:lnTo>
                  <a:lnTo>
                    <a:pt x="3" y="315"/>
                  </a:lnTo>
                  <a:lnTo>
                    <a:pt x="3" y="296"/>
                  </a:lnTo>
                  <a:lnTo>
                    <a:pt x="5" y="280"/>
                  </a:lnTo>
                  <a:lnTo>
                    <a:pt x="5" y="264"/>
                  </a:lnTo>
                  <a:lnTo>
                    <a:pt x="5" y="245"/>
                  </a:lnTo>
                  <a:lnTo>
                    <a:pt x="5" y="229"/>
                  </a:lnTo>
                  <a:lnTo>
                    <a:pt x="5" y="211"/>
                  </a:lnTo>
                  <a:lnTo>
                    <a:pt x="8" y="195"/>
                  </a:lnTo>
                  <a:lnTo>
                    <a:pt x="8" y="179"/>
                  </a:lnTo>
                  <a:lnTo>
                    <a:pt x="8" y="160"/>
                  </a:lnTo>
                  <a:lnTo>
                    <a:pt x="8" y="144"/>
                  </a:lnTo>
                  <a:lnTo>
                    <a:pt x="8" y="125"/>
                  </a:lnTo>
                  <a:lnTo>
                    <a:pt x="13" y="128"/>
                  </a:lnTo>
                  <a:lnTo>
                    <a:pt x="13" y="125"/>
                  </a:lnTo>
                  <a:lnTo>
                    <a:pt x="13" y="117"/>
                  </a:lnTo>
                  <a:lnTo>
                    <a:pt x="13" y="101"/>
                  </a:lnTo>
                  <a:lnTo>
                    <a:pt x="13" y="88"/>
                  </a:lnTo>
                  <a:lnTo>
                    <a:pt x="13" y="72"/>
                  </a:lnTo>
                  <a:lnTo>
                    <a:pt x="16" y="58"/>
                  </a:lnTo>
                  <a:lnTo>
                    <a:pt x="16" y="42"/>
                  </a:lnTo>
                  <a:lnTo>
                    <a:pt x="16" y="29"/>
                  </a:lnTo>
                  <a:lnTo>
                    <a:pt x="16" y="13"/>
                  </a:lnTo>
                  <a:lnTo>
                    <a:pt x="16" y="0"/>
                  </a:lnTo>
                  <a:lnTo>
                    <a:pt x="40" y="0"/>
                  </a:lnTo>
                  <a:lnTo>
                    <a:pt x="64" y="0"/>
                  </a:lnTo>
                  <a:lnTo>
                    <a:pt x="88" y="0"/>
                  </a:lnTo>
                  <a:lnTo>
                    <a:pt x="112" y="2"/>
                  </a:lnTo>
                  <a:lnTo>
                    <a:pt x="136" y="2"/>
                  </a:lnTo>
                  <a:lnTo>
                    <a:pt x="160" y="2"/>
                  </a:lnTo>
                  <a:lnTo>
                    <a:pt x="181" y="2"/>
                  </a:lnTo>
                  <a:lnTo>
                    <a:pt x="205" y="5"/>
                  </a:lnTo>
                  <a:lnTo>
                    <a:pt x="229" y="5"/>
                  </a:lnTo>
                  <a:lnTo>
                    <a:pt x="253" y="5"/>
                  </a:lnTo>
                  <a:lnTo>
                    <a:pt x="277" y="5"/>
                  </a:lnTo>
                  <a:lnTo>
                    <a:pt x="301" y="5"/>
                  </a:lnTo>
                  <a:lnTo>
                    <a:pt x="325" y="5"/>
                  </a:lnTo>
                  <a:lnTo>
                    <a:pt x="349" y="5"/>
                  </a:lnTo>
                  <a:lnTo>
                    <a:pt x="371" y="5"/>
                  </a:lnTo>
                  <a:lnTo>
                    <a:pt x="395" y="5"/>
                  </a:lnTo>
                  <a:lnTo>
                    <a:pt x="419" y="5"/>
                  </a:lnTo>
                  <a:lnTo>
                    <a:pt x="443" y="5"/>
                  </a:lnTo>
                  <a:lnTo>
                    <a:pt x="467" y="5"/>
                  </a:lnTo>
                  <a:lnTo>
                    <a:pt x="491" y="5"/>
                  </a:lnTo>
                  <a:lnTo>
                    <a:pt x="515" y="5"/>
                  </a:lnTo>
                  <a:lnTo>
                    <a:pt x="539" y="5"/>
                  </a:lnTo>
                  <a:lnTo>
                    <a:pt x="563" y="5"/>
                  </a:lnTo>
                  <a:lnTo>
                    <a:pt x="584" y="5"/>
                  </a:lnTo>
                  <a:lnTo>
                    <a:pt x="608" y="5"/>
                  </a:lnTo>
                  <a:lnTo>
                    <a:pt x="632" y="5"/>
                  </a:lnTo>
                  <a:lnTo>
                    <a:pt x="656" y="2"/>
                  </a:lnTo>
                  <a:lnTo>
                    <a:pt x="680" y="2"/>
                  </a:lnTo>
                  <a:lnTo>
                    <a:pt x="704" y="2"/>
                  </a:lnTo>
                  <a:lnTo>
                    <a:pt x="728" y="2"/>
                  </a:lnTo>
                  <a:lnTo>
                    <a:pt x="752" y="2"/>
                  </a:lnTo>
                  <a:lnTo>
                    <a:pt x="776" y="0"/>
                  </a:lnTo>
                  <a:lnTo>
                    <a:pt x="776" y="0"/>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18" name="Freeform 15">
              <a:extLst>
                <a:ext uri="{FF2B5EF4-FFF2-40B4-BE49-F238E27FC236}">
                  <a16:creationId xmlns="" xmlns:a16="http://schemas.microsoft.com/office/drawing/2014/main" id="{207DA3B3-2E3F-4D6F-9288-ACC0C8082BB8}"/>
                </a:ext>
              </a:extLst>
            </p:cNvPr>
            <p:cNvSpPr>
              <a:spLocks noEditPoints="1"/>
            </p:cNvSpPr>
            <p:nvPr/>
          </p:nvSpPr>
          <p:spPr bwMode="auto">
            <a:xfrm>
              <a:off x="5566" y="2004"/>
              <a:ext cx="571" cy="427"/>
            </a:xfrm>
            <a:custGeom>
              <a:avLst/>
              <a:gdLst>
                <a:gd name="T0" fmla="*/ 505 w 571"/>
                <a:gd name="T1" fmla="*/ 251 h 427"/>
                <a:gd name="T2" fmla="*/ 534 w 571"/>
                <a:gd name="T3" fmla="*/ 96 h 427"/>
                <a:gd name="T4" fmla="*/ 422 w 571"/>
                <a:gd name="T5" fmla="*/ 18 h 427"/>
                <a:gd name="T6" fmla="*/ 355 w 571"/>
                <a:gd name="T7" fmla="*/ 29 h 427"/>
                <a:gd name="T8" fmla="*/ 291 w 571"/>
                <a:gd name="T9" fmla="*/ 37 h 427"/>
                <a:gd name="T10" fmla="*/ 267 w 571"/>
                <a:gd name="T11" fmla="*/ 2 h 427"/>
                <a:gd name="T12" fmla="*/ 256 w 571"/>
                <a:gd name="T13" fmla="*/ 8 h 427"/>
                <a:gd name="T14" fmla="*/ 254 w 571"/>
                <a:gd name="T15" fmla="*/ 0 h 427"/>
                <a:gd name="T16" fmla="*/ 163 w 571"/>
                <a:gd name="T17" fmla="*/ 8 h 427"/>
                <a:gd name="T18" fmla="*/ 102 w 571"/>
                <a:gd name="T19" fmla="*/ 16 h 427"/>
                <a:gd name="T20" fmla="*/ 96 w 571"/>
                <a:gd name="T21" fmla="*/ 21 h 427"/>
                <a:gd name="T22" fmla="*/ 75 w 571"/>
                <a:gd name="T23" fmla="*/ 32 h 427"/>
                <a:gd name="T24" fmla="*/ 64 w 571"/>
                <a:gd name="T25" fmla="*/ 40 h 427"/>
                <a:gd name="T26" fmla="*/ 22 w 571"/>
                <a:gd name="T27" fmla="*/ 61 h 427"/>
                <a:gd name="T28" fmla="*/ 6 w 571"/>
                <a:gd name="T29" fmla="*/ 85 h 427"/>
                <a:gd name="T30" fmla="*/ 16 w 571"/>
                <a:gd name="T31" fmla="*/ 112 h 427"/>
                <a:gd name="T32" fmla="*/ 46 w 571"/>
                <a:gd name="T33" fmla="*/ 128 h 427"/>
                <a:gd name="T34" fmla="*/ 86 w 571"/>
                <a:gd name="T35" fmla="*/ 165 h 427"/>
                <a:gd name="T36" fmla="*/ 104 w 571"/>
                <a:gd name="T37" fmla="*/ 184 h 427"/>
                <a:gd name="T38" fmla="*/ 134 w 571"/>
                <a:gd name="T39" fmla="*/ 205 h 427"/>
                <a:gd name="T40" fmla="*/ 174 w 571"/>
                <a:gd name="T41" fmla="*/ 235 h 427"/>
                <a:gd name="T42" fmla="*/ 192 w 571"/>
                <a:gd name="T43" fmla="*/ 259 h 427"/>
                <a:gd name="T44" fmla="*/ 206 w 571"/>
                <a:gd name="T45" fmla="*/ 270 h 427"/>
                <a:gd name="T46" fmla="*/ 219 w 571"/>
                <a:gd name="T47" fmla="*/ 288 h 427"/>
                <a:gd name="T48" fmla="*/ 254 w 571"/>
                <a:gd name="T49" fmla="*/ 307 h 427"/>
                <a:gd name="T50" fmla="*/ 270 w 571"/>
                <a:gd name="T51" fmla="*/ 342 h 427"/>
                <a:gd name="T52" fmla="*/ 273 w 571"/>
                <a:gd name="T53" fmla="*/ 355 h 427"/>
                <a:gd name="T54" fmla="*/ 291 w 571"/>
                <a:gd name="T55" fmla="*/ 366 h 427"/>
                <a:gd name="T56" fmla="*/ 310 w 571"/>
                <a:gd name="T57" fmla="*/ 390 h 427"/>
                <a:gd name="T58" fmla="*/ 313 w 571"/>
                <a:gd name="T59" fmla="*/ 411 h 427"/>
                <a:gd name="T60" fmla="*/ 323 w 571"/>
                <a:gd name="T61" fmla="*/ 425 h 427"/>
                <a:gd name="T62" fmla="*/ 347 w 571"/>
                <a:gd name="T63" fmla="*/ 425 h 427"/>
                <a:gd name="T64" fmla="*/ 355 w 571"/>
                <a:gd name="T65" fmla="*/ 395 h 427"/>
                <a:gd name="T66" fmla="*/ 361 w 571"/>
                <a:gd name="T67" fmla="*/ 392 h 427"/>
                <a:gd name="T68" fmla="*/ 345 w 571"/>
                <a:gd name="T69" fmla="*/ 363 h 427"/>
                <a:gd name="T70" fmla="*/ 350 w 571"/>
                <a:gd name="T71" fmla="*/ 363 h 427"/>
                <a:gd name="T72" fmla="*/ 366 w 571"/>
                <a:gd name="T73" fmla="*/ 379 h 427"/>
                <a:gd name="T74" fmla="*/ 366 w 571"/>
                <a:gd name="T75" fmla="*/ 366 h 427"/>
                <a:gd name="T76" fmla="*/ 382 w 571"/>
                <a:gd name="T77" fmla="*/ 387 h 427"/>
                <a:gd name="T78" fmla="*/ 393 w 571"/>
                <a:gd name="T79" fmla="*/ 368 h 427"/>
                <a:gd name="T80" fmla="*/ 382 w 571"/>
                <a:gd name="T81" fmla="*/ 374 h 427"/>
                <a:gd name="T82" fmla="*/ 385 w 571"/>
                <a:gd name="T83" fmla="*/ 358 h 427"/>
                <a:gd name="T84" fmla="*/ 361 w 571"/>
                <a:gd name="T85" fmla="*/ 355 h 427"/>
                <a:gd name="T86" fmla="*/ 379 w 571"/>
                <a:gd name="T87" fmla="*/ 350 h 427"/>
                <a:gd name="T88" fmla="*/ 398 w 571"/>
                <a:gd name="T89" fmla="*/ 350 h 427"/>
                <a:gd name="T90" fmla="*/ 414 w 571"/>
                <a:gd name="T91" fmla="*/ 342 h 427"/>
                <a:gd name="T92" fmla="*/ 419 w 571"/>
                <a:gd name="T93" fmla="*/ 339 h 427"/>
                <a:gd name="T94" fmla="*/ 435 w 571"/>
                <a:gd name="T95" fmla="*/ 323 h 427"/>
                <a:gd name="T96" fmla="*/ 446 w 571"/>
                <a:gd name="T97" fmla="*/ 310 h 427"/>
                <a:gd name="T98" fmla="*/ 441 w 571"/>
                <a:gd name="T99" fmla="*/ 299 h 427"/>
                <a:gd name="T100" fmla="*/ 443 w 571"/>
                <a:gd name="T101" fmla="*/ 302 h 427"/>
                <a:gd name="T102" fmla="*/ 467 w 571"/>
                <a:gd name="T103" fmla="*/ 288 h 427"/>
                <a:gd name="T104" fmla="*/ 478 w 571"/>
                <a:gd name="T105" fmla="*/ 275 h 427"/>
                <a:gd name="T106" fmla="*/ 483 w 571"/>
                <a:gd name="T107" fmla="*/ 262 h 427"/>
                <a:gd name="T108" fmla="*/ 499 w 571"/>
                <a:gd name="T109" fmla="*/ 254 h 427"/>
                <a:gd name="T110" fmla="*/ 510 w 571"/>
                <a:gd name="T111" fmla="*/ 243 h 427"/>
                <a:gd name="T112" fmla="*/ 513 w 571"/>
                <a:gd name="T113" fmla="*/ 237 h 427"/>
                <a:gd name="T114" fmla="*/ 510 w 571"/>
                <a:gd name="T115" fmla="*/ 224 h 427"/>
                <a:gd name="T116" fmla="*/ 510 w 571"/>
                <a:gd name="T117" fmla="*/ 200 h 427"/>
                <a:gd name="T118" fmla="*/ 518 w 571"/>
                <a:gd name="T119" fmla="*/ 227 h 427"/>
                <a:gd name="T120" fmla="*/ 566 w 571"/>
                <a:gd name="T121" fmla="*/ 128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1" h="427">
                  <a:moveTo>
                    <a:pt x="502" y="251"/>
                  </a:moveTo>
                  <a:lnTo>
                    <a:pt x="502" y="254"/>
                  </a:lnTo>
                  <a:lnTo>
                    <a:pt x="502" y="256"/>
                  </a:lnTo>
                  <a:lnTo>
                    <a:pt x="499" y="259"/>
                  </a:lnTo>
                  <a:lnTo>
                    <a:pt x="502" y="262"/>
                  </a:lnTo>
                  <a:lnTo>
                    <a:pt x="502" y="262"/>
                  </a:lnTo>
                  <a:lnTo>
                    <a:pt x="502" y="254"/>
                  </a:lnTo>
                  <a:lnTo>
                    <a:pt x="502" y="254"/>
                  </a:lnTo>
                  <a:lnTo>
                    <a:pt x="505" y="254"/>
                  </a:lnTo>
                  <a:lnTo>
                    <a:pt x="505" y="251"/>
                  </a:lnTo>
                  <a:lnTo>
                    <a:pt x="505" y="251"/>
                  </a:lnTo>
                  <a:lnTo>
                    <a:pt x="502" y="251"/>
                  </a:lnTo>
                  <a:close/>
                  <a:moveTo>
                    <a:pt x="569" y="125"/>
                  </a:moveTo>
                  <a:lnTo>
                    <a:pt x="569" y="125"/>
                  </a:lnTo>
                  <a:lnTo>
                    <a:pt x="569" y="125"/>
                  </a:lnTo>
                  <a:lnTo>
                    <a:pt x="566" y="125"/>
                  </a:lnTo>
                  <a:lnTo>
                    <a:pt x="566" y="123"/>
                  </a:lnTo>
                  <a:lnTo>
                    <a:pt x="569" y="123"/>
                  </a:lnTo>
                  <a:lnTo>
                    <a:pt x="561" y="115"/>
                  </a:lnTo>
                  <a:lnTo>
                    <a:pt x="553" y="109"/>
                  </a:lnTo>
                  <a:lnTo>
                    <a:pt x="542" y="104"/>
                  </a:lnTo>
                  <a:lnTo>
                    <a:pt x="534" y="96"/>
                  </a:lnTo>
                  <a:lnTo>
                    <a:pt x="523" y="91"/>
                  </a:lnTo>
                  <a:lnTo>
                    <a:pt x="515" y="85"/>
                  </a:lnTo>
                  <a:lnTo>
                    <a:pt x="507" y="77"/>
                  </a:lnTo>
                  <a:lnTo>
                    <a:pt x="497" y="72"/>
                  </a:lnTo>
                  <a:lnTo>
                    <a:pt x="489" y="67"/>
                  </a:lnTo>
                  <a:lnTo>
                    <a:pt x="470" y="53"/>
                  </a:lnTo>
                  <a:lnTo>
                    <a:pt x="454" y="40"/>
                  </a:lnTo>
                  <a:lnTo>
                    <a:pt x="443" y="34"/>
                  </a:lnTo>
                  <a:lnTo>
                    <a:pt x="435" y="29"/>
                  </a:lnTo>
                  <a:lnTo>
                    <a:pt x="427" y="21"/>
                  </a:lnTo>
                  <a:lnTo>
                    <a:pt x="422" y="18"/>
                  </a:lnTo>
                  <a:lnTo>
                    <a:pt x="419" y="18"/>
                  </a:lnTo>
                  <a:lnTo>
                    <a:pt x="417" y="18"/>
                  </a:lnTo>
                  <a:lnTo>
                    <a:pt x="411" y="18"/>
                  </a:lnTo>
                  <a:lnTo>
                    <a:pt x="411" y="21"/>
                  </a:lnTo>
                  <a:lnTo>
                    <a:pt x="406" y="21"/>
                  </a:lnTo>
                  <a:lnTo>
                    <a:pt x="401" y="21"/>
                  </a:lnTo>
                  <a:lnTo>
                    <a:pt x="395" y="24"/>
                  </a:lnTo>
                  <a:lnTo>
                    <a:pt x="385" y="24"/>
                  </a:lnTo>
                  <a:lnTo>
                    <a:pt x="377" y="26"/>
                  </a:lnTo>
                  <a:lnTo>
                    <a:pt x="366" y="26"/>
                  </a:lnTo>
                  <a:lnTo>
                    <a:pt x="355" y="29"/>
                  </a:lnTo>
                  <a:lnTo>
                    <a:pt x="345" y="29"/>
                  </a:lnTo>
                  <a:lnTo>
                    <a:pt x="334" y="32"/>
                  </a:lnTo>
                  <a:lnTo>
                    <a:pt x="323" y="34"/>
                  </a:lnTo>
                  <a:lnTo>
                    <a:pt x="315" y="34"/>
                  </a:lnTo>
                  <a:lnTo>
                    <a:pt x="307" y="37"/>
                  </a:lnTo>
                  <a:lnTo>
                    <a:pt x="302" y="37"/>
                  </a:lnTo>
                  <a:lnTo>
                    <a:pt x="299" y="37"/>
                  </a:lnTo>
                  <a:lnTo>
                    <a:pt x="299" y="37"/>
                  </a:lnTo>
                  <a:lnTo>
                    <a:pt x="294" y="37"/>
                  </a:lnTo>
                  <a:lnTo>
                    <a:pt x="291" y="37"/>
                  </a:lnTo>
                  <a:lnTo>
                    <a:pt x="291" y="37"/>
                  </a:lnTo>
                  <a:lnTo>
                    <a:pt x="291" y="37"/>
                  </a:lnTo>
                  <a:lnTo>
                    <a:pt x="291" y="37"/>
                  </a:lnTo>
                  <a:lnTo>
                    <a:pt x="289" y="21"/>
                  </a:lnTo>
                  <a:lnTo>
                    <a:pt x="289" y="21"/>
                  </a:lnTo>
                  <a:lnTo>
                    <a:pt x="289" y="21"/>
                  </a:lnTo>
                  <a:lnTo>
                    <a:pt x="283" y="13"/>
                  </a:lnTo>
                  <a:lnTo>
                    <a:pt x="275" y="8"/>
                  </a:lnTo>
                  <a:lnTo>
                    <a:pt x="270" y="2"/>
                  </a:lnTo>
                  <a:lnTo>
                    <a:pt x="270" y="2"/>
                  </a:lnTo>
                  <a:lnTo>
                    <a:pt x="270" y="2"/>
                  </a:lnTo>
                  <a:lnTo>
                    <a:pt x="267" y="2"/>
                  </a:lnTo>
                  <a:lnTo>
                    <a:pt x="267" y="2"/>
                  </a:lnTo>
                  <a:lnTo>
                    <a:pt x="259" y="10"/>
                  </a:lnTo>
                  <a:lnTo>
                    <a:pt x="259" y="10"/>
                  </a:lnTo>
                  <a:lnTo>
                    <a:pt x="259" y="10"/>
                  </a:lnTo>
                  <a:lnTo>
                    <a:pt x="256" y="10"/>
                  </a:lnTo>
                  <a:lnTo>
                    <a:pt x="256" y="10"/>
                  </a:lnTo>
                  <a:lnTo>
                    <a:pt x="256" y="10"/>
                  </a:lnTo>
                  <a:lnTo>
                    <a:pt x="256" y="8"/>
                  </a:lnTo>
                  <a:lnTo>
                    <a:pt x="256" y="8"/>
                  </a:lnTo>
                  <a:lnTo>
                    <a:pt x="256" y="8"/>
                  </a:lnTo>
                  <a:lnTo>
                    <a:pt x="256" y="8"/>
                  </a:lnTo>
                  <a:lnTo>
                    <a:pt x="256" y="8"/>
                  </a:lnTo>
                  <a:lnTo>
                    <a:pt x="256" y="2"/>
                  </a:lnTo>
                  <a:lnTo>
                    <a:pt x="256" y="2"/>
                  </a:lnTo>
                  <a:lnTo>
                    <a:pt x="256" y="2"/>
                  </a:lnTo>
                  <a:lnTo>
                    <a:pt x="256" y="2"/>
                  </a:lnTo>
                  <a:lnTo>
                    <a:pt x="256" y="0"/>
                  </a:lnTo>
                  <a:lnTo>
                    <a:pt x="256" y="0"/>
                  </a:lnTo>
                  <a:lnTo>
                    <a:pt x="256" y="0"/>
                  </a:lnTo>
                  <a:lnTo>
                    <a:pt x="254" y="0"/>
                  </a:lnTo>
                  <a:lnTo>
                    <a:pt x="254" y="0"/>
                  </a:lnTo>
                  <a:lnTo>
                    <a:pt x="254" y="0"/>
                  </a:lnTo>
                  <a:lnTo>
                    <a:pt x="251" y="0"/>
                  </a:lnTo>
                  <a:lnTo>
                    <a:pt x="246" y="0"/>
                  </a:lnTo>
                  <a:lnTo>
                    <a:pt x="238" y="0"/>
                  </a:lnTo>
                  <a:lnTo>
                    <a:pt x="232" y="2"/>
                  </a:lnTo>
                  <a:lnTo>
                    <a:pt x="222" y="2"/>
                  </a:lnTo>
                  <a:lnTo>
                    <a:pt x="214" y="2"/>
                  </a:lnTo>
                  <a:lnTo>
                    <a:pt x="203" y="5"/>
                  </a:lnTo>
                  <a:lnTo>
                    <a:pt x="192" y="5"/>
                  </a:lnTo>
                  <a:lnTo>
                    <a:pt x="182" y="8"/>
                  </a:lnTo>
                  <a:lnTo>
                    <a:pt x="174" y="8"/>
                  </a:lnTo>
                  <a:lnTo>
                    <a:pt x="163" y="8"/>
                  </a:lnTo>
                  <a:lnTo>
                    <a:pt x="152" y="10"/>
                  </a:lnTo>
                  <a:lnTo>
                    <a:pt x="144" y="10"/>
                  </a:lnTo>
                  <a:lnTo>
                    <a:pt x="136" y="13"/>
                  </a:lnTo>
                  <a:lnTo>
                    <a:pt x="131" y="13"/>
                  </a:lnTo>
                  <a:lnTo>
                    <a:pt x="126" y="13"/>
                  </a:lnTo>
                  <a:lnTo>
                    <a:pt x="120" y="13"/>
                  </a:lnTo>
                  <a:lnTo>
                    <a:pt x="120" y="13"/>
                  </a:lnTo>
                  <a:lnTo>
                    <a:pt x="112" y="16"/>
                  </a:lnTo>
                  <a:lnTo>
                    <a:pt x="104" y="16"/>
                  </a:lnTo>
                  <a:lnTo>
                    <a:pt x="104" y="16"/>
                  </a:lnTo>
                  <a:lnTo>
                    <a:pt x="102" y="16"/>
                  </a:lnTo>
                  <a:lnTo>
                    <a:pt x="102" y="16"/>
                  </a:lnTo>
                  <a:lnTo>
                    <a:pt x="102" y="16"/>
                  </a:lnTo>
                  <a:lnTo>
                    <a:pt x="102" y="16"/>
                  </a:lnTo>
                  <a:lnTo>
                    <a:pt x="102" y="16"/>
                  </a:lnTo>
                  <a:lnTo>
                    <a:pt x="102" y="16"/>
                  </a:lnTo>
                  <a:lnTo>
                    <a:pt x="99" y="16"/>
                  </a:lnTo>
                  <a:lnTo>
                    <a:pt x="99" y="16"/>
                  </a:lnTo>
                  <a:lnTo>
                    <a:pt x="96" y="18"/>
                  </a:lnTo>
                  <a:lnTo>
                    <a:pt x="96" y="18"/>
                  </a:lnTo>
                  <a:lnTo>
                    <a:pt x="96" y="21"/>
                  </a:lnTo>
                  <a:lnTo>
                    <a:pt x="96" y="21"/>
                  </a:lnTo>
                  <a:lnTo>
                    <a:pt x="96" y="21"/>
                  </a:lnTo>
                  <a:lnTo>
                    <a:pt x="91" y="21"/>
                  </a:lnTo>
                  <a:lnTo>
                    <a:pt x="91" y="24"/>
                  </a:lnTo>
                  <a:lnTo>
                    <a:pt x="91" y="24"/>
                  </a:lnTo>
                  <a:lnTo>
                    <a:pt x="88" y="24"/>
                  </a:lnTo>
                  <a:lnTo>
                    <a:pt x="88" y="24"/>
                  </a:lnTo>
                  <a:lnTo>
                    <a:pt x="88" y="24"/>
                  </a:lnTo>
                  <a:lnTo>
                    <a:pt x="83" y="26"/>
                  </a:lnTo>
                  <a:lnTo>
                    <a:pt x="83" y="26"/>
                  </a:lnTo>
                  <a:lnTo>
                    <a:pt x="78" y="29"/>
                  </a:lnTo>
                  <a:lnTo>
                    <a:pt x="75" y="32"/>
                  </a:lnTo>
                  <a:lnTo>
                    <a:pt x="72" y="32"/>
                  </a:lnTo>
                  <a:lnTo>
                    <a:pt x="72" y="32"/>
                  </a:lnTo>
                  <a:lnTo>
                    <a:pt x="70" y="32"/>
                  </a:lnTo>
                  <a:lnTo>
                    <a:pt x="70" y="32"/>
                  </a:lnTo>
                  <a:lnTo>
                    <a:pt x="70" y="34"/>
                  </a:lnTo>
                  <a:lnTo>
                    <a:pt x="70" y="34"/>
                  </a:lnTo>
                  <a:lnTo>
                    <a:pt x="70" y="34"/>
                  </a:lnTo>
                  <a:lnTo>
                    <a:pt x="67" y="37"/>
                  </a:lnTo>
                  <a:lnTo>
                    <a:pt x="67" y="37"/>
                  </a:lnTo>
                  <a:lnTo>
                    <a:pt x="64" y="40"/>
                  </a:lnTo>
                  <a:lnTo>
                    <a:pt x="64" y="40"/>
                  </a:lnTo>
                  <a:lnTo>
                    <a:pt x="62" y="42"/>
                  </a:lnTo>
                  <a:lnTo>
                    <a:pt x="62" y="42"/>
                  </a:lnTo>
                  <a:lnTo>
                    <a:pt x="62" y="42"/>
                  </a:lnTo>
                  <a:lnTo>
                    <a:pt x="62" y="40"/>
                  </a:lnTo>
                  <a:lnTo>
                    <a:pt x="59" y="40"/>
                  </a:lnTo>
                  <a:lnTo>
                    <a:pt x="56" y="42"/>
                  </a:lnTo>
                  <a:lnTo>
                    <a:pt x="24" y="58"/>
                  </a:lnTo>
                  <a:lnTo>
                    <a:pt x="22" y="58"/>
                  </a:lnTo>
                  <a:lnTo>
                    <a:pt x="22" y="58"/>
                  </a:lnTo>
                  <a:lnTo>
                    <a:pt x="22" y="61"/>
                  </a:lnTo>
                  <a:lnTo>
                    <a:pt x="22" y="61"/>
                  </a:lnTo>
                  <a:lnTo>
                    <a:pt x="22" y="64"/>
                  </a:lnTo>
                  <a:lnTo>
                    <a:pt x="22" y="64"/>
                  </a:lnTo>
                  <a:lnTo>
                    <a:pt x="16" y="67"/>
                  </a:lnTo>
                  <a:lnTo>
                    <a:pt x="16" y="67"/>
                  </a:lnTo>
                  <a:lnTo>
                    <a:pt x="11" y="72"/>
                  </a:lnTo>
                  <a:lnTo>
                    <a:pt x="11" y="72"/>
                  </a:lnTo>
                  <a:lnTo>
                    <a:pt x="11" y="75"/>
                  </a:lnTo>
                  <a:lnTo>
                    <a:pt x="8" y="80"/>
                  </a:lnTo>
                  <a:lnTo>
                    <a:pt x="8" y="83"/>
                  </a:lnTo>
                  <a:lnTo>
                    <a:pt x="8" y="83"/>
                  </a:lnTo>
                  <a:lnTo>
                    <a:pt x="6" y="85"/>
                  </a:lnTo>
                  <a:lnTo>
                    <a:pt x="6" y="85"/>
                  </a:lnTo>
                  <a:lnTo>
                    <a:pt x="3" y="88"/>
                  </a:lnTo>
                  <a:lnTo>
                    <a:pt x="3" y="91"/>
                  </a:lnTo>
                  <a:lnTo>
                    <a:pt x="3" y="91"/>
                  </a:lnTo>
                  <a:lnTo>
                    <a:pt x="3" y="91"/>
                  </a:lnTo>
                  <a:lnTo>
                    <a:pt x="3" y="93"/>
                  </a:lnTo>
                  <a:lnTo>
                    <a:pt x="3" y="93"/>
                  </a:lnTo>
                  <a:lnTo>
                    <a:pt x="0" y="96"/>
                  </a:lnTo>
                  <a:lnTo>
                    <a:pt x="0" y="104"/>
                  </a:lnTo>
                  <a:lnTo>
                    <a:pt x="6" y="107"/>
                  </a:lnTo>
                  <a:lnTo>
                    <a:pt x="16" y="112"/>
                  </a:lnTo>
                  <a:lnTo>
                    <a:pt x="22" y="115"/>
                  </a:lnTo>
                  <a:lnTo>
                    <a:pt x="24" y="112"/>
                  </a:lnTo>
                  <a:lnTo>
                    <a:pt x="24" y="112"/>
                  </a:lnTo>
                  <a:lnTo>
                    <a:pt x="24" y="115"/>
                  </a:lnTo>
                  <a:lnTo>
                    <a:pt x="27" y="117"/>
                  </a:lnTo>
                  <a:lnTo>
                    <a:pt x="30" y="117"/>
                  </a:lnTo>
                  <a:lnTo>
                    <a:pt x="35" y="120"/>
                  </a:lnTo>
                  <a:lnTo>
                    <a:pt x="38" y="123"/>
                  </a:lnTo>
                  <a:lnTo>
                    <a:pt x="38" y="125"/>
                  </a:lnTo>
                  <a:lnTo>
                    <a:pt x="40" y="128"/>
                  </a:lnTo>
                  <a:lnTo>
                    <a:pt x="46" y="128"/>
                  </a:lnTo>
                  <a:lnTo>
                    <a:pt x="51" y="128"/>
                  </a:lnTo>
                  <a:lnTo>
                    <a:pt x="59" y="125"/>
                  </a:lnTo>
                  <a:lnTo>
                    <a:pt x="64" y="128"/>
                  </a:lnTo>
                  <a:lnTo>
                    <a:pt x="64" y="131"/>
                  </a:lnTo>
                  <a:lnTo>
                    <a:pt x="67" y="136"/>
                  </a:lnTo>
                  <a:lnTo>
                    <a:pt x="70" y="139"/>
                  </a:lnTo>
                  <a:lnTo>
                    <a:pt x="70" y="141"/>
                  </a:lnTo>
                  <a:lnTo>
                    <a:pt x="78" y="149"/>
                  </a:lnTo>
                  <a:lnTo>
                    <a:pt x="80" y="152"/>
                  </a:lnTo>
                  <a:lnTo>
                    <a:pt x="83" y="165"/>
                  </a:lnTo>
                  <a:lnTo>
                    <a:pt x="86" y="165"/>
                  </a:lnTo>
                  <a:lnTo>
                    <a:pt x="86" y="168"/>
                  </a:lnTo>
                  <a:lnTo>
                    <a:pt x="88" y="168"/>
                  </a:lnTo>
                  <a:lnTo>
                    <a:pt x="91" y="171"/>
                  </a:lnTo>
                  <a:lnTo>
                    <a:pt x="94" y="171"/>
                  </a:lnTo>
                  <a:lnTo>
                    <a:pt x="94" y="173"/>
                  </a:lnTo>
                  <a:lnTo>
                    <a:pt x="96" y="173"/>
                  </a:lnTo>
                  <a:lnTo>
                    <a:pt x="96" y="176"/>
                  </a:lnTo>
                  <a:lnTo>
                    <a:pt x="99" y="179"/>
                  </a:lnTo>
                  <a:lnTo>
                    <a:pt x="102" y="181"/>
                  </a:lnTo>
                  <a:lnTo>
                    <a:pt x="102" y="181"/>
                  </a:lnTo>
                  <a:lnTo>
                    <a:pt x="104" y="184"/>
                  </a:lnTo>
                  <a:lnTo>
                    <a:pt x="107" y="189"/>
                  </a:lnTo>
                  <a:lnTo>
                    <a:pt x="107" y="192"/>
                  </a:lnTo>
                  <a:lnTo>
                    <a:pt x="110" y="192"/>
                  </a:lnTo>
                  <a:lnTo>
                    <a:pt x="112" y="192"/>
                  </a:lnTo>
                  <a:lnTo>
                    <a:pt x="112" y="192"/>
                  </a:lnTo>
                  <a:lnTo>
                    <a:pt x="115" y="195"/>
                  </a:lnTo>
                  <a:lnTo>
                    <a:pt x="118" y="197"/>
                  </a:lnTo>
                  <a:lnTo>
                    <a:pt x="120" y="200"/>
                  </a:lnTo>
                  <a:lnTo>
                    <a:pt x="126" y="203"/>
                  </a:lnTo>
                  <a:lnTo>
                    <a:pt x="128" y="203"/>
                  </a:lnTo>
                  <a:lnTo>
                    <a:pt x="134" y="205"/>
                  </a:lnTo>
                  <a:lnTo>
                    <a:pt x="139" y="208"/>
                  </a:lnTo>
                  <a:lnTo>
                    <a:pt x="147" y="213"/>
                  </a:lnTo>
                  <a:lnTo>
                    <a:pt x="150" y="216"/>
                  </a:lnTo>
                  <a:lnTo>
                    <a:pt x="152" y="221"/>
                  </a:lnTo>
                  <a:lnTo>
                    <a:pt x="155" y="224"/>
                  </a:lnTo>
                  <a:lnTo>
                    <a:pt x="155" y="227"/>
                  </a:lnTo>
                  <a:lnTo>
                    <a:pt x="158" y="232"/>
                  </a:lnTo>
                  <a:lnTo>
                    <a:pt x="160" y="232"/>
                  </a:lnTo>
                  <a:lnTo>
                    <a:pt x="163" y="235"/>
                  </a:lnTo>
                  <a:lnTo>
                    <a:pt x="166" y="235"/>
                  </a:lnTo>
                  <a:lnTo>
                    <a:pt x="174" y="235"/>
                  </a:lnTo>
                  <a:lnTo>
                    <a:pt x="174" y="237"/>
                  </a:lnTo>
                  <a:lnTo>
                    <a:pt x="179" y="237"/>
                  </a:lnTo>
                  <a:lnTo>
                    <a:pt x="184" y="243"/>
                  </a:lnTo>
                  <a:lnTo>
                    <a:pt x="187" y="246"/>
                  </a:lnTo>
                  <a:lnTo>
                    <a:pt x="192" y="248"/>
                  </a:lnTo>
                  <a:lnTo>
                    <a:pt x="192" y="251"/>
                  </a:lnTo>
                  <a:lnTo>
                    <a:pt x="192" y="254"/>
                  </a:lnTo>
                  <a:lnTo>
                    <a:pt x="195" y="254"/>
                  </a:lnTo>
                  <a:lnTo>
                    <a:pt x="195" y="256"/>
                  </a:lnTo>
                  <a:lnTo>
                    <a:pt x="192" y="256"/>
                  </a:lnTo>
                  <a:lnTo>
                    <a:pt x="192" y="259"/>
                  </a:lnTo>
                  <a:lnTo>
                    <a:pt x="195" y="262"/>
                  </a:lnTo>
                  <a:lnTo>
                    <a:pt x="195" y="262"/>
                  </a:lnTo>
                  <a:lnTo>
                    <a:pt x="195" y="264"/>
                  </a:lnTo>
                  <a:lnTo>
                    <a:pt x="200" y="270"/>
                  </a:lnTo>
                  <a:lnTo>
                    <a:pt x="203" y="270"/>
                  </a:lnTo>
                  <a:lnTo>
                    <a:pt x="203" y="270"/>
                  </a:lnTo>
                  <a:lnTo>
                    <a:pt x="203" y="270"/>
                  </a:lnTo>
                  <a:lnTo>
                    <a:pt x="203" y="267"/>
                  </a:lnTo>
                  <a:lnTo>
                    <a:pt x="206" y="270"/>
                  </a:lnTo>
                  <a:lnTo>
                    <a:pt x="206" y="270"/>
                  </a:lnTo>
                  <a:lnTo>
                    <a:pt x="206" y="270"/>
                  </a:lnTo>
                  <a:lnTo>
                    <a:pt x="206" y="272"/>
                  </a:lnTo>
                  <a:lnTo>
                    <a:pt x="208" y="272"/>
                  </a:lnTo>
                  <a:lnTo>
                    <a:pt x="208" y="275"/>
                  </a:lnTo>
                  <a:lnTo>
                    <a:pt x="208" y="275"/>
                  </a:lnTo>
                  <a:lnTo>
                    <a:pt x="206" y="278"/>
                  </a:lnTo>
                  <a:lnTo>
                    <a:pt x="208" y="280"/>
                  </a:lnTo>
                  <a:lnTo>
                    <a:pt x="211" y="280"/>
                  </a:lnTo>
                  <a:lnTo>
                    <a:pt x="214" y="280"/>
                  </a:lnTo>
                  <a:lnTo>
                    <a:pt x="216" y="280"/>
                  </a:lnTo>
                  <a:lnTo>
                    <a:pt x="216" y="283"/>
                  </a:lnTo>
                  <a:lnTo>
                    <a:pt x="219" y="288"/>
                  </a:lnTo>
                  <a:lnTo>
                    <a:pt x="219" y="288"/>
                  </a:lnTo>
                  <a:lnTo>
                    <a:pt x="224" y="291"/>
                  </a:lnTo>
                  <a:lnTo>
                    <a:pt x="235" y="294"/>
                  </a:lnTo>
                  <a:lnTo>
                    <a:pt x="240" y="296"/>
                  </a:lnTo>
                  <a:lnTo>
                    <a:pt x="243" y="299"/>
                  </a:lnTo>
                  <a:lnTo>
                    <a:pt x="246" y="299"/>
                  </a:lnTo>
                  <a:lnTo>
                    <a:pt x="248" y="299"/>
                  </a:lnTo>
                  <a:lnTo>
                    <a:pt x="251" y="302"/>
                  </a:lnTo>
                  <a:lnTo>
                    <a:pt x="251" y="302"/>
                  </a:lnTo>
                  <a:lnTo>
                    <a:pt x="254" y="304"/>
                  </a:lnTo>
                  <a:lnTo>
                    <a:pt x="254" y="307"/>
                  </a:lnTo>
                  <a:lnTo>
                    <a:pt x="254" y="312"/>
                  </a:lnTo>
                  <a:lnTo>
                    <a:pt x="254" y="315"/>
                  </a:lnTo>
                  <a:lnTo>
                    <a:pt x="256" y="315"/>
                  </a:lnTo>
                  <a:lnTo>
                    <a:pt x="264" y="326"/>
                  </a:lnTo>
                  <a:lnTo>
                    <a:pt x="267" y="328"/>
                  </a:lnTo>
                  <a:lnTo>
                    <a:pt x="267" y="331"/>
                  </a:lnTo>
                  <a:lnTo>
                    <a:pt x="267" y="334"/>
                  </a:lnTo>
                  <a:lnTo>
                    <a:pt x="267" y="336"/>
                  </a:lnTo>
                  <a:lnTo>
                    <a:pt x="270" y="336"/>
                  </a:lnTo>
                  <a:lnTo>
                    <a:pt x="270" y="339"/>
                  </a:lnTo>
                  <a:lnTo>
                    <a:pt x="270" y="342"/>
                  </a:lnTo>
                  <a:lnTo>
                    <a:pt x="270" y="342"/>
                  </a:lnTo>
                  <a:lnTo>
                    <a:pt x="270" y="344"/>
                  </a:lnTo>
                  <a:lnTo>
                    <a:pt x="270" y="344"/>
                  </a:lnTo>
                  <a:lnTo>
                    <a:pt x="270" y="347"/>
                  </a:lnTo>
                  <a:lnTo>
                    <a:pt x="273" y="347"/>
                  </a:lnTo>
                  <a:lnTo>
                    <a:pt x="273" y="347"/>
                  </a:lnTo>
                  <a:lnTo>
                    <a:pt x="273" y="347"/>
                  </a:lnTo>
                  <a:lnTo>
                    <a:pt x="273" y="350"/>
                  </a:lnTo>
                  <a:lnTo>
                    <a:pt x="273" y="352"/>
                  </a:lnTo>
                  <a:lnTo>
                    <a:pt x="273" y="355"/>
                  </a:lnTo>
                  <a:lnTo>
                    <a:pt x="273" y="355"/>
                  </a:lnTo>
                  <a:lnTo>
                    <a:pt x="275" y="358"/>
                  </a:lnTo>
                  <a:lnTo>
                    <a:pt x="278" y="360"/>
                  </a:lnTo>
                  <a:lnTo>
                    <a:pt x="278" y="360"/>
                  </a:lnTo>
                  <a:lnTo>
                    <a:pt x="281" y="360"/>
                  </a:lnTo>
                  <a:lnTo>
                    <a:pt x="286" y="360"/>
                  </a:lnTo>
                  <a:lnTo>
                    <a:pt x="286" y="360"/>
                  </a:lnTo>
                  <a:lnTo>
                    <a:pt x="289" y="363"/>
                  </a:lnTo>
                  <a:lnTo>
                    <a:pt x="289" y="363"/>
                  </a:lnTo>
                  <a:lnTo>
                    <a:pt x="291" y="366"/>
                  </a:lnTo>
                  <a:lnTo>
                    <a:pt x="291" y="366"/>
                  </a:lnTo>
                  <a:lnTo>
                    <a:pt x="291" y="366"/>
                  </a:lnTo>
                  <a:lnTo>
                    <a:pt x="294" y="366"/>
                  </a:lnTo>
                  <a:lnTo>
                    <a:pt x="294" y="366"/>
                  </a:lnTo>
                  <a:lnTo>
                    <a:pt x="297" y="368"/>
                  </a:lnTo>
                  <a:lnTo>
                    <a:pt x="297" y="368"/>
                  </a:lnTo>
                  <a:lnTo>
                    <a:pt x="297" y="371"/>
                  </a:lnTo>
                  <a:lnTo>
                    <a:pt x="299" y="371"/>
                  </a:lnTo>
                  <a:lnTo>
                    <a:pt x="302" y="371"/>
                  </a:lnTo>
                  <a:lnTo>
                    <a:pt x="302" y="374"/>
                  </a:lnTo>
                  <a:lnTo>
                    <a:pt x="302" y="379"/>
                  </a:lnTo>
                  <a:lnTo>
                    <a:pt x="307" y="390"/>
                  </a:lnTo>
                  <a:lnTo>
                    <a:pt x="310" y="390"/>
                  </a:lnTo>
                  <a:lnTo>
                    <a:pt x="313" y="390"/>
                  </a:lnTo>
                  <a:lnTo>
                    <a:pt x="313" y="392"/>
                  </a:lnTo>
                  <a:lnTo>
                    <a:pt x="313" y="395"/>
                  </a:lnTo>
                  <a:lnTo>
                    <a:pt x="313" y="398"/>
                  </a:lnTo>
                  <a:lnTo>
                    <a:pt x="313" y="400"/>
                  </a:lnTo>
                  <a:lnTo>
                    <a:pt x="313" y="400"/>
                  </a:lnTo>
                  <a:lnTo>
                    <a:pt x="313" y="403"/>
                  </a:lnTo>
                  <a:lnTo>
                    <a:pt x="313" y="406"/>
                  </a:lnTo>
                  <a:lnTo>
                    <a:pt x="313" y="406"/>
                  </a:lnTo>
                  <a:lnTo>
                    <a:pt x="313" y="408"/>
                  </a:lnTo>
                  <a:lnTo>
                    <a:pt x="313" y="411"/>
                  </a:lnTo>
                  <a:lnTo>
                    <a:pt x="313" y="411"/>
                  </a:lnTo>
                  <a:lnTo>
                    <a:pt x="315" y="416"/>
                  </a:lnTo>
                  <a:lnTo>
                    <a:pt x="315" y="416"/>
                  </a:lnTo>
                  <a:lnTo>
                    <a:pt x="315" y="416"/>
                  </a:lnTo>
                  <a:lnTo>
                    <a:pt x="315" y="416"/>
                  </a:lnTo>
                  <a:lnTo>
                    <a:pt x="318" y="419"/>
                  </a:lnTo>
                  <a:lnTo>
                    <a:pt x="318" y="419"/>
                  </a:lnTo>
                  <a:lnTo>
                    <a:pt x="318" y="419"/>
                  </a:lnTo>
                  <a:lnTo>
                    <a:pt x="321" y="419"/>
                  </a:lnTo>
                  <a:lnTo>
                    <a:pt x="323" y="425"/>
                  </a:lnTo>
                  <a:lnTo>
                    <a:pt x="323" y="425"/>
                  </a:lnTo>
                  <a:lnTo>
                    <a:pt x="331" y="422"/>
                  </a:lnTo>
                  <a:lnTo>
                    <a:pt x="334" y="422"/>
                  </a:lnTo>
                  <a:lnTo>
                    <a:pt x="339" y="425"/>
                  </a:lnTo>
                  <a:lnTo>
                    <a:pt x="339" y="425"/>
                  </a:lnTo>
                  <a:lnTo>
                    <a:pt x="342" y="427"/>
                  </a:lnTo>
                  <a:lnTo>
                    <a:pt x="342" y="427"/>
                  </a:lnTo>
                  <a:lnTo>
                    <a:pt x="345" y="427"/>
                  </a:lnTo>
                  <a:lnTo>
                    <a:pt x="347" y="427"/>
                  </a:lnTo>
                  <a:lnTo>
                    <a:pt x="347" y="427"/>
                  </a:lnTo>
                  <a:lnTo>
                    <a:pt x="347" y="427"/>
                  </a:lnTo>
                  <a:lnTo>
                    <a:pt x="347" y="425"/>
                  </a:lnTo>
                  <a:lnTo>
                    <a:pt x="347" y="422"/>
                  </a:lnTo>
                  <a:lnTo>
                    <a:pt x="353" y="416"/>
                  </a:lnTo>
                  <a:lnTo>
                    <a:pt x="353" y="411"/>
                  </a:lnTo>
                  <a:lnTo>
                    <a:pt x="353" y="408"/>
                  </a:lnTo>
                  <a:lnTo>
                    <a:pt x="353" y="408"/>
                  </a:lnTo>
                  <a:lnTo>
                    <a:pt x="355" y="406"/>
                  </a:lnTo>
                  <a:lnTo>
                    <a:pt x="355" y="403"/>
                  </a:lnTo>
                  <a:lnTo>
                    <a:pt x="355" y="400"/>
                  </a:lnTo>
                  <a:lnTo>
                    <a:pt x="355" y="398"/>
                  </a:lnTo>
                  <a:lnTo>
                    <a:pt x="355" y="398"/>
                  </a:lnTo>
                  <a:lnTo>
                    <a:pt x="355" y="395"/>
                  </a:lnTo>
                  <a:lnTo>
                    <a:pt x="358" y="400"/>
                  </a:lnTo>
                  <a:lnTo>
                    <a:pt x="355" y="411"/>
                  </a:lnTo>
                  <a:lnTo>
                    <a:pt x="355" y="416"/>
                  </a:lnTo>
                  <a:lnTo>
                    <a:pt x="363" y="408"/>
                  </a:lnTo>
                  <a:lnTo>
                    <a:pt x="366" y="403"/>
                  </a:lnTo>
                  <a:lnTo>
                    <a:pt x="369" y="398"/>
                  </a:lnTo>
                  <a:lnTo>
                    <a:pt x="369" y="398"/>
                  </a:lnTo>
                  <a:lnTo>
                    <a:pt x="366" y="395"/>
                  </a:lnTo>
                  <a:lnTo>
                    <a:pt x="366" y="392"/>
                  </a:lnTo>
                  <a:lnTo>
                    <a:pt x="363" y="392"/>
                  </a:lnTo>
                  <a:lnTo>
                    <a:pt x="361" y="392"/>
                  </a:lnTo>
                  <a:lnTo>
                    <a:pt x="361" y="392"/>
                  </a:lnTo>
                  <a:lnTo>
                    <a:pt x="355" y="387"/>
                  </a:lnTo>
                  <a:lnTo>
                    <a:pt x="353" y="387"/>
                  </a:lnTo>
                  <a:lnTo>
                    <a:pt x="353" y="387"/>
                  </a:lnTo>
                  <a:lnTo>
                    <a:pt x="353" y="384"/>
                  </a:lnTo>
                  <a:lnTo>
                    <a:pt x="353" y="382"/>
                  </a:lnTo>
                  <a:lnTo>
                    <a:pt x="350" y="376"/>
                  </a:lnTo>
                  <a:lnTo>
                    <a:pt x="347" y="374"/>
                  </a:lnTo>
                  <a:lnTo>
                    <a:pt x="345" y="368"/>
                  </a:lnTo>
                  <a:lnTo>
                    <a:pt x="345" y="366"/>
                  </a:lnTo>
                  <a:lnTo>
                    <a:pt x="345" y="363"/>
                  </a:lnTo>
                  <a:lnTo>
                    <a:pt x="345" y="363"/>
                  </a:lnTo>
                  <a:lnTo>
                    <a:pt x="342" y="358"/>
                  </a:lnTo>
                  <a:lnTo>
                    <a:pt x="339" y="358"/>
                  </a:lnTo>
                  <a:lnTo>
                    <a:pt x="339" y="358"/>
                  </a:lnTo>
                  <a:lnTo>
                    <a:pt x="342" y="355"/>
                  </a:lnTo>
                  <a:lnTo>
                    <a:pt x="342" y="358"/>
                  </a:lnTo>
                  <a:lnTo>
                    <a:pt x="345" y="358"/>
                  </a:lnTo>
                  <a:lnTo>
                    <a:pt x="345" y="360"/>
                  </a:lnTo>
                  <a:lnTo>
                    <a:pt x="347" y="360"/>
                  </a:lnTo>
                  <a:lnTo>
                    <a:pt x="350" y="360"/>
                  </a:lnTo>
                  <a:lnTo>
                    <a:pt x="350" y="363"/>
                  </a:lnTo>
                  <a:lnTo>
                    <a:pt x="347" y="366"/>
                  </a:lnTo>
                  <a:lnTo>
                    <a:pt x="350" y="368"/>
                  </a:lnTo>
                  <a:lnTo>
                    <a:pt x="350" y="371"/>
                  </a:lnTo>
                  <a:lnTo>
                    <a:pt x="355" y="379"/>
                  </a:lnTo>
                  <a:lnTo>
                    <a:pt x="363" y="384"/>
                  </a:lnTo>
                  <a:lnTo>
                    <a:pt x="366" y="387"/>
                  </a:lnTo>
                  <a:lnTo>
                    <a:pt x="369" y="384"/>
                  </a:lnTo>
                  <a:lnTo>
                    <a:pt x="369" y="382"/>
                  </a:lnTo>
                  <a:lnTo>
                    <a:pt x="366" y="382"/>
                  </a:lnTo>
                  <a:lnTo>
                    <a:pt x="366" y="379"/>
                  </a:lnTo>
                  <a:lnTo>
                    <a:pt x="366" y="379"/>
                  </a:lnTo>
                  <a:lnTo>
                    <a:pt x="363" y="368"/>
                  </a:lnTo>
                  <a:lnTo>
                    <a:pt x="363" y="366"/>
                  </a:lnTo>
                  <a:lnTo>
                    <a:pt x="363" y="366"/>
                  </a:lnTo>
                  <a:lnTo>
                    <a:pt x="363" y="366"/>
                  </a:lnTo>
                  <a:lnTo>
                    <a:pt x="363" y="363"/>
                  </a:lnTo>
                  <a:lnTo>
                    <a:pt x="363" y="366"/>
                  </a:lnTo>
                  <a:lnTo>
                    <a:pt x="363" y="366"/>
                  </a:lnTo>
                  <a:lnTo>
                    <a:pt x="363" y="366"/>
                  </a:lnTo>
                  <a:lnTo>
                    <a:pt x="361" y="363"/>
                  </a:lnTo>
                  <a:lnTo>
                    <a:pt x="366" y="363"/>
                  </a:lnTo>
                  <a:lnTo>
                    <a:pt x="366" y="366"/>
                  </a:lnTo>
                  <a:lnTo>
                    <a:pt x="366" y="376"/>
                  </a:lnTo>
                  <a:lnTo>
                    <a:pt x="366" y="376"/>
                  </a:lnTo>
                  <a:lnTo>
                    <a:pt x="371" y="374"/>
                  </a:lnTo>
                  <a:lnTo>
                    <a:pt x="371" y="382"/>
                  </a:lnTo>
                  <a:lnTo>
                    <a:pt x="371" y="387"/>
                  </a:lnTo>
                  <a:lnTo>
                    <a:pt x="371" y="390"/>
                  </a:lnTo>
                  <a:lnTo>
                    <a:pt x="374" y="390"/>
                  </a:lnTo>
                  <a:lnTo>
                    <a:pt x="377" y="387"/>
                  </a:lnTo>
                  <a:lnTo>
                    <a:pt x="379" y="387"/>
                  </a:lnTo>
                  <a:lnTo>
                    <a:pt x="379" y="387"/>
                  </a:lnTo>
                  <a:lnTo>
                    <a:pt x="382" y="387"/>
                  </a:lnTo>
                  <a:lnTo>
                    <a:pt x="390" y="379"/>
                  </a:lnTo>
                  <a:lnTo>
                    <a:pt x="390" y="376"/>
                  </a:lnTo>
                  <a:lnTo>
                    <a:pt x="387" y="376"/>
                  </a:lnTo>
                  <a:lnTo>
                    <a:pt x="390" y="376"/>
                  </a:lnTo>
                  <a:lnTo>
                    <a:pt x="390" y="376"/>
                  </a:lnTo>
                  <a:lnTo>
                    <a:pt x="390" y="374"/>
                  </a:lnTo>
                  <a:lnTo>
                    <a:pt x="390" y="374"/>
                  </a:lnTo>
                  <a:lnTo>
                    <a:pt x="390" y="374"/>
                  </a:lnTo>
                  <a:lnTo>
                    <a:pt x="393" y="374"/>
                  </a:lnTo>
                  <a:lnTo>
                    <a:pt x="393" y="371"/>
                  </a:lnTo>
                  <a:lnTo>
                    <a:pt x="393" y="368"/>
                  </a:lnTo>
                  <a:lnTo>
                    <a:pt x="393" y="366"/>
                  </a:lnTo>
                  <a:lnTo>
                    <a:pt x="393" y="366"/>
                  </a:lnTo>
                  <a:lnTo>
                    <a:pt x="393" y="368"/>
                  </a:lnTo>
                  <a:lnTo>
                    <a:pt x="390" y="368"/>
                  </a:lnTo>
                  <a:lnTo>
                    <a:pt x="390" y="371"/>
                  </a:lnTo>
                  <a:lnTo>
                    <a:pt x="387" y="371"/>
                  </a:lnTo>
                  <a:lnTo>
                    <a:pt x="385" y="374"/>
                  </a:lnTo>
                  <a:lnTo>
                    <a:pt x="382" y="376"/>
                  </a:lnTo>
                  <a:lnTo>
                    <a:pt x="379" y="376"/>
                  </a:lnTo>
                  <a:lnTo>
                    <a:pt x="379" y="376"/>
                  </a:lnTo>
                  <a:lnTo>
                    <a:pt x="382" y="374"/>
                  </a:lnTo>
                  <a:lnTo>
                    <a:pt x="385" y="371"/>
                  </a:lnTo>
                  <a:lnTo>
                    <a:pt x="390" y="368"/>
                  </a:lnTo>
                  <a:lnTo>
                    <a:pt x="390" y="366"/>
                  </a:lnTo>
                  <a:lnTo>
                    <a:pt x="387" y="363"/>
                  </a:lnTo>
                  <a:lnTo>
                    <a:pt x="385" y="360"/>
                  </a:lnTo>
                  <a:lnTo>
                    <a:pt x="374" y="363"/>
                  </a:lnTo>
                  <a:lnTo>
                    <a:pt x="377" y="360"/>
                  </a:lnTo>
                  <a:lnTo>
                    <a:pt x="379" y="360"/>
                  </a:lnTo>
                  <a:lnTo>
                    <a:pt x="382" y="358"/>
                  </a:lnTo>
                  <a:lnTo>
                    <a:pt x="385" y="358"/>
                  </a:lnTo>
                  <a:lnTo>
                    <a:pt x="385" y="358"/>
                  </a:lnTo>
                  <a:lnTo>
                    <a:pt x="385" y="358"/>
                  </a:lnTo>
                  <a:lnTo>
                    <a:pt x="379" y="355"/>
                  </a:lnTo>
                  <a:lnTo>
                    <a:pt x="379" y="355"/>
                  </a:lnTo>
                  <a:lnTo>
                    <a:pt x="377" y="355"/>
                  </a:lnTo>
                  <a:lnTo>
                    <a:pt x="377" y="358"/>
                  </a:lnTo>
                  <a:lnTo>
                    <a:pt x="374" y="358"/>
                  </a:lnTo>
                  <a:lnTo>
                    <a:pt x="363" y="358"/>
                  </a:lnTo>
                  <a:lnTo>
                    <a:pt x="361" y="358"/>
                  </a:lnTo>
                  <a:lnTo>
                    <a:pt x="361" y="358"/>
                  </a:lnTo>
                  <a:lnTo>
                    <a:pt x="361" y="358"/>
                  </a:lnTo>
                  <a:lnTo>
                    <a:pt x="361" y="355"/>
                  </a:lnTo>
                  <a:lnTo>
                    <a:pt x="363" y="355"/>
                  </a:lnTo>
                  <a:lnTo>
                    <a:pt x="366" y="355"/>
                  </a:lnTo>
                  <a:lnTo>
                    <a:pt x="374" y="355"/>
                  </a:lnTo>
                  <a:lnTo>
                    <a:pt x="377" y="352"/>
                  </a:lnTo>
                  <a:lnTo>
                    <a:pt x="377" y="352"/>
                  </a:lnTo>
                  <a:lnTo>
                    <a:pt x="377" y="350"/>
                  </a:lnTo>
                  <a:lnTo>
                    <a:pt x="377" y="350"/>
                  </a:lnTo>
                  <a:lnTo>
                    <a:pt x="377" y="347"/>
                  </a:lnTo>
                  <a:lnTo>
                    <a:pt x="377" y="347"/>
                  </a:lnTo>
                  <a:lnTo>
                    <a:pt x="377" y="350"/>
                  </a:lnTo>
                  <a:lnTo>
                    <a:pt x="379" y="350"/>
                  </a:lnTo>
                  <a:lnTo>
                    <a:pt x="385" y="352"/>
                  </a:lnTo>
                  <a:lnTo>
                    <a:pt x="385" y="352"/>
                  </a:lnTo>
                  <a:lnTo>
                    <a:pt x="387" y="352"/>
                  </a:lnTo>
                  <a:lnTo>
                    <a:pt x="390" y="352"/>
                  </a:lnTo>
                  <a:lnTo>
                    <a:pt x="390" y="355"/>
                  </a:lnTo>
                  <a:lnTo>
                    <a:pt x="393" y="355"/>
                  </a:lnTo>
                  <a:lnTo>
                    <a:pt x="393" y="355"/>
                  </a:lnTo>
                  <a:lnTo>
                    <a:pt x="395" y="355"/>
                  </a:lnTo>
                  <a:lnTo>
                    <a:pt x="398" y="355"/>
                  </a:lnTo>
                  <a:lnTo>
                    <a:pt x="398" y="352"/>
                  </a:lnTo>
                  <a:lnTo>
                    <a:pt x="398" y="350"/>
                  </a:lnTo>
                  <a:lnTo>
                    <a:pt x="398" y="347"/>
                  </a:lnTo>
                  <a:lnTo>
                    <a:pt x="398" y="347"/>
                  </a:lnTo>
                  <a:lnTo>
                    <a:pt x="398" y="350"/>
                  </a:lnTo>
                  <a:lnTo>
                    <a:pt x="401" y="350"/>
                  </a:lnTo>
                  <a:lnTo>
                    <a:pt x="401" y="352"/>
                  </a:lnTo>
                  <a:lnTo>
                    <a:pt x="403" y="352"/>
                  </a:lnTo>
                  <a:lnTo>
                    <a:pt x="403" y="352"/>
                  </a:lnTo>
                  <a:lnTo>
                    <a:pt x="403" y="352"/>
                  </a:lnTo>
                  <a:lnTo>
                    <a:pt x="406" y="350"/>
                  </a:lnTo>
                  <a:lnTo>
                    <a:pt x="411" y="344"/>
                  </a:lnTo>
                  <a:lnTo>
                    <a:pt x="414" y="342"/>
                  </a:lnTo>
                  <a:lnTo>
                    <a:pt x="414" y="342"/>
                  </a:lnTo>
                  <a:lnTo>
                    <a:pt x="414" y="339"/>
                  </a:lnTo>
                  <a:lnTo>
                    <a:pt x="417" y="339"/>
                  </a:lnTo>
                  <a:lnTo>
                    <a:pt x="414" y="339"/>
                  </a:lnTo>
                  <a:lnTo>
                    <a:pt x="414" y="339"/>
                  </a:lnTo>
                  <a:lnTo>
                    <a:pt x="409" y="334"/>
                  </a:lnTo>
                  <a:lnTo>
                    <a:pt x="406" y="334"/>
                  </a:lnTo>
                  <a:lnTo>
                    <a:pt x="409" y="334"/>
                  </a:lnTo>
                  <a:lnTo>
                    <a:pt x="411" y="334"/>
                  </a:lnTo>
                  <a:lnTo>
                    <a:pt x="414" y="336"/>
                  </a:lnTo>
                  <a:lnTo>
                    <a:pt x="419" y="339"/>
                  </a:lnTo>
                  <a:lnTo>
                    <a:pt x="419" y="339"/>
                  </a:lnTo>
                  <a:lnTo>
                    <a:pt x="422" y="336"/>
                  </a:lnTo>
                  <a:lnTo>
                    <a:pt x="425" y="334"/>
                  </a:lnTo>
                  <a:lnTo>
                    <a:pt x="427" y="334"/>
                  </a:lnTo>
                  <a:lnTo>
                    <a:pt x="430" y="331"/>
                  </a:lnTo>
                  <a:lnTo>
                    <a:pt x="438" y="328"/>
                  </a:lnTo>
                  <a:lnTo>
                    <a:pt x="438" y="328"/>
                  </a:lnTo>
                  <a:lnTo>
                    <a:pt x="438" y="326"/>
                  </a:lnTo>
                  <a:lnTo>
                    <a:pt x="435" y="326"/>
                  </a:lnTo>
                  <a:lnTo>
                    <a:pt x="433" y="323"/>
                  </a:lnTo>
                  <a:lnTo>
                    <a:pt x="435" y="323"/>
                  </a:lnTo>
                  <a:lnTo>
                    <a:pt x="435" y="323"/>
                  </a:lnTo>
                  <a:lnTo>
                    <a:pt x="438" y="323"/>
                  </a:lnTo>
                  <a:lnTo>
                    <a:pt x="443" y="323"/>
                  </a:lnTo>
                  <a:lnTo>
                    <a:pt x="443" y="323"/>
                  </a:lnTo>
                  <a:lnTo>
                    <a:pt x="449" y="315"/>
                  </a:lnTo>
                  <a:lnTo>
                    <a:pt x="451" y="312"/>
                  </a:lnTo>
                  <a:lnTo>
                    <a:pt x="449" y="310"/>
                  </a:lnTo>
                  <a:lnTo>
                    <a:pt x="449" y="310"/>
                  </a:lnTo>
                  <a:lnTo>
                    <a:pt x="449" y="310"/>
                  </a:lnTo>
                  <a:lnTo>
                    <a:pt x="449" y="310"/>
                  </a:lnTo>
                  <a:lnTo>
                    <a:pt x="446" y="310"/>
                  </a:lnTo>
                  <a:lnTo>
                    <a:pt x="446" y="307"/>
                  </a:lnTo>
                  <a:lnTo>
                    <a:pt x="446" y="307"/>
                  </a:lnTo>
                  <a:lnTo>
                    <a:pt x="441" y="307"/>
                  </a:lnTo>
                  <a:lnTo>
                    <a:pt x="438" y="307"/>
                  </a:lnTo>
                  <a:lnTo>
                    <a:pt x="438" y="304"/>
                  </a:lnTo>
                  <a:lnTo>
                    <a:pt x="435" y="302"/>
                  </a:lnTo>
                  <a:lnTo>
                    <a:pt x="438" y="304"/>
                  </a:lnTo>
                  <a:lnTo>
                    <a:pt x="441" y="304"/>
                  </a:lnTo>
                  <a:lnTo>
                    <a:pt x="441" y="304"/>
                  </a:lnTo>
                  <a:lnTo>
                    <a:pt x="441" y="302"/>
                  </a:lnTo>
                  <a:lnTo>
                    <a:pt x="441" y="299"/>
                  </a:lnTo>
                  <a:lnTo>
                    <a:pt x="438" y="296"/>
                  </a:lnTo>
                  <a:lnTo>
                    <a:pt x="438" y="294"/>
                  </a:lnTo>
                  <a:lnTo>
                    <a:pt x="438" y="294"/>
                  </a:lnTo>
                  <a:lnTo>
                    <a:pt x="443" y="296"/>
                  </a:lnTo>
                  <a:lnTo>
                    <a:pt x="443" y="296"/>
                  </a:lnTo>
                  <a:lnTo>
                    <a:pt x="443" y="294"/>
                  </a:lnTo>
                  <a:lnTo>
                    <a:pt x="443" y="294"/>
                  </a:lnTo>
                  <a:lnTo>
                    <a:pt x="443" y="294"/>
                  </a:lnTo>
                  <a:lnTo>
                    <a:pt x="446" y="294"/>
                  </a:lnTo>
                  <a:lnTo>
                    <a:pt x="443" y="299"/>
                  </a:lnTo>
                  <a:lnTo>
                    <a:pt x="443" y="302"/>
                  </a:lnTo>
                  <a:lnTo>
                    <a:pt x="446" y="302"/>
                  </a:lnTo>
                  <a:lnTo>
                    <a:pt x="446" y="302"/>
                  </a:lnTo>
                  <a:lnTo>
                    <a:pt x="449" y="304"/>
                  </a:lnTo>
                  <a:lnTo>
                    <a:pt x="451" y="304"/>
                  </a:lnTo>
                  <a:lnTo>
                    <a:pt x="451" y="304"/>
                  </a:lnTo>
                  <a:lnTo>
                    <a:pt x="454" y="304"/>
                  </a:lnTo>
                  <a:lnTo>
                    <a:pt x="457" y="302"/>
                  </a:lnTo>
                  <a:lnTo>
                    <a:pt x="462" y="296"/>
                  </a:lnTo>
                  <a:lnTo>
                    <a:pt x="465" y="294"/>
                  </a:lnTo>
                  <a:lnTo>
                    <a:pt x="465" y="291"/>
                  </a:lnTo>
                  <a:lnTo>
                    <a:pt x="467" y="288"/>
                  </a:lnTo>
                  <a:lnTo>
                    <a:pt x="470" y="286"/>
                  </a:lnTo>
                  <a:lnTo>
                    <a:pt x="470" y="286"/>
                  </a:lnTo>
                  <a:lnTo>
                    <a:pt x="470" y="286"/>
                  </a:lnTo>
                  <a:lnTo>
                    <a:pt x="470" y="283"/>
                  </a:lnTo>
                  <a:lnTo>
                    <a:pt x="473" y="283"/>
                  </a:lnTo>
                  <a:lnTo>
                    <a:pt x="473" y="283"/>
                  </a:lnTo>
                  <a:lnTo>
                    <a:pt x="478" y="278"/>
                  </a:lnTo>
                  <a:lnTo>
                    <a:pt x="478" y="278"/>
                  </a:lnTo>
                  <a:lnTo>
                    <a:pt x="478" y="275"/>
                  </a:lnTo>
                  <a:lnTo>
                    <a:pt x="478" y="275"/>
                  </a:lnTo>
                  <a:lnTo>
                    <a:pt x="478" y="275"/>
                  </a:lnTo>
                  <a:lnTo>
                    <a:pt x="475" y="278"/>
                  </a:lnTo>
                  <a:lnTo>
                    <a:pt x="475" y="278"/>
                  </a:lnTo>
                  <a:lnTo>
                    <a:pt x="473" y="278"/>
                  </a:lnTo>
                  <a:lnTo>
                    <a:pt x="473" y="275"/>
                  </a:lnTo>
                  <a:lnTo>
                    <a:pt x="473" y="272"/>
                  </a:lnTo>
                  <a:lnTo>
                    <a:pt x="475" y="267"/>
                  </a:lnTo>
                  <a:lnTo>
                    <a:pt x="475" y="264"/>
                  </a:lnTo>
                  <a:lnTo>
                    <a:pt x="478" y="264"/>
                  </a:lnTo>
                  <a:lnTo>
                    <a:pt x="481" y="259"/>
                  </a:lnTo>
                  <a:lnTo>
                    <a:pt x="483" y="259"/>
                  </a:lnTo>
                  <a:lnTo>
                    <a:pt x="483" y="262"/>
                  </a:lnTo>
                  <a:lnTo>
                    <a:pt x="483" y="262"/>
                  </a:lnTo>
                  <a:lnTo>
                    <a:pt x="486" y="264"/>
                  </a:lnTo>
                  <a:lnTo>
                    <a:pt x="486" y="264"/>
                  </a:lnTo>
                  <a:lnTo>
                    <a:pt x="489" y="264"/>
                  </a:lnTo>
                  <a:lnTo>
                    <a:pt x="491" y="262"/>
                  </a:lnTo>
                  <a:lnTo>
                    <a:pt x="494" y="262"/>
                  </a:lnTo>
                  <a:lnTo>
                    <a:pt x="497" y="262"/>
                  </a:lnTo>
                  <a:lnTo>
                    <a:pt x="499" y="259"/>
                  </a:lnTo>
                  <a:lnTo>
                    <a:pt x="499" y="259"/>
                  </a:lnTo>
                  <a:lnTo>
                    <a:pt x="499" y="256"/>
                  </a:lnTo>
                  <a:lnTo>
                    <a:pt x="499" y="254"/>
                  </a:lnTo>
                  <a:lnTo>
                    <a:pt x="502" y="251"/>
                  </a:lnTo>
                  <a:lnTo>
                    <a:pt x="505" y="248"/>
                  </a:lnTo>
                  <a:lnTo>
                    <a:pt x="507" y="246"/>
                  </a:lnTo>
                  <a:lnTo>
                    <a:pt x="507" y="243"/>
                  </a:lnTo>
                  <a:lnTo>
                    <a:pt x="505" y="240"/>
                  </a:lnTo>
                  <a:lnTo>
                    <a:pt x="502" y="240"/>
                  </a:lnTo>
                  <a:lnTo>
                    <a:pt x="499" y="240"/>
                  </a:lnTo>
                  <a:lnTo>
                    <a:pt x="502" y="240"/>
                  </a:lnTo>
                  <a:lnTo>
                    <a:pt x="505" y="240"/>
                  </a:lnTo>
                  <a:lnTo>
                    <a:pt x="507" y="240"/>
                  </a:lnTo>
                  <a:lnTo>
                    <a:pt x="510" y="243"/>
                  </a:lnTo>
                  <a:lnTo>
                    <a:pt x="510" y="243"/>
                  </a:lnTo>
                  <a:lnTo>
                    <a:pt x="510" y="243"/>
                  </a:lnTo>
                  <a:lnTo>
                    <a:pt x="510" y="240"/>
                  </a:lnTo>
                  <a:lnTo>
                    <a:pt x="510" y="240"/>
                  </a:lnTo>
                  <a:lnTo>
                    <a:pt x="510" y="240"/>
                  </a:lnTo>
                  <a:lnTo>
                    <a:pt x="507" y="237"/>
                  </a:lnTo>
                  <a:lnTo>
                    <a:pt x="507" y="237"/>
                  </a:lnTo>
                  <a:lnTo>
                    <a:pt x="510" y="235"/>
                  </a:lnTo>
                  <a:lnTo>
                    <a:pt x="510" y="235"/>
                  </a:lnTo>
                  <a:lnTo>
                    <a:pt x="513" y="237"/>
                  </a:lnTo>
                  <a:lnTo>
                    <a:pt x="513" y="237"/>
                  </a:lnTo>
                  <a:lnTo>
                    <a:pt x="515" y="237"/>
                  </a:lnTo>
                  <a:lnTo>
                    <a:pt x="515" y="235"/>
                  </a:lnTo>
                  <a:lnTo>
                    <a:pt x="515" y="232"/>
                  </a:lnTo>
                  <a:lnTo>
                    <a:pt x="518" y="232"/>
                  </a:lnTo>
                  <a:lnTo>
                    <a:pt x="515" y="232"/>
                  </a:lnTo>
                  <a:lnTo>
                    <a:pt x="515" y="232"/>
                  </a:lnTo>
                  <a:lnTo>
                    <a:pt x="515" y="229"/>
                  </a:lnTo>
                  <a:lnTo>
                    <a:pt x="513" y="227"/>
                  </a:lnTo>
                  <a:lnTo>
                    <a:pt x="513" y="227"/>
                  </a:lnTo>
                  <a:lnTo>
                    <a:pt x="513" y="224"/>
                  </a:lnTo>
                  <a:lnTo>
                    <a:pt x="510" y="224"/>
                  </a:lnTo>
                  <a:lnTo>
                    <a:pt x="505" y="224"/>
                  </a:lnTo>
                  <a:lnTo>
                    <a:pt x="502" y="221"/>
                  </a:lnTo>
                  <a:lnTo>
                    <a:pt x="502" y="219"/>
                  </a:lnTo>
                  <a:lnTo>
                    <a:pt x="502" y="216"/>
                  </a:lnTo>
                  <a:lnTo>
                    <a:pt x="502" y="213"/>
                  </a:lnTo>
                  <a:lnTo>
                    <a:pt x="502" y="211"/>
                  </a:lnTo>
                  <a:lnTo>
                    <a:pt x="507" y="200"/>
                  </a:lnTo>
                  <a:lnTo>
                    <a:pt x="507" y="200"/>
                  </a:lnTo>
                  <a:lnTo>
                    <a:pt x="510" y="197"/>
                  </a:lnTo>
                  <a:lnTo>
                    <a:pt x="510" y="197"/>
                  </a:lnTo>
                  <a:lnTo>
                    <a:pt x="510" y="200"/>
                  </a:lnTo>
                  <a:lnTo>
                    <a:pt x="507" y="205"/>
                  </a:lnTo>
                  <a:lnTo>
                    <a:pt x="505" y="211"/>
                  </a:lnTo>
                  <a:lnTo>
                    <a:pt x="505" y="216"/>
                  </a:lnTo>
                  <a:lnTo>
                    <a:pt x="505" y="216"/>
                  </a:lnTo>
                  <a:lnTo>
                    <a:pt x="510" y="216"/>
                  </a:lnTo>
                  <a:lnTo>
                    <a:pt x="510" y="216"/>
                  </a:lnTo>
                  <a:lnTo>
                    <a:pt x="513" y="219"/>
                  </a:lnTo>
                  <a:lnTo>
                    <a:pt x="513" y="221"/>
                  </a:lnTo>
                  <a:lnTo>
                    <a:pt x="515" y="227"/>
                  </a:lnTo>
                  <a:lnTo>
                    <a:pt x="515" y="227"/>
                  </a:lnTo>
                  <a:lnTo>
                    <a:pt x="518" y="227"/>
                  </a:lnTo>
                  <a:lnTo>
                    <a:pt x="515" y="224"/>
                  </a:lnTo>
                  <a:lnTo>
                    <a:pt x="515" y="208"/>
                  </a:lnTo>
                  <a:lnTo>
                    <a:pt x="518" y="205"/>
                  </a:lnTo>
                  <a:lnTo>
                    <a:pt x="515" y="205"/>
                  </a:lnTo>
                  <a:lnTo>
                    <a:pt x="518" y="197"/>
                  </a:lnTo>
                  <a:lnTo>
                    <a:pt x="526" y="181"/>
                  </a:lnTo>
                  <a:lnTo>
                    <a:pt x="534" y="163"/>
                  </a:lnTo>
                  <a:lnTo>
                    <a:pt x="539" y="152"/>
                  </a:lnTo>
                  <a:lnTo>
                    <a:pt x="550" y="141"/>
                  </a:lnTo>
                  <a:lnTo>
                    <a:pt x="561" y="131"/>
                  </a:lnTo>
                  <a:lnTo>
                    <a:pt x="566" y="128"/>
                  </a:lnTo>
                  <a:lnTo>
                    <a:pt x="571" y="125"/>
                  </a:lnTo>
                  <a:lnTo>
                    <a:pt x="569" y="125"/>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19" name="Freeform 16">
              <a:extLst>
                <a:ext uri="{FF2B5EF4-FFF2-40B4-BE49-F238E27FC236}">
                  <a16:creationId xmlns="" xmlns:a16="http://schemas.microsoft.com/office/drawing/2014/main" id="{E87BF5A6-1D61-4CCB-86C4-A66C78C64888}"/>
                </a:ext>
              </a:extLst>
            </p:cNvPr>
            <p:cNvSpPr>
              <a:spLocks noEditPoints="1"/>
            </p:cNvSpPr>
            <p:nvPr/>
          </p:nvSpPr>
          <p:spPr bwMode="auto">
            <a:xfrm>
              <a:off x="6620" y="839"/>
              <a:ext cx="78" cy="120"/>
            </a:xfrm>
            <a:custGeom>
              <a:avLst/>
              <a:gdLst>
                <a:gd name="T0" fmla="*/ 54 w 78"/>
                <a:gd name="T1" fmla="*/ 112 h 120"/>
                <a:gd name="T2" fmla="*/ 51 w 78"/>
                <a:gd name="T3" fmla="*/ 112 h 120"/>
                <a:gd name="T4" fmla="*/ 48 w 78"/>
                <a:gd name="T5" fmla="*/ 117 h 120"/>
                <a:gd name="T6" fmla="*/ 56 w 78"/>
                <a:gd name="T7" fmla="*/ 120 h 120"/>
                <a:gd name="T8" fmla="*/ 56 w 78"/>
                <a:gd name="T9" fmla="*/ 115 h 120"/>
                <a:gd name="T10" fmla="*/ 62 w 78"/>
                <a:gd name="T11" fmla="*/ 59 h 120"/>
                <a:gd name="T12" fmla="*/ 62 w 78"/>
                <a:gd name="T13" fmla="*/ 64 h 120"/>
                <a:gd name="T14" fmla="*/ 62 w 78"/>
                <a:gd name="T15" fmla="*/ 67 h 120"/>
                <a:gd name="T16" fmla="*/ 62 w 78"/>
                <a:gd name="T17" fmla="*/ 75 h 120"/>
                <a:gd name="T18" fmla="*/ 64 w 78"/>
                <a:gd name="T19" fmla="*/ 69 h 120"/>
                <a:gd name="T20" fmla="*/ 78 w 78"/>
                <a:gd name="T21" fmla="*/ 64 h 120"/>
                <a:gd name="T22" fmla="*/ 75 w 78"/>
                <a:gd name="T23" fmla="*/ 51 h 120"/>
                <a:gd name="T24" fmla="*/ 70 w 78"/>
                <a:gd name="T25" fmla="*/ 45 h 120"/>
                <a:gd name="T26" fmla="*/ 70 w 78"/>
                <a:gd name="T27" fmla="*/ 53 h 120"/>
                <a:gd name="T28" fmla="*/ 70 w 78"/>
                <a:gd name="T29" fmla="*/ 59 h 120"/>
                <a:gd name="T30" fmla="*/ 67 w 78"/>
                <a:gd name="T31" fmla="*/ 64 h 120"/>
                <a:gd name="T32" fmla="*/ 67 w 78"/>
                <a:gd name="T33" fmla="*/ 69 h 120"/>
                <a:gd name="T34" fmla="*/ 70 w 78"/>
                <a:gd name="T35" fmla="*/ 72 h 120"/>
                <a:gd name="T36" fmla="*/ 75 w 78"/>
                <a:gd name="T37" fmla="*/ 67 h 120"/>
                <a:gd name="T38" fmla="*/ 70 w 78"/>
                <a:gd name="T39" fmla="*/ 40 h 120"/>
                <a:gd name="T40" fmla="*/ 70 w 78"/>
                <a:gd name="T41" fmla="*/ 37 h 120"/>
                <a:gd name="T42" fmla="*/ 62 w 78"/>
                <a:gd name="T43" fmla="*/ 29 h 120"/>
                <a:gd name="T44" fmla="*/ 56 w 78"/>
                <a:gd name="T45" fmla="*/ 27 h 120"/>
                <a:gd name="T46" fmla="*/ 54 w 78"/>
                <a:gd name="T47" fmla="*/ 19 h 120"/>
                <a:gd name="T48" fmla="*/ 54 w 78"/>
                <a:gd name="T49" fmla="*/ 16 h 120"/>
                <a:gd name="T50" fmla="*/ 51 w 78"/>
                <a:gd name="T51" fmla="*/ 16 h 120"/>
                <a:gd name="T52" fmla="*/ 46 w 78"/>
                <a:gd name="T53" fmla="*/ 5 h 120"/>
                <a:gd name="T54" fmla="*/ 30 w 78"/>
                <a:gd name="T55" fmla="*/ 3 h 120"/>
                <a:gd name="T56" fmla="*/ 3 w 78"/>
                <a:gd name="T57" fmla="*/ 19 h 120"/>
                <a:gd name="T58" fmla="*/ 11 w 78"/>
                <a:gd name="T59" fmla="*/ 51 h 120"/>
                <a:gd name="T60" fmla="*/ 19 w 78"/>
                <a:gd name="T61" fmla="*/ 77 h 120"/>
                <a:gd name="T62" fmla="*/ 19 w 78"/>
                <a:gd name="T63" fmla="*/ 93 h 120"/>
                <a:gd name="T64" fmla="*/ 30 w 78"/>
                <a:gd name="T65" fmla="*/ 101 h 120"/>
                <a:gd name="T66" fmla="*/ 54 w 78"/>
                <a:gd name="T67" fmla="*/ 88 h 120"/>
                <a:gd name="T68" fmla="*/ 56 w 78"/>
                <a:gd name="T69" fmla="*/ 85 h 120"/>
                <a:gd name="T70" fmla="*/ 56 w 78"/>
                <a:gd name="T71" fmla="*/ 64 h 120"/>
                <a:gd name="T72" fmla="*/ 56 w 78"/>
                <a:gd name="T73" fmla="*/ 56 h 120"/>
                <a:gd name="T74" fmla="*/ 54 w 78"/>
                <a:gd name="T75" fmla="*/ 48 h 120"/>
                <a:gd name="T76" fmla="*/ 51 w 78"/>
                <a:gd name="T77" fmla="*/ 43 h 120"/>
                <a:gd name="T78" fmla="*/ 56 w 78"/>
                <a:gd name="T79" fmla="*/ 45 h 120"/>
                <a:gd name="T80" fmla="*/ 56 w 78"/>
                <a:gd name="T81" fmla="*/ 37 h 120"/>
                <a:gd name="T82" fmla="*/ 54 w 78"/>
                <a:gd name="T83" fmla="*/ 35 h 120"/>
                <a:gd name="T84" fmla="*/ 54 w 78"/>
                <a:gd name="T85" fmla="*/ 27 h 120"/>
                <a:gd name="T86" fmla="*/ 56 w 78"/>
                <a:gd name="T87" fmla="*/ 35 h 120"/>
                <a:gd name="T88" fmla="*/ 62 w 78"/>
                <a:gd name="T89" fmla="*/ 35 h 120"/>
                <a:gd name="T90" fmla="*/ 64 w 78"/>
                <a:gd name="T91" fmla="*/ 32 h 120"/>
                <a:gd name="T92" fmla="*/ 64 w 78"/>
                <a:gd name="T93" fmla="*/ 43 h 120"/>
                <a:gd name="T94" fmla="*/ 70 w 78"/>
                <a:gd name="T95" fmla="*/ 4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8" h="120">
                  <a:moveTo>
                    <a:pt x="56" y="115"/>
                  </a:moveTo>
                  <a:lnTo>
                    <a:pt x="54" y="115"/>
                  </a:lnTo>
                  <a:lnTo>
                    <a:pt x="54" y="112"/>
                  </a:lnTo>
                  <a:lnTo>
                    <a:pt x="54" y="112"/>
                  </a:lnTo>
                  <a:lnTo>
                    <a:pt x="54" y="109"/>
                  </a:lnTo>
                  <a:lnTo>
                    <a:pt x="54" y="109"/>
                  </a:lnTo>
                  <a:lnTo>
                    <a:pt x="51" y="109"/>
                  </a:lnTo>
                  <a:lnTo>
                    <a:pt x="51" y="112"/>
                  </a:lnTo>
                  <a:lnTo>
                    <a:pt x="54" y="112"/>
                  </a:lnTo>
                  <a:lnTo>
                    <a:pt x="51" y="115"/>
                  </a:lnTo>
                  <a:lnTo>
                    <a:pt x="51" y="115"/>
                  </a:lnTo>
                  <a:lnTo>
                    <a:pt x="48" y="117"/>
                  </a:lnTo>
                  <a:lnTo>
                    <a:pt x="51" y="117"/>
                  </a:lnTo>
                  <a:lnTo>
                    <a:pt x="51" y="120"/>
                  </a:lnTo>
                  <a:lnTo>
                    <a:pt x="54" y="120"/>
                  </a:lnTo>
                  <a:lnTo>
                    <a:pt x="56" y="120"/>
                  </a:lnTo>
                  <a:lnTo>
                    <a:pt x="56" y="117"/>
                  </a:lnTo>
                  <a:lnTo>
                    <a:pt x="56" y="117"/>
                  </a:lnTo>
                  <a:lnTo>
                    <a:pt x="56" y="117"/>
                  </a:lnTo>
                  <a:lnTo>
                    <a:pt x="56" y="115"/>
                  </a:lnTo>
                  <a:close/>
                  <a:moveTo>
                    <a:pt x="64" y="61"/>
                  </a:moveTo>
                  <a:lnTo>
                    <a:pt x="64" y="59"/>
                  </a:lnTo>
                  <a:lnTo>
                    <a:pt x="62" y="59"/>
                  </a:lnTo>
                  <a:lnTo>
                    <a:pt x="62" y="59"/>
                  </a:lnTo>
                  <a:lnTo>
                    <a:pt x="62" y="59"/>
                  </a:lnTo>
                  <a:lnTo>
                    <a:pt x="62" y="59"/>
                  </a:lnTo>
                  <a:lnTo>
                    <a:pt x="59" y="64"/>
                  </a:lnTo>
                  <a:lnTo>
                    <a:pt x="62" y="64"/>
                  </a:lnTo>
                  <a:lnTo>
                    <a:pt x="62" y="67"/>
                  </a:lnTo>
                  <a:lnTo>
                    <a:pt x="62" y="67"/>
                  </a:lnTo>
                  <a:lnTo>
                    <a:pt x="62" y="67"/>
                  </a:lnTo>
                  <a:lnTo>
                    <a:pt x="62" y="67"/>
                  </a:lnTo>
                  <a:lnTo>
                    <a:pt x="62" y="69"/>
                  </a:lnTo>
                  <a:lnTo>
                    <a:pt x="62" y="69"/>
                  </a:lnTo>
                  <a:lnTo>
                    <a:pt x="62" y="72"/>
                  </a:lnTo>
                  <a:lnTo>
                    <a:pt x="62" y="75"/>
                  </a:lnTo>
                  <a:lnTo>
                    <a:pt x="62" y="72"/>
                  </a:lnTo>
                  <a:lnTo>
                    <a:pt x="64" y="72"/>
                  </a:lnTo>
                  <a:lnTo>
                    <a:pt x="64" y="72"/>
                  </a:lnTo>
                  <a:lnTo>
                    <a:pt x="64" y="69"/>
                  </a:lnTo>
                  <a:lnTo>
                    <a:pt x="64" y="69"/>
                  </a:lnTo>
                  <a:lnTo>
                    <a:pt x="64" y="67"/>
                  </a:lnTo>
                  <a:lnTo>
                    <a:pt x="64" y="61"/>
                  </a:lnTo>
                  <a:close/>
                  <a:moveTo>
                    <a:pt x="78" y="64"/>
                  </a:moveTo>
                  <a:lnTo>
                    <a:pt x="78" y="64"/>
                  </a:lnTo>
                  <a:lnTo>
                    <a:pt x="78" y="61"/>
                  </a:lnTo>
                  <a:lnTo>
                    <a:pt x="78" y="59"/>
                  </a:lnTo>
                  <a:lnTo>
                    <a:pt x="75" y="51"/>
                  </a:lnTo>
                  <a:lnTo>
                    <a:pt x="75" y="45"/>
                  </a:lnTo>
                  <a:lnTo>
                    <a:pt x="75" y="43"/>
                  </a:lnTo>
                  <a:lnTo>
                    <a:pt x="72" y="43"/>
                  </a:lnTo>
                  <a:lnTo>
                    <a:pt x="70" y="45"/>
                  </a:lnTo>
                  <a:lnTo>
                    <a:pt x="70" y="48"/>
                  </a:lnTo>
                  <a:lnTo>
                    <a:pt x="70" y="48"/>
                  </a:lnTo>
                  <a:lnTo>
                    <a:pt x="70" y="53"/>
                  </a:lnTo>
                  <a:lnTo>
                    <a:pt x="70" y="53"/>
                  </a:lnTo>
                  <a:lnTo>
                    <a:pt x="70" y="56"/>
                  </a:lnTo>
                  <a:lnTo>
                    <a:pt x="67" y="56"/>
                  </a:lnTo>
                  <a:lnTo>
                    <a:pt x="67" y="56"/>
                  </a:lnTo>
                  <a:lnTo>
                    <a:pt x="70" y="59"/>
                  </a:lnTo>
                  <a:lnTo>
                    <a:pt x="70" y="59"/>
                  </a:lnTo>
                  <a:lnTo>
                    <a:pt x="70" y="61"/>
                  </a:lnTo>
                  <a:lnTo>
                    <a:pt x="67" y="61"/>
                  </a:lnTo>
                  <a:lnTo>
                    <a:pt x="67" y="64"/>
                  </a:lnTo>
                  <a:lnTo>
                    <a:pt x="70" y="64"/>
                  </a:lnTo>
                  <a:lnTo>
                    <a:pt x="70" y="67"/>
                  </a:lnTo>
                  <a:lnTo>
                    <a:pt x="70" y="67"/>
                  </a:lnTo>
                  <a:lnTo>
                    <a:pt x="67" y="69"/>
                  </a:lnTo>
                  <a:lnTo>
                    <a:pt x="67" y="72"/>
                  </a:lnTo>
                  <a:lnTo>
                    <a:pt x="67" y="72"/>
                  </a:lnTo>
                  <a:lnTo>
                    <a:pt x="67" y="72"/>
                  </a:lnTo>
                  <a:lnTo>
                    <a:pt x="70" y="72"/>
                  </a:lnTo>
                  <a:lnTo>
                    <a:pt x="70" y="69"/>
                  </a:lnTo>
                  <a:lnTo>
                    <a:pt x="72" y="69"/>
                  </a:lnTo>
                  <a:lnTo>
                    <a:pt x="72" y="67"/>
                  </a:lnTo>
                  <a:lnTo>
                    <a:pt x="75" y="67"/>
                  </a:lnTo>
                  <a:lnTo>
                    <a:pt x="78" y="67"/>
                  </a:lnTo>
                  <a:lnTo>
                    <a:pt x="78" y="64"/>
                  </a:lnTo>
                  <a:close/>
                  <a:moveTo>
                    <a:pt x="70" y="43"/>
                  </a:moveTo>
                  <a:lnTo>
                    <a:pt x="70" y="40"/>
                  </a:lnTo>
                  <a:lnTo>
                    <a:pt x="72" y="40"/>
                  </a:lnTo>
                  <a:lnTo>
                    <a:pt x="70" y="40"/>
                  </a:lnTo>
                  <a:lnTo>
                    <a:pt x="70" y="37"/>
                  </a:lnTo>
                  <a:lnTo>
                    <a:pt x="70" y="37"/>
                  </a:lnTo>
                  <a:lnTo>
                    <a:pt x="70" y="37"/>
                  </a:lnTo>
                  <a:lnTo>
                    <a:pt x="67" y="32"/>
                  </a:lnTo>
                  <a:lnTo>
                    <a:pt x="64" y="29"/>
                  </a:lnTo>
                  <a:lnTo>
                    <a:pt x="62" y="29"/>
                  </a:lnTo>
                  <a:lnTo>
                    <a:pt x="62" y="29"/>
                  </a:lnTo>
                  <a:lnTo>
                    <a:pt x="59" y="29"/>
                  </a:lnTo>
                  <a:lnTo>
                    <a:pt x="56" y="29"/>
                  </a:lnTo>
                  <a:lnTo>
                    <a:pt x="56" y="27"/>
                  </a:lnTo>
                  <a:lnTo>
                    <a:pt x="56" y="27"/>
                  </a:lnTo>
                  <a:lnTo>
                    <a:pt x="56" y="27"/>
                  </a:lnTo>
                  <a:lnTo>
                    <a:pt x="56" y="21"/>
                  </a:lnTo>
                  <a:lnTo>
                    <a:pt x="54" y="19"/>
                  </a:lnTo>
                  <a:lnTo>
                    <a:pt x="54" y="19"/>
                  </a:lnTo>
                  <a:lnTo>
                    <a:pt x="54" y="19"/>
                  </a:lnTo>
                  <a:lnTo>
                    <a:pt x="54" y="16"/>
                  </a:lnTo>
                  <a:lnTo>
                    <a:pt x="54" y="16"/>
                  </a:lnTo>
                  <a:lnTo>
                    <a:pt x="54" y="16"/>
                  </a:lnTo>
                  <a:lnTo>
                    <a:pt x="54" y="13"/>
                  </a:lnTo>
                  <a:lnTo>
                    <a:pt x="51" y="13"/>
                  </a:lnTo>
                  <a:lnTo>
                    <a:pt x="51" y="16"/>
                  </a:lnTo>
                  <a:lnTo>
                    <a:pt x="48" y="16"/>
                  </a:lnTo>
                  <a:lnTo>
                    <a:pt x="48" y="13"/>
                  </a:lnTo>
                  <a:lnTo>
                    <a:pt x="48" y="13"/>
                  </a:lnTo>
                  <a:lnTo>
                    <a:pt x="46" y="5"/>
                  </a:lnTo>
                  <a:lnTo>
                    <a:pt x="46" y="0"/>
                  </a:lnTo>
                  <a:lnTo>
                    <a:pt x="43" y="0"/>
                  </a:lnTo>
                  <a:lnTo>
                    <a:pt x="38" y="0"/>
                  </a:lnTo>
                  <a:lnTo>
                    <a:pt x="30" y="3"/>
                  </a:lnTo>
                  <a:lnTo>
                    <a:pt x="19" y="5"/>
                  </a:lnTo>
                  <a:lnTo>
                    <a:pt x="11" y="8"/>
                  </a:lnTo>
                  <a:lnTo>
                    <a:pt x="0" y="11"/>
                  </a:lnTo>
                  <a:lnTo>
                    <a:pt x="3" y="19"/>
                  </a:lnTo>
                  <a:lnTo>
                    <a:pt x="6" y="27"/>
                  </a:lnTo>
                  <a:lnTo>
                    <a:pt x="8" y="35"/>
                  </a:lnTo>
                  <a:lnTo>
                    <a:pt x="11" y="43"/>
                  </a:lnTo>
                  <a:lnTo>
                    <a:pt x="11" y="51"/>
                  </a:lnTo>
                  <a:lnTo>
                    <a:pt x="14" y="59"/>
                  </a:lnTo>
                  <a:lnTo>
                    <a:pt x="16" y="64"/>
                  </a:lnTo>
                  <a:lnTo>
                    <a:pt x="19" y="72"/>
                  </a:lnTo>
                  <a:lnTo>
                    <a:pt x="19" y="77"/>
                  </a:lnTo>
                  <a:lnTo>
                    <a:pt x="19" y="83"/>
                  </a:lnTo>
                  <a:lnTo>
                    <a:pt x="22" y="91"/>
                  </a:lnTo>
                  <a:lnTo>
                    <a:pt x="22" y="91"/>
                  </a:lnTo>
                  <a:lnTo>
                    <a:pt x="19" y="93"/>
                  </a:lnTo>
                  <a:lnTo>
                    <a:pt x="19" y="96"/>
                  </a:lnTo>
                  <a:lnTo>
                    <a:pt x="22" y="101"/>
                  </a:lnTo>
                  <a:lnTo>
                    <a:pt x="22" y="104"/>
                  </a:lnTo>
                  <a:lnTo>
                    <a:pt x="30" y="101"/>
                  </a:lnTo>
                  <a:lnTo>
                    <a:pt x="46" y="91"/>
                  </a:lnTo>
                  <a:lnTo>
                    <a:pt x="51" y="88"/>
                  </a:lnTo>
                  <a:lnTo>
                    <a:pt x="51" y="88"/>
                  </a:lnTo>
                  <a:lnTo>
                    <a:pt x="54" y="88"/>
                  </a:lnTo>
                  <a:lnTo>
                    <a:pt x="56" y="88"/>
                  </a:lnTo>
                  <a:lnTo>
                    <a:pt x="56" y="88"/>
                  </a:lnTo>
                  <a:lnTo>
                    <a:pt x="56" y="88"/>
                  </a:lnTo>
                  <a:lnTo>
                    <a:pt x="56" y="85"/>
                  </a:lnTo>
                  <a:lnTo>
                    <a:pt x="56" y="85"/>
                  </a:lnTo>
                  <a:lnTo>
                    <a:pt x="59" y="75"/>
                  </a:lnTo>
                  <a:lnTo>
                    <a:pt x="59" y="72"/>
                  </a:lnTo>
                  <a:lnTo>
                    <a:pt x="56" y="64"/>
                  </a:lnTo>
                  <a:lnTo>
                    <a:pt x="56" y="61"/>
                  </a:lnTo>
                  <a:lnTo>
                    <a:pt x="54" y="59"/>
                  </a:lnTo>
                  <a:lnTo>
                    <a:pt x="54" y="59"/>
                  </a:lnTo>
                  <a:lnTo>
                    <a:pt x="56" y="56"/>
                  </a:lnTo>
                  <a:lnTo>
                    <a:pt x="56" y="53"/>
                  </a:lnTo>
                  <a:lnTo>
                    <a:pt x="56" y="51"/>
                  </a:lnTo>
                  <a:lnTo>
                    <a:pt x="54" y="48"/>
                  </a:lnTo>
                  <a:lnTo>
                    <a:pt x="54" y="48"/>
                  </a:lnTo>
                  <a:lnTo>
                    <a:pt x="51" y="45"/>
                  </a:lnTo>
                  <a:lnTo>
                    <a:pt x="51" y="45"/>
                  </a:lnTo>
                  <a:lnTo>
                    <a:pt x="51" y="43"/>
                  </a:lnTo>
                  <a:lnTo>
                    <a:pt x="51" y="43"/>
                  </a:lnTo>
                  <a:lnTo>
                    <a:pt x="54" y="43"/>
                  </a:lnTo>
                  <a:lnTo>
                    <a:pt x="54" y="43"/>
                  </a:lnTo>
                  <a:lnTo>
                    <a:pt x="56" y="43"/>
                  </a:lnTo>
                  <a:lnTo>
                    <a:pt x="56" y="45"/>
                  </a:lnTo>
                  <a:lnTo>
                    <a:pt x="56" y="43"/>
                  </a:lnTo>
                  <a:lnTo>
                    <a:pt x="56" y="40"/>
                  </a:lnTo>
                  <a:lnTo>
                    <a:pt x="56" y="40"/>
                  </a:lnTo>
                  <a:lnTo>
                    <a:pt x="56" y="37"/>
                  </a:lnTo>
                  <a:lnTo>
                    <a:pt x="56" y="37"/>
                  </a:lnTo>
                  <a:lnTo>
                    <a:pt x="54" y="37"/>
                  </a:lnTo>
                  <a:lnTo>
                    <a:pt x="54" y="35"/>
                  </a:lnTo>
                  <a:lnTo>
                    <a:pt x="54" y="35"/>
                  </a:lnTo>
                  <a:lnTo>
                    <a:pt x="51" y="29"/>
                  </a:lnTo>
                  <a:lnTo>
                    <a:pt x="51" y="27"/>
                  </a:lnTo>
                  <a:lnTo>
                    <a:pt x="51" y="27"/>
                  </a:lnTo>
                  <a:lnTo>
                    <a:pt x="54" y="27"/>
                  </a:lnTo>
                  <a:lnTo>
                    <a:pt x="54" y="29"/>
                  </a:lnTo>
                  <a:lnTo>
                    <a:pt x="54" y="29"/>
                  </a:lnTo>
                  <a:lnTo>
                    <a:pt x="56" y="32"/>
                  </a:lnTo>
                  <a:lnTo>
                    <a:pt x="56" y="35"/>
                  </a:lnTo>
                  <a:lnTo>
                    <a:pt x="59" y="35"/>
                  </a:lnTo>
                  <a:lnTo>
                    <a:pt x="62" y="37"/>
                  </a:lnTo>
                  <a:lnTo>
                    <a:pt x="62" y="37"/>
                  </a:lnTo>
                  <a:lnTo>
                    <a:pt x="62" y="35"/>
                  </a:lnTo>
                  <a:lnTo>
                    <a:pt x="62" y="32"/>
                  </a:lnTo>
                  <a:lnTo>
                    <a:pt x="62" y="32"/>
                  </a:lnTo>
                  <a:lnTo>
                    <a:pt x="64" y="32"/>
                  </a:lnTo>
                  <a:lnTo>
                    <a:pt x="64" y="32"/>
                  </a:lnTo>
                  <a:lnTo>
                    <a:pt x="64" y="32"/>
                  </a:lnTo>
                  <a:lnTo>
                    <a:pt x="64" y="37"/>
                  </a:lnTo>
                  <a:lnTo>
                    <a:pt x="64" y="40"/>
                  </a:lnTo>
                  <a:lnTo>
                    <a:pt x="64" y="43"/>
                  </a:lnTo>
                  <a:lnTo>
                    <a:pt x="64" y="43"/>
                  </a:lnTo>
                  <a:lnTo>
                    <a:pt x="64" y="45"/>
                  </a:lnTo>
                  <a:lnTo>
                    <a:pt x="67" y="45"/>
                  </a:lnTo>
                  <a:lnTo>
                    <a:pt x="70" y="43"/>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20" name="Freeform 17">
              <a:extLst>
                <a:ext uri="{FF2B5EF4-FFF2-40B4-BE49-F238E27FC236}">
                  <a16:creationId xmlns="" xmlns:a16="http://schemas.microsoft.com/office/drawing/2014/main" id="{D310EACF-00ED-43FC-B145-FC15E8C7246E}"/>
                </a:ext>
              </a:extLst>
            </p:cNvPr>
            <p:cNvSpPr>
              <a:spLocks/>
            </p:cNvSpPr>
            <p:nvPr/>
          </p:nvSpPr>
          <p:spPr bwMode="auto">
            <a:xfrm>
              <a:off x="5713" y="940"/>
              <a:ext cx="664" cy="423"/>
            </a:xfrm>
            <a:custGeom>
              <a:avLst/>
              <a:gdLst>
                <a:gd name="T0" fmla="*/ 640 w 664"/>
                <a:gd name="T1" fmla="*/ 217 h 423"/>
                <a:gd name="T2" fmla="*/ 619 w 664"/>
                <a:gd name="T3" fmla="*/ 206 h 423"/>
                <a:gd name="T4" fmla="*/ 603 w 664"/>
                <a:gd name="T5" fmla="*/ 190 h 423"/>
                <a:gd name="T6" fmla="*/ 598 w 664"/>
                <a:gd name="T7" fmla="*/ 177 h 423"/>
                <a:gd name="T8" fmla="*/ 598 w 664"/>
                <a:gd name="T9" fmla="*/ 166 h 423"/>
                <a:gd name="T10" fmla="*/ 598 w 664"/>
                <a:gd name="T11" fmla="*/ 161 h 423"/>
                <a:gd name="T12" fmla="*/ 606 w 664"/>
                <a:gd name="T13" fmla="*/ 150 h 423"/>
                <a:gd name="T14" fmla="*/ 600 w 664"/>
                <a:gd name="T15" fmla="*/ 139 h 423"/>
                <a:gd name="T16" fmla="*/ 598 w 664"/>
                <a:gd name="T17" fmla="*/ 139 h 423"/>
                <a:gd name="T18" fmla="*/ 595 w 664"/>
                <a:gd name="T19" fmla="*/ 131 h 423"/>
                <a:gd name="T20" fmla="*/ 608 w 664"/>
                <a:gd name="T21" fmla="*/ 115 h 423"/>
                <a:gd name="T22" fmla="*/ 608 w 664"/>
                <a:gd name="T23" fmla="*/ 110 h 423"/>
                <a:gd name="T24" fmla="*/ 616 w 664"/>
                <a:gd name="T25" fmla="*/ 89 h 423"/>
                <a:gd name="T26" fmla="*/ 622 w 664"/>
                <a:gd name="T27" fmla="*/ 78 h 423"/>
                <a:gd name="T28" fmla="*/ 630 w 664"/>
                <a:gd name="T29" fmla="*/ 73 h 423"/>
                <a:gd name="T30" fmla="*/ 622 w 664"/>
                <a:gd name="T31" fmla="*/ 62 h 423"/>
                <a:gd name="T32" fmla="*/ 608 w 664"/>
                <a:gd name="T33" fmla="*/ 65 h 423"/>
                <a:gd name="T34" fmla="*/ 595 w 664"/>
                <a:gd name="T35" fmla="*/ 59 h 423"/>
                <a:gd name="T36" fmla="*/ 582 w 664"/>
                <a:gd name="T37" fmla="*/ 35 h 423"/>
                <a:gd name="T38" fmla="*/ 576 w 664"/>
                <a:gd name="T39" fmla="*/ 24 h 423"/>
                <a:gd name="T40" fmla="*/ 571 w 664"/>
                <a:gd name="T41" fmla="*/ 16 h 423"/>
                <a:gd name="T42" fmla="*/ 555 w 664"/>
                <a:gd name="T43" fmla="*/ 14 h 423"/>
                <a:gd name="T44" fmla="*/ 542 w 664"/>
                <a:gd name="T45" fmla="*/ 3 h 423"/>
                <a:gd name="T46" fmla="*/ 496 w 664"/>
                <a:gd name="T47" fmla="*/ 11 h 423"/>
                <a:gd name="T48" fmla="*/ 411 w 664"/>
                <a:gd name="T49" fmla="*/ 30 h 423"/>
                <a:gd name="T50" fmla="*/ 326 w 664"/>
                <a:gd name="T51" fmla="*/ 48 h 423"/>
                <a:gd name="T52" fmla="*/ 240 w 664"/>
                <a:gd name="T53" fmla="*/ 65 h 423"/>
                <a:gd name="T54" fmla="*/ 155 w 664"/>
                <a:gd name="T55" fmla="*/ 83 h 423"/>
                <a:gd name="T56" fmla="*/ 80 w 664"/>
                <a:gd name="T57" fmla="*/ 97 h 423"/>
                <a:gd name="T58" fmla="*/ 75 w 664"/>
                <a:gd name="T59" fmla="*/ 73 h 423"/>
                <a:gd name="T60" fmla="*/ 56 w 664"/>
                <a:gd name="T61" fmla="*/ 73 h 423"/>
                <a:gd name="T62" fmla="*/ 37 w 664"/>
                <a:gd name="T63" fmla="*/ 86 h 423"/>
                <a:gd name="T64" fmla="*/ 43 w 664"/>
                <a:gd name="T65" fmla="*/ 81 h 423"/>
                <a:gd name="T66" fmla="*/ 35 w 664"/>
                <a:gd name="T67" fmla="*/ 89 h 423"/>
                <a:gd name="T68" fmla="*/ 5 w 664"/>
                <a:gd name="T69" fmla="*/ 110 h 423"/>
                <a:gd name="T70" fmla="*/ 19 w 664"/>
                <a:gd name="T71" fmla="*/ 209 h 423"/>
                <a:gd name="T72" fmla="*/ 32 w 664"/>
                <a:gd name="T73" fmla="*/ 294 h 423"/>
                <a:gd name="T74" fmla="*/ 32 w 664"/>
                <a:gd name="T75" fmla="*/ 297 h 423"/>
                <a:gd name="T76" fmla="*/ 43 w 664"/>
                <a:gd name="T77" fmla="*/ 350 h 423"/>
                <a:gd name="T78" fmla="*/ 53 w 664"/>
                <a:gd name="T79" fmla="*/ 412 h 423"/>
                <a:gd name="T80" fmla="*/ 126 w 664"/>
                <a:gd name="T81" fmla="*/ 409 h 423"/>
                <a:gd name="T82" fmla="*/ 206 w 664"/>
                <a:gd name="T83" fmla="*/ 393 h 423"/>
                <a:gd name="T84" fmla="*/ 280 w 664"/>
                <a:gd name="T85" fmla="*/ 380 h 423"/>
                <a:gd name="T86" fmla="*/ 355 w 664"/>
                <a:gd name="T87" fmla="*/ 364 h 423"/>
                <a:gd name="T88" fmla="*/ 430 w 664"/>
                <a:gd name="T89" fmla="*/ 350 h 423"/>
                <a:gd name="T90" fmla="*/ 502 w 664"/>
                <a:gd name="T91" fmla="*/ 334 h 423"/>
                <a:gd name="T92" fmla="*/ 566 w 664"/>
                <a:gd name="T93" fmla="*/ 321 h 423"/>
                <a:gd name="T94" fmla="*/ 574 w 664"/>
                <a:gd name="T95" fmla="*/ 302 h 423"/>
                <a:gd name="T96" fmla="*/ 595 w 664"/>
                <a:gd name="T97" fmla="*/ 297 h 423"/>
                <a:gd name="T98" fmla="*/ 606 w 664"/>
                <a:gd name="T99" fmla="*/ 292 h 423"/>
                <a:gd name="T100" fmla="*/ 627 w 664"/>
                <a:gd name="T101" fmla="*/ 278 h 423"/>
                <a:gd name="T102" fmla="*/ 635 w 664"/>
                <a:gd name="T103" fmla="*/ 262 h 423"/>
                <a:gd name="T104" fmla="*/ 648 w 664"/>
                <a:gd name="T105" fmla="*/ 249 h 423"/>
                <a:gd name="T106" fmla="*/ 662 w 664"/>
                <a:gd name="T107" fmla="*/ 238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4" h="423">
                  <a:moveTo>
                    <a:pt x="659" y="230"/>
                  </a:moveTo>
                  <a:lnTo>
                    <a:pt x="651" y="227"/>
                  </a:lnTo>
                  <a:lnTo>
                    <a:pt x="646" y="222"/>
                  </a:lnTo>
                  <a:lnTo>
                    <a:pt x="643" y="219"/>
                  </a:lnTo>
                  <a:lnTo>
                    <a:pt x="643" y="217"/>
                  </a:lnTo>
                  <a:lnTo>
                    <a:pt x="640" y="217"/>
                  </a:lnTo>
                  <a:lnTo>
                    <a:pt x="635" y="214"/>
                  </a:lnTo>
                  <a:lnTo>
                    <a:pt x="632" y="209"/>
                  </a:lnTo>
                  <a:lnTo>
                    <a:pt x="630" y="206"/>
                  </a:lnTo>
                  <a:lnTo>
                    <a:pt x="624" y="209"/>
                  </a:lnTo>
                  <a:lnTo>
                    <a:pt x="622" y="209"/>
                  </a:lnTo>
                  <a:lnTo>
                    <a:pt x="619" y="206"/>
                  </a:lnTo>
                  <a:lnTo>
                    <a:pt x="619" y="203"/>
                  </a:lnTo>
                  <a:lnTo>
                    <a:pt x="616" y="193"/>
                  </a:lnTo>
                  <a:lnTo>
                    <a:pt x="614" y="190"/>
                  </a:lnTo>
                  <a:lnTo>
                    <a:pt x="606" y="190"/>
                  </a:lnTo>
                  <a:lnTo>
                    <a:pt x="603" y="190"/>
                  </a:lnTo>
                  <a:lnTo>
                    <a:pt x="603" y="190"/>
                  </a:lnTo>
                  <a:lnTo>
                    <a:pt x="600" y="187"/>
                  </a:lnTo>
                  <a:lnTo>
                    <a:pt x="600" y="185"/>
                  </a:lnTo>
                  <a:lnTo>
                    <a:pt x="600" y="185"/>
                  </a:lnTo>
                  <a:lnTo>
                    <a:pt x="600" y="182"/>
                  </a:lnTo>
                  <a:lnTo>
                    <a:pt x="598" y="179"/>
                  </a:lnTo>
                  <a:lnTo>
                    <a:pt x="598" y="177"/>
                  </a:lnTo>
                  <a:lnTo>
                    <a:pt x="598" y="177"/>
                  </a:lnTo>
                  <a:lnTo>
                    <a:pt x="598" y="174"/>
                  </a:lnTo>
                  <a:lnTo>
                    <a:pt x="598" y="174"/>
                  </a:lnTo>
                  <a:lnTo>
                    <a:pt x="598" y="171"/>
                  </a:lnTo>
                  <a:lnTo>
                    <a:pt x="598" y="166"/>
                  </a:lnTo>
                  <a:lnTo>
                    <a:pt x="598" y="166"/>
                  </a:lnTo>
                  <a:lnTo>
                    <a:pt x="595" y="166"/>
                  </a:lnTo>
                  <a:lnTo>
                    <a:pt x="595" y="166"/>
                  </a:lnTo>
                  <a:lnTo>
                    <a:pt x="595" y="163"/>
                  </a:lnTo>
                  <a:lnTo>
                    <a:pt x="598" y="163"/>
                  </a:lnTo>
                  <a:lnTo>
                    <a:pt x="598" y="163"/>
                  </a:lnTo>
                  <a:lnTo>
                    <a:pt x="598" y="161"/>
                  </a:lnTo>
                  <a:lnTo>
                    <a:pt x="600" y="161"/>
                  </a:lnTo>
                  <a:lnTo>
                    <a:pt x="603" y="161"/>
                  </a:lnTo>
                  <a:lnTo>
                    <a:pt x="603" y="158"/>
                  </a:lnTo>
                  <a:lnTo>
                    <a:pt x="603" y="155"/>
                  </a:lnTo>
                  <a:lnTo>
                    <a:pt x="603" y="153"/>
                  </a:lnTo>
                  <a:lnTo>
                    <a:pt x="606" y="150"/>
                  </a:lnTo>
                  <a:lnTo>
                    <a:pt x="606" y="150"/>
                  </a:lnTo>
                  <a:lnTo>
                    <a:pt x="606" y="147"/>
                  </a:lnTo>
                  <a:lnTo>
                    <a:pt x="606" y="145"/>
                  </a:lnTo>
                  <a:lnTo>
                    <a:pt x="603" y="142"/>
                  </a:lnTo>
                  <a:lnTo>
                    <a:pt x="600" y="139"/>
                  </a:lnTo>
                  <a:lnTo>
                    <a:pt x="600" y="139"/>
                  </a:lnTo>
                  <a:lnTo>
                    <a:pt x="600" y="139"/>
                  </a:lnTo>
                  <a:lnTo>
                    <a:pt x="600" y="139"/>
                  </a:lnTo>
                  <a:lnTo>
                    <a:pt x="598" y="139"/>
                  </a:lnTo>
                  <a:lnTo>
                    <a:pt x="598" y="139"/>
                  </a:lnTo>
                  <a:lnTo>
                    <a:pt x="598" y="139"/>
                  </a:lnTo>
                  <a:lnTo>
                    <a:pt x="598" y="139"/>
                  </a:lnTo>
                  <a:lnTo>
                    <a:pt x="598" y="137"/>
                  </a:lnTo>
                  <a:lnTo>
                    <a:pt x="598" y="137"/>
                  </a:lnTo>
                  <a:lnTo>
                    <a:pt x="595" y="137"/>
                  </a:lnTo>
                  <a:lnTo>
                    <a:pt x="595" y="134"/>
                  </a:lnTo>
                  <a:lnTo>
                    <a:pt x="595" y="134"/>
                  </a:lnTo>
                  <a:lnTo>
                    <a:pt x="595" y="131"/>
                  </a:lnTo>
                  <a:lnTo>
                    <a:pt x="598" y="129"/>
                  </a:lnTo>
                  <a:lnTo>
                    <a:pt x="598" y="126"/>
                  </a:lnTo>
                  <a:lnTo>
                    <a:pt x="600" y="126"/>
                  </a:lnTo>
                  <a:lnTo>
                    <a:pt x="603" y="123"/>
                  </a:lnTo>
                  <a:lnTo>
                    <a:pt x="603" y="123"/>
                  </a:lnTo>
                  <a:lnTo>
                    <a:pt x="608" y="115"/>
                  </a:lnTo>
                  <a:lnTo>
                    <a:pt x="608" y="115"/>
                  </a:lnTo>
                  <a:lnTo>
                    <a:pt x="608" y="115"/>
                  </a:lnTo>
                  <a:lnTo>
                    <a:pt x="606" y="113"/>
                  </a:lnTo>
                  <a:lnTo>
                    <a:pt x="608" y="113"/>
                  </a:lnTo>
                  <a:lnTo>
                    <a:pt x="608" y="113"/>
                  </a:lnTo>
                  <a:lnTo>
                    <a:pt x="608" y="110"/>
                  </a:lnTo>
                  <a:lnTo>
                    <a:pt x="608" y="110"/>
                  </a:lnTo>
                  <a:lnTo>
                    <a:pt x="611" y="110"/>
                  </a:lnTo>
                  <a:lnTo>
                    <a:pt x="614" y="102"/>
                  </a:lnTo>
                  <a:lnTo>
                    <a:pt x="616" y="94"/>
                  </a:lnTo>
                  <a:lnTo>
                    <a:pt x="616" y="91"/>
                  </a:lnTo>
                  <a:lnTo>
                    <a:pt x="616" y="89"/>
                  </a:lnTo>
                  <a:lnTo>
                    <a:pt x="616" y="89"/>
                  </a:lnTo>
                  <a:lnTo>
                    <a:pt x="622" y="81"/>
                  </a:lnTo>
                  <a:lnTo>
                    <a:pt x="622" y="81"/>
                  </a:lnTo>
                  <a:lnTo>
                    <a:pt x="622" y="78"/>
                  </a:lnTo>
                  <a:lnTo>
                    <a:pt x="622" y="78"/>
                  </a:lnTo>
                  <a:lnTo>
                    <a:pt x="622" y="78"/>
                  </a:lnTo>
                  <a:lnTo>
                    <a:pt x="622" y="78"/>
                  </a:lnTo>
                  <a:lnTo>
                    <a:pt x="624" y="75"/>
                  </a:lnTo>
                  <a:lnTo>
                    <a:pt x="624" y="75"/>
                  </a:lnTo>
                  <a:lnTo>
                    <a:pt x="627" y="75"/>
                  </a:lnTo>
                  <a:lnTo>
                    <a:pt x="630" y="73"/>
                  </a:lnTo>
                  <a:lnTo>
                    <a:pt x="630" y="73"/>
                  </a:lnTo>
                  <a:lnTo>
                    <a:pt x="627" y="70"/>
                  </a:lnTo>
                  <a:lnTo>
                    <a:pt x="624" y="67"/>
                  </a:lnTo>
                  <a:lnTo>
                    <a:pt x="624" y="67"/>
                  </a:lnTo>
                  <a:lnTo>
                    <a:pt x="622" y="65"/>
                  </a:lnTo>
                  <a:lnTo>
                    <a:pt x="622" y="65"/>
                  </a:lnTo>
                  <a:lnTo>
                    <a:pt x="622" y="62"/>
                  </a:lnTo>
                  <a:lnTo>
                    <a:pt x="619" y="65"/>
                  </a:lnTo>
                  <a:lnTo>
                    <a:pt x="619" y="65"/>
                  </a:lnTo>
                  <a:lnTo>
                    <a:pt x="619" y="65"/>
                  </a:lnTo>
                  <a:lnTo>
                    <a:pt x="616" y="65"/>
                  </a:lnTo>
                  <a:lnTo>
                    <a:pt x="614" y="62"/>
                  </a:lnTo>
                  <a:lnTo>
                    <a:pt x="608" y="65"/>
                  </a:lnTo>
                  <a:lnTo>
                    <a:pt x="606" y="65"/>
                  </a:lnTo>
                  <a:lnTo>
                    <a:pt x="606" y="65"/>
                  </a:lnTo>
                  <a:lnTo>
                    <a:pt x="603" y="62"/>
                  </a:lnTo>
                  <a:lnTo>
                    <a:pt x="600" y="62"/>
                  </a:lnTo>
                  <a:lnTo>
                    <a:pt x="598" y="62"/>
                  </a:lnTo>
                  <a:lnTo>
                    <a:pt x="595" y="59"/>
                  </a:lnTo>
                  <a:lnTo>
                    <a:pt x="592" y="59"/>
                  </a:lnTo>
                  <a:lnTo>
                    <a:pt x="584" y="48"/>
                  </a:lnTo>
                  <a:lnTo>
                    <a:pt x="584" y="48"/>
                  </a:lnTo>
                  <a:lnTo>
                    <a:pt x="582" y="46"/>
                  </a:lnTo>
                  <a:lnTo>
                    <a:pt x="582" y="40"/>
                  </a:lnTo>
                  <a:lnTo>
                    <a:pt x="582" y="35"/>
                  </a:lnTo>
                  <a:lnTo>
                    <a:pt x="579" y="32"/>
                  </a:lnTo>
                  <a:lnTo>
                    <a:pt x="579" y="30"/>
                  </a:lnTo>
                  <a:lnTo>
                    <a:pt x="579" y="30"/>
                  </a:lnTo>
                  <a:lnTo>
                    <a:pt x="579" y="27"/>
                  </a:lnTo>
                  <a:lnTo>
                    <a:pt x="579" y="24"/>
                  </a:lnTo>
                  <a:lnTo>
                    <a:pt x="576" y="24"/>
                  </a:lnTo>
                  <a:lnTo>
                    <a:pt x="574" y="24"/>
                  </a:lnTo>
                  <a:lnTo>
                    <a:pt x="574" y="22"/>
                  </a:lnTo>
                  <a:lnTo>
                    <a:pt x="574" y="19"/>
                  </a:lnTo>
                  <a:lnTo>
                    <a:pt x="574" y="19"/>
                  </a:lnTo>
                  <a:lnTo>
                    <a:pt x="574" y="16"/>
                  </a:lnTo>
                  <a:lnTo>
                    <a:pt x="571" y="16"/>
                  </a:lnTo>
                  <a:lnTo>
                    <a:pt x="571" y="16"/>
                  </a:lnTo>
                  <a:lnTo>
                    <a:pt x="566" y="14"/>
                  </a:lnTo>
                  <a:lnTo>
                    <a:pt x="563" y="14"/>
                  </a:lnTo>
                  <a:lnTo>
                    <a:pt x="563" y="14"/>
                  </a:lnTo>
                  <a:lnTo>
                    <a:pt x="558" y="16"/>
                  </a:lnTo>
                  <a:lnTo>
                    <a:pt x="555" y="14"/>
                  </a:lnTo>
                  <a:lnTo>
                    <a:pt x="555" y="11"/>
                  </a:lnTo>
                  <a:lnTo>
                    <a:pt x="552" y="8"/>
                  </a:lnTo>
                  <a:lnTo>
                    <a:pt x="552" y="6"/>
                  </a:lnTo>
                  <a:lnTo>
                    <a:pt x="550" y="6"/>
                  </a:lnTo>
                  <a:lnTo>
                    <a:pt x="544" y="6"/>
                  </a:lnTo>
                  <a:lnTo>
                    <a:pt x="542" y="3"/>
                  </a:lnTo>
                  <a:lnTo>
                    <a:pt x="542" y="0"/>
                  </a:lnTo>
                  <a:lnTo>
                    <a:pt x="542" y="0"/>
                  </a:lnTo>
                  <a:lnTo>
                    <a:pt x="539" y="3"/>
                  </a:lnTo>
                  <a:lnTo>
                    <a:pt x="526" y="6"/>
                  </a:lnTo>
                  <a:lnTo>
                    <a:pt x="510" y="8"/>
                  </a:lnTo>
                  <a:lnTo>
                    <a:pt x="496" y="11"/>
                  </a:lnTo>
                  <a:lnTo>
                    <a:pt x="483" y="14"/>
                  </a:lnTo>
                  <a:lnTo>
                    <a:pt x="467" y="19"/>
                  </a:lnTo>
                  <a:lnTo>
                    <a:pt x="454" y="22"/>
                  </a:lnTo>
                  <a:lnTo>
                    <a:pt x="440" y="24"/>
                  </a:lnTo>
                  <a:lnTo>
                    <a:pt x="424" y="27"/>
                  </a:lnTo>
                  <a:lnTo>
                    <a:pt x="411" y="30"/>
                  </a:lnTo>
                  <a:lnTo>
                    <a:pt x="398" y="32"/>
                  </a:lnTo>
                  <a:lnTo>
                    <a:pt x="382" y="35"/>
                  </a:lnTo>
                  <a:lnTo>
                    <a:pt x="368" y="40"/>
                  </a:lnTo>
                  <a:lnTo>
                    <a:pt x="355" y="43"/>
                  </a:lnTo>
                  <a:lnTo>
                    <a:pt x="339" y="46"/>
                  </a:lnTo>
                  <a:lnTo>
                    <a:pt x="326" y="48"/>
                  </a:lnTo>
                  <a:lnTo>
                    <a:pt x="312" y="51"/>
                  </a:lnTo>
                  <a:lnTo>
                    <a:pt x="296" y="54"/>
                  </a:lnTo>
                  <a:lnTo>
                    <a:pt x="283" y="56"/>
                  </a:lnTo>
                  <a:lnTo>
                    <a:pt x="270" y="59"/>
                  </a:lnTo>
                  <a:lnTo>
                    <a:pt x="254" y="62"/>
                  </a:lnTo>
                  <a:lnTo>
                    <a:pt x="240" y="65"/>
                  </a:lnTo>
                  <a:lnTo>
                    <a:pt x="227" y="67"/>
                  </a:lnTo>
                  <a:lnTo>
                    <a:pt x="211" y="70"/>
                  </a:lnTo>
                  <a:lnTo>
                    <a:pt x="198" y="73"/>
                  </a:lnTo>
                  <a:lnTo>
                    <a:pt x="184" y="78"/>
                  </a:lnTo>
                  <a:lnTo>
                    <a:pt x="168" y="81"/>
                  </a:lnTo>
                  <a:lnTo>
                    <a:pt x="155" y="83"/>
                  </a:lnTo>
                  <a:lnTo>
                    <a:pt x="142" y="86"/>
                  </a:lnTo>
                  <a:lnTo>
                    <a:pt x="126" y="89"/>
                  </a:lnTo>
                  <a:lnTo>
                    <a:pt x="112" y="91"/>
                  </a:lnTo>
                  <a:lnTo>
                    <a:pt x="99" y="94"/>
                  </a:lnTo>
                  <a:lnTo>
                    <a:pt x="83" y="97"/>
                  </a:lnTo>
                  <a:lnTo>
                    <a:pt x="80" y="97"/>
                  </a:lnTo>
                  <a:lnTo>
                    <a:pt x="80" y="91"/>
                  </a:lnTo>
                  <a:lnTo>
                    <a:pt x="77" y="89"/>
                  </a:lnTo>
                  <a:lnTo>
                    <a:pt x="77" y="83"/>
                  </a:lnTo>
                  <a:lnTo>
                    <a:pt x="77" y="81"/>
                  </a:lnTo>
                  <a:lnTo>
                    <a:pt x="75" y="75"/>
                  </a:lnTo>
                  <a:lnTo>
                    <a:pt x="75" y="73"/>
                  </a:lnTo>
                  <a:lnTo>
                    <a:pt x="75" y="67"/>
                  </a:lnTo>
                  <a:lnTo>
                    <a:pt x="75" y="65"/>
                  </a:lnTo>
                  <a:lnTo>
                    <a:pt x="72" y="59"/>
                  </a:lnTo>
                  <a:lnTo>
                    <a:pt x="72" y="59"/>
                  </a:lnTo>
                  <a:lnTo>
                    <a:pt x="61" y="67"/>
                  </a:lnTo>
                  <a:lnTo>
                    <a:pt x="56" y="73"/>
                  </a:lnTo>
                  <a:lnTo>
                    <a:pt x="53" y="73"/>
                  </a:lnTo>
                  <a:lnTo>
                    <a:pt x="48" y="78"/>
                  </a:lnTo>
                  <a:lnTo>
                    <a:pt x="45" y="81"/>
                  </a:lnTo>
                  <a:lnTo>
                    <a:pt x="40" y="86"/>
                  </a:lnTo>
                  <a:lnTo>
                    <a:pt x="37" y="86"/>
                  </a:lnTo>
                  <a:lnTo>
                    <a:pt x="37" y="86"/>
                  </a:lnTo>
                  <a:lnTo>
                    <a:pt x="37" y="83"/>
                  </a:lnTo>
                  <a:lnTo>
                    <a:pt x="40" y="83"/>
                  </a:lnTo>
                  <a:lnTo>
                    <a:pt x="40" y="83"/>
                  </a:lnTo>
                  <a:lnTo>
                    <a:pt x="43" y="81"/>
                  </a:lnTo>
                  <a:lnTo>
                    <a:pt x="43" y="81"/>
                  </a:lnTo>
                  <a:lnTo>
                    <a:pt x="43" y="81"/>
                  </a:lnTo>
                  <a:lnTo>
                    <a:pt x="40" y="78"/>
                  </a:lnTo>
                  <a:lnTo>
                    <a:pt x="40" y="81"/>
                  </a:lnTo>
                  <a:lnTo>
                    <a:pt x="37" y="83"/>
                  </a:lnTo>
                  <a:lnTo>
                    <a:pt x="35" y="83"/>
                  </a:lnTo>
                  <a:lnTo>
                    <a:pt x="35" y="89"/>
                  </a:lnTo>
                  <a:lnTo>
                    <a:pt x="35" y="89"/>
                  </a:lnTo>
                  <a:lnTo>
                    <a:pt x="32" y="89"/>
                  </a:lnTo>
                  <a:lnTo>
                    <a:pt x="29" y="91"/>
                  </a:lnTo>
                  <a:lnTo>
                    <a:pt x="16" y="105"/>
                  </a:lnTo>
                  <a:lnTo>
                    <a:pt x="8" y="107"/>
                  </a:lnTo>
                  <a:lnTo>
                    <a:pt x="8" y="107"/>
                  </a:lnTo>
                  <a:lnTo>
                    <a:pt x="5" y="110"/>
                  </a:lnTo>
                  <a:lnTo>
                    <a:pt x="0" y="113"/>
                  </a:lnTo>
                  <a:lnTo>
                    <a:pt x="3" y="123"/>
                  </a:lnTo>
                  <a:lnTo>
                    <a:pt x="8" y="153"/>
                  </a:lnTo>
                  <a:lnTo>
                    <a:pt x="13" y="179"/>
                  </a:lnTo>
                  <a:lnTo>
                    <a:pt x="16" y="195"/>
                  </a:lnTo>
                  <a:lnTo>
                    <a:pt x="19" y="209"/>
                  </a:lnTo>
                  <a:lnTo>
                    <a:pt x="21" y="225"/>
                  </a:lnTo>
                  <a:lnTo>
                    <a:pt x="24" y="238"/>
                  </a:lnTo>
                  <a:lnTo>
                    <a:pt x="27" y="252"/>
                  </a:lnTo>
                  <a:lnTo>
                    <a:pt x="27" y="268"/>
                  </a:lnTo>
                  <a:lnTo>
                    <a:pt x="29" y="281"/>
                  </a:lnTo>
                  <a:lnTo>
                    <a:pt x="32" y="294"/>
                  </a:lnTo>
                  <a:lnTo>
                    <a:pt x="32" y="294"/>
                  </a:lnTo>
                  <a:lnTo>
                    <a:pt x="32" y="294"/>
                  </a:lnTo>
                  <a:lnTo>
                    <a:pt x="32" y="294"/>
                  </a:lnTo>
                  <a:lnTo>
                    <a:pt x="32" y="294"/>
                  </a:lnTo>
                  <a:lnTo>
                    <a:pt x="32" y="297"/>
                  </a:lnTo>
                  <a:lnTo>
                    <a:pt x="32" y="297"/>
                  </a:lnTo>
                  <a:lnTo>
                    <a:pt x="32" y="297"/>
                  </a:lnTo>
                  <a:lnTo>
                    <a:pt x="32" y="297"/>
                  </a:lnTo>
                  <a:lnTo>
                    <a:pt x="37" y="318"/>
                  </a:lnTo>
                  <a:lnTo>
                    <a:pt x="40" y="329"/>
                  </a:lnTo>
                  <a:lnTo>
                    <a:pt x="40" y="340"/>
                  </a:lnTo>
                  <a:lnTo>
                    <a:pt x="43" y="350"/>
                  </a:lnTo>
                  <a:lnTo>
                    <a:pt x="45" y="361"/>
                  </a:lnTo>
                  <a:lnTo>
                    <a:pt x="48" y="372"/>
                  </a:lnTo>
                  <a:lnTo>
                    <a:pt x="48" y="385"/>
                  </a:lnTo>
                  <a:lnTo>
                    <a:pt x="51" y="393"/>
                  </a:lnTo>
                  <a:lnTo>
                    <a:pt x="53" y="404"/>
                  </a:lnTo>
                  <a:lnTo>
                    <a:pt x="53" y="412"/>
                  </a:lnTo>
                  <a:lnTo>
                    <a:pt x="56" y="423"/>
                  </a:lnTo>
                  <a:lnTo>
                    <a:pt x="69" y="420"/>
                  </a:lnTo>
                  <a:lnTo>
                    <a:pt x="83" y="417"/>
                  </a:lnTo>
                  <a:lnTo>
                    <a:pt x="99" y="414"/>
                  </a:lnTo>
                  <a:lnTo>
                    <a:pt x="112" y="412"/>
                  </a:lnTo>
                  <a:lnTo>
                    <a:pt x="126" y="409"/>
                  </a:lnTo>
                  <a:lnTo>
                    <a:pt x="139" y="406"/>
                  </a:lnTo>
                  <a:lnTo>
                    <a:pt x="155" y="404"/>
                  </a:lnTo>
                  <a:lnTo>
                    <a:pt x="168" y="401"/>
                  </a:lnTo>
                  <a:lnTo>
                    <a:pt x="182" y="398"/>
                  </a:lnTo>
                  <a:lnTo>
                    <a:pt x="192" y="396"/>
                  </a:lnTo>
                  <a:lnTo>
                    <a:pt x="206" y="393"/>
                  </a:lnTo>
                  <a:lnTo>
                    <a:pt x="219" y="393"/>
                  </a:lnTo>
                  <a:lnTo>
                    <a:pt x="230" y="390"/>
                  </a:lnTo>
                  <a:lnTo>
                    <a:pt x="243" y="388"/>
                  </a:lnTo>
                  <a:lnTo>
                    <a:pt x="256" y="385"/>
                  </a:lnTo>
                  <a:lnTo>
                    <a:pt x="267" y="382"/>
                  </a:lnTo>
                  <a:lnTo>
                    <a:pt x="280" y="380"/>
                  </a:lnTo>
                  <a:lnTo>
                    <a:pt x="291" y="377"/>
                  </a:lnTo>
                  <a:lnTo>
                    <a:pt x="304" y="374"/>
                  </a:lnTo>
                  <a:lnTo>
                    <a:pt x="318" y="372"/>
                  </a:lnTo>
                  <a:lnTo>
                    <a:pt x="328" y="369"/>
                  </a:lnTo>
                  <a:lnTo>
                    <a:pt x="342" y="366"/>
                  </a:lnTo>
                  <a:lnTo>
                    <a:pt x="355" y="364"/>
                  </a:lnTo>
                  <a:lnTo>
                    <a:pt x="366" y="364"/>
                  </a:lnTo>
                  <a:lnTo>
                    <a:pt x="379" y="361"/>
                  </a:lnTo>
                  <a:lnTo>
                    <a:pt x="392" y="358"/>
                  </a:lnTo>
                  <a:lnTo>
                    <a:pt x="403" y="356"/>
                  </a:lnTo>
                  <a:lnTo>
                    <a:pt x="416" y="353"/>
                  </a:lnTo>
                  <a:lnTo>
                    <a:pt x="430" y="350"/>
                  </a:lnTo>
                  <a:lnTo>
                    <a:pt x="440" y="348"/>
                  </a:lnTo>
                  <a:lnTo>
                    <a:pt x="454" y="345"/>
                  </a:lnTo>
                  <a:lnTo>
                    <a:pt x="464" y="342"/>
                  </a:lnTo>
                  <a:lnTo>
                    <a:pt x="478" y="340"/>
                  </a:lnTo>
                  <a:lnTo>
                    <a:pt x="491" y="337"/>
                  </a:lnTo>
                  <a:lnTo>
                    <a:pt x="502" y="334"/>
                  </a:lnTo>
                  <a:lnTo>
                    <a:pt x="515" y="332"/>
                  </a:lnTo>
                  <a:lnTo>
                    <a:pt x="528" y="329"/>
                  </a:lnTo>
                  <a:lnTo>
                    <a:pt x="539" y="326"/>
                  </a:lnTo>
                  <a:lnTo>
                    <a:pt x="552" y="324"/>
                  </a:lnTo>
                  <a:lnTo>
                    <a:pt x="563" y="321"/>
                  </a:lnTo>
                  <a:lnTo>
                    <a:pt x="566" y="321"/>
                  </a:lnTo>
                  <a:lnTo>
                    <a:pt x="566" y="321"/>
                  </a:lnTo>
                  <a:lnTo>
                    <a:pt x="566" y="316"/>
                  </a:lnTo>
                  <a:lnTo>
                    <a:pt x="568" y="310"/>
                  </a:lnTo>
                  <a:lnTo>
                    <a:pt x="571" y="305"/>
                  </a:lnTo>
                  <a:lnTo>
                    <a:pt x="571" y="305"/>
                  </a:lnTo>
                  <a:lnTo>
                    <a:pt x="574" y="302"/>
                  </a:lnTo>
                  <a:lnTo>
                    <a:pt x="576" y="300"/>
                  </a:lnTo>
                  <a:lnTo>
                    <a:pt x="579" y="300"/>
                  </a:lnTo>
                  <a:lnTo>
                    <a:pt x="582" y="297"/>
                  </a:lnTo>
                  <a:lnTo>
                    <a:pt x="584" y="297"/>
                  </a:lnTo>
                  <a:lnTo>
                    <a:pt x="590" y="297"/>
                  </a:lnTo>
                  <a:lnTo>
                    <a:pt x="595" y="297"/>
                  </a:lnTo>
                  <a:lnTo>
                    <a:pt x="598" y="297"/>
                  </a:lnTo>
                  <a:lnTo>
                    <a:pt x="600" y="300"/>
                  </a:lnTo>
                  <a:lnTo>
                    <a:pt x="600" y="300"/>
                  </a:lnTo>
                  <a:lnTo>
                    <a:pt x="603" y="294"/>
                  </a:lnTo>
                  <a:lnTo>
                    <a:pt x="603" y="294"/>
                  </a:lnTo>
                  <a:lnTo>
                    <a:pt x="606" y="292"/>
                  </a:lnTo>
                  <a:lnTo>
                    <a:pt x="611" y="289"/>
                  </a:lnTo>
                  <a:lnTo>
                    <a:pt x="614" y="289"/>
                  </a:lnTo>
                  <a:lnTo>
                    <a:pt x="616" y="286"/>
                  </a:lnTo>
                  <a:lnTo>
                    <a:pt x="622" y="284"/>
                  </a:lnTo>
                  <a:lnTo>
                    <a:pt x="627" y="281"/>
                  </a:lnTo>
                  <a:lnTo>
                    <a:pt x="627" y="278"/>
                  </a:lnTo>
                  <a:lnTo>
                    <a:pt x="627" y="276"/>
                  </a:lnTo>
                  <a:lnTo>
                    <a:pt x="627" y="273"/>
                  </a:lnTo>
                  <a:lnTo>
                    <a:pt x="627" y="270"/>
                  </a:lnTo>
                  <a:lnTo>
                    <a:pt x="630" y="268"/>
                  </a:lnTo>
                  <a:lnTo>
                    <a:pt x="632" y="268"/>
                  </a:lnTo>
                  <a:lnTo>
                    <a:pt x="635" y="262"/>
                  </a:lnTo>
                  <a:lnTo>
                    <a:pt x="638" y="262"/>
                  </a:lnTo>
                  <a:lnTo>
                    <a:pt x="640" y="260"/>
                  </a:lnTo>
                  <a:lnTo>
                    <a:pt x="640" y="257"/>
                  </a:lnTo>
                  <a:lnTo>
                    <a:pt x="643" y="252"/>
                  </a:lnTo>
                  <a:lnTo>
                    <a:pt x="646" y="252"/>
                  </a:lnTo>
                  <a:lnTo>
                    <a:pt x="648" y="249"/>
                  </a:lnTo>
                  <a:lnTo>
                    <a:pt x="651" y="249"/>
                  </a:lnTo>
                  <a:lnTo>
                    <a:pt x="654" y="244"/>
                  </a:lnTo>
                  <a:lnTo>
                    <a:pt x="654" y="244"/>
                  </a:lnTo>
                  <a:lnTo>
                    <a:pt x="656" y="241"/>
                  </a:lnTo>
                  <a:lnTo>
                    <a:pt x="659" y="241"/>
                  </a:lnTo>
                  <a:lnTo>
                    <a:pt x="662" y="238"/>
                  </a:lnTo>
                  <a:lnTo>
                    <a:pt x="664" y="235"/>
                  </a:lnTo>
                  <a:lnTo>
                    <a:pt x="662" y="233"/>
                  </a:lnTo>
                  <a:lnTo>
                    <a:pt x="659" y="230"/>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21" name="Freeform 18">
              <a:extLst>
                <a:ext uri="{FF2B5EF4-FFF2-40B4-BE49-F238E27FC236}">
                  <a16:creationId xmlns="" xmlns:a16="http://schemas.microsoft.com/office/drawing/2014/main" id="{CB34DDE6-A4E0-423C-B5E8-0B4953D4EED7}"/>
                </a:ext>
              </a:extLst>
            </p:cNvPr>
            <p:cNvSpPr>
              <a:spLocks/>
            </p:cNvSpPr>
            <p:nvPr/>
          </p:nvSpPr>
          <p:spPr bwMode="auto">
            <a:xfrm>
              <a:off x="1068" y="393"/>
              <a:ext cx="901" cy="700"/>
            </a:xfrm>
            <a:custGeom>
              <a:avLst/>
              <a:gdLst>
                <a:gd name="T0" fmla="*/ 266 w 901"/>
                <a:gd name="T1" fmla="*/ 40 h 700"/>
                <a:gd name="T2" fmla="*/ 272 w 901"/>
                <a:gd name="T3" fmla="*/ 74 h 700"/>
                <a:gd name="T4" fmla="*/ 274 w 901"/>
                <a:gd name="T5" fmla="*/ 104 h 700"/>
                <a:gd name="T6" fmla="*/ 320 w 901"/>
                <a:gd name="T7" fmla="*/ 123 h 700"/>
                <a:gd name="T8" fmla="*/ 427 w 901"/>
                <a:gd name="T9" fmla="*/ 128 h 700"/>
                <a:gd name="T10" fmla="*/ 448 w 901"/>
                <a:gd name="T11" fmla="*/ 136 h 700"/>
                <a:gd name="T12" fmla="*/ 480 w 901"/>
                <a:gd name="T13" fmla="*/ 133 h 700"/>
                <a:gd name="T14" fmla="*/ 517 w 901"/>
                <a:gd name="T15" fmla="*/ 139 h 700"/>
                <a:gd name="T16" fmla="*/ 584 w 901"/>
                <a:gd name="T17" fmla="*/ 131 h 700"/>
                <a:gd name="T18" fmla="*/ 656 w 901"/>
                <a:gd name="T19" fmla="*/ 125 h 700"/>
                <a:gd name="T20" fmla="*/ 789 w 901"/>
                <a:gd name="T21" fmla="*/ 149 h 700"/>
                <a:gd name="T22" fmla="*/ 875 w 901"/>
                <a:gd name="T23" fmla="*/ 184 h 700"/>
                <a:gd name="T24" fmla="*/ 901 w 901"/>
                <a:gd name="T25" fmla="*/ 216 h 700"/>
                <a:gd name="T26" fmla="*/ 883 w 901"/>
                <a:gd name="T27" fmla="*/ 245 h 700"/>
                <a:gd name="T28" fmla="*/ 851 w 901"/>
                <a:gd name="T29" fmla="*/ 294 h 700"/>
                <a:gd name="T30" fmla="*/ 835 w 901"/>
                <a:gd name="T31" fmla="*/ 326 h 700"/>
                <a:gd name="T32" fmla="*/ 808 w 901"/>
                <a:gd name="T33" fmla="*/ 355 h 700"/>
                <a:gd name="T34" fmla="*/ 800 w 901"/>
                <a:gd name="T35" fmla="*/ 374 h 700"/>
                <a:gd name="T36" fmla="*/ 808 w 901"/>
                <a:gd name="T37" fmla="*/ 387 h 700"/>
                <a:gd name="T38" fmla="*/ 821 w 901"/>
                <a:gd name="T39" fmla="*/ 395 h 700"/>
                <a:gd name="T40" fmla="*/ 827 w 901"/>
                <a:gd name="T41" fmla="*/ 408 h 700"/>
                <a:gd name="T42" fmla="*/ 821 w 901"/>
                <a:gd name="T43" fmla="*/ 427 h 700"/>
                <a:gd name="T44" fmla="*/ 805 w 901"/>
                <a:gd name="T45" fmla="*/ 451 h 700"/>
                <a:gd name="T46" fmla="*/ 792 w 901"/>
                <a:gd name="T47" fmla="*/ 547 h 700"/>
                <a:gd name="T48" fmla="*/ 768 w 901"/>
                <a:gd name="T49" fmla="*/ 700 h 700"/>
                <a:gd name="T50" fmla="*/ 555 w 901"/>
                <a:gd name="T51" fmla="*/ 665 h 700"/>
                <a:gd name="T52" fmla="*/ 290 w 901"/>
                <a:gd name="T53" fmla="*/ 617 h 700"/>
                <a:gd name="T54" fmla="*/ 18 w 901"/>
                <a:gd name="T55" fmla="*/ 558 h 700"/>
                <a:gd name="T56" fmla="*/ 2 w 901"/>
                <a:gd name="T57" fmla="*/ 515 h 700"/>
                <a:gd name="T58" fmla="*/ 5 w 901"/>
                <a:gd name="T59" fmla="*/ 491 h 700"/>
                <a:gd name="T60" fmla="*/ 10 w 901"/>
                <a:gd name="T61" fmla="*/ 459 h 700"/>
                <a:gd name="T62" fmla="*/ 13 w 901"/>
                <a:gd name="T63" fmla="*/ 424 h 700"/>
                <a:gd name="T64" fmla="*/ 37 w 901"/>
                <a:gd name="T65" fmla="*/ 376 h 700"/>
                <a:gd name="T66" fmla="*/ 45 w 901"/>
                <a:gd name="T67" fmla="*/ 376 h 700"/>
                <a:gd name="T68" fmla="*/ 56 w 901"/>
                <a:gd name="T69" fmla="*/ 368 h 700"/>
                <a:gd name="T70" fmla="*/ 61 w 901"/>
                <a:gd name="T71" fmla="*/ 363 h 700"/>
                <a:gd name="T72" fmla="*/ 64 w 901"/>
                <a:gd name="T73" fmla="*/ 339 h 700"/>
                <a:gd name="T74" fmla="*/ 74 w 901"/>
                <a:gd name="T75" fmla="*/ 331 h 700"/>
                <a:gd name="T76" fmla="*/ 69 w 901"/>
                <a:gd name="T77" fmla="*/ 331 h 700"/>
                <a:gd name="T78" fmla="*/ 85 w 901"/>
                <a:gd name="T79" fmla="*/ 286 h 700"/>
                <a:gd name="T80" fmla="*/ 93 w 901"/>
                <a:gd name="T81" fmla="*/ 251 h 700"/>
                <a:gd name="T82" fmla="*/ 101 w 901"/>
                <a:gd name="T83" fmla="*/ 235 h 700"/>
                <a:gd name="T84" fmla="*/ 109 w 901"/>
                <a:gd name="T85" fmla="*/ 211 h 700"/>
                <a:gd name="T86" fmla="*/ 117 w 901"/>
                <a:gd name="T87" fmla="*/ 179 h 700"/>
                <a:gd name="T88" fmla="*/ 128 w 901"/>
                <a:gd name="T89" fmla="*/ 155 h 700"/>
                <a:gd name="T90" fmla="*/ 136 w 901"/>
                <a:gd name="T91" fmla="*/ 128 h 700"/>
                <a:gd name="T92" fmla="*/ 136 w 901"/>
                <a:gd name="T93" fmla="*/ 115 h 700"/>
                <a:gd name="T94" fmla="*/ 144 w 901"/>
                <a:gd name="T95" fmla="*/ 109 h 700"/>
                <a:gd name="T96" fmla="*/ 146 w 901"/>
                <a:gd name="T97" fmla="*/ 99 h 700"/>
                <a:gd name="T98" fmla="*/ 149 w 901"/>
                <a:gd name="T99" fmla="*/ 88 h 700"/>
                <a:gd name="T100" fmla="*/ 160 w 901"/>
                <a:gd name="T101" fmla="*/ 72 h 700"/>
                <a:gd name="T102" fmla="*/ 152 w 901"/>
                <a:gd name="T103" fmla="*/ 66 h 700"/>
                <a:gd name="T104" fmla="*/ 157 w 901"/>
                <a:gd name="T105" fmla="*/ 34 h 700"/>
                <a:gd name="T106" fmla="*/ 165 w 901"/>
                <a:gd name="T107" fmla="*/ 0 h 700"/>
                <a:gd name="T108" fmla="*/ 178 w 901"/>
                <a:gd name="T109" fmla="*/ 13 h 700"/>
                <a:gd name="T110" fmla="*/ 178 w 901"/>
                <a:gd name="T111" fmla="*/ 10 h 700"/>
                <a:gd name="T112" fmla="*/ 189 w 901"/>
                <a:gd name="T113" fmla="*/ 10 h 700"/>
                <a:gd name="T114" fmla="*/ 210 w 901"/>
                <a:gd name="T115" fmla="*/ 8 h 700"/>
                <a:gd name="T116" fmla="*/ 242 w 901"/>
                <a:gd name="T117" fmla="*/ 21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1" h="700">
                  <a:moveTo>
                    <a:pt x="242" y="21"/>
                  </a:moveTo>
                  <a:lnTo>
                    <a:pt x="248" y="21"/>
                  </a:lnTo>
                  <a:lnTo>
                    <a:pt x="250" y="24"/>
                  </a:lnTo>
                  <a:lnTo>
                    <a:pt x="250" y="24"/>
                  </a:lnTo>
                  <a:lnTo>
                    <a:pt x="253" y="29"/>
                  </a:lnTo>
                  <a:lnTo>
                    <a:pt x="256" y="29"/>
                  </a:lnTo>
                  <a:lnTo>
                    <a:pt x="258" y="29"/>
                  </a:lnTo>
                  <a:lnTo>
                    <a:pt x="261" y="32"/>
                  </a:lnTo>
                  <a:lnTo>
                    <a:pt x="264" y="34"/>
                  </a:lnTo>
                  <a:lnTo>
                    <a:pt x="266" y="37"/>
                  </a:lnTo>
                  <a:lnTo>
                    <a:pt x="266" y="40"/>
                  </a:lnTo>
                  <a:lnTo>
                    <a:pt x="269" y="42"/>
                  </a:lnTo>
                  <a:lnTo>
                    <a:pt x="269" y="45"/>
                  </a:lnTo>
                  <a:lnTo>
                    <a:pt x="269" y="50"/>
                  </a:lnTo>
                  <a:lnTo>
                    <a:pt x="272" y="53"/>
                  </a:lnTo>
                  <a:lnTo>
                    <a:pt x="272" y="53"/>
                  </a:lnTo>
                  <a:lnTo>
                    <a:pt x="272" y="56"/>
                  </a:lnTo>
                  <a:lnTo>
                    <a:pt x="274" y="58"/>
                  </a:lnTo>
                  <a:lnTo>
                    <a:pt x="272" y="64"/>
                  </a:lnTo>
                  <a:lnTo>
                    <a:pt x="274" y="69"/>
                  </a:lnTo>
                  <a:lnTo>
                    <a:pt x="272" y="72"/>
                  </a:lnTo>
                  <a:lnTo>
                    <a:pt x="272" y="74"/>
                  </a:lnTo>
                  <a:lnTo>
                    <a:pt x="272" y="77"/>
                  </a:lnTo>
                  <a:lnTo>
                    <a:pt x="272" y="83"/>
                  </a:lnTo>
                  <a:lnTo>
                    <a:pt x="272" y="83"/>
                  </a:lnTo>
                  <a:lnTo>
                    <a:pt x="272" y="85"/>
                  </a:lnTo>
                  <a:lnTo>
                    <a:pt x="272" y="88"/>
                  </a:lnTo>
                  <a:lnTo>
                    <a:pt x="272" y="88"/>
                  </a:lnTo>
                  <a:lnTo>
                    <a:pt x="272" y="93"/>
                  </a:lnTo>
                  <a:lnTo>
                    <a:pt x="272" y="99"/>
                  </a:lnTo>
                  <a:lnTo>
                    <a:pt x="272" y="99"/>
                  </a:lnTo>
                  <a:lnTo>
                    <a:pt x="272" y="101"/>
                  </a:lnTo>
                  <a:lnTo>
                    <a:pt x="274" y="104"/>
                  </a:lnTo>
                  <a:lnTo>
                    <a:pt x="277" y="107"/>
                  </a:lnTo>
                  <a:lnTo>
                    <a:pt x="285" y="109"/>
                  </a:lnTo>
                  <a:lnTo>
                    <a:pt x="288" y="109"/>
                  </a:lnTo>
                  <a:lnTo>
                    <a:pt x="290" y="109"/>
                  </a:lnTo>
                  <a:lnTo>
                    <a:pt x="293" y="112"/>
                  </a:lnTo>
                  <a:lnTo>
                    <a:pt x="298" y="115"/>
                  </a:lnTo>
                  <a:lnTo>
                    <a:pt x="301" y="117"/>
                  </a:lnTo>
                  <a:lnTo>
                    <a:pt x="309" y="117"/>
                  </a:lnTo>
                  <a:lnTo>
                    <a:pt x="317" y="123"/>
                  </a:lnTo>
                  <a:lnTo>
                    <a:pt x="317" y="123"/>
                  </a:lnTo>
                  <a:lnTo>
                    <a:pt x="320" y="123"/>
                  </a:lnTo>
                  <a:lnTo>
                    <a:pt x="328" y="120"/>
                  </a:lnTo>
                  <a:lnTo>
                    <a:pt x="346" y="117"/>
                  </a:lnTo>
                  <a:lnTo>
                    <a:pt x="352" y="117"/>
                  </a:lnTo>
                  <a:lnTo>
                    <a:pt x="360" y="112"/>
                  </a:lnTo>
                  <a:lnTo>
                    <a:pt x="365" y="112"/>
                  </a:lnTo>
                  <a:lnTo>
                    <a:pt x="368" y="112"/>
                  </a:lnTo>
                  <a:lnTo>
                    <a:pt x="376" y="115"/>
                  </a:lnTo>
                  <a:lnTo>
                    <a:pt x="389" y="115"/>
                  </a:lnTo>
                  <a:lnTo>
                    <a:pt x="419" y="123"/>
                  </a:lnTo>
                  <a:lnTo>
                    <a:pt x="424" y="125"/>
                  </a:lnTo>
                  <a:lnTo>
                    <a:pt x="427" y="128"/>
                  </a:lnTo>
                  <a:lnTo>
                    <a:pt x="427" y="131"/>
                  </a:lnTo>
                  <a:lnTo>
                    <a:pt x="427" y="133"/>
                  </a:lnTo>
                  <a:lnTo>
                    <a:pt x="427" y="136"/>
                  </a:lnTo>
                  <a:lnTo>
                    <a:pt x="429" y="136"/>
                  </a:lnTo>
                  <a:lnTo>
                    <a:pt x="432" y="136"/>
                  </a:lnTo>
                  <a:lnTo>
                    <a:pt x="440" y="136"/>
                  </a:lnTo>
                  <a:lnTo>
                    <a:pt x="440" y="136"/>
                  </a:lnTo>
                  <a:lnTo>
                    <a:pt x="443" y="136"/>
                  </a:lnTo>
                  <a:lnTo>
                    <a:pt x="445" y="136"/>
                  </a:lnTo>
                  <a:lnTo>
                    <a:pt x="445" y="136"/>
                  </a:lnTo>
                  <a:lnTo>
                    <a:pt x="448" y="136"/>
                  </a:lnTo>
                  <a:lnTo>
                    <a:pt x="451" y="136"/>
                  </a:lnTo>
                  <a:lnTo>
                    <a:pt x="451" y="139"/>
                  </a:lnTo>
                  <a:lnTo>
                    <a:pt x="456" y="139"/>
                  </a:lnTo>
                  <a:lnTo>
                    <a:pt x="459" y="139"/>
                  </a:lnTo>
                  <a:lnTo>
                    <a:pt x="461" y="139"/>
                  </a:lnTo>
                  <a:lnTo>
                    <a:pt x="461" y="139"/>
                  </a:lnTo>
                  <a:lnTo>
                    <a:pt x="467" y="136"/>
                  </a:lnTo>
                  <a:lnTo>
                    <a:pt x="467" y="136"/>
                  </a:lnTo>
                  <a:lnTo>
                    <a:pt x="475" y="136"/>
                  </a:lnTo>
                  <a:lnTo>
                    <a:pt x="480" y="136"/>
                  </a:lnTo>
                  <a:lnTo>
                    <a:pt x="480" y="133"/>
                  </a:lnTo>
                  <a:lnTo>
                    <a:pt x="480" y="133"/>
                  </a:lnTo>
                  <a:lnTo>
                    <a:pt x="483" y="133"/>
                  </a:lnTo>
                  <a:lnTo>
                    <a:pt x="485" y="133"/>
                  </a:lnTo>
                  <a:lnTo>
                    <a:pt x="499" y="139"/>
                  </a:lnTo>
                  <a:lnTo>
                    <a:pt x="501" y="139"/>
                  </a:lnTo>
                  <a:lnTo>
                    <a:pt x="504" y="139"/>
                  </a:lnTo>
                  <a:lnTo>
                    <a:pt x="504" y="139"/>
                  </a:lnTo>
                  <a:lnTo>
                    <a:pt x="509" y="139"/>
                  </a:lnTo>
                  <a:lnTo>
                    <a:pt x="509" y="139"/>
                  </a:lnTo>
                  <a:lnTo>
                    <a:pt x="512" y="139"/>
                  </a:lnTo>
                  <a:lnTo>
                    <a:pt x="517" y="139"/>
                  </a:lnTo>
                  <a:lnTo>
                    <a:pt x="517" y="139"/>
                  </a:lnTo>
                  <a:lnTo>
                    <a:pt x="520" y="139"/>
                  </a:lnTo>
                  <a:lnTo>
                    <a:pt x="523" y="139"/>
                  </a:lnTo>
                  <a:lnTo>
                    <a:pt x="525" y="139"/>
                  </a:lnTo>
                  <a:lnTo>
                    <a:pt x="528" y="139"/>
                  </a:lnTo>
                  <a:lnTo>
                    <a:pt x="531" y="139"/>
                  </a:lnTo>
                  <a:lnTo>
                    <a:pt x="533" y="136"/>
                  </a:lnTo>
                  <a:lnTo>
                    <a:pt x="536" y="133"/>
                  </a:lnTo>
                  <a:lnTo>
                    <a:pt x="541" y="133"/>
                  </a:lnTo>
                  <a:lnTo>
                    <a:pt x="557" y="131"/>
                  </a:lnTo>
                  <a:lnTo>
                    <a:pt x="584" y="131"/>
                  </a:lnTo>
                  <a:lnTo>
                    <a:pt x="589" y="128"/>
                  </a:lnTo>
                  <a:lnTo>
                    <a:pt x="592" y="125"/>
                  </a:lnTo>
                  <a:lnTo>
                    <a:pt x="595" y="125"/>
                  </a:lnTo>
                  <a:lnTo>
                    <a:pt x="597" y="125"/>
                  </a:lnTo>
                  <a:lnTo>
                    <a:pt x="605" y="128"/>
                  </a:lnTo>
                  <a:lnTo>
                    <a:pt x="611" y="128"/>
                  </a:lnTo>
                  <a:lnTo>
                    <a:pt x="619" y="128"/>
                  </a:lnTo>
                  <a:lnTo>
                    <a:pt x="643" y="131"/>
                  </a:lnTo>
                  <a:lnTo>
                    <a:pt x="648" y="131"/>
                  </a:lnTo>
                  <a:lnTo>
                    <a:pt x="653" y="125"/>
                  </a:lnTo>
                  <a:lnTo>
                    <a:pt x="656" y="125"/>
                  </a:lnTo>
                  <a:lnTo>
                    <a:pt x="659" y="128"/>
                  </a:lnTo>
                  <a:lnTo>
                    <a:pt x="672" y="131"/>
                  </a:lnTo>
                  <a:lnTo>
                    <a:pt x="685" y="131"/>
                  </a:lnTo>
                  <a:lnTo>
                    <a:pt x="699" y="133"/>
                  </a:lnTo>
                  <a:lnTo>
                    <a:pt x="712" y="136"/>
                  </a:lnTo>
                  <a:lnTo>
                    <a:pt x="723" y="139"/>
                  </a:lnTo>
                  <a:lnTo>
                    <a:pt x="736" y="141"/>
                  </a:lnTo>
                  <a:lnTo>
                    <a:pt x="749" y="141"/>
                  </a:lnTo>
                  <a:lnTo>
                    <a:pt x="763" y="144"/>
                  </a:lnTo>
                  <a:lnTo>
                    <a:pt x="776" y="147"/>
                  </a:lnTo>
                  <a:lnTo>
                    <a:pt x="789" y="149"/>
                  </a:lnTo>
                  <a:lnTo>
                    <a:pt x="803" y="152"/>
                  </a:lnTo>
                  <a:lnTo>
                    <a:pt x="813" y="152"/>
                  </a:lnTo>
                  <a:lnTo>
                    <a:pt x="827" y="155"/>
                  </a:lnTo>
                  <a:lnTo>
                    <a:pt x="840" y="157"/>
                  </a:lnTo>
                  <a:lnTo>
                    <a:pt x="853" y="160"/>
                  </a:lnTo>
                  <a:lnTo>
                    <a:pt x="867" y="160"/>
                  </a:lnTo>
                  <a:lnTo>
                    <a:pt x="867" y="163"/>
                  </a:lnTo>
                  <a:lnTo>
                    <a:pt x="867" y="165"/>
                  </a:lnTo>
                  <a:lnTo>
                    <a:pt x="869" y="173"/>
                  </a:lnTo>
                  <a:lnTo>
                    <a:pt x="875" y="181"/>
                  </a:lnTo>
                  <a:lnTo>
                    <a:pt x="875" y="184"/>
                  </a:lnTo>
                  <a:lnTo>
                    <a:pt x="875" y="184"/>
                  </a:lnTo>
                  <a:lnTo>
                    <a:pt x="883" y="187"/>
                  </a:lnTo>
                  <a:lnTo>
                    <a:pt x="883" y="189"/>
                  </a:lnTo>
                  <a:lnTo>
                    <a:pt x="885" y="192"/>
                  </a:lnTo>
                  <a:lnTo>
                    <a:pt x="891" y="195"/>
                  </a:lnTo>
                  <a:lnTo>
                    <a:pt x="893" y="197"/>
                  </a:lnTo>
                  <a:lnTo>
                    <a:pt x="896" y="197"/>
                  </a:lnTo>
                  <a:lnTo>
                    <a:pt x="896" y="200"/>
                  </a:lnTo>
                  <a:lnTo>
                    <a:pt x="899" y="203"/>
                  </a:lnTo>
                  <a:lnTo>
                    <a:pt x="899" y="208"/>
                  </a:lnTo>
                  <a:lnTo>
                    <a:pt x="901" y="216"/>
                  </a:lnTo>
                  <a:lnTo>
                    <a:pt x="901" y="219"/>
                  </a:lnTo>
                  <a:lnTo>
                    <a:pt x="901" y="221"/>
                  </a:lnTo>
                  <a:lnTo>
                    <a:pt x="901" y="224"/>
                  </a:lnTo>
                  <a:lnTo>
                    <a:pt x="899" y="227"/>
                  </a:lnTo>
                  <a:lnTo>
                    <a:pt x="896" y="229"/>
                  </a:lnTo>
                  <a:lnTo>
                    <a:pt x="893" y="229"/>
                  </a:lnTo>
                  <a:lnTo>
                    <a:pt x="891" y="232"/>
                  </a:lnTo>
                  <a:lnTo>
                    <a:pt x="891" y="235"/>
                  </a:lnTo>
                  <a:lnTo>
                    <a:pt x="891" y="237"/>
                  </a:lnTo>
                  <a:lnTo>
                    <a:pt x="885" y="243"/>
                  </a:lnTo>
                  <a:lnTo>
                    <a:pt x="883" y="245"/>
                  </a:lnTo>
                  <a:lnTo>
                    <a:pt x="877" y="251"/>
                  </a:lnTo>
                  <a:lnTo>
                    <a:pt x="877" y="253"/>
                  </a:lnTo>
                  <a:lnTo>
                    <a:pt x="875" y="256"/>
                  </a:lnTo>
                  <a:lnTo>
                    <a:pt x="875" y="262"/>
                  </a:lnTo>
                  <a:lnTo>
                    <a:pt x="875" y="262"/>
                  </a:lnTo>
                  <a:lnTo>
                    <a:pt x="872" y="264"/>
                  </a:lnTo>
                  <a:lnTo>
                    <a:pt x="869" y="272"/>
                  </a:lnTo>
                  <a:lnTo>
                    <a:pt x="867" y="278"/>
                  </a:lnTo>
                  <a:lnTo>
                    <a:pt x="853" y="291"/>
                  </a:lnTo>
                  <a:lnTo>
                    <a:pt x="851" y="294"/>
                  </a:lnTo>
                  <a:lnTo>
                    <a:pt x="851" y="294"/>
                  </a:lnTo>
                  <a:lnTo>
                    <a:pt x="851" y="296"/>
                  </a:lnTo>
                  <a:lnTo>
                    <a:pt x="851" y="296"/>
                  </a:lnTo>
                  <a:lnTo>
                    <a:pt x="851" y="299"/>
                  </a:lnTo>
                  <a:lnTo>
                    <a:pt x="851" y="299"/>
                  </a:lnTo>
                  <a:lnTo>
                    <a:pt x="851" y="302"/>
                  </a:lnTo>
                  <a:lnTo>
                    <a:pt x="848" y="307"/>
                  </a:lnTo>
                  <a:lnTo>
                    <a:pt x="848" y="310"/>
                  </a:lnTo>
                  <a:lnTo>
                    <a:pt x="845" y="315"/>
                  </a:lnTo>
                  <a:lnTo>
                    <a:pt x="837" y="320"/>
                  </a:lnTo>
                  <a:lnTo>
                    <a:pt x="837" y="323"/>
                  </a:lnTo>
                  <a:lnTo>
                    <a:pt x="835" y="326"/>
                  </a:lnTo>
                  <a:lnTo>
                    <a:pt x="827" y="328"/>
                  </a:lnTo>
                  <a:lnTo>
                    <a:pt x="827" y="328"/>
                  </a:lnTo>
                  <a:lnTo>
                    <a:pt x="824" y="331"/>
                  </a:lnTo>
                  <a:lnTo>
                    <a:pt x="821" y="336"/>
                  </a:lnTo>
                  <a:lnTo>
                    <a:pt x="816" y="342"/>
                  </a:lnTo>
                  <a:lnTo>
                    <a:pt x="816" y="344"/>
                  </a:lnTo>
                  <a:lnTo>
                    <a:pt x="813" y="350"/>
                  </a:lnTo>
                  <a:lnTo>
                    <a:pt x="813" y="352"/>
                  </a:lnTo>
                  <a:lnTo>
                    <a:pt x="811" y="355"/>
                  </a:lnTo>
                  <a:lnTo>
                    <a:pt x="808" y="355"/>
                  </a:lnTo>
                  <a:lnTo>
                    <a:pt x="808" y="355"/>
                  </a:lnTo>
                  <a:lnTo>
                    <a:pt x="805" y="355"/>
                  </a:lnTo>
                  <a:lnTo>
                    <a:pt x="805" y="358"/>
                  </a:lnTo>
                  <a:lnTo>
                    <a:pt x="805" y="358"/>
                  </a:lnTo>
                  <a:lnTo>
                    <a:pt x="805" y="358"/>
                  </a:lnTo>
                  <a:lnTo>
                    <a:pt x="803" y="360"/>
                  </a:lnTo>
                  <a:lnTo>
                    <a:pt x="803" y="360"/>
                  </a:lnTo>
                  <a:lnTo>
                    <a:pt x="803" y="363"/>
                  </a:lnTo>
                  <a:lnTo>
                    <a:pt x="803" y="366"/>
                  </a:lnTo>
                  <a:lnTo>
                    <a:pt x="800" y="368"/>
                  </a:lnTo>
                  <a:lnTo>
                    <a:pt x="800" y="371"/>
                  </a:lnTo>
                  <a:lnTo>
                    <a:pt x="800" y="374"/>
                  </a:lnTo>
                  <a:lnTo>
                    <a:pt x="800" y="376"/>
                  </a:lnTo>
                  <a:lnTo>
                    <a:pt x="800" y="379"/>
                  </a:lnTo>
                  <a:lnTo>
                    <a:pt x="800" y="379"/>
                  </a:lnTo>
                  <a:lnTo>
                    <a:pt x="800" y="382"/>
                  </a:lnTo>
                  <a:lnTo>
                    <a:pt x="800" y="382"/>
                  </a:lnTo>
                  <a:lnTo>
                    <a:pt x="800" y="384"/>
                  </a:lnTo>
                  <a:lnTo>
                    <a:pt x="800" y="387"/>
                  </a:lnTo>
                  <a:lnTo>
                    <a:pt x="805" y="390"/>
                  </a:lnTo>
                  <a:lnTo>
                    <a:pt x="805" y="390"/>
                  </a:lnTo>
                  <a:lnTo>
                    <a:pt x="805" y="390"/>
                  </a:lnTo>
                  <a:lnTo>
                    <a:pt x="808" y="387"/>
                  </a:lnTo>
                  <a:lnTo>
                    <a:pt x="808" y="387"/>
                  </a:lnTo>
                  <a:lnTo>
                    <a:pt x="811" y="387"/>
                  </a:lnTo>
                  <a:lnTo>
                    <a:pt x="811" y="390"/>
                  </a:lnTo>
                  <a:lnTo>
                    <a:pt x="811" y="390"/>
                  </a:lnTo>
                  <a:lnTo>
                    <a:pt x="811" y="392"/>
                  </a:lnTo>
                  <a:lnTo>
                    <a:pt x="813" y="392"/>
                  </a:lnTo>
                  <a:lnTo>
                    <a:pt x="816" y="392"/>
                  </a:lnTo>
                  <a:lnTo>
                    <a:pt x="819" y="392"/>
                  </a:lnTo>
                  <a:lnTo>
                    <a:pt x="821" y="392"/>
                  </a:lnTo>
                  <a:lnTo>
                    <a:pt x="821" y="392"/>
                  </a:lnTo>
                  <a:lnTo>
                    <a:pt x="821" y="395"/>
                  </a:lnTo>
                  <a:lnTo>
                    <a:pt x="821" y="395"/>
                  </a:lnTo>
                  <a:lnTo>
                    <a:pt x="821" y="398"/>
                  </a:lnTo>
                  <a:lnTo>
                    <a:pt x="821" y="400"/>
                  </a:lnTo>
                  <a:lnTo>
                    <a:pt x="821" y="400"/>
                  </a:lnTo>
                  <a:lnTo>
                    <a:pt x="824" y="400"/>
                  </a:lnTo>
                  <a:lnTo>
                    <a:pt x="827" y="403"/>
                  </a:lnTo>
                  <a:lnTo>
                    <a:pt x="827" y="406"/>
                  </a:lnTo>
                  <a:lnTo>
                    <a:pt x="827" y="406"/>
                  </a:lnTo>
                  <a:lnTo>
                    <a:pt x="827" y="408"/>
                  </a:lnTo>
                  <a:lnTo>
                    <a:pt x="827" y="408"/>
                  </a:lnTo>
                  <a:lnTo>
                    <a:pt x="827" y="408"/>
                  </a:lnTo>
                  <a:lnTo>
                    <a:pt x="827" y="411"/>
                  </a:lnTo>
                  <a:lnTo>
                    <a:pt x="824" y="411"/>
                  </a:lnTo>
                  <a:lnTo>
                    <a:pt x="824" y="414"/>
                  </a:lnTo>
                  <a:lnTo>
                    <a:pt x="824" y="414"/>
                  </a:lnTo>
                  <a:lnTo>
                    <a:pt x="821" y="414"/>
                  </a:lnTo>
                  <a:lnTo>
                    <a:pt x="821" y="414"/>
                  </a:lnTo>
                  <a:lnTo>
                    <a:pt x="819" y="414"/>
                  </a:lnTo>
                  <a:lnTo>
                    <a:pt x="819" y="416"/>
                  </a:lnTo>
                  <a:lnTo>
                    <a:pt x="819" y="419"/>
                  </a:lnTo>
                  <a:lnTo>
                    <a:pt x="821" y="422"/>
                  </a:lnTo>
                  <a:lnTo>
                    <a:pt x="821" y="427"/>
                  </a:lnTo>
                  <a:lnTo>
                    <a:pt x="821" y="427"/>
                  </a:lnTo>
                  <a:lnTo>
                    <a:pt x="819" y="430"/>
                  </a:lnTo>
                  <a:lnTo>
                    <a:pt x="819" y="430"/>
                  </a:lnTo>
                  <a:lnTo>
                    <a:pt x="819" y="430"/>
                  </a:lnTo>
                  <a:lnTo>
                    <a:pt x="816" y="435"/>
                  </a:lnTo>
                  <a:lnTo>
                    <a:pt x="816" y="441"/>
                  </a:lnTo>
                  <a:lnTo>
                    <a:pt x="813" y="443"/>
                  </a:lnTo>
                  <a:lnTo>
                    <a:pt x="813" y="446"/>
                  </a:lnTo>
                  <a:lnTo>
                    <a:pt x="811" y="449"/>
                  </a:lnTo>
                  <a:lnTo>
                    <a:pt x="808" y="449"/>
                  </a:lnTo>
                  <a:lnTo>
                    <a:pt x="805" y="451"/>
                  </a:lnTo>
                  <a:lnTo>
                    <a:pt x="805" y="454"/>
                  </a:lnTo>
                  <a:lnTo>
                    <a:pt x="805" y="457"/>
                  </a:lnTo>
                  <a:lnTo>
                    <a:pt x="805" y="457"/>
                  </a:lnTo>
                  <a:lnTo>
                    <a:pt x="805" y="457"/>
                  </a:lnTo>
                  <a:lnTo>
                    <a:pt x="805" y="470"/>
                  </a:lnTo>
                  <a:lnTo>
                    <a:pt x="803" y="475"/>
                  </a:lnTo>
                  <a:lnTo>
                    <a:pt x="803" y="489"/>
                  </a:lnTo>
                  <a:lnTo>
                    <a:pt x="800" y="505"/>
                  </a:lnTo>
                  <a:lnTo>
                    <a:pt x="797" y="518"/>
                  </a:lnTo>
                  <a:lnTo>
                    <a:pt x="795" y="531"/>
                  </a:lnTo>
                  <a:lnTo>
                    <a:pt x="792" y="547"/>
                  </a:lnTo>
                  <a:lnTo>
                    <a:pt x="792" y="561"/>
                  </a:lnTo>
                  <a:lnTo>
                    <a:pt x="789" y="574"/>
                  </a:lnTo>
                  <a:lnTo>
                    <a:pt x="787" y="587"/>
                  </a:lnTo>
                  <a:lnTo>
                    <a:pt x="784" y="603"/>
                  </a:lnTo>
                  <a:lnTo>
                    <a:pt x="781" y="617"/>
                  </a:lnTo>
                  <a:lnTo>
                    <a:pt x="781" y="630"/>
                  </a:lnTo>
                  <a:lnTo>
                    <a:pt x="779" y="644"/>
                  </a:lnTo>
                  <a:lnTo>
                    <a:pt x="776" y="660"/>
                  </a:lnTo>
                  <a:lnTo>
                    <a:pt x="773" y="673"/>
                  </a:lnTo>
                  <a:lnTo>
                    <a:pt x="771" y="686"/>
                  </a:lnTo>
                  <a:lnTo>
                    <a:pt x="768" y="700"/>
                  </a:lnTo>
                  <a:lnTo>
                    <a:pt x="749" y="697"/>
                  </a:lnTo>
                  <a:lnTo>
                    <a:pt x="731" y="694"/>
                  </a:lnTo>
                  <a:lnTo>
                    <a:pt x="709" y="692"/>
                  </a:lnTo>
                  <a:lnTo>
                    <a:pt x="691" y="689"/>
                  </a:lnTo>
                  <a:lnTo>
                    <a:pt x="672" y="686"/>
                  </a:lnTo>
                  <a:lnTo>
                    <a:pt x="651" y="681"/>
                  </a:lnTo>
                  <a:lnTo>
                    <a:pt x="632" y="678"/>
                  </a:lnTo>
                  <a:lnTo>
                    <a:pt x="613" y="676"/>
                  </a:lnTo>
                  <a:lnTo>
                    <a:pt x="592" y="673"/>
                  </a:lnTo>
                  <a:lnTo>
                    <a:pt x="573" y="668"/>
                  </a:lnTo>
                  <a:lnTo>
                    <a:pt x="555" y="665"/>
                  </a:lnTo>
                  <a:lnTo>
                    <a:pt x="533" y="662"/>
                  </a:lnTo>
                  <a:lnTo>
                    <a:pt x="515" y="660"/>
                  </a:lnTo>
                  <a:lnTo>
                    <a:pt x="496" y="654"/>
                  </a:lnTo>
                  <a:lnTo>
                    <a:pt x="475" y="652"/>
                  </a:lnTo>
                  <a:lnTo>
                    <a:pt x="456" y="649"/>
                  </a:lnTo>
                  <a:lnTo>
                    <a:pt x="429" y="644"/>
                  </a:lnTo>
                  <a:lnTo>
                    <a:pt x="400" y="638"/>
                  </a:lnTo>
                  <a:lnTo>
                    <a:pt x="373" y="633"/>
                  </a:lnTo>
                  <a:lnTo>
                    <a:pt x="346" y="628"/>
                  </a:lnTo>
                  <a:lnTo>
                    <a:pt x="317" y="622"/>
                  </a:lnTo>
                  <a:lnTo>
                    <a:pt x="290" y="617"/>
                  </a:lnTo>
                  <a:lnTo>
                    <a:pt x="264" y="612"/>
                  </a:lnTo>
                  <a:lnTo>
                    <a:pt x="237" y="606"/>
                  </a:lnTo>
                  <a:lnTo>
                    <a:pt x="208" y="601"/>
                  </a:lnTo>
                  <a:lnTo>
                    <a:pt x="181" y="595"/>
                  </a:lnTo>
                  <a:lnTo>
                    <a:pt x="154" y="587"/>
                  </a:lnTo>
                  <a:lnTo>
                    <a:pt x="128" y="582"/>
                  </a:lnTo>
                  <a:lnTo>
                    <a:pt x="98" y="577"/>
                  </a:lnTo>
                  <a:lnTo>
                    <a:pt x="72" y="571"/>
                  </a:lnTo>
                  <a:lnTo>
                    <a:pt x="45" y="566"/>
                  </a:lnTo>
                  <a:lnTo>
                    <a:pt x="18" y="558"/>
                  </a:lnTo>
                  <a:lnTo>
                    <a:pt x="18" y="558"/>
                  </a:lnTo>
                  <a:lnTo>
                    <a:pt x="16" y="558"/>
                  </a:lnTo>
                  <a:lnTo>
                    <a:pt x="13" y="555"/>
                  </a:lnTo>
                  <a:lnTo>
                    <a:pt x="8" y="550"/>
                  </a:lnTo>
                  <a:lnTo>
                    <a:pt x="5" y="542"/>
                  </a:lnTo>
                  <a:lnTo>
                    <a:pt x="2" y="542"/>
                  </a:lnTo>
                  <a:lnTo>
                    <a:pt x="2" y="539"/>
                  </a:lnTo>
                  <a:lnTo>
                    <a:pt x="5" y="526"/>
                  </a:lnTo>
                  <a:lnTo>
                    <a:pt x="2" y="521"/>
                  </a:lnTo>
                  <a:lnTo>
                    <a:pt x="2" y="521"/>
                  </a:lnTo>
                  <a:lnTo>
                    <a:pt x="2" y="518"/>
                  </a:lnTo>
                  <a:lnTo>
                    <a:pt x="2" y="515"/>
                  </a:lnTo>
                  <a:lnTo>
                    <a:pt x="2" y="510"/>
                  </a:lnTo>
                  <a:lnTo>
                    <a:pt x="2" y="510"/>
                  </a:lnTo>
                  <a:lnTo>
                    <a:pt x="2" y="510"/>
                  </a:lnTo>
                  <a:lnTo>
                    <a:pt x="0" y="507"/>
                  </a:lnTo>
                  <a:lnTo>
                    <a:pt x="2" y="507"/>
                  </a:lnTo>
                  <a:lnTo>
                    <a:pt x="2" y="507"/>
                  </a:lnTo>
                  <a:lnTo>
                    <a:pt x="5" y="505"/>
                  </a:lnTo>
                  <a:lnTo>
                    <a:pt x="5" y="502"/>
                  </a:lnTo>
                  <a:lnTo>
                    <a:pt x="5" y="499"/>
                  </a:lnTo>
                  <a:lnTo>
                    <a:pt x="5" y="497"/>
                  </a:lnTo>
                  <a:lnTo>
                    <a:pt x="5" y="491"/>
                  </a:lnTo>
                  <a:lnTo>
                    <a:pt x="5" y="491"/>
                  </a:lnTo>
                  <a:lnTo>
                    <a:pt x="8" y="489"/>
                  </a:lnTo>
                  <a:lnTo>
                    <a:pt x="10" y="483"/>
                  </a:lnTo>
                  <a:lnTo>
                    <a:pt x="10" y="483"/>
                  </a:lnTo>
                  <a:lnTo>
                    <a:pt x="13" y="478"/>
                  </a:lnTo>
                  <a:lnTo>
                    <a:pt x="13" y="470"/>
                  </a:lnTo>
                  <a:lnTo>
                    <a:pt x="13" y="467"/>
                  </a:lnTo>
                  <a:lnTo>
                    <a:pt x="13" y="465"/>
                  </a:lnTo>
                  <a:lnTo>
                    <a:pt x="13" y="462"/>
                  </a:lnTo>
                  <a:lnTo>
                    <a:pt x="13" y="462"/>
                  </a:lnTo>
                  <a:lnTo>
                    <a:pt x="10" y="459"/>
                  </a:lnTo>
                  <a:lnTo>
                    <a:pt x="10" y="457"/>
                  </a:lnTo>
                  <a:lnTo>
                    <a:pt x="10" y="454"/>
                  </a:lnTo>
                  <a:lnTo>
                    <a:pt x="8" y="451"/>
                  </a:lnTo>
                  <a:lnTo>
                    <a:pt x="8" y="451"/>
                  </a:lnTo>
                  <a:lnTo>
                    <a:pt x="5" y="451"/>
                  </a:lnTo>
                  <a:lnTo>
                    <a:pt x="5" y="443"/>
                  </a:lnTo>
                  <a:lnTo>
                    <a:pt x="5" y="441"/>
                  </a:lnTo>
                  <a:lnTo>
                    <a:pt x="5" y="441"/>
                  </a:lnTo>
                  <a:lnTo>
                    <a:pt x="2" y="438"/>
                  </a:lnTo>
                  <a:lnTo>
                    <a:pt x="5" y="438"/>
                  </a:lnTo>
                  <a:lnTo>
                    <a:pt x="13" y="424"/>
                  </a:lnTo>
                  <a:lnTo>
                    <a:pt x="18" y="419"/>
                  </a:lnTo>
                  <a:lnTo>
                    <a:pt x="21" y="416"/>
                  </a:lnTo>
                  <a:lnTo>
                    <a:pt x="21" y="414"/>
                  </a:lnTo>
                  <a:lnTo>
                    <a:pt x="24" y="414"/>
                  </a:lnTo>
                  <a:lnTo>
                    <a:pt x="26" y="411"/>
                  </a:lnTo>
                  <a:lnTo>
                    <a:pt x="26" y="408"/>
                  </a:lnTo>
                  <a:lnTo>
                    <a:pt x="29" y="403"/>
                  </a:lnTo>
                  <a:lnTo>
                    <a:pt x="37" y="384"/>
                  </a:lnTo>
                  <a:lnTo>
                    <a:pt x="37" y="379"/>
                  </a:lnTo>
                  <a:lnTo>
                    <a:pt x="37" y="376"/>
                  </a:lnTo>
                  <a:lnTo>
                    <a:pt x="37" y="376"/>
                  </a:lnTo>
                  <a:lnTo>
                    <a:pt x="40" y="374"/>
                  </a:lnTo>
                  <a:lnTo>
                    <a:pt x="40" y="374"/>
                  </a:lnTo>
                  <a:lnTo>
                    <a:pt x="42" y="374"/>
                  </a:lnTo>
                  <a:lnTo>
                    <a:pt x="42" y="371"/>
                  </a:lnTo>
                  <a:lnTo>
                    <a:pt x="45" y="371"/>
                  </a:lnTo>
                  <a:lnTo>
                    <a:pt x="42" y="379"/>
                  </a:lnTo>
                  <a:lnTo>
                    <a:pt x="45" y="382"/>
                  </a:lnTo>
                  <a:lnTo>
                    <a:pt x="45" y="382"/>
                  </a:lnTo>
                  <a:lnTo>
                    <a:pt x="45" y="379"/>
                  </a:lnTo>
                  <a:lnTo>
                    <a:pt x="48" y="376"/>
                  </a:lnTo>
                  <a:lnTo>
                    <a:pt x="45" y="376"/>
                  </a:lnTo>
                  <a:lnTo>
                    <a:pt x="48" y="376"/>
                  </a:lnTo>
                  <a:lnTo>
                    <a:pt x="48" y="376"/>
                  </a:lnTo>
                  <a:lnTo>
                    <a:pt x="48" y="374"/>
                  </a:lnTo>
                  <a:lnTo>
                    <a:pt x="50" y="374"/>
                  </a:lnTo>
                  <a:lnTo>
                    <a:pt x="48" y="371"/>
                  </a:lnTo>
                  <a:lnTo>
                    <a:pt x="50" y="368"/>
                  </a:lnTo>
                  <a:lnTo>
                    <a:pt x="53" y="366"/>
                  </a:lnTo>
                  <a:lnTo>
                    <a:pt x="56" y="366"/>
                  </a:lnTo>
                  <a:lnTo>
                    <a:pt x="58" y="366"/>
                  </a:lnTo>
                  <a:lnTo>
                    <a:pt x="58" y="368"/>
                  </a:lnTo>
                  <a:lnTo>
                    <a:pt x="56" y="368"/>
                  </a:lnTo>
                  <a:lnTo>
                    <a:pt x="58" y="371"/>
                  </a:lnTo>
                  <a:lnTo>
                    <a:pt x="58" y="374"/>
                  </a:lnTo>
                  <a:lnTo>
                    <a:pt x="61" y="374"/>
                  </a:lnTo>
                  <a:lnTo>
                    <a:pt x="61" y="376"/>
                  </a:lnTo>
                  <a:lnTo>
                    <a:pt x="64" y="376"/>
                  </a:lnTo>
                  <a:lnTo>
                    <a:pt x="61" y="368"/>
                  </a:lnTo>
                  <a:lnTo>
                    <a:pt x="61" y="366"/>
                  </a:lnTo>
                  <a:lnTo>
                    <a:pt x="61" y="366"/>
                  </a:lnTo>
                  <a:lnTo>
                    <a:pt x="61" y="363"/>
                  </a:lnTo>
                  <a:lnTo>
                    <a:pt x="61" y="363"/>
                  </a:lnTo>
                  <a:lnTo>
                    <a:pt x="61" y="363"/>
                  </a:lnTo>
                  <a:lnTo>
                    <a:pt x="61" y="360"/>
                  </a:lnTo>
                  <a:lnTo>
                    <a:pt x="58" y="360"/>
                  </a:lnTo>
                  <a:lnTo>
                    <a:pt x="53" y="363"/>
                  </a:lnTo>
                  <a:lnTo>
                    <a:pt x="50" y="368"/>
                  </a:lnTo>
                  <a:lnTo>
                    <a:pt x="48" y="371"/>
                  </a:lnTo>
                  <a:lnTo>
                    <a:pt x="45" y="368"/>
                  </a:lnTo>
                  <a:lnTo>
                    <a:pt x="48" y="366"/>
                  </a:lnTo>
                  <a:lnTo>
                    <a:pt x="58" y="350"/>
                  </a:lnTo>
                  <a:lnTo>
                    <a:pt x="58" y="347"/>
                  </a:lnTo>
                  <a:lnTo>
                    <a:pt x="61" y="344"/>
                  </a:lnTo>
                  <a:lnTo>
                    <a:pt x="64" y="339"/>
                  </a:lnTo>
                  <a:lnTo>
                    <a:pt x="64" y="336"/>
                  </a:lnTo>
                  <a:lnTo>
                    <a:pt x="66" y="336"/>
                  </a:lnTo>
                  <a:lnTo>
                    <a:pt x="69" y="334"/>
                  </a:lnTo>
                  <a:lnTo>
                    <a:pt x="72" y="334"/>
                  </a:lnTo>
                  <a:lnTo>
                    <a:pt x="72" y="331"/>
                  </a:lnTo>
                  <a:lnTo>
                    <a:pt x="72" y="328"/>
                  </a:lnTo>
                  <a:lnTo>
                    <a:pt x="74" y="328"/>
                  </a:lnTo>
                  <a:lnTo>
                    <a:pt x="74" y="328"/>
                  </a:lnTo>
                  <a:lnTo>
                    <a:pt x="74" y="328"/>
                  </a:lnTo>
                  <a:lnTo>
                    <a:pt x="74" y="331"/>
                  </a:lnTo>
                  <a:lnTo>
                    <a:pt x="74" y="331"/>
                  </a:lnTo>
                  <a:lnTo>
                    <a:pt x="74" y="331"/>
                  </a:lnTo>
                  <a:lnTo>
                    <a:pt x="80" y="331"/>
                  </a:lnTo>
                  <a:lnTo>
                    <a:pt x="80" y="331"/>
                  </a:lnTo>
                  <a:lnTo>
                    <a:pt x="80" y="331"/>
                  </a:lnTo>
                  <a:lnTo>
                    <a:pt x="77" y="328"/>
                  </a:lnTo>
                  <a:lnTo>
                    <a:pt x="74" y="326"/>
                  </a:lnTo>
                  <a:lnTo>
                    <a:pt x="74" y="326"/>
                  </a:lnTo>
                  <a:lnTo>
                    <a:pt x="72" y="328"/>
                  </a:lnTo>
                  <a:lnTo>
                    <a:pt x="69" y="331"/>
                  </a:lnTo>
                  <a:lnTo>
                    <a:pt x="69" y="334"/>
                  </a:lnTo>
                  <a:lnTo>
                    <a:pt x="69" y="331"/>
                  </a:lnTo>
                  <a:lnTo>
                    <a:pt x="69" y="328"/>
                  </a:lnTo>
                  <a:lnTo>
                    <a:pt x="72" y="323"/>
                  </a:lnTo>
                  <a:lnTo>
                    <a:pt x="77" y="307"/>
                  </a:lnTo>
                  <a:lnTo>
                    <a:pt x="80" y="302"/>
                  </a:lnTo>
                  <a:lnTo>
                    <a:pt x="80" y="299"/>
                  </a:lnTo>
                  <a:lnTo>
                    <a:pt x="82" y="294"/>
                  </a:lnTo>
                  <a:lnTo>
                    <a:pt x="82" y="294"/>
                  </a:lnTo>
                  <a:lnTo>
                    <a:pt x="82" y="291"/>
                  </a:lnTo>
                  <a:lnTo>
                    <a:pt x="85" y="291"/>
                  </a:lnTo>
                  <a:lnTo>
                    <a:pt x="85" y="291"/>
                  </a:lnTo>
                  <a:lnTo>
                    <a:pt x="85" y="286"/>
                  </a:lnTo>
                  <a:lnTo>
                    <a:pt x="85" y="286"/>
                  </a:lnTo>
                  <a:lnTo>
                    <a:pt x="85" y="283"/>
                  </a:lnTo>
                  <a:lnTo>
                    <a:pt x="85" y="283"/>
                  </a:lnTo>
                  <a:lnTo>
                    <a:pt x="88" y="278"/>
                  </a:lnTo>
                  <a:lnTo>
                    <a:pt x="90" y="267"/>
                  </a:lnTo>
                  <a:lnTo>
                    <a:pt x="93" y="259"/>
                  </a:lnTo>
                  <a:lnTo>
                    <a:pt x="93" y="253"/>
                  </a:lnTo>
                  <a:lnTo>
                    <a:pt x="93" y="253"/>
                  </a:lnTo>
                  <a:lnTo>
                    <a:pt x="93" y="251"/>
                  </a:lnTo>
                  <a:lnTo>
                    <a:pt x="93" y="251"/>
                  </a:lnTo>
                  <a:lnTo>
                    <a:pt x="93" y="251"/>
                  </a:lnTo>
                  <a:lnTo>
                    <a:pt x="96" y="248"/>
                  </a:lnTo>
                  <a:lnTo>
                    <a:pt x="96" y="248"/>
                  </a:lnTo>
                  <a:lnTo>
                    <a:pt x="98" y="240"/>
                  </a:lnTo>
                  <a:lnTo>
                    <a:pt x="101" y="237"/>
                  </a:lnTo>
                  <a:lnTo>
                    <a:pt x="101" y="237"/>
                  </a:lnTo>
                  <a:lnTo>
                    <a:pt x="104" y="237"/>
                  </a:lnTo>
                  <a:lnTo>
                    <a:pt x="106" y="240"/>
                  </a:lnTo>
                  <a:lnTo>
                    <a:pt x="106" y="235"/>
                  </a:lnTo>
                  <a:lnTo>
                    <a:pt x="104" y="235"/>
                  </a:lnTo>
                  <a:lnTo>
                    <a:pt x="104" y="235"/>
                  </a:lnTo>
                  <a:lnTo>
                    <a:pt x="101" y="235"/>
                  </a:lnTo>
                  <a:lnTo>
                    <a:pt x="101" y="232"/>
                  </a:lnTo>
                  <a:lnTo>
                    <a:pt x="101" y="227"/>
                  </a:lnTo>
                  <a:lnTo>
                    <a:pt x="109" y="211"/>
                  </a:lnTo>
                  <a:lnTo>
                    <a:pt x="109" y="211"/>
                  </a:lnTo>
                  <a:lnTo>
                    <a:pt x="112" y="213"/>
                  </a:lnTo>
                  <a:lnTo>
                    <a:pt x="114" y="213"/>
                  </a:lnTo>
                  <a:lnTo>
                    <a:pt x="114" y="211"/>
                  </a:lnTo>
                  <a:lnTo>
                    <a:pt x="114" y="211"/>
                  </a:lnTo>
                  <a:lnTo>
                    <a:pt x="112" y="211"/>
                  </a:lnTo>
                  <a:lnTo>
                    <a:pt x="112" y="211"/>
                  </a:lnTo>
                  <a:lnTo>
                    <a:pt x="109" y="211"/>
                  </a:lnTo>
                  <a:lnTo>
                    <a:pt x="109" y="208"/>
                  </a:lnTo>
                  <a:lnTo>
                    <a:pt x="109" y="208"/>
                  </a:lnTo>
                  <a:lnTo>
                    <a:pt x="109" y="205"/>
                  </a:lnTo>
                  <a:lnTo>
                    <a:pt x="109" y="203"/>
                  </a:lnTo>
                  <a:lnTo>
                    <a:pt x="109" y="203"/>
                  </a:lnTo>
                  <a:lnTo>
                    <a:pt x="112" y="195"/>
                  </a:lnTo>
                  <a:lnTo>
                    <a:pt x="112" y="192"/>
                  </a:lnTo>
                  <a:lnTo>
                    <a:pt x="112" y="192"/>
                  </a:lnTo>
                  <a:lnTo>
                    <a:pt x="114" y="181"/>
                  </a:lnTo>
                  <a:lnTo>
                    <a:pt x="114" y="181"/>
                  </a:lnTo>
                  <a:lnTo>
                    <a:pt x="117" y="179"/>
                  </a:lnTo>
                  <a:lnTo>
                    <a:pt x="120" y="176"/>
                  </a:lnTo>
                  <a:lnTo>
                    <a:pt x="120" y="173"/>
                  </a:lnTo>
                  <a:lnTo>
                    <a:pt x="120" y="173"/>
                  </a:lnTo>
                  <a:lnTo>
                    <a:pt x="120" y="173"/>
                  </a:lnTo>
                  <a:lnTo>
                    <a:pt x="122" y="171"/>
                  </a:lnTo>
                  <a:lnTo>
                    <a:pt x="122" y="168"/>
                  </a:lnTo>
                  <a:lnTo>
                    <a:pt x="122" y="168"/>
                  </a:lnTo>
                  <a:lnTo>
                    <a:pt x="122" y="168"/>
                  </a:lnTo>
                  <a:lnTo>
                    <a:pt x="122" y="165"/>
                  </a:lnTo>
                  <a:lnTo>
                    <a:pt x="125" y="160"/>
                  </a:lnTo>
                  <a:lnTo>
                    <a:pt x="128" y="155"/>
                  </a:lnTo>
                  <a:lnTo>
                    <a:pt x="125" y="152"/>
                  </a:lnTo>
                  <a:lnTo>
                    <a:pt x="125" y="152"/>
                  </a:lnTo>
                  <a:lnTo>
                    <a:pt x="128" y="149"/>
                  </a:lnTo>
                  <a:lnTo>
                    <a:pt x="130" y="147"/>
                  </a:lnTo>
                  <a:lnTo>
                    <a:pt x="133" y="144"/>
                  </a:lnTo>
                  <a:lnTo>
                    <a:pt x="133" y="141"/>
                  </a:lnTo>
                  <a:lnTo>
                    <a:pt x="133" y="139"/>
                  </a:lnTo>
                  <a:lnTo>
                    <a:pt x="133" y="136"/>
                  </a:lnTo>
                  <a:lnTo>
                    <a:pt x="133" y="133"/>
                  </a:lnTo>
                  <a:lnTo>
                    <a:pt x="136" y="133"/>
                  </a:lnTo>
                  <a:lnTo>
                    <a:pt x="136" y="128"/>
                  </a:lnTo>
                  <a:lnTo>
                    <a:pt x="136" y="128"/>
                  </a:lnTo>
                  <a:lnTo>
                    <a:pt x="136" y="128"/>
                  </a:lnTo>
                  <a:lnTo>
                    <a:pt x="138" y="128"/>
                  </a:lnTo>
                  <a:lnTo>
                    <a:pt x="138" y="125"/>
                  </a:lnTo>
                  <a:lnTo>
                    <a:pt x="138" y="125"/>
                  </a:lnTo>
                  <a:lnTo>
                    <a:pt x="138" y="123"/>
                  </a:lnTo>
                  <a:lnTo>
                    <a:pt x="138" y="117"/>
                  </a:lnTo>
                  <a:lnTo>
                    <a:pt x="138" y="117"/>
                  </a:lnTo>
                  <a:lnTo>
                    <a:pt x="136" y="117"/>
                  </a:lnTo>
                  <a:lnTo>
                    <a:pt x="136" y="115"/>
                  </a:lnTo>
                  <a:lnTo>
                    <a:pt x="136" y="115"/>
                  </a:lnTo>
                  <a:lnTo>
                    <a:pt x="138" y="115"/>
                  </a:lnTo>
                  <a:lnTo>
                    <a:pt x="138" y="115"/>
                  </a:lnTo>
                  <a:lnTo>
                    <a:pt x="141" y="112"/>
                  </a:lnTo>
                  <a:lnTo>
                    <a:pt x="141" y="109"/>
                  </a:lnTo>
                  <a:lnTo>
                    <a:pt x="141" y="109"/>
                  </a:lnTo>
                  <a:lnTo>
                    <a:pt x="141" y="107"/>
                  </a:lnTo>
                  <a:lnTo>
                    <a:pt x="141" y="107"/>
                  </a:lnTo>
                  <a:lnTo>
                    <a:pt x="144" y="107"/>
                  </a:lnTo>
                  <a:lnTo>
                    <a:pt x="141" y="107"/>
                  </a:lnTo>
                  <a:lnTo>
                    <a:pt x="141" y="112"/>
                  </a:lnTo>
                  <a:lnTo>
                    <a:pt x="144" y="109"/>
                  </a:lnTo>
                  <a:lnTo>
                    <a:pt x="144" y="109"/>
                  </a:lnTo>
                  <a:lnTo>
                    <a:pt x="146" y="107"/>
                  </a:lnTo>
                  <a:lnTo>
                    <a:pt x="144" y="104"/>
                  </a:lnTo>
                  <a:lnTo>
                    <a:pt x="141" y="101"/>
                  </a:lnTo>
                  <a:lnTo>
                    <a:pt x="144" y="96"/>
                  </a:lnTo>
                  <a:lnTo>
                    <a:pt x="144" y="93"/>
                  </a:lnTo>
                  <a:lnTo>
                    <a:pt x="146" y="88"/>
                  </a:lnTo>
                  <a:lnTo>
                    <a:pt x="146" y="88"/>
                  </a:lnTo>
                  <a:lnTo>
                    <a:pt x="146" y="93"/>
                  </a:lnTo>
                  <a:lnTo>
                    <a:pt x="146" y="96"/>
                  </a:lnTo>
                  <a:lnTo>
                    <a:pt x="146" y="99"/>
                  </a:lnTo>
                  <a:lnTo>
                    <a:pt x="149" y="99"/>
                  </a:lnTo>
                  <a:lnTo>
                    <a:pt x="152" y="101"/>
                  </a:lnTo>
                  <a:lnTo>
                    <a:pt x="152" y="99"/>
                  </a:lnTo>
                  <a:lnTo>
                    <a:pt x="152" y="99"/>
                  </a:lnTo>
                  <a:lnTo>
                    <a:pt x="154" y="99"/>
                  </a:lnTo>
                  <a:lnTo>
                    <a:pt x="154" y="96"/>
                  </a:lnTo>
                  <a:lnTo>
                    <a:pt x="152" y="96"/>
                  </a:lnTo>
                  <a:lnTo>
                    <a:pt x="152" y="93"/>
                  </a:lnTo>
                  <a:lnTo>
                    <a:pt x="152" y="91"/>
                  </a:lnTo>
                  <a:lnTo>
                    <a:pt x="152" y="88"/>
                  </a:lnTo>
                  <a:lnTo>
                    <a:pt x="149" y="88"/>
                  </a:lnTo>
                  <a:lnTo>
                    <a:pt x="146" y="85"/>
                  </a:lnTo>
                  <a:lnTo>
                    <a:pt x="146" y="85"/>
                  </a:lnTo>
                  <a:lnTo>
                    <a:pt x="146" y="83"/>
                  </a:lnTo>
                  <a:lnTo>
                    <a:pt x="149" y="80"/>
                  </a:lnTo>
                  <a:lnTo>
                    <a:pt x="152" y="77"/>
                  </a:lnTo>
                  <a:lnTo>
                    <a:pt x="154" y="74"/>
                  </a:lnTo>
                  <a:lnTo>
                    <a:pt x="154" y="74"/>
                  </a:lnTo>
                  <a:lnTo>
                    <a:pt x="154" y="72"/>
                  </a:lnTo>
                  <a:lnTo>
                    <a:pt x="157" y="72"/>
                  </a:lnTo>
                  <a:lnTo>
                    <a:pt x="157" y="72"/>
                  </a:lnTo>
                  <a:lnTo>
                    <a:pt x="160" y="72"/>
                  </a:lnTo>
                  <a:lnTo>
                    <a:pt x="157" y="72"/>
                  </a:lnTo>
                  <a:lnTo>
                    <a:pt x="157" y="72"/>
                  </a:lnTo>
                  <a:lnTo>
                    <a:pt x="157" y="72"/>
                  </a:lnTo>
                  <a:lnTo>
                    <a:pt x="157" y="72"/>
                  </a:lnTo>
                  <a:lnTo>
                    <a:pt x="154" y="69"/>
                  </a:lnTo>
                  <a:lnTo>
                    <a:pt x="154" y="69"/>
                  </a:lnTo>
                  <a:lnTo>
                    <a:pt x="154" y="72"/>
                  </a:lnTo>
                  <a:lnTo>
                    <a:pt x="152" y="72"/>
                  </a:lnTo>
                  <a:lnTo>
                    <a:pt x="152" y="74"/>
                  </a:lnTo>
                  <a:lnTo>
                    <a:pt x="152" y="69"/>
                  </a:lnTo>
                  <a:lnTo>
                    <a:pt x="152" y="66"/>
                  </a:lnTo>
                  <a:lnTo>
                    <a:pt x="152" y="61"/>
                  </a:lnTo>
                  <a:lnTo>
                    <a:pt x="149" y="61"/>
                  </a:lnTo>
                  <a:lnTo>
                    <a:pt x="152" y="56"/>
                  </a:lnTo>
                  <a:lnTo>
                    <a:pt x="154" y="53"/>
                  </a:lnTo>
                  <a:lnTo>
                    <a:pt x="154" y="45"/>
                  </a:lnTo>
                  <a:lnTo>
                    <a:pt x="157" y="42"/>
                  </a:lnTo>
                  <a:lnTo>
                    <a:pt x="154" y="40"/>
                  </a:lnTo>
                  <a:lnTo>
                    <a:pt x="154" y="37"/>
                  </a:lnTo>
                  <a:lnTo>
                    <a:pt x="154" y="34"/>
                  </a:lnTo>
                  <a:lnTo>
                    <a:pt x="157" y="34"/>
                  </a:lnTo>
                  <a:lnTo>
                    <a:pt x="157" y="34"/>
                  </a:lnTo>
                  <a:lnTo>
                    <a:pt x="160" y="32"/>
                  </a:lnTo>
                  <a:lnTo>
                    <a:pt x="160" y="32"/>
                  </a:lnTo>
                  <a:lnTo>
                    <a:pt x="162" y="32"/>
                  </a:lnTo>
                  <a:lnTo>
                    <a:pt x="162" y="26"/>
                  </a:lnTo>
                  <a:lnTo>
                    <a:pt x="165" y="24"/>
                  </a:lnTo>
                  <a:lnTo>
                    <a:pt x="165" y="21"/>
                  </a:lnTo>
                  <a:lnTo>
                    <a:pt x="165" y="18"/>
                  </a:lnTo>
                  <a:lnTo>
                    <a:pt x="165" y="13"/>
                  </a:lnTo>
                  <a:lnTo>
                    <a:pt x="162" y="2"/>
                  </a:lnTo>
                  <a:lnTo>
                    <a:pt x="162" y="0"/>
                  </a:lnTo>
                  <a:lnTo>
                    <a:pt x="165" y="0"/>
                  </a:lnTo>
                  <a:lnTo>
                    <a:pt x="162" y="0"/>
                  </a:lnTo>
                  <a:lnTo>
                    <a:pt x="162" y="0"/>
                  </a:lnTo>
                  <a:lnTo>
                    <a:pt x="162" y="0"/>
                  </a:lnTo>
                  <a:lnTo>
                    <a:pt x="165" y="2"/>
                  </a:lnTo>
                  <a:lnTo>
                    <a:pt x="168" y="2"/>
                  </a:lnTo>
                  <a:lnTo>
                    <a:pt x="170" y="5"/>
                  </a:lnTo>
                  <a:lnTo>
                    <a:pt x="170" y="8"/>
                  </a:lnTo>
                  <a:lnTo>
                    <a:pt x="173" y="10"/>
                  </a:lnTo>
                  <a:lnTo>
                    <a:pt x="176" y="10"/>
                  </a:lnTo>
                  <a:lnTo>
                    <a:pt x="178" y="10"/>
                  </a:lnTo>
                  <a:lnTo>
                    <a:pt x="178" y="13"/>
                  </a:lnTo>
                  <a:lnTo>
                    <a:pt x="178" y="16"/>
                  </a:lnTo>
                  <a:lnTo>
                    <a:pt x="176" y="16"/>
                  </a:lnTo>
                  <a:lnTo>
                    <a:pt x="178" y="18"/>
                  </a:lnTo>
                  <a:lnTo>
                    <a:pt x="178" y="16"/>
                  </a:lnTo>
                  <a:lnTo>
                    <a:pt x="178" y="16"/>
                  </a:lnTo>
                  <a:lnTo>
                    <a:pt x="178" y="16"/>
                  </a:lnTo>
                  <a:lnTo>
                    <a:pt x="181" y="16"/>
                  </a:lnTo>
                  <a:lnTo>
                    <a:pt x="181" y="13"/>
                  </a:lnTo>
                  <a:lnTo>
                    <a:pt x="181" y="13"/>
                  </a:lnTo>
                  <a:lnTo>
                    <a:pt x="178" y="10"/>
                  </a:lnTo>
                  <a:lnTo>
                    <a:pt x="178" y="10"/>
                  </a:lnTo>
                  <a:lnTo>
                    <a:pt x="178" y="8"/>
                  </a:lnTo>
                  <a:lnTo>
                    <a:pt x="176" y="8"/>
                  </a:lnTo>
                  <a:lnTo>
                    <a:pt x="176" y="8"/>
                  </a:lnTo>
                  <a:lnTo>
                    <a:pt x="176" y="8"/>
                  </a:lnTo>
                  <a:lnTo>
                    <a:pt x="176" y="5"/>
                  </a:lnTo>
                  <a:lnTo>
                    <a:pt x="181" y="8"/>
                  </a:lnTo>
                  <a:lnTo>
                    <a:pt x="184" y="5"/>
                  </a:lnTo>
                  <a:lnTo>
                    <a:pt x="184" y="5"/>
                  </a:lnTo>
                  <a:lnTo>
                    <a:pt x="184" y="8"/>
                  </a:lnTo>
                  <a:lnTo>
                    <a:pt x="186" y="10"/>
                  </a:lnTo>
                  <a:lnTo>
                    <a:pt x="189" y="10"/>
                  </a:lnTo>
                  <a:lnTo>
                    <a:pt x="189" y="10"/>
                  </a:lnTo>
                  <a:lnTo>
                    <a:pt x="200" y="10"/>
                  </a:lnTo>
                  <a:lnTo>
                    <a:pt x="200" y="10"/>
                  </a:lnTo>
                  <a:lnTo>
                    <a:pt x="200" y="10"/>
                  </a:lnTo>
                  <a:lnTo>
                    <a:pt x="200" y="8"/>
                  </a:lnTo>
                  <a:lnTo>
                    <a:pt x="200" y="8"/>
                  </a:lnTo>
                  <a:lnTo>
                    <a:pt x="202" y="10"/>
                  </a:lnTo>
                  <a:lnTo>
                    <a:pt x="205" y="10"/>
                  </a:lnTo>
                  <a:lnTo>
                    <a:pt x="208" y="8"/>
                  </a:lnTo>
                  <a:lnTo>
                    <a:pt x="210" y="8"/>
                  </a:lnTo>
                  <a:lnTo>
                    <a:pt x="210" y="8"/>
                  </a:lnTo>
                  <a:lnTo>
                    <a:pt x="213" y="8"/>
                  </a:lnTo>
                  <a:lnTo>
                    <a:pt x="213" y="10"/>
                  </a:lnTo>
                  <a:lnTo>
                    <a:pt x="218" y="18"/>
                  </a:lnTo>
                  <a:lnTo>
                    <a:pt x="218" y="18"/>
                  </a:lnTo>
                  <a:lnTo>
                    <a:pt x="218" y="21"/>
                  </a:lnTo>
                  <a:lnTo>
                    <a:pt x="229" y="24"/>
                  </a:lnTo>
                  <a:lnTo>
                    <a:pt x="234" y="26"/>
                  </a:lnTo>
                  <a:lnTo>
                    <a:pt x="237" y="26"/>
                  </a:lnTo>
                  <a:lnTo>
                    <a:pt x="240" y="24"/>
                  </a:lnTo>
                  <a:lnTo>
                    <a:pt x="242" y="21"/>
                  </a:lnTo>
                  <a:lnTo>
                    <a:pt x="242" y="21"/>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22" name="Freeform 19">
              <a:extLst>
                <a:ext uri="{FF2B5EF4-FFF2-40B4-BE49-F238E27FC236}">
                  <a16:creationId xmlns="" xmlns:a16="http://schemas.microsoft.com/office/drawing/2014/main" id="{5CF4814E-F083-4DA8-803A-3259A9D7222E}"/>
                </a:ext>
              </a:extLst>
            </p:cNvPr>
            <p:cNvSpPr>
              <a:spLocks/>
            </p:cNvSpPr>
            <p:nvPr/>
          </p:nvSpPr>
          <p:spPr bwMode="auto">
            <a:xfrm>
              <a:off x="3304" y="1916"/>
              <a:ext cx="987" cy="470"/>
            </a:xfrm>
            <a:custGeom>
              <a:avLst/>
              <a:gdLst>
                <a:gd name="T0" fmla="*/ 976 w 987"/>
                <a:gd name="T1" fmla="*/ 205 h 470"/>
                <a:gd name="T2" fmla="*/ 987 w 987"/>
                <a:gd name="T3" fmla="*/ 438 h 470"/>
                <a:gd name="T4" fmla="*/ 976 w 987"/>
                <a:gd name="T5" fmla="*/ 464 h 470"/>
                <a:gd name="T6" fmla="*/ 963 w 987"/>
                <a:gd name="T7" fmla="*/ 462 h 470"/>
                <a:gd name="T8" fmla="*/ 952 w 987"/>
                <a:gd name="T9" fmla="*/ 456 h 470"/>
                <a:gd name="T10" fmla="*/ 931 w 987"/>
                <a:gd name="T11" fmla="*/ 446 h 470"/>
                <a:gd name="T12" fmla="*/ 920 w 987"/>
                <a:gd name="T13" fmla="*/ 440 h 470"/>
                <a:gd name="T14" fmla="*/ 899 w 987"/>
                <a:gd name="T15" fmla="*/ 430 h 470"/>
                <a:gd name="T16" fmla="*/ 891 w 987"/>
                <a:gd name="T17" fmla="*/ 438 h 470"/>
                <a:gd name="T18" fmla="*/ 885 w 987"/>
                <a:gd name="T19" fmla="*/ 443 h 470"/>
                <a:gd name="T20" fmla="*/ 869 w 987"/>
                <a:gd name="T21" fmla="*/ 440 h 470"/>
                <a:gd name="T22" fmla="*/ 864 w 987"/>
                <a:gd name="T23" fmla="*/ 440 h 470"/>
                <a:gd name="T24" fmla="*/ 853 w 987"/>
                <a:gd name="T25" fmla="*/ 432 h 470"/>
                <a:gd name="T26" fmla="*/ 843 w 987"/>
                <a:gd name="T27" fmla="*/ 440 h 470"/>
                <a:gd name="T28" fmla="*/ 835 w 987"/>
                <a:gd name="T29" fmla="*/ 446 h 470"/>
                <a:gd name="T30" fmla="*/ 819 w 987"/>
                <a:gd name="T31" fmla="*/ 443 h 470"/>
                <a:gd name="T32" fmla="*/ 808 w 987"/>
                <a:gd name="T33" fmla="*/ 448 h 470"/>
                <a:gd name="T34" fmla="*/ 789 w 987"/>
                <a:gd name="T35" fmla="*/ 456 h 470"/>
                <a:gd name="T36" fmla="*/ 776 w 987"/>
                <a:gd name="T37" fmla="*/ 467 h 470"/>
                <a:gd name="T38" fmla="*/ 749 w 987"/>
                <a:gd name="T39" fmla="*/ 456 h 470"/>
                <a:gd name="T40" fmla="*/ 739 w 987"/>
                <a:gd name="T41" fmla="*/ 451 h 470"/>
                <a:gd name="T42" fmla="*/ 736 w 987"/>
                <a:gd name="T43" fmla="*/ 440 h 470"/>
                <a:gd name="T44" fmla="*/ 731 w 987"/>
                <a:gd name="T45" fmla="*/ 448 h 470"/>
                <a:gd name="T46" fmla="*/ 723 w 987"/>
                <a:gd name="T47" fmla="*/ 451 h 470"/>
                <a:gd name="T48" fmla="*/ 707 w 987"/>
                <a:gd name="T49" fmla="*/ 446 h 470"/>
                <a:gd name="T50" fmla="*/ 701 w 987"/>
                <a:gd name="T51" fmla="*/ 438 h 470"/>
                <a:gd name="T52" fmla="*/ 693 w 987"/>
                <a:gd name="T53" fmla="*/ 448 h 470"/>
                <a:gd name="T54" fmla="*/ 685 w 987"/>
                <a:gd name="T55" fmla="*/ 456 h 470"/>
                <a:gd name="T56" fmla="*/ 672 w 987"/>
                <a:gd name="T57" fmla="*/ 464 h 470"/>
                <a:gd name="T58" fmla="*/ 669 w 987"/>
                <a:gd name="T59" fmla="*/ 446 h 470"/>
                <a:gd name="T60" fmla="*/ 661 w 987"/>
                <a:gd name="T61" fmla="*/ 451 h 470"/>
                <a:gd name="T62" fmla="*/ 651 w 987"/>
                <a:gd name="T63" fmla="*/ 454 h 470"/>
                <a:gd name="T64" fmla="*/ 637 w 987"/>
                <a:gd name="T65" fmla="*/ 448 h 470"/>
                <a:gd name="T66" fmla="*/ 616 w 987"/>
                <a:gd name="T67" fmla="*/ 432 h 470"/>
                <a:gd name="T68" fmla="*/ 581 w 987"/>
                <a:gd name="T69" fmla="*/ 448 h 470"/>
                <a:gd name="T70" fmla="*/ 581 w 987"/>
                <a:gd name="T71" fmla="*/ 435 h 470"/>
                <a:gd name="T72" fmla="*/ 565 w 987"/>
                <a:gd name="T73" fmla="*/ 419 h 470"/>
                <a:gd name="T74" fmla="*/ 531 w 987"/>
                <a:gd name="T75" fmla="*/ 416 h 470"/>
                <a:gd name="T76" fmla="*/ 509 w 987"/>
                <a:gd name="T77" fmla="*/ 416 h 470"/>
                <a:gd name="T78" fmla="*/ 491 w 987"/>
                <a:gd name="T79" fmla="*/ 414 h 470"/>
                <a:gd name="T80" fmla="*/ 453 w 987"/>
                <a:gd name="T81" fmla="*/ 406 h 470"/>
                <a:gd name="T82" fmla="*/ 435 w 987"/>
                <a:gd name="T83" fmla="*/ 390 h 470"/>
                <a:gd name="T84" fmla="*/ 424 w 987"/>
                <a:gd name="T85" fmla="*/ 376 h 470"/>
                <a:gd name="T86" fmla="*/ 413 w 987"/>
                <a:gd name="T87" fmla="*/ 371 h 470"/>
                <a:gd name="T88" fmla="*/ 395 w 987"/>
                <a:gd name="T89" fmla="*/ 376 h 470"/>
                <a:gd name="T90" fmla="*/ 379 w 987"/>
                <a:gd name="T91" fmla="*/ 379 h 470"/>
                <a:gd name="T92" fmla="*/ 341 w 987"/>
                <a:gd name="T93" fmla="*/ 355 h 470"/>
                <a:gd name="T94" fmla="*/ 341 w 987"/>
                <a:gd name="T95" fmla="*/ 251 h 470"/>
                <a:gd name="T96" fmla="*/ 341 w 987"/>
                <a:gd name="T97" fmla="*/ 122 h 470"/>
                <a:gd name="T98" fmla="*/ 304 w 987"/>
                <a:gd name="T99" fmla="*/ 85 h 470"/>
                <a:gd name="T100" fmla="*/ 77 w 987"/>
                <a:gd name="T101" fmla="*/ 82 h 470"/>
                <a:gd name="T102" fmla="*/ 2 w 987"/>
                <a:gd name="T103" fmla="*/ 26 h 470"/>
                <a:gd name="T104" fmla="*/ 101 w 987"/>
                <a:gd name="T105" fmla="*/ 13 h 470"/>
                <a:gd name="T106" fmla="*/ 296 w 987"/>
                <a:gd name="T107" fmla="*/ 13 h 470"/>
                <a:gd name="T108" fmla="*/ 507 w 987"/>
                <a:gd name="T109" fmla="*/ 13 h 470"/>
                <a:gd name="T110" fmla="*/ 715 w 987"/>
                <a:gd name="T111" fmla="*/ 8 h 470"/>
                <a:gd name="T112" fmla="*/ 923 w 987"/>
                <a:gd name="T113"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87" h="470">
                  <a:moveTo>
                    <a:pt x="952" y="69"/>
                  </a:moveTo>
                  <a:lnTo>
                    <a:pt x="958" y="88"/>
                  </a:lnTo>
                  <a:lnTo>
                    <a:pt x="960" y="109"/>
                  </a:lnTo>
                  <a:lnTo>
                    <a:pt x="963" y="128"/>
                  </a:lnTo>
                  <a:lnTo>
                    <a:pt x="968" y="146"/>
                  </a:lnTo>
                  <a:lnTo>
                    <a:pt x="971" y="165"/>
                  </a:lnTo>
                  <a:lnTo>
                    <a:pt x="974" y="187"/>
                  </a:lnTo>
                  <a:lnTo>
                    <a:pt x="976" y="205"/>
                  </a:lnTo>
                  <a:lnTo>
                    <a:pt x="982" y="224"/>
                  </a:lnTo>
                  <a:lnTo>
                    <a:pt x="982" y="256"/>
                  </a:lnTo>
                  <a:lnTo>
                    <a:pt x="982" y="285"/>
                  </a:lnTo>
                  <a:lnTo>
                    <a:pt x="984" y="315"/>
                  </a:lnTo>
                  <a:lnTo>
                    <a:pt x="984" y="347"/>
                  </a:lnTo>
                  <a:lnTo>
                    <a:pt x="984" y="376"/>
                  </a:lnTo>
                  <a:lnTo>
                    <a:pt x="987" y="408"/>
                  </a:lnTo>
                  <a:lnTo>
                    <a:pt x="987" y="438"/>
                  </a:lnTo>
                  <a:lnTo>
                    <a:pt x="987" y="470"/>
                  </a:lnTo>
                  <a:lnTo>
                    <a:pt x="987" y="470"/>
                  </a:lnTo>
                  <a:lnTo>
                    <a:pt x="984" y="470"/>
                  </a:lnTo>
                  <a:lnTo>
                    <a:pt x="982" y="467"/>
                  </a:lnTo>
                  <a:lnTo>
                    <a:pt x="982" y="470"/>
                  </a:lnTo>
                  <a:lnTo>
                    <a:pt x="976" y="467"/>
                  </a:lnTo>
                  <a:lnTo>
                    <a:pt x="976" y="467"/>
                  </a:lnTo>
                  <a:lnTo>
                    <a:pt x="976" y="464"/>
                  </a:lnTo>
                  <a:lnTo>
                    <a:pt x="976" y="464"/>
                  </a:lnTo>
                  <a:lnTo>
                    <a:pt x="974" y="464"/>
                  </a:lnTo>
                  <a:lnTo>
                    <a:pt x="971" y="464"/>
                  </a:lnTo>
                  <a:lnTo>
                    <a:pt x="968" y="464"/>
                  </a:lnTo>
                  <a:lnTo>
                    <a:pt x="968" y="464"/>
                  </a:lnTo>
                  <a:lnTo>
                    <a:pt x="966" y="464"/>
                  </a:lnTo>
                  <a:lnTo>
                    <a:pt x="966" y="462"/>
                  </a:lnTo>
                  <a:lnTo>
                    <a:pt x="963" y="462"/>
                  </a:lnTo>
                  <a:lnTo>
                    <a:pt x="963" y="464"/>
                  </a:lnTo>
                  <a:lnTo>
                    <a:pt x="963" y="464"/>
                  </a:lnTo>
                  <a:lnTo>
                    <a:pt x="960" y="464"/>
                  </a:lnTo>
                  <a:lnTo>
                    <a:pt x="960" y="462"/>
                  </a:lnTo>
                  <a:lnTo>
                    <a:pt x="958" y="462"/>
                  </a:lnTo>
                  <a:lnTo>
                    <a:pt x="955" y="459"/>
                  </a:lnTo>
                  <a:lnTo>
                    <a:pt x="955" y="456"/>
                  </a:lnTo>
                  <a:lnTo>
                    <a:pt x="952" y="456"/>
                  </a:lnTo>
                  <a:lnTo>
                    <a:pt x="950" y="456"/>
                  </a:lnTo>
                  <a:lnTo>
                    <a:pt x="942" y="456"/>
                  </a:lnTo>
                  <a:lnTo>
                    <a:pt x="936" y="451"/>
                  </a:lnTo>
                  <a:lnTo>
                    <a:pt x="936" y="448"/>
                  </a:lnTo>
                  <a:lnTo>
                    <a:pt x="934" y="448"/>
                  </a:lnTo>
                  <a:lnTo>
                    <a:pt x="934" y="446"/>
                  </a:lnTo>
                  <a:lnTo>
                    <a:pt x="934" y="446"/>
                  </a:lnTo>
                  <a:lnTo>
                    <a:pt x="931" y="446"/>
                  </a:lnTo>
                  <a:lnTo>
                    <a:pt x="931" y="443"/>
                  </a:lnTo>
                  <a:lnTo>
                    <a:pt x="931" y="443"/>
                  </a:lnTo>
                  <a:lnTo>
                    <a:pt x="931" y="443"/>
                  </a:lnTo>
                  <a:lnTo>
                    <a:pt x="928" y="443"/>
                  </a:lnTo>
                  <a:lnTo>
                    <a:pt x="928" y="440"/>
                  </a:lnTo>
                  <a:lnTo>
                    <a:pt x="926" y="440"/>
                  </a:lnTo>
                  <a:lnTo>
                    <a:pt x="923" y="440"/>
                  </a:lnTo>
                  <a:lnTo>
                    <a:pt x="920" y="440"/>
                  </a:lnTo>
                  <a:lnTo>
                    <a:pt x="918" y="435"/>
                  </a:lnTo>
                  <a:lnTo>
                    <a:pt x="915" y="435"/>
                  </a:lnTo>
                  <a:lnTo>
                    <a:pt x="912" y="435"/>
                  </a:lnTo>
                  <a:lnTo>
                    <a:pt x="910" y="432"/>
                  </a:lnTo>
                  <a:lnTo>
                    <a:pt x="910" y="432"/>
                  </a:lnTo>
                  <a:lnTo>
                    <a:pt x="910" y="432"/>
                  </a:lnTo>
                  <a:lnTo>
                    <a:pt x="907" y="430"/>
                  </a:lnTo>
                  <a:lnTo>
                    <a:pt x="899" y="430"/>
                  </a:lnTo>
                  <a:lnTo>
                    <a:pt x="899" y="430"/>
                  </a:lnTo>
                  <a:lnTo>
                    <a:pt x="896" y="430"/>
                  </a:lnTo>
                  <a:lnTo>
                    <a:pt x="896" y="432"/>
                  </a:lnTo>
                  <a:lnTo>
                    <a:pt x="896" y="435"/>
                  </a:lnTo>
                  <a:lnTo>
                    <a:pt x="893" y="438"/>
                  </a:lnTo>
                  <a:lnTo>
                    <a:pt x="893" y="435"/>
                  </a:lnTo>
                  <a:lnTo>
                    <a:pt x="893" y="438"/>
                  </a:lnTo>
                  <a:lnTo>
                    <a:pt x="891" y="438"/>
                  </a:lnTo>
                  <a:lnTo>
                    <a:pt x="891" y="438"/>
                  </a:lnTo>
                  <a:lnTo>
                    <a:pt x="891" y="440"/>
                  </a:lnTo>
                  <a:lnTo>
                    <a:pt x="888" y="438"/>
                  </a:lnTo>
                  <a:lnTo>
                    <a:pt x="888" y="438"/>
                  </a:lnTo>
                  <a:lnTo>
                    <a:pt x="888" y="440"/>
                  </a:lnTo>
                  <a:lnTo>
                    <a:pt x="888" y="440"/>
                  </a:lnTo>
                  <a:lnTo>
                    <a:pt x="885" y="440"/>
                  </a:lnTo>
                  <a:lnTo>
                    <a:pt x="885" y="443"/>
                  </a:lnTo>
                  <a:lnTo>
                    <a:pt x="885" y="443"/>
                  </a:lnTo>
                  <a:lnTo>
                    <a:pt x="885" y="443"/>
                  </a:lnTo>
                  <a:lnTo>
                    <a:pt x="875" y="443"/>
                  </a:lnTo>
                  <a:lnTo>
                    <a:pt x="875" y="443"/>
                  </a:lnTo>
                  <a:lnTo>
                    <a:pt x="872" y="443"/>
                  </a:lnTo>
                  <a:lnTo>
                    <a:pt x="872" y="440"/>
                  </a:lnTo>
                  <a:lnTo>
                    <a:pt x="872" y="440"/>
                  </a:lnTo>
                  <a:lnTo>
                    <a:pt x="869" y="440"/>
                  </a:lnTo>
                  <a:lnTo>
                    <a:pt x="869" y="440"/>
                  </a:lnTo>
                  <a:lnTo>
                    <a:pt x="869" y="443"/>
                  </a:lnTo>
                  <a:lnTo>
                    <a:pt x="869" y="443"/>
                  </a:lnTo>
                  <a:lnTo>
                    <a:pt x="867" y="440"/>
                  </a:lnTo>
                  <a:lnTo>
                    <a:pt x="867" y="440"/>
                  </a:lnTo>
                  <a:lnTo>
                    <a:pt x="867" y="440"/>
                  </a:lnTo>
                  <a:lnTo>
                    <a:pt x="867" y="440"/>
                  </a:lnTo>
                  <a:lnTo>
                    <a:pt x="864" y="440"/>
                  </a:lnTo>
                  <a:lnTo>
                    <a:pt x="861" y="440"/>
                  </a:lnTo>
                  <a:lnTo>
                    <a:pt x="864" y="438"/>
                  </a:lnTo>
                  <a:lnTo>
                    <a:pt x="861" y="435"/>
                  </a:lnTo>
                  <a:lnTo>
                    <a:pt x="861" y="435"/>
                  </a:lnTo>
                  <a:lnTo>
                    <a:pt x="859" y="432"/>
                  </a:lnTo>
                  <a:lnTo>
                    <a:pt x="856" y="432"/>
                  </a:lnTo>
                  <a:lnTo>
                    <a:pt x="856" y="432"/>
                  </a:lnTo>
                  <a:lnTo>
                    <a:pt x="853" y="432"/>
                  </a:lnTo>
                  <a:lnTo>
                    <a:pt x="853" y="435"/>
                  </a:lnTo>
                  <a:lnTo>
                    <a:pt x="853" y="435"/>
                  </a:lnTo>
                  <a:lnTo>
                    <a:pt x="851" y="435"/>
                  </a:lnTo>
                  <a:lnTo>
                    <a:pt x="851" y="435"/>
                  </a:lnTo>
                  <a:lnTo>
                    <a:pt x="848" y="438"/>
                  </a:lnTo>
                  <a:lnTo>
                    <a:pt x="845" y="438"/>
                  </a:lnTo>
                  <a:lnTo>
                    <a:pt x="845" y="438"/>
                  </a:lnTo>
                  <a:lnTo>
                    <a:pt x="843" y="440"/>
                  </a:lnTo>
                  <a:lnTo>
                    <a:pt x="843" y="440"/>
                  </a:lnTo>
                  <a:lnTo>
                    <a:pt x="843" y="440"/>
                  </a:lnTo>
                  <a:lnTo>
                    <a:pt x="840" y="440"/>
                  </a:lnTo>
                  <a:lnTo>
                    <a:pt x="837" y="440"/>
                  </a:lnTo>
                  <a:lnTo>
                    <a:pt x="835" y="440"/>
                  </a:lnTo>
                  <a:lnTo>
                    <a:pt x="835" y="446"/>
                  </a:lnTo>
                  <a:lnTo>
                    <a:pt x="835" y="446"/>
                  </a:lnTo>
                  <a:lnTo>
                    <a:pt x="835" y="446"/>
                  </a:lnTo>
                  <a:lnTo>
                    <a:pt x="832" y="446"/>
                  </a:lnTo>
                  <a:lnTo>
                    <a:pt x="832" y="446"/>
                  </a:lnTo>
                  <a:lnTo>
                    <a:pt x="832" y="446"/>
                  </a:lnTo>
                  <a:lnTo>
                    <a:pt x="832" y="446"/>
                  </a:lnTo>
                  <a:lnTo>
                    <a:pt x="829" y="446"/>
                  </a:lnTo>
                  <a:lnTo>
                    <a:pt x="827" y="448"/>
                  </a:lnTo>
                  <a:lnTo>
                    <a:pt x="827" y="446"/>
                  </a:lnTo>
                  <a:lnTo>
                    <a:pt x="819" y="443"/>
                  </a:lnTo>
                  <a:lnTo>
                    <a:pt x="819" y="440"/>
                  </a:lnTo>
                  <a:lnTo>
                    <a:pt x="816" y="440"/>
                  </a:lnTo>
                  <a:lnTo>
                    <a:pt x="816" y="443"/>
                  </a:lnTo>
                  <a:lnTo>
                    <a:pt x="813" y="443"/>
                  </a:lnTo>
                  <a:lnTo>
                    <a:pt x="813" y="446"/>
                  </a:lnTo>
                  <a:lnTo>
                    <a:pt x="813" y="446"/>
                  </a:lnTo>
                  <a:lnTo>
                    <a:pt x="811" y="446"/>
                  </a:lnTo>
                  <a:lnTo>
                    <a:pt x="808" y="448"/>
                  </a:lnTo>
                  <a:lnTo>
                    <a:pt x="805" y="448"/>
                  </a:lnTo>
                  <a:lnTo>
                    <a:pt x="803" y="448"/>
                  </a:lnTo>
                  <a:lnTo>
                    <a:pt x="797" y="448"/>
                  </a:lnTo>
                  <a:lnTo>
                    <a:pt x="795" y="451"/>
                  </a:lnTo>
                  <a:lnTo>
                    <a:pt x="795" y="451"/>
                  </a:lnTo>
                  <a:lnTo>
                    <a:pt x="792" y="451"/>
                  </a:lnTo>
                  <a:lnTo>
                    <a:pt x="792" y="454"/>
                  </a:lnTo>
                  <a:lnTo>
                    <a:pt x="789" y="456"/>
                  </a:lnTo>
                  <a:lnTo>
                    <a:pt x="789" y="459"/>
                  </a:lnTo>
                  <a:lnTo>
                    <a:pt x="787" y="462"/>
                  </a:lnTo>
                  <a:lnTo>
                    <a:pt x="784" y="462"/>
                  </a:lnTo>
                  <a:lnTo>
                    <a:pt x="779" y="462"/>
                  </a:lnTo>
                  <a:lnTo>
                    <a:pt x="776" y="462"/>
                  </a:lnTo>
                  <a:lnTo>
                    <a:pt x="776" y="462"/>
                  </a:lnTo>
                  <a:lnTo>
                    <a:pt x="776" y="464"/>
                  </a:lnTo>
                  <a:lnTo>
                    <a:pt x="776" y="467"/>
                  </a:lnTo>
                  <a:lnTo>
                    <a:pt x="771" y="470"/>
                  </a:lnTo>
                  <a:lnTo>
                    <a:pt x="768" y="467"/>
                  </a:lnTo>
                  <a:lnTo>
                    <a:pt x="765" y="462"/>
                  </a:lnTo>
                  <a:lnTo>
                    <a:pt x="763" y="459"/>
                  </a:lnTo>
                  <a:lnTo>
                    <a:pt x="760" y="459"/>
                  </a:lnTo>
                  <a:lnTo>
                    <a:pt x="752" y="459"/>
                  </a:lnTo>
                  <a:lnTo>
                    <a:pt x="752" y="459"/>
                  </a:lnTo>
                  <a:lnTo>
                    <a:pt x="749" y="456"/>
                  </a:lnTo>
                  <a:lnTo>
                    <a:pt x="749" y="456"/>
                  </a:lnTo>
                  <a:lnTo>
                    <a:pt x="749" y="454"/>
                  </a:lnTo>
                  <a:lnTo>
                    <a:pt x="749" y="454"/>
                  </a:lnTo>
                  <a:lnTo>
                    <a:pt x="747" y="454"/>
                  </a:lnTo>
                  <a:lnTo>
                    <a:pt x="747" y="454"/>
                  </a:lnTo>
                  <a:lnTo>
                    <a:pt x="741" y="451"/>
                  </a:lnTo>
                  <a:lnTo>
                    <a:pt x="741" y="451"/>
                  </a:lnTo>
                  <a:lnTo>
                    <a:pt x="739" y="451"/>
                  </a:lnTo>
                  <a:lnTo>
                    <a:pt x="739" y="448"/>
                  </a:lnTo>
                  <a:lnTo>
                    <a:pt x="739" y="448"/>
                  </a:lnTo>
                  <a:lnTo>
                    <a:pt x="739" y="448"/>
                  </a:lnTo>
                  <a:lnTo>
                    <a:pt x="739" y="446"/>
                  </a:lnTo>
                  <a:lnTo>
                    <a:pt x="741" y="446"/>
                  </a:lnTo>
                  <a:lnTo>
                    <a:pt x="741" y="443"/>
                  </a:lnTo>
                  <a:lnTo>
                    <a:pt x="739" y="443"/>
                  </a:lnTo>
                  <a:lnTo>
                    <a:pt x="736" y="440"/>
                  </a:lnTo>
                  <a:lnTo>
                    <a:pt x="733" y="440"/>
                  </a:lnTo>
                  <a:lnTo>
                    <a:pt x="733" y="440"/>
                  </a:lnTo>
                  <a:lnTo>
                    <a:pt x="733" y="440"/>
                  </a:lnTo>
                  <a:lnTo>
                    <a:pt x="733" y="443"/>
                  </a:lnTo>
                  <a:lnTo>
                    <a:pt x="731" y="443"/>
                  </a:lnTo>
                  <a:lnTo>
                    <a:pt x="731" y="448"/>
                  </a:lnTo>
                  <a:lnTo>
                    <a:pt x="731" y="448"/>
                  </a:lnTo>
                  <a:lnTo>
                    <a:pt x="731" y="448"/>
                  </a:lnTo>
                  <a:lnTo>
                    <a:pt x="728" y="448"/>
                  </a:lnTo>
                  <a:lnTo>
                    <a:pt x="728" y="451"/>
                  </a:lnTo>
                  <a:lnTo>
                    <a:pt x="728" y="451"/>
                  </a:lnTo>
                  <a:lnTo>
                    <a:pt x="725" y="451"/>
                  </a:lnTo>
                  <a:lnTo>
                    <a:pt x="725" y="451"/>
                  </a:lnTo>
                  <a:lnTo>
                    <a:pt x="723" y="451"/>
                  </a:lnTo>
                  <a:lnTo>
                    <a:pt x="723" y="451"/>
                  </a:lnTo>
                  <a:lnTo>
                    <a:pt x="723" y="451"/>
                  </a:lnTo>
                  <a:lnTo>
                    <a:pt x="717" y="448"/>
                  </a:lnTo>
                  <a:lnTo>
                    <a:pt x="717" y="448"/>
                  </a:lnTo>
                  <a:lnTo>
                    <a:pt x="717" y="448"/>
                  </a:lnTo>
                  <a:lnTo>
                    <a:pt x="712" y="448"/>
                  </a:lnTo>
                  <a:lnTo>
                    <a:pt x="712" y="448"/>
                  </a:lnTo>
                  <a:lnTo>
                    <a:pt x="709" y="448"/>
                  </a:lnTo>
                  <a:lnTo>
                    <a:pt x="709" y="448"/>
                  </a:lnTo>
                  <a:lnTo>
                    <a:pt x="707" y="446"/>
                  </a:lnTo>
                  <a:lnTo>
                    <a:pt x="707" y="446"/>
                  </a:lnTo>
                  <a:lnTo>
                    <a:pt x="707" y="443"/>
                  </a:lnTo>
                  <a:lnTo>
                    <a:pt x="707" y="440"/>
                  </a:lnTo>
                  <a:lnTo>
                    <a:pt x="704" y="438"/>
                  </a:lnTo>
                  <a:lnTo>
                    <a:pt x="704" y="438"/>
                  </a:lnTo>
                  <a:lnTo>
                    <a:pt x="704" y="438"/>
                  </a:lnTo>
                  <a:lnTo>
                    <a:pt x="701" y="438"/>
                  </a:lnTo>
                  <a:lnTo>
                    <a:pt x="701" y="438"/>
                  </a:lnTo>
                  <a:lnTo>
                    <a:pt x="701" y="438"/>
                  </a:lnTo>
                  <a:lnTo>
                    <a:pt x="696" y="438"/>
                  </a:lnTo>
                  <a:lnTo>
                    <a:pt x="696" y="438"/>
                  </a:lnTo>
                  <a:lnTo>
                    <a:pt x="696" y="438"/>
                  </a:lnTo>
                  <a:lnTo>
                    <a:pt x="693" y="438"/>
                  </a:lnTo>
                  <a:lnTo>
                    <a:pt x="693" y="440"/>
                  </a:lnTo>
                  <a:lnTo>
                    <a:pt x="693" y="443"/>
                  </a:lnTo>
                  <a:lnTo>
                    <a:pt x="693" y="448"/>
                  </a:lnTo>
                  <a:lnTo>
                    <a:pt x="691" y="451"/>
                  </a:lnTo>
                  <a:lnTo>
                    <a:pt x="688" y="451"/>
                  </a:lnTo>
                  <a:lnTo>
                    <a:pt x="683" y="451"/>
                  </a:lnTo>
                  <a:lnTo>
                    <a:pt x="683" y="454"/>
                  </a:lnTo>
                  <a:lnTo>
                    <a:pt x="685" y="454"/>
                  </a:lnTo>
                  <a:lnTo>
                    <a:pt x="685" y="454"/>
                  </a:lnTo>
                  <a:lnTo>
                    <a:pt x="685" y="456"/>
                  </a:lnTo>
                  <a:lnTo>
                    <a:pt x="685" y="456"/>
                  </a:lnTo>
                  <a:lnTo>
                    <a:pt x="683" y="459"/>
                  </a:lnTo>
                  <a:lnTo>
                    <a:pt x="683" y="459"/>
                  </a:lnTo>
                  <a:lnTo>
                    <a:pt x="683" y="464"/>
                  </a:lnTo>
                  <a:lnTo>
                    <a:pt x="683" y="467"/>
                  </a:lnTo>
                  <a:lnTo>
                    <a:pt x="680" y="470"/>
                  </a:lnTo>
                  <a:lnTo>
                    <a:pt x="677" y="470"/>
                  </a:lnTo>
                  <a:lnTo>
                    <a:pt x="672" y="467"/>
                  </a:lnTo>
                  <a:lnTo>
                    <a:pt x="672" y="464"/>
                  </a:lnTo>
                  <a:lnTo>
                    <a:pt x="669" y="462"/>
                  </a:lnTo>
                  <a:lnTo>
                    <a:pt x="669" y="459"/>
                  </a:lnTo>
                  <a:lnTo>
                    <a:pt x="669" y="456"/>
                  </a:lnTo>
                  <a:lnTo>
                    <a:pt x="672" y="451"/>
                  </a:lnTo>
                  <a:lnTo>
                    <a:pt x="672" y="448"/>
                  </a:lnTo>
                  <a:lnTo>
                    <a:pt x="672" y="448"/>
                  </a:lnTo>
                  <a:lnTo>
                    <a:pt x="669" y="446"/>
                  </a:lnTo>
                  <a:lnTo>
                    <a:pt x="669" y="446"/>
                  </a:lnTo>
                  <a:lnTo>
                    <a:pt x="667" y="443"/>
                  </a:lnTo>
                  <a:lnTo>
                    <a:pt x="667" y="443"/>
                  </a:lnTo>
                  <a:lnTo>
                    <a:pt x="667" y="446"/>
                  </a:lnTo>
                  <a:lnTo>
                    <a:pt x="664" y="446"/>
                  </a:lnTo>
                  <a:lnTo>
                    <a:pt x="664" y="446"/>
                  </a:lnTo>
                  <a:lnTo>
                    <a:pt x="664" y="448"/>
                  </a:lnTo>
                  <a:lnTo>
                    <a:pt x="661" y="451"/>
                  </a:lnTo>
                  <a:lnTo>
                    <a:pt x="661" y="451"/>
                  </a:lnTo>
                  <a:lnTo>
                    <a:pt x="659" y="448"/>
                  </a:lnTo>
                  <a:lnTo>
                    <a:pt x="656" y="448"/>
                  </a:lnTo>
                  <a:lnTo>
                    <a:pt x="656" y="451"/>
                  </a:lnTo>
                  <a:lnTo>
                    <a:pt x="653" y="451"/>
                  </a:lnTo>
                  <a:lnTo>
                    <a:pt x="653" y="451"/>
                  </a:lnTo>
                  <a:lnTo>
                    <a:pt x="653" y="451"/>
                  </a:lnTo>
                  <a:lnTo>
                    <a:pt x="653" y="454"/>
                  </a:lnTo>
                  <a:lnTo>
                    <a:pt x="651" y="454"/>
                  </a:lnTo>
                  <a:lnTo>
                    <a:pt x="651" y="454"/>
                  </a:lnTo>
                  <a:lnTo>
                    <a:pt x="651" y="456"/>
                  </a:lnTo>
                  <a:lnTo>
                    <a:pt x="648" y="456"/>
                  </a:lnTo>
                  <a:lnTo>
                    <a:pt x="643" y="456"/>
                  </a:lnTo>
                  <a:lnTo>
                    <a:pt x="640" y="456"/>
                  </a:lnTo>
                  <a:lnTo>
                    <a:pt x="640" y="451"/>
                  </a:lnTo>
                  <a:lnTo>
                    <a:pt x="637" y="448"/>
                  </a:lnTo>
                  <a:lnTo>
                    <a:pt x="637" y="448"/>
                  </a:lnTo>
                  <a:lnTo>
                    <a:pt x="635" y="446"/>
                  </a:lnTo>
                  <a:lnTo>
                    <a:pt x="632" y="446"/>
                  </a:lnTo>
                  <a:lnTo>
                    <a:pt x="627" y="446"/>
                  </a:lnTo>
                  <a:lnTo>
                    <a:pt x="624" y="446"/>
                  </a:lnTo>
                  <a:lnTo>
                    <a:pt x="624" y="443"/>
                  </a:lnTo>
                  <a:lnTo>
                    <a:pt x="624" y="438"/>
                  </a:lnTo>
                  <a:lnTo>
                    <a:pt x="621" y="435"/>
                  </a:lnTo>
                  <a:lnTo>
                    <a:pt x="616" y="432"/>
                  </a:lnTo>
                  <a:lnTo>
                    <a:pt x="613" y="435"/>
                  </a:lnTo>
                  <a:lnTo>
                    <a:pt x="608" y="438"/>
                  </a:lnTo>
                  <a:lnTo>
                    <a:pt x="600" y="448"/>
                  </a:lnTo>
                  <a:lnTo>
                    <a:pt x="595" y="451"/>
                  </a:lnTo>
                  <a:lnTo>
                    <a:pt x="589" y="451"/>
                  </a:lnTo>
                  <a:lnTo>
                    <a:pt x="584" y="451"/>
                  </a:lnTo>
                  <a:lnTo>
                    <a:pt x="581" y="448"/>
                  </a:lnTo>
                  <a:lnTo>
                    <a:pt x="581" y="448"/>
                  </a:lnTo>
                  <a:lnTo>
                    <a:pt x="581" y="446"/>
                  </a:lnTo>
                  <a:lnTo>
                    <a:pt x="581" y="446"/>
                  </a:lnTo>
                  <a:lnTo>
                    <a:pt x="581" y="443"/>
                  </a:lnTo>
                  <a:lnTo>
                    <a:pt x="581" y="440"/>
                  </a:lnTo>
                  <a:lnTo>
                    <a:pt x="581" y="440"/>
                  </a:lnTo>
                  <a:lnTo>
                    <a:pt x="581" y="438"/>
                  </a:lnTo>
                  <a:lnTo>
                    <a:pt x="581" y="438"/>
                  </a:lnTo>
                  <a:lnTo>
                    <a:pt x="581" y="435"/>
                  </a:lnTo>
                  <a:lnTo>
                    <a:pt x="581" y="435"/>
                  </a:lnTo>
                  <a:lnTo>
                    <a:pt x="579" y="435"/>
                  </a:lnTo>
                  <a:lnTo>
                    <a:pt x="576" y="432"/>
                  </a:lnTo>
                  <a:lnTo>
                    <a:pt x="571" y="432"/>
                  </a:lnTo>
                  <a:lnTo>
                    <a:pt x="565" y="430"/>
                  </a:lnTo>
                  <a:lnTo>
                    <a:pt x="565" y="424"/>
                  </a:lnTo>
                  <a:lnTo>
                    <a:pt x="563" y="422"/>
                  </a:lnTo>
                  <a:lnTo>
                    <a:pt x="565" y="419"/>
                  </a:lnTo>
                  <a:lnTo>
                    <a:pt x="565" y="414"/>
                  </a:lnTo>
                  <a:lnTo>
                    <a:pt x="563" y="414"/>
                  </a:lnTo>
                  <a:lnTo>
                    <a:pt x="560" y="414"/>
                  </a:lnTo>
                  <a:lnTo>
                    <a:pt x="555" y="414"/>
                  </a:lnTo>
                  <a:lnTo>
                    <a:pt x="549" y="416"/>
                  </a:lnTo>
                  <a:lnTo>
                    <a:pt x="536" y="414"/>
                  </a:lnTo>
                  <a:lnTo>
                    <a:pt x="533" y="414"/>
                  </a:lnTo>
                  <a:lnTo>
                    <a:pt x="531" y="416"/>
                  </a:lnTo>
                  <a:lnTo>
                    <a:pt x="528" y="419"/>
                  </a:lnTo>
                  <a:lnTo>
                    <a:pt x="528" y="422"/>
                  </a:lnTo>
                  <a:lnTo>
                    <a:pt x="525" y="422"/>
                  </a:lnTo>
                  <a:lnTo>
                    <a:pt x="523" y="424"/>
                  </a:lnTo>
                  <a:lnTo>
                    <a:pt x="517" y="424"/>
                  </a:lnTo>
                  <a:lnTo>
                    <a:pt x="517" y="422"/>
                  </a:lnTo>
                  <a:lnTo>
                    <a:pt x="512" y="419"/>
                  </a:lnTo>
                  <a:lnTo>
                    <a:pt x="509" y="416"/>
                  </a:lnTo>
                  <a:lnTo>
                    <a:pt x="509" y="416"/>
                  </a:lnTo>
                  <a:lnTo>
                    <a:pt x="507" y="414"/>
                  </a:lnTo>
                  <a:lnTo>
                    <a:pt x="507" y="411"/>
                  </a:lnTo>
                  <a:lnTo>
                    <a:pt x="504" y="411"/>
                  </a:lnTo>
                  <a:lnTo>
                    <a:pt x="501" y="411"/>
                  </a:lnTo>
                  <a:lnTo>
                    <a:pt x="499" y="411"/>
                  </a:lnTo>
                  <a:lnTo>
                    <a:pt x="491" y="416"/>
                  </a:lnTo>
                  <a:lnTo>
                    <a:pt x="491" y="414"/>
                  </a:lnTo>
                  <a:lnTo>
                    <a:pt x="475" y="411"/>
                  </a:lnTo>
                  <a:lnTo>
                    <a:pt x="472" y="411"/>
                  </a:lnTo>
                  <a:lnTo>
                    <a:pt x="464" y="406"/>
                  </a:lnTo>
                  <a:lnTo>
                    <a:pt x="461" y="406"/>
                  </a:lnTo>
                  <a:lnTo>
                    <a:pt x="459" y="406"/>
                  </a:lnTo>
                  <a:lnTo>
                    <a:pt x="459" y="406"/>
                  </a:lnTo>
                  <a:lnTo>
                    <a:pt x="456" y="406"/>
                  </a:lnTo>
                  <a:lnTo>
                    <a:pt x="453" y="406"/>
                  </a:lnTo>
                  <a:lnTo>
                    <a:pt x="448" y="406"/>
                  </a:lnTo>
                  <a:lnTo>
                    <a:pt x="445" y="403"/>
                  </a:lnTo>
                  <a:lnTo>
                    <a:pt x="440" y="406"/>
                  </a:lnTo>
                  <a:lnTo>
                    <a:pt x="437" y="403"/>
                  </a:lnTo>
                  <a:lnTo>
                    <a:pt x="435" y="403"/>
                  </a:lnTo>
                  <a:lnTo>
                    <a:pt x="435" y="400"/>
                  </a:lnTo>
                  <a:lnTo>
                    <a:pt x="435" y="392"/>
                  </a:lnTo>
                  <a:lnTo>
                    <a:pt x="435" y="390"/>
                  </a:lnTo>
                  <a:lnTo>
                    <a:pt x="435" y="390"/>
                  </a:lnTo>
                  <a:lnTo>
                    <a:pt x="435" y="387"/>
                  </a:lnTo>
                  <a:lnTo>
                    <a:pt x="429" y="384"/>
                  </a:lnTo>
                  <a:lnTo>
                    <a:pt x="429" y="382"/>
                  </a:lnTo>
                  <a:lnTo>
                    <a:pt x="429" y="379"/>
                  </a:lnTo>
                  <a:lnTo>
                    <a:pt x="427" y="376"/>
                  </a:lnTo>
                  <a:lnTo>
                    <a:pt x="424" y="376"/>
                  </a:lnTo>
                  <a:lnTo>
                    <a:pt x="424" y="376"/>
                  </a:lnTo>
                  <a:lnTo>
                    <a:pt x="421" y="376"/>
                  </a:lnTo>
                  <a:lnTo>
                    <a:pt x="421" y="376"/>
                  </a:lnTo>
                  <a:lnTo>
                    <a:pt x="419" y="374"/>
                  </a:lnTo>
                  <a:lnTo>
                    <a:pt x="419" y="374"/>
                  </a:lnTo>
                  <a:lnTo>
                    <a:pt x="419" y="374"/>
                  </a:lnTo>
                  <a:lnTo>
                    <a:pt x="419" y="371"/>
                  </a:lnTo>
                  <a:lnTo>
                    <a:pt x="416" y="371"/>
                  </a:lnTo>
                  <a:lnTo>
                    <a:pt x="413" y="371"/>
                  </a:lnTo>
                  <a:lnTo>
                    <a:pt x="413" y="371"/>
                  </a:lnTo>
                  <a:lnTo>
                    <a:pt x="413" y="379"/>
                  </a:lnTo>
                  <a:lnTo>
                    <a:pt x="411" y="382"/>
                  </a:lnTo>
                  <a:lnTo>
                    <a:pt x="411" y="382"/>
                  </a:lnTo>
                  <a:lnTo>
                    <a:pt x="408" y="382"/>
                  </a:lnTo>
                  <a:lnTo>
                    <a:pt x="405" y="382"/>
                  </a:lnTo>
                  <a:lnTo>
                    <a:pt x="400" y="379"/>
                  </a:lnTo>
                  <a:lnTo>
                    <a:pt x="395" y="376"/>
                  </a:lnTo>
                  <a:lnTo>
                    <a:pt x="395" y="376"/>
                  </a:lnTo>
                  <a:lnTo>
                    <a:pt x="392" y="379"/>
                  </a:lnTo>
                  <a:lnTo>
                    <a:pt x="392" y="379"/>
                  </a:lnTo>
                  <a:lnTo>
                    <a:pt x="389" y="382"/>
                  </a:lnTo>
                  <a:lnTo>
                    <a:pt x="389" y="382"/>
                  </a:lnTo>
                  <a:lnTo>
                    <a:pt x="381" y="382"/>
                  </a:lnTo>
                  <a:lnTo>
                    <a:pt x="379" y="379"/>
                  </a:lnTo>
                  <a:lnTo>
                    <a:pt x="379" y="379"/>
                  </a:lnTo>
                  <a:lnTo>
                    <a:pt x="376" y="374"/>
                  </a:lnTo>
                  <a:lnTo>
                    <a:pt x="355" y="355"/>
                  </a:lnTo>
                  <a:lnTo>
                    <a:pt x="355" y="355"/>
                  </a:lnTo>
                  <a:lnTo>
                    <a:pt x="352" y="355"/>
                  </a:lnTo>
                  <a:lnTo>
                    <a:pt x="352" y="355"/>
                  </a:lnTo>
                  <a:lnTo>
                    <a:pt x="349" y="352"/>
                  </a:lnTo>
                  <a:lnTo>
                    <a:pt x="344" y="355"/>
                  </a:lnTo>
                  <a:lnTo>
                    <a:pt x="341" y="355"/>
                  </a:lnTo>
                  <a:lnTo>
                    <a:pt x="341" y="352"/>
                  </a:lnTo>
                  <a:lnTo>
                    <a:pt x="341" y="347"/>
                  </a:lnTo>
                  <a:lnTo>
                    <a:pt x="341" y="331"/>
                  </a:lnTo>
                  <a:lnTo>
                    <a:pt x="341" y="315"/>
                  </a:lnTo>
                  <a:lnTo>
                    <a:pt x="341" y="299"/>
                  </a:lnTo>
                  <a:lnTo>
                    <a:pt x="341" y="283"/>
                  </a:lnTo>
                  <a:lnTo>
                    <a:pt x="341" y="267"/>
                  </a:lnTo>
                  <a:lnTo>
                    <a:pt x="341" y="251"/>
                  </a:lnTo>
                  <a:lnTo>
                    <a:pt x="341" y="235"/>
                  </a:lnTo>
                  <a:lnTo>
                    <a:pt x="341" y="219"/>
                  </a:lnTo>
                  <a:lnTo>
                    <a:pt x="341" y="203"/>
                  </a:lnTo>
                  <a:lnTo>
                    <a:pt x="341" y="187"/>
                  </a:lnTo>
                  <a:lnTo>
                    <a:pt x="341" y="171"/>
                  </a:lnTo>
                  <a:lnTo>
                    <a:pt x="341" y="155"/>
                  </a:lnTo>
                  <a:lnTo>
                    <a:pt x="341" y="138"/>
                  </a:lnTo>
                  <a:lnTo>
                    <a:pt x="341" y="122"/>
                  </a:lnTo>
                  <a:lnTo>
                    <a:pt x="341" y="106"/>
                  </a:lnTo>
                  <a:lnTo>
                    <a:pt x="341" y="90"/>
                  </a:lnTo>
                  <a:lnTo>
                    <a:pt x="341" y="85"/>
                  </a:lnTo>
                  <a:lnTo>
                    <a:pt x="341" y="85"/>
                  </a:lnTo>
                  <a:lnTo>
                    <a:pt x="333" y="85"/>
                  </a:lnTo>
                  <a:lnTo>
                    <a:pt x="330" y="85"/>
                  </a:lnTo>
                  <a:lnTo>
                    <a:pt x="320" y="85"/>
                  </a:lnTo>
                  <a:lnTo>
                    <a:pt x="304" y="85"/>
                  </a:lnTo>
                  <a:lnTo>
                    <a:pt x="282" y="85"/>
                  </a:lnTo>
                  <a:lnTo>
                    <a:pt x="256" y="85"/>
                  </a:lnTo>
                  <a:lnTo>
                    <a:pt x="229" y="82"/>
                  </a:lnTo>
                  <a:lnTo>
                    <a:pt x="200" y="82"/>
                  </a:lnTo>
                  <a:lnTo>
                    <a:pt x="168" y="82"/>
                  </a:lnTo>
                  <a:lnTo>
                    <a:pt x="136" y="82"/>
                  </a:lnTo>
                  <a:lnTo>
                    <a:pt x="106" y="82"/>
                  </a:lnTo>
                  <a:lnTo>
                    <a:pt x="77" y="82"/>
                  </a:lnTo>
                  <a:lnTo>
                    <a:pt x="53" y="80"/>
                  </a:lnTo>
                  <a:lnTo>
                    <a:pt x="32" y="80"/>
                  </a:lnTo>
                  <a:lnTo>
                    <a:pt x="16" y="80"/>
                  </a:lnTo>
                  <a:lnTo>
                    <a:pt x="5" y="80"/>
                  </a:lnTo>
                  <a:lnTo>
                    <a:pt x="0" y="80"/>
                  </a:lnTo>
                  <a:lnTo>
                    <a:pt x="2" y="61"/>
                  </a:lnTo>
                  <a:lnTo>
                    <a:pt x="2" y="45"/>
                  </a:lnTo>
                  <a:lnTo>
                    <a:pt x="2" y="26"/>
                  </a:lnTo>
                  <a:lnTo>
                    <a:pt x="2" y="10"/>
                  </a:lnTo>
                  <a:lnTo>
                    <a:pt x="16" y="10"/>
                  </a:lnTo>
                  <a:lnTo>
                    <a:pt x="32" y="10"/>
                  </a:lnTo>
                  <a:lnTo>
                    <a:pt x="45" y="10"/>
                  </a:lnTo>
                  <a:lnTo>
                    <a:pt x="58" y="10"/>
                  </a:lnTo>
                  <a:lnTo>
                    <a:pt x="72" y="10"/>
                  </a:lnTo>
                  <a:lnTo>
                    <a:pt x="88" y="10"/>
                  </a:lnTo>
                  <a:lnTo>
                    <a:pt x="101" y="13"/>
                  </a:lnTo>
                  <a:lnTo>
                    <a:pt x="114" y="13"/>
                  </a:lnTo>
                  <a:lnTo>
                    <a:pt x="141" y="13"/>
                  </a:lnTo>
                  <a:lnTo>
                    <a:pt x="168" y="13"/>
                  </a:lnTo>
                  <a:lnTo>
                    <a:pt x="192" y="13"/>
                  </a:lnTo>
                  <a:lnTo>
                    <a:pt x="218" y="13"/>
                  </a:lnTo>
                  <a:lnTo>
                    <a:pt x="245" y="13"/>
                  </a:lnTo>
                  <a:lnTo>
                    <a:pt x="272" y="13"/>
                  </a:lnTo>
                  <a:lnTo>
                    <a:pt x="296" y="13"/>
                  </a:lnTo>
                  <a:lnTo>
                    <a:pt x="322" y="13"/>
                  </a:lnTo>
                  <a:lnTo>
                    <a:pt x="349" y="13"/>
                  </a:lnTo>
                  <a:lnTo>
                    <a:pt x="376" y="13"/>
                  </a:lnTo>
                  <a:lnTo>
                    <a:pt x="403" y="13"/>
                  </a:lnTo>
                  <a:lnTo>
                    <a:pt x="427" y="13"/>
                  </a:lnTo>
                  <a:lnTo>
                    <a:pt x="453" y="13"/>
                  </a:lnTo>
                  <a:lnTo>
                    <a:pt x="480" y="13"/>
                  </a:lnTo>
                  <a:lnTo>
                    <a:pt x="507" y="13"/>
                  </a:lnTo>
                  <a:lnTo>
                    <a:pt x="533" y="13"/>
                  </a:lnTo>
                  <a:lnTo>
                    <a:pt x="557" y="13"/>
                  </a:lnTo>
                  <a:lnTo>
                    <a:pt x="584" y="13"/>
                  </a:lnTo>
                  <a:lnTo>
                    <a:pt x="611" y="10"/>
                  </a:lnTo>
                  <a:lnTo>
                    <a:pt x="637" y="10"/>
                  </a:lnTo>
                  <a:lnTo>
                    <a:pt x="661" y="10"/>
                  </a:lnTo>
                  <a:lnTo>
                    <a:pt x="688" y="10"/>
                  </a:lnTo>
                  <a:lnTo>
                    <a:pt x="715" y="8"/>
                  </a:lnTo>
                  <a:lnTo>
                    <a:pt x="741" y="8"/>
                  </a:lnTo>
                  <a:lnTo>
                    <a:pt x="768" y="8"/>
                  </a:lnTo>
                  <a:lnTo>
                    <a:pt x="792" y="5"/>
                  </a:lnTo>
                  <a:lnTo>
                    <a:pt x="819" y="5"/>
                  </a:lnTo>
                  <a:lnTo>
                    <a:pt x="845" y="5"/>
                  </a:lnTo>
                  <a:lnTo>
                    <a:pt x="872" y="2"/>
                  </a:lnTo>
                  <a:lnTo>
                    <a:pt x="896" y="2"/>
                  </a:lnTo>
                  <a:lnTo>
                    <a:pt x="923" y="0"/>
                  </a:lnTo>
                  <a:lnTo>
                    <a:pt x="950" y="0"/>
                  </a:lnTo>
                  <a:lnTo>
                    <a:pt x="950" y="16"/>
                  </a:lnTo>
                  <a:lnTo>
                    <a:pt x="952" y="34"/>
                  </a:lnTo>
                  <a:lnTo>
                    <a:pt x="952" y="53"/>
                  </a:lnTo>
                  <a:lnTo>
                    <a:pt x="952" y="69"/>
                  </a:lnTo>
                  <a:lnTo>
                    <a:pt x="952" y="69"/>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23" name="Freeform 20">
              <a:extLst>
                <a:ext uri="{FF2B5EF4-FFF2-40B4-BE49-F238E27FC236}">
                  <a16:creationId xmlns="" xmlns:a16="http://schemas.microsoft.com/office/drawing/2014/main" id="{7930B557-D730-4B2E-832B-E3AD56BC879F}"/>
                </a:ext>
              </a:extLst>
            </p:cNvPr>
            <p:cNvSpPr>
              <a:spLocks/>
            </p:cNvSpPr>
            <p:nvPr/>
          </p:nvSpPr>
          <p:spPr bwMode="auto">
            <a:xfrm>
              <a:off x="5267" y="1053"/>
              <a:ext cx="478" cy="529"/>
            </a:xfrm>
            <a:custGeom>
              <a:avLst/>
              <a:gdLst>
                <a:gd name="T0" fmla="*/ 473 w 478"/>
                <a:gd name="T1" fmla="*/ 155 h 529"/>
                <a:gd name="T2" fmla="*/ 449 w 478"/>
                <a:gd name="T3" fmla="*/ 10 h 529"/>
                <a:gd name="T4" fmla="*/ 409 w 478"/>
                <a:gd name="T5" fmla="*/ 21 h 529"/>
                <a:gd name="T6" fmla="*/ 326 w 478"/>
                <a:gd name="T7" fmla="*/ 88 h 529"/>
                <a:gd name="T8" fmla="*/ 297 w 478"/>
                <a:gd name="T9" fmla="*/ 90 h 529"/>
                <a:gd name="T10" fmla="*/ 257 w 478"/>
                <a:gd name="T11" fmla="*/ 114 h 529"/>
                <a:gd name="T12" fmla="*/ 233 w 478"/>
                <a:gd name="T13" fmla="*/ 106 h 529"/>
                <a:gd name="T14" fmla="*/ 227 w 478"/>
                <a:gd name="T15" fmla="*/ 109 h 529"/>
                <a:gd name="T16" fmla="*/ 211 w 478"/>
                <a:gd name="T17" fmla="*/ 114 h 529"/>
                <a:gd name="T18" fmla="*/ 190 w 478"/>
                <a:gd name="T19" fmla="*/ 114 h 529"/>
                <a:gd name="T20" fmla="*/ 201 w 478"/>
                <a:gd name="T21" fmla="*/ 109 h 529"/>
                <a:gd name="T22" fmla="*/ 227 w 478"/>
                <a:gd name="T23" fmla="*/ 101 h 529"/>
                <a:gd name="T24" fmla="*/ 217 w 478"/>
                <a:gd name="T25" fmla="*/ 98 h 529"/>
                <a:gd name="T26" fmla="*/ 211 w 478"/>
                <a:gd name="T27" fmla="*/ 101 h 529"/>
                <a:gd name="T28" fmla="*/ 187 w 478"/>
                <a:gd name="T29" fmla="*/ 96 h 529"/>
                <a:gd name="T30" fmla="*/ 158 w 478"/>
                <a:gd name="T31" fmla="*/ 85 h 529"/>
                <a:gd name="T32" fmla="*/ 123 w 478"/>
                <a:gd name="T33" fmla="*/ 88 h 529"/>
                <a:gd name="T34" fmla="*/ 54 w 478"/>
                <a:gd name="T35" fmla="*/ 101 h 529"/>
                <a:gd name="T36" fmla="*/ 3 w 478"/>
                <a:gd name="T37" fmla="*/ 133 h 529"/>
                <a:gd name="T38" fmla="*/ 16 w 478"/>
                <a:gd name="T39" fmla="*/ 232 h 529"/>
                <a:gd name="T40" fmla="*/ 30 w 478"/>
                <a:gd name="T41" fmla="*/ 323 h 529"/>
                <a:gd name="T42" fmla="*/ 41 w 478"/>
                <a:gd name="T43" fmla="*/ 414 h 529"/>
                <a:gd name="T44" fmla="*/ 57 w 478"/>
                <a:gd name="T45" fmla="*/ 462 h 529"/>
                <a:gd name="T46" fmla="*/ 83 w 478"/>
                <a:gd name="T47" fmla="*/ 462 h 529"/>
                <a:gd name="T48" fmla="*/ 105 w 478"/>
                <a:gd name="T49" fmla="*/ 470 h 529"/>
                <a:gd name="T50" fmla="*/ 115 w 478"/>
                <a:gd name="T51" fmla="*/ 486 h 529"/>
                <a:gd name="T52" fmla="*/ 137 w 478"/>
                <a:gd name="T53" fmla="*/ 502 h 529"/>
                <a:gd name="T54" fmla="*/ 174 w 478"/>
                <a:gd name="T55" fmla="*/ 513 h 529"/>
                <a:gd name="T56" fmla="*/ 198 w 478"/>
                <a:gd name="T57" fmla="*/ 502 h 529"/>
                <a:gd name="T58" fmla="*/ 217 w 478"/>
                <a:gd name="T59" fmla="*/ 507 h 529"/>
                <a:gd name="T60" fmla="*/ 230 w 478"/>
                <a:gd name="T61" fmla="*/ 510 h 529"/>
                <a:gd name="T62" fmla="*/ 246 w 478"/>
                <a:gd name="T63" fmla="*/ 499 h 529"/>
                <a:gd name="T64" fmla="*/ 265 w 478"/>
                <a:gd name="T65" fmla="*/ 486 h 529"/>
                <a:gd name="T66" fmla="*/ 289 w 478"/>
                <a:gd name="T67" fmla="*/ 510 h 529"/>
                <a:gd name="T68" fmla="*/ 315 w 478"/>
                <a:gd name="T69" fmla="*/ 526 h 529"/>
                <a:gd name="T70" fmla="*/ 339 w 478"/>
                <a:gd name="T71" fmla="*/ 497 h 529"/>
                <a:gd name="T72" fmla="*/ 345 w 478"/>
                <a:gd name="T73" fmla="*/ 483 h 529"/>
                <a:gd name="T74" fmla="*/ 345 w 478"/>
                <a:gd name="T75" fmla="*/ 464 h 529"/>
                <a:gd name="T76" fmla="*/ 355 w 478"/>
                <a:gd name="T77" fmla="*/ 432 h 529"/>
                <a:gd name="T78" fmla="*/ 369 w 478"/>
                <a:gd name="T79" fmla="*/ 443 h 529"/>
                <a:gd name="T80" fmla="*/ 369 w 478"/>
                <a:gd name="T81" fmla="*/ 448 h 529"/>
                <a:gd name="T82" fmla="*/ 377 w 478"/>
                <a:gd name="T83" fmla="*/ 440 h 529"/>
                <a:gd name="T84" fmla="*/ 382 w 478"/>
                <a:gd name="T85" fmla="*/ 435 h 529"/>
                <a:gd name="T86" fmla="*/ 377 w 478"/>
                <a:gd name="T87" fmla="*/ 422 h 529"/>
                <a:gd name="T88" fmla="*/ 382 w 478"/>
                <a:gd name="T89" fmla="*/ 406 h 529"/>
                <a:gd name="T90" fmla="*/ 395 w 478"/>
                <a:gd name="T91" fmla="*/ 390 h 529"/>
                <a:gd name="T92" fmla="*/ 411 w 478"/>
                <a:gd name="T93" fmla="*/ 368 h 529"/>
                <a:gd name="T94" fmla="*/ 430 w 478"/>
                <a:gd name="T95" fmla="*/ 368 h 529"/>
                <a:gd name="T96" fmla="*/ 446 w 478"/>
                <a:gd name="T97" fmla="*/ 350 h 529"/>
                <a:gd name="T98" fmla="*/ 465 w 478"/>
                <a:gd name="T99" fmla="*/ 320 h 529"/>
                <a:gd name="T100" fmla="*/ 462 w 478"/>
                <a:gd name="T101" fmla="*/ 307 h 529"/>
                <a:gd name="T102" fmla="*/ 467 w 478"/>
                <a:gd name="T103" fmla="*/ 293 h 529"/>
                <a:gd name="T104" fmla="*/ 470 w 478"/>
                <a:gd name="T105" fmla="*/ 285 h 529"/>
                <a:gd name="T106" fmla="*/ 470 w 478"/>
                <a:gd name="T107" fmla="*/ 267 h 529"/>
                <a:gd name="T108" fmla="*/ 475 w 478"/>
                <a:gd name="T109" fmla="*/ 237 h 529"/>
                <a:gd name="T110" fmla="*/ 475 w 478"/>
                <a:gd name="T111" fmla="*/ 221 h 529"/>
                <a:gd name="T112" fmla="*/ 475 w 478"/>
                <a:gd name="T113" fmla="*/ 208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8" h="529">
                  <a:moveTo>
                    <a:pt x="467" y="189"/>
                  </a:moveTo>
                  <a:lnTo>
                    <a:pt x="467" y="187"/>
                  </a:lnTo>
                  <a:lnTo>
                    <a:pt x="473" y="187"/>
                  </a:lnTo>
                  <a:lnTo>
                    <a:pt x="473" y="187"/>
                  </a:lnTo>
                  <a:lnTo>
                    <a:pt x="478" y="184"/>
                  </a:lnTo>
                  <a:lnTo>
                    <a:pt x="478" y="181"/>
                  </a:lnTo>
                  <a:lnTo>
                    <a:pt x="475" y="168"/>
                  </a:lnTo>
                  <a:lnTo>
                    <a:pt x="473" y="155"/>
                  </a:lnTo>
                  <a:lnTo>
                    <a:pt x="473" y="139"/>
                  </a:lnTo>
                  <a:lnTo>
                    <a:pt x="470" y="125"/>
                  </a:lnTo>
                  <a:lnTo>
                    <a:pt x="467" y="112"/>
                  </a:lnTo>
                  <a:lnTo>
                    <a:pt x="465" y="96"/>
                  </a:lnTo>
                  <a:lnTo>
                    <a:pt x="462" y="82"/>
                  </a:lnTo>
                  <a:lnTo>
                    <a:pt x="459" y="66"/>
                  </a:lnTo>
                  <a:lnTo>
                    <a:pt x="454" y="40"/>
                  </a:lnTo>
                  <a:lnTo>
                    <a:pt x="449" y="10"/>
                  </a:lnTo>
                  <a:lnTo>
                    <a:pt x="446" y="0"/>
                  </a:lnTo>
                  <a:lnTo>
                    <a:pt x="422" y="13"/>
                  </a:lnTo>
                  <a:lnTo>
                    <a:pt x="417" y="16"/>
                  </a:lnTo>
                  <a:lnTo>
                    <a:pt x="414" y="18"/>
                  </a:lnTo>
                  <a:lnTo>
                    <a:pt x="411" y="18"/>
                  </a:lnTo>
                  <a:lnTo>
                    <a:pt x="411" y="18"/>
                  </a:lnTo>
                  <a:lnTo>
                    <a:pt x="411" y="21"/>
                  </a:lnTo>
                  <a:lnTo>
                    <a:pt x="409" y="21"/>
                  </a:lnTo>
                  <a:lnTo>
                    <a:pt x="406" y="24"/>
                  </a:lnTo>
                  <a:lnTo>
                    <a:pt x="403" y="26"/>
                  </a:lnTo>
                  <a:lnTo>
                    <a:pt x="398" y="29"/>
                  </a:lnTo>
                  <a:lnTo>
                    <a:pt x="366" y="50"/>
                  </a:lnTo>
                  <a:lnTo>
                    <a:pt x="337" y="82"/>
                  </a:lnTo>
                  <a:lnTo>
                    <a:pt x="331" y="85"/>
                  </a:lnTo>
                  <a:lnTo>
                    <a:pt x="329" y="88"/>
                  </a:lnTo>
                  <a:lnTo>
                    <a:pt x="326" y="88"/>
                  </a:lnTo>
                  <a:lnTo>
                    <a:pt x="323" y="88"/>
                  </a:lnTo>
                  <a:lnTo>
                    <a:pt x="323" y="88"/>
                  </a:lnTo>
                  <a:lnTo>
                    <a:pt x="321" y="88"/>
                  </a:lnTo>
                  <a:lnTo>
                    <a:pt x="318" y="90"/>
                  </a:lnTo>
                  <a:lnTo>
                    <a:pt x="318" y="90"/>
                  </a:lnTo>
                  <a:lnTo>
                    <a:pt x="315" y="90"/>
                  </a:lnTo>
                  <a:lnTo>
                    <a:pt x="302" y="90"/>
                  </a:lnTo>
                  <a:lnTo>
                    <a:pt x="297" y="90"/>
                  </a:lnTo>
                  <a:lnTo>
                    <a:pt x="283" y="98"/>
                  </a:lnTo>
                  <a:lnTo>
                    <a:pt x="275" y="104"/>
                  </a:lnTo>
                  <a:lnTo>
                    <a:pt x="273" y="106"/>
                  </a:lnTo>
                  <a:lnTo>
                    <a:pt x="265" y="106"/>
                  </a:lnTo>
                  <a:lnTo>
                    <a:pt x="262" y="109"/>
                  </a:lnTo>
                  <a:lnTo>
                    <a:pt x="262" y="109"/>
                  </a:lnTo>
                  <a:lnTo>
                    <a:pt x="257" y="114"/>
                  </a:lnTo>
                  <a:lnTo>
                    <a:pt x="257" y="114"/>
                  </a:lnTo>
                  <a:lnTo>
                    <a:pt x="251" y="114"/>
                  </a:lnTo>
                  <a:lnTo>
                    <a:pt x="246" y="114"/>
                  </a:lnTo>
                  <a:lnTo>
                    <a:pt x="238" y="109"/>
                  </a:lnTo>
                  <a:lnTo>
                    <a:pt x="235" y="109"/>
                  </a:lnTo>
                  <a:lnTo>
                    <a:pt x="235" y="109"/>
                  </a:lnTo>
                  <a:lnTo>
                    <a:pt x="233" y="109"/>
                  </a:lnTo>
                  <a:lnTo>
                    <a:pt x="233" y="106"/>
                  </a:lnTo>
                  <a:lnTo>
                    <a:pt x="233" y="106"/>
                  </a:lnTo>
                  <a:lnTo>
                    <a:pt x="230" y="104"/>
                  </a:lnTo>
                  <a:lnTo>
                    <a:pt x="230" y="104"/>
                  </a:lnTo>
                  <a:lnTo>
                    <a:pt x="233" y="106"/>
                  </a:lnTo>
                  <a:lnTo>
                    <a:pt x="235" y="112"/>
                  </a:lnTo>
                  <a:lnTo>
                    <a:pt x="238" y="112"/>
                  </a:lnTo>
                  <a:lnTo>
                    <a:pt x="233" y="109"/>
                  </a:lnTo>
                  <a:lnTo>
                    <a:pt x="230" y="109"/>
                  </a:lnTo>
                  <a:lnTo>
                    <a:pt x="227" y="109"/>
                  </a:lnTo>
                  <a:lnTo>
                    <a:pt x="227" y="109"/>
                  </a:lnTo>
                  <a:lnTo>
                    <a:pt x="225" y="109"/>
                  </a:lnTo>
                  <a:lnTo>
                    <a:pt x="225" y="109"/>
                  </a:lnTo>
                  <a:lnTo>
                    <a:pt x="222" y="112"/>
                  </a:lnTo>
                  <a:lnTo>
                    <a:pt x="222" y="109"/>
                  </a:lnTo>
                  <a:lnTo>
                    <a:pt x="219" y="109"/>
                  </a:lnTo>
                  <a:lnTo>
                    <a:pt x="214" y="112"/>
                  </a:lnTo>
                  <a:lnTo>
                    <a:pt x="211" y="114"/>
                  </a:lnTo>
                  <a:lnTo>
                    <a:pt x="206" y="117"/>
                  </a:lnTo>
                  <a:lnTo>
                    <a:pt x="201" y="114"/>
                  </a:lnTo>
                  <a:lnTo>
                    <a:pt x="201" y="117"/>
                  </a:lnTo>
                  <a:lnTo>
                    <a:pt x="201" y="117"/>
                  </a:lnTo>
                  <a:lnTo>
                    <a:pt x="198" y="117"/>
                  </a:lnTo>
                  <a:lnTo>
                    <a:pt x="198" y="114"/>
                  </a:lnTo>
                  <a:lnTo>
                    <a:pt x="198" y="114"/>
                  </a:lnTo>
                  <a:lnTo>
                    <a:pt x="190" y="114"/>
                  </a:lnTo>
                  <a:lnTo>
                    <a:pt x="193" y="114"/>
                  </a:lnTo>
                  <a:lnTo>
                    <a:pt x="195" y="114"/>
                  </a:lnTo>
                  <a:lnTo>
                    <a:pt x="198" y="112"/>
                  </a:lnTo>
                  <a:lnTo>
                    <a:pt x="198" y="114"/>
                  </a:lnTo>
                  <a:lnTo>
                    <a:pt x="201" y="112"/>
                  </a:lnTo>
                  <a:lnTo>
                    <a:pt x="201" y="112"/>
                  </a:lnTo>
                  <a:lnTo>
                    <a:pt x="201" y="109"/>
                  </a:lnTo>
                  <a:lnTo>
                    <a:pt x="201" y="109"/>
                  </a:lnTo>
                  <a:lnTo>
                    <a:pt x="203" y="109"/>
                  </a:lnTo>
                  <a:lnTo>
                    <a:pt x="206" y="109"/>
                  </a:lnTo>
                  <a:lnTo>
                    <a:pt x="209" y="106"/>
                  </a:lnTo>
                  <a:lnTo>
                    <a:pt x="211" y="106"/>
                  </a:lnTo>
                  <a:lnTo>
                    <a:pt x="214" y="106"/>
                  </a:lnTo>
                  <a:lnTo>
                    <a:pt x="217" y="104"/>
                  </a:lnTo>
                  <a:lnTo>
                    <a:pt x="219" y="104"/>
                  </a:lnTo>
                  <a:lnTo>
                    <a:pt x="227" y="101"/>
                  </a:lnTo>
                  <a:lnTo>
                    <a:pt x="227" y="101"/>
                  </a:lnTo>
                  <a:lnTo>
                    <a:pt x="225" y="98"/>
                  </a:lnTo>
                  <a:lnTo>
                    <a:pt x="225" y="98"/>
                  </a:lnTo>
                  <a:lnTo>
                    <a:pt x="219" y="98"/>
                  </a:lnTo>
                  <a:lnTo>
                    <a:pt x="219" y="98"/>
                  </a:lnTo>
                  <a:lnTo>
                    <a:pt x="217" y="101"/>
                  </a:lnTo>
                  <a:lnTo>
                    <a:pt x="217" y="98"/>
                  </a:lnTo>
                  <a:lnTo>
                    <a:pt x="217" y="98"/>
                  </a:lnTo>
                  <a:lnTo>
                    <a:pt x="217" y="98"/>
                  </a:lnTo>
                  <a:lnTo>
                    <a:pt x="214" y="96"/>
                  </a:lnTo>
                  <a:lnTo>
                    <a:pt x="211" y="96"/>
                  </a:lnTo>
                  <a:lnTo>
                    <a:pt x="211" y="93"/>
                  </a:lnTo>
                  <a:lnTo>
                    <a:pt x="211" y="96"/>
                  </a:lnTo>
                  <a:lnTo>
                    <a:pt x="211" y="96"/>
                  </a:lnTo>
                  <a:lnTo>
                    <a:pt x="211" y="98"/>
                  </a:lnTo>
                  <a:lnTo>
                    <a:pt x="211" y="101"/>
                  </a:lnTo>
                  <a:lnTo>
                    <a:pt x="209" y="101"/>
                  </a:lnTo>
                  <a:lnTo>
                    <a:pt x="209" y="104"/>
                  </a:lnTo>
                  <a:lnTo>
                    <a:pt x="203" y="104"/>
                  </a:lnTo>
                  <a:lnTo>
                    <a:pt x="201" y="104"/>
                  </a:lnTo>
                  <a:lnTo>
                    <a:pt x="198" y="104"/>
                  </a:lnTo>
                  <a:lnTo>
                    <a:pt x="195" y="104"/>
                  </a:lnTo>
                  <a:lnTo>
                    <a:pt x="193" y="101"/>
                  </a:lnTo>
                  <a:lnTo>
                    <a:pt x="187" y="96"/>
                  </a:lnTo>
                  <a:lnTo>
                    <a:pt x="182" y="96"/>
                  </a:lnTo>
                  <a:lnTo>
                    <a:pt x="179" y="96"/>
                  </a:lnTo>
                  <a:lnTo>
                    <a:pt x="177" y="96"/>
                  </a:lnTo>
                  <a:lnTo>
                    <a:pt x="169" y="93"/>
                  </a:lnTo>
                  <a:lnTo>
                    <a:pt x="166" y="90"/>
                  </a:lnTo>
                  <a:lnTo>
                    <a:pt x="161" y="88"/>
                  </a:lnTo>
                  <a:lnTo>
                    <a:pt x="158" y="85"/>
                  </a:lnTo>
                  <a:lnTo>
                    <a:pt x="158" y="85"/>
                  </a:lnTo>
                  <a:lnTo>
                    <a:pt x="155" y="88"/>
                  </a:lnTo>
                  <a:lnTo>
                    <a:pt x="153" y="88"/>
                  </a:lnTo>
                  <a:lnTo>
                    <a:pt x="150" y="88"/>
                  </a:lnTo>
                  <a:lnTo>
                    <a:pt x="142" y="88"/>
                  </a:lnTo>
                  <a:lnTo>
                    <a:pt x="142" y="85"/>
                  </a:lnTo>
                  <a:lnTo>
                    <a:pt x="142" y="85"/>
                  </a:lnTo>
                  <a:lnTo>
                    <a:pt x="134" y="85"/>
                  </a:lnTo>
                  <a:lnTo>
                    <a:pt x="123" y="88"/>
                  </a:lnTo>
                  <a:lnTo>
                    <a:pt x="115" y="90"/>
                  </a:lnTo>
                  <a:lnTo>
                    <a:pt x="107" y="90"/>
                  </a:lnTo>
                  <a:lnTo>
                    <a:pt x="99" y="93"/>
                  </a:lnTo>
                  <a:lnTo>
                    <a:pt x="89" y="93"/>
                  </a:lnTo>
                  <a:lnTo>
                    <a:pt x="81" y="96"/>
                  </a:lnTo>
                  <a:lnTo>
                    <a:pt x="73" y="98"/>
                  </a:lnTo>
                  <a:lnTo>
                    <a:pt x="62" y="98"/>
                  </a:lnTo>
                  <a:lnTo>
                    <a:pt x="54" y="101"/>
                  </a:lnTo>
                  <a:lnTo>
                    <a:pt x="46" y="101"/>
                  </a:lnTo>
                  <a:lnTo>
                    <a:pt x="38" y="104"/>
                  </a:lnTo>
                  <a:lnTo>
                    <a:pt x="27" y="106"/>
                  </a:lnTo>
                  <a:lnTo>
                    <a:pt x="19" y="106"/>
                  </a:lnTo>
                  <a:lnTo>
                    <a:pt x="11" y="109"/>
                  </a:lnTo>
                  <a:lnTo>
                    <a:pt x="0" y="109"/>
                  </a:lnTo>
                  <a:lnTo>
                    <a:pt x="3" y="120"/>
                  </a:lnTo>
                  <a:lnTo>
                    <a:pt x="3" y="133"/>
                  </a:lnTo>
                  <a:lnTo>
                    <a:pt x="8" y="155"/>
                  </a:lnTo>
                  <a:lnTo>
                    <a:pt x="8" y="165"/>
                  </a:lnTo>
                  <a:lnTo>
                    <a:pt x="11" y="176"/>
                  </a:lnTo>
                  <a:lnTo>
                    <a:pt x="11" y="189"/>
                  </a:lnTo>
                  <a:lnTo>
                    <a:pt x="14" y="200"/>
                  </a:lnTo>
                  <a:lnTo>
                    <a:pt x="14" y="211"/>
                  </a:lnTo>
                  <a:lnTo>
                    <a:pt x="16" y="221"/>
                  </a:lnTo>
                  <a:lnTo>
                    <a:pt x="16" y="232"/>
                  </a:lnTo>
                  <a:lnTo>
                    <a:pt x="19" y="245"/>
                  </a:lnTo>
                  <a:lnTo>
                    <a:pt x="19" y="256"/>
                  </a:lnTo>
                  <a:lnTo>
                    <a:pt x="22" y="267"/>
                  </a:lnTo>
                  <a:lnTo>
                    <a:pt x="25" y="277"/>
                  </a:lnTo>
                  <a:lnTo>
                    <a:pt x="25" y="288"/>
                  </a:lnTo>
                  <a:lnTo>
                    <a:pt x="27" y="301"/>
                  </a:lnTo>
                  <a:lnTo>
                    <a:pt x="27" y="312"/>
                  </a:lnTo>
                  <a:lnTo>
                    <a:pt x="30" y="323"/>
                  </a:lnTo>
                  <a:lnTo>
                    <a:pt x="30" y="334"/>
                  </a:lnTo>
                  <a:lnTo>
                    <a:pt x="33" y="344"/>
                  </a:lnTo>
                  <a:lnTo>
                    <a:pt x="33" y="358"/>
                  </a:lnTo>
                  <a:lnTo>
                    <a:pt x="35" y="368"/>
                  </a:lnTo>
                  <a:lnTo>
                    <a:pt x="35" y="379"/>
                  </a:lnTo>
                  <a:lnTo>
                    <a:pt x="38" y="390"/>
                  </a:lnTo>
                  <a:lnTo>
                    <a:pt x="38" y="400"/>
                  </a:lnTo>
                  <a:lnTo>
                    <a:pt x="41" y="414"/>
                  </a:lnTo>
                  <a:lnTo>
                    <a:pt x="43" y="424"/>
                  </a:lnTo>
                  <a:lnTo>
                    <a:pt x="43" y="435"/>
                  </a:lnTo>
                  <a:lnTo>
                    <a:pt x="46" y="446"/>
                  </a:lnTo>
                  <a:lnTo>
                    <a:pt x="46" y="456"/>
                  </a:lnTo>
                  <a:lnTo>
                    <a:pt x="49" y="470"/>
                  </a:lnTo>
                  <a:lnTo>
                    <a:pt x="54" y="464"/>
                  </a:lnTo>
                  <a:lnTo>
                    <a:pt x="54" y="462"/>
                  </a:lnTo>
                  <a:lnTo>
                    <a:pt x="57" y="462"/>
                  </a:lnTo>
                  <a:lnTo>
                    <a:pt x="57" y="462"/>
                  </a:lnTo>
                  <a:lnTo>
                    <a:pt x="59" y="462"/>
                  </a:lnTo>
                  <a:lnTo>
                    <a:pt x="59" y="462"/>
                  </a:lnTo>
                  <a:lnTo>
                    <a:pt x="62" y="464"/>
                  </a:lnTo>
                  <a:lnTo>
                    <a:pt x="62" y="464"/>
                  </a:lnTo>
                  <a:lnTo>
                    <a:pt x="70" y="470"/>
                  </a:lnTo>
                  <a:lnTo>
                    <a:pt x="73" y="470"/>
                  </a:lnTo>
                  <a:lnTo>
                    <a:pt x="83" y="462"/>
                  </a:lnTo>
                  <a:lnTo>
                    <a:pt x="86" y="462"/>
                  </a:lnTo>
                  <a:lnTo>
                    <a:pt x="89" y="462"/>
                  </a:lnTo>
                  <a:lnTo>
                    <a:pt x="91" y="464"/>
                  </a:lnTo>
                  <a:lnTo>
                    <a:pt x="94" y="467"/>
                  </a:lnTo>
                  <a:lnTo>
                    <a:pt x="94" y="467"/>
                  </a:lnTo>
                  <a:lnTo>
                    <a:pt x="97" y="467"/>
                  </a:lnTo>
                  <a:lnTo>
                    <a:pt x="99" y="470"/>
                  </a:lnTo>
                  <a:lnTo>
                    <a:pt x="105" y="470"/>
                  </a:lnTo>
                  <a:lnTo>
                    <a:pt x="107" y="472"/>
                  </a:lnTo>
                  <a:lnTo>
                    <a:pt x="107" y="475"/>
                  </a:lnTo>
                  <a:lnTo>
                    <a:pt x="107" y="478"/>
                  </a:lnTo>
                  <a:lnTo>
                    <a:pt x="110" y="478"/>
                  </a:lnTo>
                  <a:lnTo>
                    <a:pt x="110" y="480"/>
                  </a:lnTo>
                  <a:lnTo>
                    <a:pt x="113" y="483"/>
                  </a:lnTo>
                  <a:lnTo>
                    <a:pt x="113" y="483"/>
                  </a:lnTo>
                  <a:lnTo>
                    <a:pt x="115" y="486"/>
                  </a:lnTo>
                  <a:lnTo>
                    <a:pt x="115" y="486"/>
                  </a:lnTo>
                  <a:lnTo>
                    <a:pt x="118" y="489"/>
                  </a:lnTo>
                  <a:lnTo>
                    <a:pt x="118" y="491"/>
                  </a:lnTo>
                  <a:lnTo>
                    <a:pt x="118" y="494"/>
                  </a:lnTo>
                  <a:lnTo>
                    <a:pt x="121" y="497"/>
                  </a:lnTo>
                  <a:lnTo>
                    <a:pt x="123" y="499"/>
                  </a:lnTo>
                  <a:lnTo>
                    <a:pt x="134" y="502"/>
                  </a:lnTo>
                  <a:lnTo>
                    <a:pt x="137" y="502"/>
                  </a:lnTo>
                  <a:lnTo>
                    <a:pt x="147" y="499"/>
                  </a:lnTo>
                  <a:lnTo>
                    <a:pt x="150" y="499"/>
                  </a:lnTo>
                  <a:lnTo>
                    <a:pt x="155" y="499"/>
                  </a:lnTo>
                  <a:lnTo>
                    <a:pt x="161" y="499"/>
                  </a:lnTo>
                  <a:lnTo>
                    <a:pt x="161" y="502"/>
                  </a:lnTo>
                  <a:lnTo>
                    <a:pt x="163" y="505"/>
                  </a:lnTo>
                  <a:lnTo>
                    <a:pt x="166" y="507"/>
                  </a:lnTo>
                  <a:lnTo>
                    <a:pt x="174" y="513"/>
                  </a:lnTo>
                  <a:lnTo>
                    <a:pt x="179" y="515"/>
                  </a:lnTo>
                  <a:lnTo>
                    <a:pt x="185" y="515"/>
                  </a:lnTo>
                  <a:lnTo>
                    <a:pt x="185" y="515"/>
                  </a:lnTo>
                  <a:lnTo>
                    <a:pt x="187" y="513"/>
                  </a:lnTo>
                  <a:lnTo>
                    <a:pt x="187" y="510"/>
                  </a:lnTo>
                  <a:lnTo>
                    <a:pt x="187" y="507"/>
                  </a:lnTo>
                  <a:lnTo>
                    <a:pt x="190" y="507"/>
                  </a:lnTo>
                  <a:lnTo>
                    <a:pt x="198" y="502"/>
                  </a:lnTo>
                  <a:lnTo>
                    <a:pt x="198" y="502"/>
                  </a:lnTo>
                  <a:lnTo>
                    <a:pt x="201" y="502"/>
                  </a:lnTo>
                  <a:lnTo>
                    <a:pt x="203" y="505"/>
                  </a:lnTo>
                  <a:lnTo>
                    <a:pt x="206" y="505"/>
                  </a:lnTo>
                  <a:lnTo>
                    <a:pt x="206" y="505"/>
                  </a:lnTo>
                  <a:lnTo>
                    <a:pt x="211" y="505"/>
                  </a:lnTo>
                  <a:lnTo>
                    <a:pt x="211" y="505"/>
                  </a:lnTo>
                  <a:lnTo>
                    <a:pt x="217" y="507"/>
                  </a:lnTo>
                  <a:lnTo>
                    <a:pt x="217" y="507"/>
                  </a:lnTo>
                  <a:lnTo>
                    <a:pt x="219" y="507"/>
                  </a:lnTo>
                  <a:lnTo>
                    <a:pt x="222" y="513"/>
                  </a:lnTo>
                  <a:lnTo>
                    <a:pt x="222" y="513"/>
                  </a:lnTo>
                  <a:lnTo>
                    <a:pt x="225" y="513"/>
                  </a:lnTo>
                  <a:lnTo>
                    <a:pt x="227" y="513"/>
                  </a:lnTo>
                  <a:lnTo>
                    <a:pt x="230" y="510"/>
                  </a:lnTo>
                  <a:lnTo>
                    <a:pt x="230" y="510"/>
                  </a:lnTo>
                  <a:lnTo>
                    <a:pt x="233" y="507"/>
                  </a:lnTo>
                  <a:lnTo>
                    <a:pt x="238" y="510"/>
                  </a:lnTo>
                  <a:lnTo>
                    <a:pt x="241" y="507"/>
                  </a:lnTo>
                  <a:lnTo>
                    <a:pt x="243" y="507"/>
                  </a:lnTo>
                  <a:lnTo>
                    <a:pt x="243" y="505"/>
                  </a:lnTo>
                  <a:lnTo>
                    <a:pt x="243" y="502"/>
                  </a:lnTo>
                  <a:lnTo>
                    <a:pt x="243" y="502"/>
                  </a:lnTo>
                  <a:lnTo>
                    <a:pt x="246" y="499"/>
                  </a:lnTo>
                  <a:lnTo>
                    <a:pt x="249" y="499"/>
                  </a:lnTo>
                  <a:lnTo>
                    <a:pt x="249" y="497"/>
                  </a:lnTo>
                  <a:lnTo>
                    <a:pt x="251" y="494"/>
                  </a:lnTo>
                  <a:lnTo>
                    <a:pt x="251" y="494"/>
                  </a:lnTo>
                  <a:lnTo>
                    <a:pt x="254" y="491"/>
                  </a:lnTo>
                  <a:lnTo>
                    <a:pt x="257" y="491"/>
                  </a:lnTo>
                  <a:lnTo>
                    <a:pt x="262" y="486"/>
                  </a:lnTo>
                  <a:lnTo>
                    <a:pt x="265" y="486"/>
                  </a:lnTo>
                  <a:lnTo>
                    <a:pt x="267" y="486"/>
                  </a:lnTo>
                  <a:lnTo>
                    <a:pt x="267" y="489"/>
                  </a:lnTo>
                  <a:lnTo>
                    <a:pt x="267" y="491"/>
                  </a:lnTo>
                  <a:lnTo>
                    <a:pt x="270" y="494"/>
                  </a:lnTo>
                  <a:lnTo>
                    <a:pt x="273" y="502"/>
                  </a:lnTo>
                  <a:lnTo>
                    <a:pt x="278" y="507"/>
                  </a:lnTo>
                  <a:lnTo>
                    <a:pt x="283" y="510"/>
                  </a:lnTo>
                  <a:lnTo>
                    <a:pt x="289" y="510"/>
                  </a:lnTo>
                  <a:lnTo>
                    <a:pt x="291" y="513"/>
                  </a:lnTo>
                  <a:lnTo>
                    <a:pt x="302" y="518"/>
                  </a:lnTo>
                  <a:lnTo>
                    <a:pt x="302" y="521"/>
                  </a:lnTo>
                  <a:lnTo>
                    <a:pt x="305" y="526"/>
                  </a:lnTo>
                  <a:lnTo>
                    <a:pt x="307" y="526"/>
                  </a:lnTo>
                  <a:lnTo>
                    <a:pt x="307" y="526"/>
                  </a:lnTo>
                  <a:lnTo>
                    <a:pt x="310" y="529"/>
                  </a:lnTo>
                  <a:lnTo>
                    <a:pt x="315" y="526"/>
                  </a:lnTo>
                  <a:lnTo>
                    <a:pt x="323" y="521"/>
                  </a:lnTo>
                  <a:lnTo>
                    <a:pt x="331" y="521"/>
                  </a:lnTo>
                  <a:lnTo>
                    <a:pt x="334" y="518"/>
                  </a:lnTo>
                  <a:lnTo>
                    <a:pt x="337" y="515"/>
                  </a:lnTo>
                  <a:lnTo>
                    <a:pt x="337" y="513"/>
                  </a:lnTo>
                  <a:lnTo>
                    <a:pt x="337" y="499"/>
                  </a:lnTo>
                  <a:lnTo>
                    <a:pt x="337" y="497"/>
                  </a:lnTo>
                  <a:lnTo>
                    <a:pt x="339" y="497"/>
                  </a:lnTo>
                  <a:lnTo>
                    <a:pt x="345" y="497"/>
                  </a:lnTo>
                  <a:lnTo>
                    <a:pt x="347" y="494"/>
                  </a:lnTo>
                  <a:lnTo>
                    <a:pt x="347" y="491"/>
                  </a:lnTo>
                  <a:lnTo>
                    <a:pt x="347" y="491"/>
                  </a:lnTo>
                  <a:lnTo>
                    <a:pt x="347" y="489"/>
                  </a:lnTo>
                  <a:lnTo>
                    <a:pt x="347" y="489"/>
                  </a:lnTo>
                  <a:lnTo>
                    <a:pt x="345" y="486"/>
                  </a:lnTo>
                  <a:lnTo>
                    <a:pt x="345" y="483"/>
                  </a:lnTo>
                  <a:lnTo>
                    <a:pt x="345" y="480"/>
                  </a:lnTo>
                  <a:lnTo>
                    <a:pt x="345" y="478"/>
                  </a:lnTo>
                  <a:lnTo>
                    <a:pt x="342" y="475"/>
                  </a:lnTo>
                  <a:lnTo>
                    <a:pt x="342" y="475"/>
                  </a:lnTo>
                  <a:lnTo>
                    <a:pt x="339" y="472"/>
                  </a:lnTo>
                  <a:lnTo>
                    <a:pt x="339" y="470"/>
                  </a:lnTo>
                  <a:lnTo>
                    <a:pt x="342" y="467"/>
                  </a:lnTo>
                  <a:lnTo>
                    <a:pt x="345" y="464"/>
                  </a:lnTo>
                  <a:lnTo>
                    <a:pt x="345" y="462"/>
                  </a:lnTo>
                  <a:lnTo>
                    <a:pt x="345" y="459"/>
                  </a:lnTo>
                  <a:lnTo>
                    <a:pt x="345" y="456"/>
                  </a:lnTo>
                  <a:lnTo>
                    <a:pt x="345" y="451"/>
                  </a:lnTo>
                  <a:lnTo>
                    <a:pt x="347" y="448"/>
                  </a:lnTo>
                  <a:lnTo>
                    <a:pt x="350" y="440"/>
                  </a:lnTo>
                  <a:lnTo>
                    <a:pt x="353" y="435"/>
                  </a:lnTo>
                  <a:lnTo>
                    <a:pt x="355" y="432"/>
                  </a:lnTo>
                  <a:lnTo>
                    <a:pt x="358" y="432"/>
                  </a:lnTo>
                  <a:lnTo>
                    <a:pt x="361" y="432"/>
                  </a:lnTo>
                  <a:lnTo>
                    <a:pt x="361" y="435"/>
                  </a:lnTo>
                  <a:lnTo>
                    <a:pt x="366" y="435"/>
                  </a:lnTo>
                  <a:lnTo>
                    <a:pt x="366" y="438"/>
                  </a:lnTo>
                  <a:lnTo>
                    <a:pt x="369" y="440"/>
                  </a:lnTo>
                  <a:lnTo>
                    <a:pt x="369" y="440"/>
                  </a:lnTo>
                  <a:lnTo>
                    <a:pt x="369" y="443"/>
                  </a:lnTo>
                  <a:lnTo>
                    <a:pt x="371" y="443"/>
                  </a:lnTo>
                  <a:lnTo>
                    <a:pt x="371" y="443"/>
                  </a:lnTo>
                  <a:lnTo>
                    <a:pt x="371" y="443"/>
                  </a:lnTo>
                  <a:lnTo>
                    <a:pt x="369" y="446"/>
                  </a:lnTo>
                  <a:lnTo>
                    <a:pt x="369" y="446"/>
                  </a:lnTo>
                  <a:lnTo>
                    <a:pt x="369" y="446"/>
                  </a:lnTo>
                  <a:lnTo>
                    <a:pt x="369" y="448"/>
                  </a:lnTo>
                  <a:lnTo>
                    <a:pt x="369" y="448"/>
                  </a:lnTo>
                  <a:lnTo>
                    <a:pt x="369" y="448"/>
                  </a:lnTo>
                  <a:lnTo>
                    <a:pt x="369" y="451"/>
                  </a:lnTo>
                  <a:lnTo>
                    <a:pt x="371" y="451"/>
                  </a:lnTo>
                  <a:lnTo>
                    <a:pt x="374" y="448"/>
                  </a:lnTo>
                  <a:lnTo>
                    <a:pt x="377" y="446"/>
                  </a:lnTo>
                  <a:lnTo>
                    <a:pt x="377" y="446"/>
                  </a:lnTo>
                  <a:lnTo>
                    <a:pt x="377" y="440"/>
                  </a:lnTo>
                  <a:lnTo>
                    <a:pt x="377" y="440"/>
                  </a:lnTo>
                  <a:lnTo>
                    <a:pt x="379" y="438"/>
                  </a:lnTo>
                  <a:lnTo>
                    <a:pt x="379" y="438"/>
                  </a:lnTo>
                  <a:lnTo>
                    <a:pt x="382" y="440"/>
                  </a:lnTo>
                  <a:lnTo>
                    <a:pt x="382" y="440"/>
                  </a:lnTo>
                  <a:lnTo>
                    <a:pt x="385" y="440"/>
                  </a:lnTo>
                  <a:lnTo>
                    <a:pt x="385" y="438"/>
                  </a:lnTo>
                  <a:lnTo>
                    <a:pt x="385" y="438"/>
                  </a:lnTo>
                  <a:lnTo>
                    <a:pt x="382" y="435"/>
                  </a:lnTo>
                  <a:lnTo>
                    <a:pt x="382" y="430"/>
                  </a:lnTo>
                  <a:lnTo>
                    <a:pt x="382" y="427"/>
                  </a:lnTo>
                  <a:lnTo>
                    <a:pt x="379" y="427"/>
                  </a:lnTo>
                  <a:lnTo>
                    <a:pt x="379" y="427"/>
                  </a:lnTo>
                  <a:lnTo>
                    <a:pt x="379" y="424"/>
                  </a:lnTo>
                  <a:lnTo>
                    <a:pt x="377" y="424"/>
                  </a:lnTo>
                  <a:lnTo>
                    <a:pt x="377" y="424"/>
                  </a:lnTo>
                  <a:lnTo>
                    <a:pt x="377" y="422"/>
                  </a:lnTo>
                  <a:lnTo>
                    <a:pt x="377" y="422"/>
                  </a:lnTo>
                  <a:lnTo>
                    <a:pt x="377" y="422"/>
                  </a:lnTo>
                  <a:lnTo>
                    <a:pt x="382" y="419"/>
                  </a:lnTo>
                  <a:lnTo>
                    <a:pt x="382" y="416"/>
                  </a:lnTo>
                  <a:lnTo>
                    <a:pt x="382" y="414"/>
                  </a:lnTo>
                  <a:lnTo>
                    <a:pt x="382" y="408"/>
                  </a:lnTo>
                  <a:lnTo>
                    <a:pt x="382" y="406"/>
                  </a:lnTo>
                  <a:lnTo>
                    <a:pt x="382" y="406"/>
                  </a:lnTo>
                  <a:lnTo>
                    <a:pt x="385" y="398"/>
                  </a:lnTo>
                  <a:lnTo>
                    <a:pt x="387" y="392"/>
                  </a:lnTo>
                  <a:lnTo>
                    <a:pt x="387" y="392"/>
                  </a:lnTo>
                  <a:lnTo>
                    <a:pt x="390" y="392"/>
                  </a:lnTo>
                  <a:lnTo>
                    <a:pt x="393" y="390"/>
                  </a:lnTo>
                  <a:lnTo>
                    <a:pt x="395" y="390"/>
                  </a:lnTo>
                  <a:lnTo>
                    <a:pt x="395" y="390"/>
                  </a:lnTo>
                  <a:lnTo>
                    <a:pt x="395" y="390"/>
                  </a:lnTo>
                  <a:lnTo>
                    <a:pt x="395" y="390"/>
                  </a:lnTo>
                  <a:lnTo>
                    <a:pt x="398" y="390"/>
                  </a:lnTo>
                  <a:lnTo>
                    <a:pt x="398" y="387"/>
                  </a:lnTo>
                  <a:lnTo>
                    <a:pt x="398" y="382"/>
                  </a:lnTo>
                  <a:lnTo>
                    <a:pt x="398" y="379"/>
                  </a:lnTo>
                  <a:lnTo>
                    <a:pt x="406" y="371"/>
                  </a:lnTo>
                  <a:lnTo>
                    <a:pt x="406" y="371"/>
                  </a:lnTo>
                  <a:lnTo>
                    <a:pt x="411" y="368"/>
                  </a:lnTo>
                  <a:lnTo>
                    <a:pt x="414" y="371"/>
                  </a:lnTo>
                  <a:lnTo>
                    <a:pt x="414" y="374"/>
                  </a:lnTo>
                  <a:lnTo>
                    <a:pt x="417" y="374"/>
                  </a:lnTo>
                  <a:lnTo>
                    <a:pt x="419" y="376"/>
                  </a:lnTo>
                  <a:lnTo>
                    <a:pt x="422" y="376"/>
                  </a:lnTo>
                  <a:lnTo>
                    <a:pt x="425" y="371"/>
                  </a:lnTo>
                  <a:lnTo>
                    <a:pt x="427" y="371"/>
                  </a:lnTo>
                  <a:lnTo>
                    <a:pt x="430" y="368"/>
                  </a:lnTo>
                  <a:lnTo>
                    <a:pt x="430" y="368"/>
                  </a:lnTo>
                  <a:lnTo>
                    <a:pt x="433" y="366"/>
                  </a:lnTo>
                  <a:lnTo>
                    <a:pt x="435" y="366"/>
                  </a:lnTo>
                  <a:lnTo>
                    <a:pt x="438" y="360"/>
                  </a:lnTo>
                  <a:lnTo>
                    <a:pt x="438" y="360"/>
                  </a:lnTo>
                  <a:lnTo>
                    <a:pt x="443" y="358"/>
                  </a:lnTo>
                  <a:lnTo>
                    <a:pt x="443" y="355"/>
                  </a:lnTo>
                  <a:lnTo>
                    <a:pt x="446" y="350"/>
                  </a:lnTo>
                  <a:lnTo>
                    <a:pt x="449" y="344"/>
                  </a:lnTo>
                  <a:lnTo>
                    <a:pt x="459" y="334"/>
                  </a:lnTo>
                  <a:lnTo>
                    <a:pt x="465" y="328"/>
                  </a:lnTo>
                  <a:lnTo>
                    <a:pt x="465" y="328"/>
                  </a:lnTo>
                  <a:lnTo>
                    <a:pt x="467" y="323"/>
                  </a:lnTo>
                  <a:lnTo>
                    <a:pt x="467" y="323"/>
                  </a:lnTo>
                  <a:lnTo>
                    <a:pt x="465" y="320"/>
                  </a:lnTo>
                  <a:lnTo>
                    <a:pt x="465" y="320"/>
                  </a:lnTo>
                  <a:lnTo>
                    <a:pt x="465" y="320"/>
                  </a:lnTo>
                  <a:lnTo>
                    <a:pt x="467" y="318"/>
                  </a:lnTo>
                  <a:lnTo>
                    <a:pt x="467" y="315"/>
                  </a:lnTo>
                  <a:lnTo>
                    <a:pt x="467" y="312"/>
                  </a:lnTo>
                  <a:lnTo>
                    <a:pt x="465" y="312"/>
                  </a:lnTo>
                  <a:lnTo>
                    <a:pt x="465" y="310"/>
                  </a:lnTo>
                  <a:lnTo>
                    <a:pt x="462" y="310"/>
                  </a:lnTo>
                  <a:lnTo>
                    <a:pt x="462" y="307"/>
                  </a:lnTo>
                  <a:lnTo>
                    <a:pt x="465" y="307"/>
                  </a:lnTo>
                  <a:lnTo>
                    <a:pt x="465" y="304"/>
                  </a:lnTo>
                  <a:lnTo>
                    <a:pt x="465" y="301"/>
                  </a:lnTo>
                  <a:lnTo>
                    <a:pt x="465" y="299"/>
                  </a:lnTo>
                  <a:lnTo>
                    <a:pt x="467" y="299"/>
                  </a:lnTo>
                  <a:lnTo>
                    <a:pt x="467" y="296"/>
                  </a:lnTo>
                  <a:lnTo>
                    <a:pt x="467" y="293"/>
                  </a:lnTo>
                  <a:lnTo>
                    <a:pt x="467" y="293"/>
                  </a:lnTo>
                  <a:lnTo>
                    <a:pt x="467" y="291"/>
                  </a:lnTo>
                  <a:lnTo>
                    <a:pt x="467" y="291"/>
                  </a:lnTo>
                  <a:lnTo>
                    <a:pt x="467" y="288"/>
                  </a:lnTo>
                  <a:lnTo>
                    <a:pt x="467" y="285"/>
                  </a:lnTo>
                  <a:lnTo>
                    <a:pt x="467" y="285"/>
                  </a:lnTo>
                  <a:lnTo>
                    <a:pt x="470" y="288"/>
                  </a:lnTo>
                  <a:lnTo>
                    <a:pt x="470" y="285"/>
                  </a:lnTo>
                  <a:lnTo>
                    <a:pt x="470" y="285"/>
                  </a:lnTo>
                  <a:lnTo>
                    <a:pt x="470" y="283"/>
                  </a:lnTo>
                  <a:lnTo>
                    <a:pt x="470" y="283"/>
                  </a:lnTo>
                  <a:lnTo>
                    <a:pt x="470" y="283"/>
                  </a:lnTo>
                  <a:lnTo>
                    <a:pt x="470" y="280"/>
                  </a:lnTo>
                  <a:lnTo>
                    <a:pt x="470" y="277"/>
                  </a:lnTo>
                  <a:lnTo>
                    <a:pt x="470" y="275"/>
                  </a:lnTo>
                  <a:lnTo>
                    <a:pt x="470" y="272"/>
                  </a:lnTo>
                  <a:lnTo>
                    <a:pt x="470" y="267"/>
                  </a:lnTo>
                  <a:lnTo>
                    <a:pt x="470" y="264"/>
                  </a:lnTo>
                  <a:lnTo>
                    <a:pt x="470" y="261"/>
                  </a:lnTo>
                  <a:lnTo>
                    <a:pt x="473" y="256"/>
                  </a:lnTo>
                  <a:lnTo>
                    <a:pt x="473" y="253"/>
                  </a:lnTo>
                  <a:lnTo>
                    <a:pt x="473" y="248"/>
                  </a:lnTo>
                  <a:lnTo>
                    <a:pt x="473" y="245"/>
                  </a:lnTo>
                  <a:lnTo>
                    <a:pt x="473" y="237"/>
                  </a:lnTo>
                  <a:lnTo>
                    <a:pt x="475" y="237"/>
                  </a:lnTo>
                  <a:lnTo>
                    <a:pt x="478" y="235"/>
                  </a:lnTo>
                  <a:lnTo>
                    <a:pt x="478" y="235"/>
                  </a:lnTo>
                  <a:lnTo>
                    <a:pt x="478" y="229"/>
                  </a:lnTo>
                  <a:lnTo>
                    <a:pt x="478" y="229"/>
                  </a:lnTo>
                  <a:lnTo>
                    <a:pt x="478" y="227"/>
                  </a:lnTo>
                  <a:lnTo>
                    <a:pt x="475" y="224"/>
                  </a:lnTo>
                  <a:lnTo>
                    <a:pt x="475" y="221"/>
                  </a:lnTo>
                  <a:lnTo>
                    <a:pt x="475" y="221"/>
                  </a:lnTo>
                  <a:lnTo>
                    <a:pt x="475" y="221"/>
                  </a:lnTo>
                  <a:lnTo>
                    <a:pt x="475" y="221"/>
                  </a:lnTo>
                  <a:lnTo>
                    <a:pt x="475" y="219"/>
                  </a:lnTo>
                  <a:lnTo>
                    <a:pt x="475" y="219"/>
                  </a:lnTo>
                  <a:lnTo>
                    <a:pt x="473" y="219"/>
                  </a:lnTo>
                  <a:lnTo>
                    <a:pt x="473" y="216"/>
                  </a:lnTo>
                  <a:lnTo>
                    <a:pt x="475" y="211"/>
                  </a:lnTo>
                  <a:lnTo>
                    <a:pt x="475" y="208"/>
                  </a:lnTo>
                  <a:lnTo>
                    <a:pt x="473" y="205"/>
                  </a:lnTo>
                  <a:lnTo>
                    <a:pt x="473" y="203"/>
                  </a:lnTo>
                  <a:lnTo>
                    <a:pt x="470" y="200"/>
                  </a:lnTo>
                  <a:lnTo>
                    <a:pt x="465" y="195"/>
                  </a:lnTo>
                  <a:lnTo>
                    <a:pt x="465" y="192"/>
                  </a:lnTo>
                  <a:lnTo>
                    <a:pt x="465" y="189"/>
                  </a:lnTo>
                  <a:lnTo>
                    <a:pt x="467" y="189"/>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24" name="Freeform 21">
              <a:extLst>
                <a:ext uri="{FF2B5EF4-FFF2-40B4-BE49-F238E27FC236}">
                  <a16:creationId xmlns="" xmlns:a16="http://schemas.microsoft.com/office/drawing/2014/main" id="{8DF1FF86-4D07-4E81-96D8-7582F6BAF278}"/>
                </a:ext>
              </a:extLst>
            </p:cNvPr>
            <p:cNvSpPr>
              <a:spLocks/>
            </p:cNvSpPr>
            <p:nvPr/>
          </p:nvSpPr>
          <p:spPr bwMode="auto">
            <a:xfrm>
              <a:off x="1449" y="1042"/>
              <a:ext cx="702" cy="1055"/>
            </a:xfrm>
            <a:custGeom>
              <a:avLst/>
              <a:gdLst>
                <a:gd name="T0" fmla="*/ 590 w 702"/>
                <a:gd name="T1" fmla="*/ 914 h 1055"/>
                <a:gd name="T2" fmla="*/ 577 w 702"/>
                <a:gd name="T3" fmla="*/ 922 h 1055"/>
                <a:gd name="T4" fmla="*/ 568 w 702"/>
                <a:gd name="T5" fmla="*/ 914 h 1055"/>
                <a:gd name="T6" fmla="*/ 566 w 702"/>
                <a:gd name="T7" fmla="*/ 903 h 1055"/>
                <a:gd name="T8" fmla="*/ 560 w 702"/>
                <a:gd name="T9" fmla="*/ 900 h 1055"/>
                <a:gd name="T10" fmla="*/ 555 w 702"/>
                <a:gd name="T11" fmla="*/ 903 h 1055"/>
                <a:gd name="T12" fmla="*/ 552 w 702"/>
                <a:gd name="T13" fmla="*/ 903 h 1055"/>
                <a:gd name="T14" fmla="*/ 550 w 702"/>
                <a:gd name="T15" fmla="*/ 900 h 1055"/>
                <a:gd name="T16" fmla="*/ 542 w 702"/>
                <a:gd name="T17" fmla="*/ 898 h 1055"/>
                <a:gd name="T18" fmla="*/ 523 w 702"/>
                <a:gd name="T19" fmla="*/ 900 h 1055"/>
                <a:gd name="T20" fmla="*/ 520 w 702"/>
                <a:gd name="T21" fmla="*/ 903 h 1055"/>
                <a:gd name="T22" fmla="*/ 520 w 702"/>
                <a:gd name="T23" fmla="*/ 911 h 1055"/>
                <a:gd name="T24" fmla="*/ 518 w 702"/>
                <a:gd name="T25" fmla="*/ 922 h 1055"/>
                <a:gd name="T26" fmla="*/ 523 w 702"/>
                <a:gd name="T27" fmla="*/ 935 h 1055"/>
                <a:gd name="T28" fmla="*/ 518 w 702"/>
                <a:gd name="T29" fmla="*/ 948 h 1055"/>
                <a:gd name="T30" fmla="*/ 520 w 702"/>
                <a:gd name="T31" fmla="*/ 970 h 1055"/>
                <a:gd name="T32" fmla="*/ 518 w 702"/>
                <a:gd name="T33" fmla="*/ 991 h 1055"/>
                <a:gd name="T34" fmla="*/ 523 w 702"/>
                <a:gd name="T35" fmla="*/ 1012 h 1055"/>
                <a:gd name="T36" fmla="*/ 520 w 702"/>
                <a:gd name="T37" fmla="*/ 1031 h 1055"/>
                <a:gd name="T38" fmla="*/ 515 w 702"/>
                <a:gd name="T39" fmla="*/ 1037 h 1055"/>
                <a:gd name="T40" fmla="*/ 512 w 702"/>
                <a:gd name="T41" fmla="*/ 1042 h 1055"/>
                <a:gd name="T42" fmla="*/ 512 w 702"/>
                <a:gd name="T43" fmla="*/ 1050 h 1055"/>
                <a:gd name="T44" fmla="*/ 494 w 702"/>
                <a:gd name="T45" fmla="*/ 1034 h 1055"/>
                <a:gd name="T46" fmla="*/ 422 w 702"/>
                <a:gd name="T47" fmla="*/ 946 h 1055"/>
                <a:gd name="T48" fmla="*/ 360 w 702"/>
                <a:gd name="T49" fmla="*/ 863 h 1055"/>
                <a:gd name="T50" fmla="*/ 296 w 702"/>
                <a:gd name="T51" fmla="*/ 780 h 1055"/>
                <a:gd name="T52" fmla="*/ 224 w 702"/>
                <a:gd name="T53" fmla="*/ 692 h 1055"/>
                <a:gd name="T54" fmla="*/ 152 w 702"/>
                <a:gd name="T55" fmla="*/ 598 h 1055"/>
                <a:gd name="T56" fmla="*/ 64 w 702"/>
                <a:gd name="T57" fmla="*/ 491 h 1055"/>
                <a:gd name="T58" fmla="*/ 0 w 702"/>
                <a:gd name="T59" fmla="*/ 406 h 1055"/>
                <a:gd name="T60" fmla="*/ 16 w 702"/>
                <a:gd name="T61" fmla="*/ 323 h 1055"/>
                <a:gd name="T62" fmla="*/ 32 w 702"/>
                <a:gd name="T63" fmla="*/ 224 h 1055"/>
                <a:gd name="T64" fmla="*/ 51 w 702"/>
                <a:gd name="T65" fmla="*/ 123 h 1055"/>
                <a:gd name="T66" fmla="*/ 70 w 702"/>
                <a:gd name="T67" fmla="*/ 24 h 1055"/>
                <a:gd name="T68" fmla="*/ 134 w 702"/>
                <a:gd name="T69" fmla="*/ 11 h 1055"/>
                <a:gd name="T70" fmla="*/ 211 w 702"/>
                <a:gd name="T71" fmla="*/ 24 h 1055"/>
                <a:gd name="T72" fmla="*/ 291 w 702"/>
                <a:gd name="T73" fmla="*/ 37 h 1055"/>
                <a:gd name="T74" fmla="*/ 368 w 702"/>
                <a:gd name="T75" fmla="*/ 48 h 1055"/>
                <a:gd name="T76" fmla="*/ 448 w 702"/>
                <a:gd name="T77" fmla="*/ 61 h 1055"/>
                <a:gd name="T78" fmla="*/ 526 w 702"/>
                <a:gd name="T79" fmla="*/ 72 h 1055"/>
                <a:gd name="T80" fmla="*/ 603 w 702"/>
                <a:gd name="T81" fmla="*/ 83 h 1055"/>
                <a:gd name="T82" fmla="*/ 683 w 702"/>
                <a:gd name="T83" fmla="*/ 93 h 1055"/>
                <a:gd name="T84" fmla="*/ 694 w 702"/>
                <a:gd name="T85" fmla="*/ 160 h 1055"/>
                <a:gd name="T86" fmla="*/ 683 w 702"/>
                <a:gd name="T87" fmla="*/ 246 h 1055"/>
                <a:gd name="T88" fmla="*/ 673 w 702"/>
                <a:gd name="T89" fmla="*/ 334 h 1055"/>
                <a:gd name="T90" fmla="*/ 662 w 702"/>
                <a:gd name="T91" fmla="*/ 419 h 1055"/>
                <a:gd name="T92" fmla="*/ 651 w 702"/>
                <a:gd name="T93" fmla="*/ 505 h 1055"/>
                <a:gd name="T94" fmla="*/ 641 w 702"/>
                <a:gd name="T95" fmla="*/ 593 h 1055"/>
                <a:gd name="T96" fmla="*/ 630 w 702"/>
                <a:gd name="T97" fmla="*/ 679 h 1055"/>
                <a:gd name="T98" fmla="*/ 617 w 702"/>
                <a:gd name="T99" fmla="*/ 764 h 1055"/>
                <a:gd name="T100" fmla="*/ 614 w 702"/>
                <a:gd name="T101" fmla="*/ 796 h 1055"/>
                <a:gd name="T102" fmla="*/ 609 w 702"/>
                <a:gd name="T103" fmla="*/ 828 h 1055"/>
                <a:gd name="T104" fmla="*/ 606 w 702"/>
                <a:gd name="T105" fmla="*/ 866 h 1055"/>
                <a:gd name="T106" fmla="*/ 601 w 702"/>
                <a:gd name="T107" fmla="*/ 890 h 1055"/>
                <a:gd name="T108" fmla="*/ 601 w 702"/>
                <a:gd name="T109" fmla="*/ 898 h 1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 h="1055">
                  <a:moveTo>
                    <a:pt x="598" y="900"/>
                  </a:moveTo>
                  <a:lnTo>
                    <a:pt x="595" y="903"/>
                  </a:lnTo>
                  <a:lnTo>
                    <a:pt x="593" y="908"/>
                  </a:lnTo>
                  <a:lnTo>
                    <a:pt x="590" y="914"/>
                  </a:lnTo>
                  <a:lnTo>
                    <a:pt x="587" y="919"/>
                  </a:lnTo>
                  <a:lnTo>
                    <a:pt x="585" y="922"/>
                  </a:lnTo>
                  <a:lnTo>
                    <a:pt x="579" y="922"/>
                  </a:lnTo>
                  <a:lnTo>
                    <a:pt x="577" y="922"/>
                  </a:lnTo>
                  <a:lnTo>
                    <a:pt x="574" y="919"/>
                  </a:lnTo>
                  <a:lnTo>
                    <a:pt x="571" y="916"/>
                  </a:lnTo>
                  <a:lnTo>
                    <a:pt x="571" y="914"/>
                  </a:lnTo>
                  <a:lnTo>
                    <a:pt x="568" y="914"/>
                  </a:lnTo>
                  <a:lnTo>
                    <a:pt x="568" y="906"/>
                  </a:lnTo>
                  <a:lnTo>
                    <a:pt x="566" y="906"/>
                  </a:lnTo>
                  <a:lnTo>
                    <a:pt x="566" y="903"/>
                  </a:lnTo>
                  <a:lnTo>
                    <a:pt x="566" y="903"/>
                  </a:lnTo>
                  <a:lnTo>
                    <a:pt x="563" y="903"/>
                  </a:lnTo>
                  <a:lnTo>
                    <a:pt x="563" y="900"/>
                  </a:lnTo>
                  <a:lnTo>
                    <a:pt x="563" y="900"/>
                  </a:lnTo>
                  <a:lnTo>
                    <a:pt x="560" y="900"/>
                  </a:lnTo>
                  <a:lnTo>
                    <a:pt x="560" y="900"/>
                  </a:lnTo>
                  <a:lnTo>
                    <a:pt x="560" y="900"/>
                  </a:lnTo>
                  <a:lnTo>
                    <a:pt x="560" y="900"/>
                  </a:lnTo>
                  <a:lnTo>
                    <a:pt x="555" y="903"/>
                  </a:lnTo>
                  <a:lnTo>
                    <a:pt x="555" y="903"/>
                  </a:lnTo>
                  <a:lnTo>
                    <a:pt x="555" y="903"/>
                  </a:lnTo>
                  <a:lnTo>
                    <a:pt x="552" y="903"/>
                  </a:lnTo>
                  <a:lnTo>
                    <a:pt x="552" y="903"/>
                  </a:lnTo>
                  <a:lnTo>
                    <a:pt x="552" y="903"/>
                  </a:lnTo>
                  <a:lnTo>
                    <a:pt x="550" y="900"/>
                  </a:lnTo>
                  <a:lnTo>
                    <a:pt x="550" y="900"/>
                  </a:lnTo>
                  <a:lnTo>
                    <a:pt x="550" y="900"/>
                  </a:lnTo>
                  <a:lnTo>
                    <a:pt x="550" y="900"/>
                  </a:lnTo>
                  <a:lnTo>
                    <a:pt x="542" y="898"/>
                  </a:lnTo>
                  <a:lnTo>
                    <a:pt x="542" y="898"/>
                  </a:lnTo>
                  <a:lnTo>
                    <a:pt x="542" y="898"/>
                  </a:lnTo>
                  <a:lnTo>
                    <a:pt x="539" y="898"/>
                  </a:lnTo>
                  <a:lnTo>
                    <a:pt x="531" y="898"/>
                  </a:lnTo>
                  <a:lnTo>
                    <a:pt x="528" y="900"/>
                  </a:lnTo>
                  <a:lnTo>
                    <a:pt x="523" y="900"/>
                  </a:lnTo>
                  <a:lnTo>
                    <a:pt x="523" y="900"/>
                  </a:lnTo>
                  <a:lnTo>
                    <a:pt x="523" y="903"/>
                  </a:lnTo>
                  <a:lnTo>
                    <a:pt x="523" y="903"/>
                  </a:lnTo>
                  <a:lnTo>
                    <a:pt x="520" y="903"/>
                  </a:lnTo>
                  <a:lnTo>
                    <a:pt x="520" y="906"/>
                  </a:lnTo>
                  <a:lnTo>
                    <a:pt x="520" y="906"/>
                  </a:lnTo>
                  <a:lnTo>
                    <a:pt x="520" y="908"/>
                  </a:lnTo>
                  <a:lnTo>
                    <a:pt x="520" y="911"/>
                  </a:lnTo>
                  <a:lnTo>
                    <a:pt x="520" y="914"/>
                  </a:lnTo>
                  <a:lnTo>
                    <a:pt x="518" y="914"/>
                  </a:lnTo>
                  <a:lnTo>
                    <a:pt x="518" y="919"/>
                  </a:lnTo>
                  <a:lnTo>
                    <a:pt x="518" y="922"/>
                  </a:lnTo>
                  <a:lnTo>
                    <a:pt x="520" y="924"/>
                  </a:lnTo>
                  <a:lnTo>
                    <a:pt x="523" y="932"/>
                  </a:lnTo>
                  <a:lnTo>
                    <a:pt x="523" y="932"/>
                  </a:lnTo>
                  <a:lnTo>
                    <a:pt x="523" y="935"/>
                  </a:lnTo>
                  <a:lnTo>
                    <a:pt x="523" y="935"/>
                  </a:lnTo>
                  <a:lnTo>
                    <a:pt x="520" y="940"/>
                  </a:lnTo>
                  <a:lnTo>
                    <a:pt x="520" y="940"/>
                  </a:lnTo>
                  <a:lnTo>
                    <a:pt x="518" y="948"/>
                  </a:lnTo>
                  <a:lnTo>
                    <a:pt x="518" y="954"/>
                  </a:lnTo>
                  <a:lnTo>
                    <a:pt x="518" y="956"/>
                  </a:lnTo>
                  <a:lnTo>
                    <a:pt x="520" y="967"/>
                  </a:lnTo>
                  <a:lnTo>
                    <a:pt x="520" y="970"/>
                  </a:lnTo>
                  <a:lnTo>
                    <a:pt x="520" y="972"/>
                  </a:lnTo>
                  <a:lnTo>
                    <a:pt x="520" y="978"/>
                  </a:lnTo>
                  <a:lnTo>
                    <a:pt x="518" y="986"/>
                  </a:lnTo>
                  <a:lnTo>
                    <a:pt x="518" y="991"/>
                  </a:lnTo>
                  <a:lnTo>
                    <a:pt x="520" y="996"/>
                  </a:lnTo>
                  <a:lnTo>
                    <a:pt x="523" y="1004"/>
                  </a:lnTo>
                  <a:lnTo>
                    <a:pt x="523" y="1007"/>
                  </a:lnTo>
                  <a:lnTo>
                    <a:pt x="523" y="1012"/>
                  </a:lnTo>
                  <a:lnTo>
                    <a:pt x="520" y="1015"/>
                  </a:lnTo>
                  <a:lnTo>
                    <a:pt x="523" y="1023"/>
                  </a:lnTo>
                  <a:lnTo>
                    <a:pt x="523" y="1029"/>
                  </a:lnTo>
                  <a:lnTo>
                    <a:pt x="520" y="1031"/>
                  </a:lnTo>
                  <a:lnTo>
                    <a:pt x="520" y="1037"/>
                  </a:lnTo>
                  <a:lnTo>
                    <a:pt x="520" y="1037"/>
                  </a:lnTo>
                  <a:lnTo>
                    <a:pt x="518" y="1037"/>
                  </a:lnTo>
                  <a:lnTo>
                    <a:pt x="515" y="1037"/>
                  </a:lnTo>
                  <a:lnTo>
                    <a:pt x="515" y="1037"/>
                  </a:lnTo>
                  <a:lnTo>
                    <a:pt x="512" y="1037"/>
                  </a:lnTo>
                  <a:lnTo>
                    <a:pt x="512" y="1039"/>
                  </a:lnTo>
                  <a:lnTo>
                    <a:pt x="512" y="1042"/>
                  </a:lnTo>
                  <a:lnTo>
                    <a:pt x="515" y="1045"/>
                  </a:lnTo>
                  <a:lnTo>
                    <a:pt x="515" y="1045"/>
                  </a:lnTo>
                  <a:lnTo>
                    <a:pt x="515" y="1047"/>
                  </a:lnTo>
                  <a:lnTo>
                    <a:pt x="512" y="1050"/>
                  </a:lnTo>
                  <a:lnTo>
                    <a:pt x="512" y="1055"/>
                  </a:lnTo>
                  <a:lnTo>
                    <a:pt x="512" y="1055"/>
                  </a:lnTo>
                  <a:lnTo>
                    <a:pt x="512" y="1055"/>
                  </a:lnTo>
                  <a:lnTo>
                    <a:pt x="494" y="1034"/>
                  </a:lnTo>
                  <a:lnTo>
                    <a:pt x="475" y="1010"/>
                  </a:lnTo>
                  <a:lnTo>
                    <a:pt x="456" y="988"/>
                  </a:lnTo>
                  <a:lnTo>
                    <a:pt x="438" y="964"/>
                  </a:lnTo>
                  <a:lnTo>
                    <a:pt x="422" y="946"/>
                  </a:lnTo>
                  <a:lnTo>
                    <a:pt x="406" y="924"/>
                  </a:lnTo>
                  <a:lnTo>
                    <a:pt x="390" y="906"/>
                  </a:lnTo>
                  <a:lnTo>
                    <a:pt x="374" y="884"/>
                  </a:lnTo>
                  <a:lnTo>
                    <a:pt x="360" y="863"/>
                  </a:lnTo>
                  <a:lnTo>
                    <a:pt x="344" y="844"/>
                  </a:lnTo>
                  <a:lnTo>
                    <a:pt x="328" y="823"/>
                  </a:lnTo>
                  <a:lnTo>
                    <a:pt x="312" y="804"/>
                  </a:lnTo>
                  <a:lnTo>
                    <a:pt x="296" y="780"/>
                  </a:lnTo>
                  <a:lnTo>
                    <a:pt x="278" y="759"/>
                  </a:lnTo>
                  <a:lnTo>
                    <a:pt x="259" y="737"/>
                  </a:lnTo>
                  <a:lnTo>
                    <a:pt x="243" y="713"/>
                  </a:lnTo>
                  <a:lnTo>
                    <a:pt x="224" y="692"/>
                  </a:lnTo>
                  <a:lnTo>
                    <a:pt x="208" y="671"/>
                  </a:lnTo>
                  <a:lnTo>
                    <a:pt x="190" y="646"/>
                  </a:lnTo>
                  <a:lnTo>
                    <a:pt x="174" y="625"/>
                  </a:lnTo>
                  <a:lnTo>
                    <a:pt x="152" y="598"/>
                  </a:lnTo>
                  <a:lnTo>
                    <a:pt x="131" y="572"/>
                  </a:lnTo>
                  <a:lnTo>
                    <a:pt x="107" y="545"/>
                  </a:lnTo>
                  <a:lnTo>
                    <a:pt x="86" y="518"/>
                  </a:lnTo>
                  <a:lnTo>
                    <a:pt x="64" y="491"/>
                  </a:lnTo>
                  <a:lnTo>
                    <a:pt x="43" y="462"/>
                  </a:lnTo>
                  <a:lnTo>
                    <a:pt x="21" y="435"/>
                  </a:lnTo>
                  <a:lnTo>
                    <a:pt x="0" y="409"/>
                  </a:lnTo>
                  <a:lnTo>
                    <a:pt x="0" y="406"/>
                  </a:lnTo>
                  <a:lnTo>
                    <a:pt x="0" y="401"/>
                  </a:lnTo>
                  <a:lnTo>
                    <a:pt x="5" y="374"/>
                  </a:lnTo>
                  <a:lnTo>
                    <a:pt x="11" y="350"/>
                  </a:lnTo>
                  <a:lnTo>
                    <a:pt x="16" y="323"/>
                  </a:lnTo>
                  <a:lnTo>
                    <a:pt x="19" y="299"/>
                  </a:lnTo>
                  <a:lnTo>
                    <a:pt x="24" y="275"/>
                  </a:lnTo>
                  <a:lnTo>
                    <a:pt x="29" y="248"/>
                  </a:lnTo>
                  <a:lnTo>
                    <a:pt x="32" y="224"/>
                  </a:lnTo>
                  <a:lnTo>
                    <a:pt x="38" y="198"/>
                  </a:lnTo>
                  <a:lnTo>
                    <a:pt x="43" y="174"/>
                  </a:lnTo>
                  <a:lnTo>
                    <a:pt x="48" y="150"/>
                  </a:lnTo>
                  <a:lnTo>
                    <a:pt x="51" y="123"/>
                  </a:lnTo>
                  <a:lnTo>
                    <a:pt x="56" y="99"/>
                  </a:lnTo>
                  <a:lnTo>
                    <a:pt x="62" y="75"/>
                  </a:lnTo>
                  <a:lnTo>
                    <a:pt x="64" y="48"/>
                  </a:lnTo>
                  <a:lnTo>
                    <a:pt x="70" y="24"/>
                  </a:lnTo>
                  <a:lnTo>
                    <a:pt x="75" y="0"/>
                  </a:lnTo>
                  <a:lnTo>
                    <a:pt x="94" y="3"/>
                  </a:lnTo>
                  <a:lnTo>
                    <a:pt x="115" y="5"/>
                  </a:lnTo>
                  <a:lnTo>
                    <a:pt x="134" y="11"/>
                  </a:lnTo>
                  <a:lnTo>
                    <a:pt x="152" y="13"/>
                  </a:lnTo>
                  <a:lnTo>
                    <a:pt x="174" y="16"/>
                  </a:lnTo>
                  <a:lnTo>
                    <a:pt x="192" y="19"/>
                  </a:lnTo>
                  <a:lnTo>
                    <a:pt x="211" y="24"/>
                  </a:lnTo>
                  <a:lnTo>
                    <a:pt x="232" y="27"/>
                  </a:lnTo>
                  <a:lnTo>
                    <a:pt x="251" y="29"/>
                  </a:lnTo>
                  <a:lnTo>
                    <a:pt x="270" y="32"/>
                  </a:lnTo>
                  <a:lnTo>
                    <a:pt x="291" y="37"/>
                  </a:lnTo>
                  <a:lnTo>
                    <a:pt x="310" y="40"/>
                  </a:lnTo>
                  <a:lnTo>
                    <a:pt x="328" y="43"/>
                  </a:lnTo>
                  <a:lnTo>
                    <a:pt x="350" y="45"/>
                  </a:lnTo>
                  <a:lnTo>
                    <a:pt x="368" y="48"/>
                  </a:lnTo>
                  <a:lnTo>
                    <a:pt x="387" y="51"/>
                  </a:lnTo>
                  <a:lnTo>
                    <a:pt x="408" y="56"/>
                  </a:lnTo>
                  <a:lnTo>
                    <a:pt x="427" y="59"/>
                  </a:lnTo>
                  <a:lnTo>
                    <a:pt x="448" y="61"/>
                  </a:lnTo>
                  <a:lnTo>
                    <a:pt x="467" y="64"/>
                  </a:lnTo>
                  <a:lnTo>
                    <a:pt x="486" y="67"/>
                  </a:lnTo>
                  <a:lnTo>
                    <a:pt x="507" y="69"/>
                  </a:lnTo>
                  <a:lnTo>
                    <a:pt x="526" y="72"/>
                  </a:lnTo>
                  <a:lnTo>
                    <a:pt x="544" y="75"/>
                  </a:lnTo>
                  <a:lnTo>
                    <a:pt x="566" y="77"/>
                  </a:lnTo>
                  <a:lnTo>
                    <a:pt x="585" y="80"/>
                  </a:lnTo>
                  <a:lnTo>
                    <a:pt x="603" y="83"/>
                  </a:lnTo>
                  <a:lnTo>
                    <a:pt x="625" y="85"/>
                  </a:lnTo>
                  <a:lnTo>
                    <a:pt x="643" y="88"/>
                  </a:lnTo>
                  <a:lnTo>
                    <a:pt x="662" y="91"/>
                  </a:lnTo>
                  <a:lnTo>
                    <a:pt x="683" y="93"/>
                  </a:lnTo>
                  <a:lnTo>
                    <a:pt x="702" y="96"/>
                  </a:lnTo>
                  <a:lnTo>
                    <a:pt x="699" y="117"/>
                  </a:lnTo>
                  <a:lnTo>
                    <a:pt x="697" y="139"/>
                  </a:lnTo>
                  <a:lnTo>
                    <a:pt x="694" y="160"/>
                  </a:lnTo>
                  <a:lnTo>
                    <a:pt x="691" y="182"/>
                  </a:lnTo>
                  <a:lnTo>
                    <a:pt x="689" y="203"/>
                  </a:lnTo>
                  <a:lnTo>
                    <a:pt x="686" y="224"/>
                  </a:lnTo>
                  <a:lnTo>
                    <a:pt x="683" y="246"/>
                  </a:lnTo>
                  <a:lnTo>
                    <a:pt x="681" y="267"/>
                  </a:lnTo>
                  <a:lnTo>
                    <a:pt x="678" y="288"/>
                  </a:lnTo>
                  <a:lnTo>
                    <a:pt x="675" y="310"/>
                  </a:lnTo>
                  <a:lnTo>
                    <a:pt x="673" y="334"/>
                  </a:lnTo>
                  <a:lnTo>
                    <a:pt x="670" y="355"/>
                  </a:lnTo>
                  <a:lnTo>
                    <a:pt x="667" y="377"/>
                  </a:lnTo>
                  <a:lnTo>
                    <a:pt x="665" y="398"/>
                  </a:lnTo>
                  <a:lnTo>
                    <a:pt x="662" y="419"/>
                  </a:lnTo>
                  <a:lnTo>
                    <a:pt x="659" y="441"/>
                  </a:lnTo>
                  <a:lnTo>
                    <a:pt x="657" y="462"/>
                  </a:lnTo>
                  <a:lnTo>
                    <a:pt x="654" y="483"/>
                  </a:lnTo>
                  <a:lnTo>
                    <a:pt x="651" y="505"/>
                  </a:lnTo>
                  <a:lnTo>
                    <a:pt x="649" y="526"/>
                  </a:lnTo>
                  <a:lnTo>
                    <a:pt x="646" y="548"/>
                  </a:lnTo>
                  <a:lnTo>
                    <a:pt x="643" y="569"/>
                  </a:lnTo>
                  <a:lnTo>
                    <a:pt x="641" y="593"/>
                  </a:lnTo>
                  <a:lnTo>
                    <a:pt x="638" y="614"/>
                  </a:lnTo>
                  <a:lnTo>
                    <a:pt x="635" y="636"/>
                  </a:lnTo>
                  <a:lnTo>
                    <a:pt x="633" y="657"/>
                  </a:lnTo>
                  <a:lnTo>
                    <a:pt x="630" y="679"/>
                  </a:lnTo>
                  <a:lnTo>
                    <a:pt x="625" y="700"/>
                  </a:lnTo>
                  <a:lnTo>
                    <a:pt x="622" y="721"/>
                  </a:lnTo>
                  <a:lnTo>
                    <a:pt x="619" y="743"/>
                  </a:lnTo>
                  <a:lnTo>
                    <a:pt x="617" y="764"/>
                  </a:lnTo>
                  <a:lnTo>
                    <a:pt x="614" y="788"/>
                  </a:lnTo>
                  <a:lnTo>
                    <a:pt x="614" y="788"/>
                  </a:lnTo>
                  <a:lnTo>
                    <a:pt x="614" y="791"/>
                  </a:lnTo>
                  <a:lnTo>
                    <a:pt x="614" y="796"/>
                  </a:lnTo>
                  <a:lnTo>
                    <a:pt x="614" y="804"/>
                  </a:lnTo>
                  <a:lnTo>
                    <a:pt x="611" y="812"/>
                  </a:lnTo>
                  <a:lnTo>
                    <a:pt x="611" y="820"/>
                  </a:lnTo>
                  <a:lnTo>
                    <a:pt x="609" y="828"/>
                  </a:lnTo>
                  <a:lnTo>
                    <a:pt x="609" y="839"/>
                  </a:lnTo>
                  <a:lnTo>
                    <a:pt x="606" y="847"/>
                  </a:lnTo>
                  <a:lnTo>
                    <a:pt x="606" y="858"/>
                  </a:lnTo>
                  <a:lnTo>
                    <a:pt x="606" y="866"/>
                  </a:lnTo>
                  <a:lnTo>
                    <a:pt x="603" y="874"/>
                  </a:lnTo>
                  <a:lnTo>
                    <a:pt x="603" y="882"/>
                  </a:lnTo>
                  <a:lnTo>
                    <a:pt x="603" y="887"/>
                  </a:lnTo>
                  <a:lnTo>
                    <a:pt x="601" y="890"/>
                  </a:lnTo>
                  <a:lnTo>
                    <a:pt x="601" y="890"/>
                  </a:lnTo>
                  <a:lnTo>
                    <a:pt x="601" y="895"/>
                  </a:lnTo>
                  <a:lnTo>
                    <a:pt x="601" y="898"/>
                  </a:lnTo>
                  <a:lnTo>
                    <a:pt x="601" y="898"/>
                  </a:lnTo>
                  <a:lnTo>
                    <a:pt x="598" y="900"/>
                  </a:lnTo>
                  <a:lnTo>
                    <a:pt x="598" y="900"/>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25" name="Freeform 22">
              <a:extLst>
                <a:ext uri="{FF2B5EF4-FFF2-40B4-BE49-F238E27FC236}">
                  <a16:creationId xmlns="" xmlns:a16="http://schemas.microsoft.com/office/drawing/2014/main" id="{2A318896-50FF-4E78-B7B5-F12A262DDB7F}"/>
                </a:ext>
              </a:extLst>
            </p:cNvPr>
            <p:cNvSpPr>
              <a:spLocks/>
            </p:cNvSpPr>
            <p:nvPr/>
          </p:nvSpPr>
          <p:spPr bwMode="auto">
            <a:xfrm>
              <a:off x="2559" y="1889"/>
              <a:ext cx="747" cy="801"/>
            </a:xfrm>
            <a:custGeom>
              <a:avLst/>
              <a:gdLst>
                <a:gd name="T0" fmla="*/ 299 w 747"/>
                <a:gd name="T1" fmla="*/ 753 h 801"/>
                <a:gd name="T2" fmla="*/ 280 w 747"/>
                <a:gd name="T3" fmla="*/ 751 h 801"/>
                <a:gd name="T4" fmla="*/ 262 w 747"/>
                <a:gd name="T5" fmla="*/ 751 h 801"/>
                <a:gd name="T6" fmla="*/ 243 w 747"/>
                <a:gd name="T7" fmla="*/ 748 h 801"/>
                <a:gd name="T8" fmla="*/ 224 w 747"/>
                <a:gd name="T9" fmla="*/ 748 h 801"/>
                <a:gd name="T10" fmla="*/ 206 w 747"/>
                <a:gd name="T11" fmla="*/ 745 h 801"/>
                <a:gd name="T12" fmla="*/ 190 w 747"/>
                <a:gd name="T13" fmla="*/ 745 h 801"/>
                <a:gd name="T14" fmla="*/ 171 w 747"/>
                <a:gd name="T15" fmla="*/ 743 h 801"/>
                <a:gd name="T16" fmla="*/ 152 w 747"/>
                <a:gd name="T17" fmla="*/ 743 h 801"/>
                <a:gd name="T18" fmla="*/ 134 w 747"/>
                <a:gd name="T19" fmla="*/ 740 h 801"/>
                <a:gd name="T20" fmla="*/ 115 w 747"/>
                <a:gd name="T21" fmla="*/ 740 h 801"/>
                <a:gd name="T22" fmla="*/ 104 w 747"/>
                <a:gd name="T23" fmla="*/ 740 h 801"/>
                <a:gd name="T24" fmla="*/ 104 w 747"/>
                <a:gd name="T25" fmla="*/ 745 h 801"/>
                <a:gd name="T26" fmla="*/ 104 w 747"/>
                <a:gd name="T27" fmla="*/ 753 h 801"/>
                <a:gd name="T28" fmla="*/ 104 w 747"/>
                <a:gd name="T29" fmla="*/ 759 h 801"/>
                <a:gd name="T30" fmla="*/ 104 w 747"/>
                <a:gd name="T31" fmla="*/ 764 h 801"/>
                <a:gd name="T32" fmla="*/ 102 w 747"/>
                <a:gd name="T33" fmla="*/ 769 h 801"/>
                <a:gd name="T34" fmla="*/ 102 w 747"/>
                <a:gd name="T35" fmla="*/ 777 h 801"/>
                <a:gd name="T36" fmla="*/ 102 w 747"/>
                <a:gd name="T37" fmla="*/ 783 h 801"/>
                <a:gd name="T38" fmla="*/ 102 w 747"/>
                <a:gd name="T39" fmla="*/ 788 h 801"/>
                <a:gd name="T40" fmla="*/ 102 w 747"/>
                <a:gd name="T41" fmla="*/ 793 h 801"/>
                <a:gd name="T42" fmla="*/ 102 w 747"/>
                <a:gd name="T43" fmla="*/ 799 h 801"/>
                <a:gd name="T44" fmla="*/ 86 w 747"/>
                <a:gd name="T45" fmla="*/ 801 h 801"/>
                <a:gd name="T46" fmla="*/ 54 w 747"/>
                <a:gd name="T47" fmla="*/ 799 h 801"/>
                <a:gd name="T48" fmla="*/ 24 w 747"/>
                <a:gd name="T49" fmla="*/ 796 h 801"/>
                <a:gd name="T50" fmla="*/ 0 w 747"/>
                <a:gd name="T51" fmla="*/ 793 h 801"/>
                <a:gd name="T52" fmla="*/ 0 w 747"/>
                <a:gd name="T53" fmla="*/ 793 h 801"/>
                <a:gd name="T54" fmla="*/ 0 w 747"/>
                <a:gd name="T55" fmla="*/ 793 h 801"/>
                <a:gd name="T56" fmla="*/ 0 w 747"/>
                <a:gd name="T57" fmla="*/ 793 h 801"/>
                <a:gd name="T58" fmla="*/ 0 w 747"/>
                <a:gd name="T59" fmla="*/ 793 h 801"/>
                <a:gd name="T60" fmla="*/ 0 w 747"/>
                <a:gd name="T61" fmla="*/ 793 h 801"/>
                <a:gd name="T62" fmla="*/ 11 w 747"/>
                <a:gd name="T63" fmla="*/ 668 h 801"/>
                <a:gd name="T64" fmla="*/ 24 w 747"/>
                <a:gd name="T65" fmla="*/ 521 h 801"/>
                <a:gd name="T66" fmla="*/ 35 w 747"/>
                <a:gd name="T67" fmla="*/ 371 h 801"/>
                <a:gd name="T68" fmla="*/ 48 w 747"/>
                <a:gd name="T69" fmla="*/ 222 h 801"/>
                <a:gd name="T70" fmla="*/ 59 w 747"/>
                <a:gd name="T71" fmla="*/ 75 h 801"/>
                <a:gd name="T72" fmla="*/ 131 w 747"/>
                <a:gd name="T73" fmla="*/ 5 h 801"/>
                <a:gd name="T74" fmla="*/ 256 w 747"/>
                <a:gd name="T75" fmla="*/ 13 h 801"/>
                <a:gd name="T76" fmla="*/ 384 w 747"/>
                <a:gd name="T77" fmla="*/ 21 h 801"/>
                <a:gd name="T78" fmla="*/ 512 w 747"/>
                <a:gd name="T79" fmla="*/ 27 h 801"/>
                <a:gd name="T80" fmla="*/ 641 w 747"/>
                <a:gd name="T81" fmla="*/ 32 h 801"/>
                <a:gd name="T82" fmla="*/ 747 w 747"/>
                <a:gd name="T83" fmla="*/ 53 h 801"/>
                <a:gd name="T84" fmla="*/ 742 w 747"/>
                <a:gd name="T85" fmla="*/ 112 h 801"/>
                <a:gd name="T86" fmla="*/ 737 w 747"/>
                <a:gd name="T87" fmla="*/ 230 h 801"/>
                <a:gd name="T88" fmla="*/ 734 w 747"/>
                <a:gd name="T89" fmla="*/ 347 h 801"/>
                <a:gd name="T90" fmla="*/ 729 w 747"/>
                <a:gd name="T91" fmla="*/ 465 h 801"/>
                <a:gd name="T92" fmla="*/ 726 w 747"/>
                <a:gd name="T93" fmla="*/ 582 h 801"/>
                <a:gd name="T94" fmla="*/ 723 w 747"/>
                <a:gd name="T95" fmla="*/ 700 h 801"/>
                <a:gd name="T96" fmla="*/ 614 w 747"/>
                <a:gd name="T97" fmla="*/ 735 h 801"/>
                <a:gd name="T98" fmla="*/ 456 w 747"/>
                <a:gd name="T99" fmla="*/ 729 h 801"/>
                <a:gd name="T100" fmla="*/ 296 w 747"/>
                <a:gd name="T101" fmla="*/ 721 h 801"/>
                <a:gd name="T102" fmla="*/ 296 w 747"/>
                <a:gd name="T103" fmla="*/ 735 h 801"/>
                <a:gd name="T104" fmla="*/ 302 w 747"/>
                <a:gd name="T105" fmla="*/ 745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47" h="801">
                  <a:moveTo>
                    <a:pt x="304" y="748"/>
                  </a:moveTo>
                  <a:lnTo>
                    <a:pt x="310" y="756"/>
                  </a:lnTo>
                  <a:lnTo>
                    <a:pt x="310" y="753"/>
                  </a:lnTo>
                  <a:lnTo>
                    <a:pt x="307" y="753"/>
                  </a:lnTo>
                  <a:lnTo>
                    <a:pt x="302" y="753"/>
                  </a:lnTo>
                  <a:lnTo>
                    <a:pt x="299" y="753"/>
                  </a:lnTo>
                  <a:lnTo>
                    <a:pt x="296" y="753"/>
                  </a:lnTo>
                  <a:lnTo>
                    <a:pt x="294" y="751"/>
                  </a:lnTo>
                  <a:lnTo>
                    <a:pt x="291" y="751"/>
                  </a:lnTo>
                  <a:lnTo>
                    <a:pt x="288" y="751"/>
                  </a:lnTo>
                  <a:lnTo>
                    <a:pt x="283" y="751"/>
                  </a:lnTo>
                  <a:lnTo>
                    <a:pt x="280" y="751"/>
                  </a:lnTo>
                  <a:lnTo>
                    <a:pt x="278" y="751"/>
                  </a:lnTo>
                  <a:lnTo>
                    <a:pt x="275" y="751"/>
                  </a:lnTo>
                  <a:lnTo>
                    <a:pt x="272" y="751"/>
                  </a:lnTo>
                  <a:lnTo>
                    <a:pt x="270" y="751"/>
                  </a:lnTo>
                  <a:lnTo>
                    <a:pt x="264" y="751"/>
                  </a:lnTo>
                  <a:lnTo>
                    <a:pt x="262" y="751"/>
                  </a:lnTo>
                  <a:lnTo>
                    <a:pt x="259" y="751"/>
                  </a:lnTo>
                  <a:lnTo>
                    <a:pt x="256" y="751"/>
                  </a:lnTo>
                  <a:lnTo>
                    <a:pt x="254" y="748"/>
                  </a:lnTo>
                  <a:lnTo>
                    <a:pt x="251" y="748"/>
                  </a:lnTo>
                  <a:lnTo>
                    <a:pt x="248" y="748"/>
                  </a:lnTo>
                  <a:lnTo>
                    <a:pt x="243" y="748"/>
                  </a:lnTo>
                  <a:lnTo>
                    <a:pt x="240" y="748"/>
                  </a:lnTo>
                  <a:lnTo>
                    <a:pt x="238" y="748"/>
                  </a:lnTo>
                  <a:lnTo>
                    <a:pt x="235" y="748"/>
                  </a:lnTo>
                  <a:lnTo>
                    <a:pt x="232" y="748"/>
                  </a:lnTo>
                  <a:lnTo>
                    <a:pt x="230" y="748"/>
                  </a:lnTo>
                  <a:lnTo>
                    <a:pt x="224" y="748"/>
                  </a:lnTo>
                  <a:lnTo>
                    <a:pt x="222" y="748"/>
                  </a:lnTo>
                  <a:lnTo>
                    <a:pt x="219" y="748"/>
                  </a:lnTo>
                  <a:lnTo>
                    <a:pt x="216" y="748"/>
                  </a:lnTo>
                  <a:lnTo>
                    <a:pt x="214" y="745"/>
                  </a:lnTo>
                  <a:lnTo>
                    <a:pt x="211" y="745"/>
                  </a:lnTo>
                  <a:lnTo>
                    <a:pt x="206" y="745"/>
                  </a:lnTo>
                  <a:lnTo>
                    <a:pt x="203" y="745"/>
                  </a:lnTo>
                  <a:lnTo>
                    <a:pt x="200" y="745"/>
                  </a:lnTo>
                  <a:lnTo>
                    <a:pt x="198" y="745"/>
                  </a:lnTo>
                  <a:lnTo>
                    <a:pt x="195" y="745"/>
                  </a:lnTo>
                  <a:lnTo>
                    <a:pt x="192" y="745"/>
                  </a:lnTo>
                  <a:lnTo>
                    <a:pt x="190" y="745"/>
                  </a:lnTo>
                  <a:lnTo>
                    <a:pt x="184" y="745"/>
                  </a:lnTo>
                  <a:lnTo>
                    <a:pt x="182" y="745"/>
                  </a:lnTo>
                  <a:lnTo>
                    <a:pt x="179" y="745"/>
                  </a:lnTo>
                  <a:lnTo>
                    <a:pt x="176" y="745"/>
                  </a:lnTo>
                  <a:lnTo>
                    <a:pt x="174" y="743"/>
                  </a:lnTo>
                  <a:lnTo>
                    <a:pt x="171" y="743"/>
                  </a:lnTo>
                  <a:lnTo>
                    <a:pt x="166" y="743"/>
                  </a:lnTo>
                  <a:lnTo>
                    <a:pt x="163" y="743"/>
                  </a:lnTo>
                  <a:lnTo>
                    <a:pt x="160" y="743"/>
                  </a:lnTo>
                  <a:lnTo>
                    <a:pt x="158" y="743"/>
                  </a:lnTo>
                  <a:lnTo>
                    <a:pt x="155" y="743"/>
                  </a:lnTo>
                  <a:lnTo>
                    <a:pt x="152" y="743"/>
                  </a:lnTo>
                  <a:lnTo>
                    <a:pt x="147" y="743"/>
                  </a:lnTo>
                  <a:lnTo>
                    <a:pt x="144" y="743"/>
                  </a:lnTo>
                  <a:lnTo>
                    <a:pt x="142" y="743"/>
                  </a:lnTo>
                  <a:lnTo>
                    <a:pt x="139" y="740"/>
                  </a:lnTo>
                  <a:lnTo>
                    <a:pt x="136" y="740"/>
                  </a:lnTo>
                  <a:lnTo>
                    <a:pt x="134" y="740"/>
                  </a:lnTo>
                  <a:lnTo>
                    <a:pt x="131" y="740"/>
                  </a:lnTo>
                  <a:lnTo>
                    <a:pt x="126" y="740"/>
                  </a:lnTo>
                  <a:lnTo>
                    <a:pt x="123" y="740"/>
                  </a:lnTo>
                  <a:lnTo>
                    <a:pt x="120" y="740"/>
                  </a:lnTo>
                  <a:lnTo>
                    <a:pt x="118" y="740"/>
                  </a:lnTo>
                  <a:lnTo>
                    <a:pt x="115" y="740"/>
                  </a:lnTo>
                  <a:lnTo>
                    <a:pt x="112" y="740"/>
                  </a:lnTo>
                  <a:lnTo>
                    <a:pt x="107" y="740"/>
                  </a:lnTo>
                  <a:lnTo>
                    <a:pt x="104" y="740"/>
                  </a:lnTo>
                  <a:lnTo>
                    <a:pt x="104" y="740"/>
                  </a:lnTo>
                  <a:lnTo>
                    <a:pt x="104" y="740"/>
                  </a:lnTo>
                  <a:lnTo>
                    <a:pt x="104" y="740"/>
                  </a:lnTo>
                  <a:lnTo>
                    <a:pt x="104" y="743"/>
                  </a:lnTo>
                  <a:lnTo>
                    <a:pt x="104" y="743"/>
                  </a:lnTo>
                  <a:lnTo>
                    <a:pt x="104" y="743"/>
                  </a:lnTo>
                  <a:lnTo>
                    <a:pt x="104" y="745"/>
                  </a:lnTo>
                  <a:lnTo>
                    <a:pt x="104" y="745"/>
                  </a:lnTo>
                  <a:lnTo>
                    <a:pt x="104" y="745"/>
                  </a:lnTo>
                  <a:lnTo>
                    <a:pt x="104" y="748"/>
                  </a:lnTo>
                  <a:lnTo>
                    <a:pt x="104" y="748"/>
                  </a:lnTo>
                  <a:lnTo>
                    <a:pt x="104" y="751"/>
                  </a:lnTo>
                  <a:lnTo>
                    <a:pt x="104" y="751"/>
                  </a:lnTo>
                  <a:lnTo>
                    <a:pt x="104" y="751"/>
                  </a:lnTo>
                  <a:lnTo>
                    <a:pt x="104" y="753"/>
                  </a:lnTo>
                  <a:lnTo>
                    <a:pt x="104" y="753"/>
                  </a:lnTo>
                  <a:lnTo>
                    <a:pt x="104" y="753"/>
                  </a:lnTo>
                  <a:lnTo>
                    <a:pt x="104" y="756"/>
                  </a:lnTo>
                  <a:lnTo>
                    <a:pt x="104" y="756"/>
                  </a:lnTo>
                  <a:lnTo>
                    <a:pt x="104" y="759"/>
                  </a:lnTo>
                  <a:lnTo>
                    <a:pt x="104" y="759"/>
                  </a:lnTo>
                  <a:lnTo>
                    <a:pt x="104" y="759"/>
                  </a:lnTo>
                  <a:lnTo>
                    <a:pt x="104" y="761"/>
                  </a:lnTo>
                  <a:lnTo>
                    <a:pt x="104" y="761"/>
                  </a:lnTo>
                  <a:lnTo>
                    <a:pt x="104" y="761"/>
                  </a:lnTo>
                  <a:lnTo>
                    <a:pt x="104" y="764"/>
                  </a:lnTo>
                  <a:lnTo>
                    <a:pt x="104" y="764"/>
                  </a:lnTo>
                  <a:lnTo>
                    <a:pt x="104" y="764"/>
                  </a:lnTo>
                  <a:lnTo>
                    <a:pt x="104" y="767"/>
                  </a:lnTo>
                  <a:lnTo>
                    <a:pt x="102" y="767"/>
                  </a:lnTo>
                  <a:lnTo>
                    <a:pt x="102" y="769"/>
                  </a:lnTo>
                  <a:lnTo>
                    <a:pt x="102" y="769"/>
                  </a:lnTo>
                  <a:lnTo>
                    <a:pt x="102" y="769"/>
                  </a:lnTo>
                  <a:lnTo>
                    <a:pt x="102" y="772"/>
                  </a:lnTo>
                  <a:lnTo>
                    <a:pt x="102" y="772"/>
                  </a:lnTo>
                  <a:lnTo>
                    <a:pt x="102" y="772"/>
                  </a:lnTo>
                  <a:lnTo>
                    <a:pt x="102" y="775"/>
                  </a:lnTo>
                  <a:lnTo>
                    <a:pt x="102" y="775"/>
                  </a:lnTo>
                  <a:lnTo>
                    <a:pt x="102" y="777"/>
                  </a:lnTo>
                  <a:lnTo>
                    <a:pt x="102" y="777"/>
                  </a:lnTo>
                  <a:lnTo>
                    <a:pt x="102" y="777"/>
                  </a:lnTo>
                  <a:lnTo>
                    <a:pt x="102" y="780"/>
                  </a:lnTo>
                  <a:lnTo>
                    <a:pt x="102" y="780"/>
                  </a:lnTo>
                  <a:lnTo>
                    <a:pt x="102" y="780"/>
                  </a:lnTo>
                  <a:lnTo>
                    <a:pt x="102" y="783"/>
                  </a:lnTo>
                  <a:lnTo>
                    <a:pt x="102" y="783"/>
                  </a:lnTo>
                  <a:lnTo>
                    <a:pt x="102" y="785"/>
                  </a:lnTo>
                  <a:lnTo>
                    <a:pt x="102" y="785"/>
                  </a:lnTo>
                  <a:lnTo>
                    <a:pt x="102" y="785"/>
                  </a:lnTo>
                  <a:lnTo>
                    <a:pt x="102" y="788"/>
                  </a:lnTo>
                  <a:lnTo>
                    <a:pt x="102" y="788"/>
                  </a:lnTo>
                  <a:lnTo>
                    <a:pt x="102" y="788"/>
                  </a:lnTo>
                  <a:lnTo>
                    <a:pt x="102" y="791"/>
                  </a:lnTo>
                  <a:lnTo>
                    <a:pt x="102" y="791"/>
                  </a:lnTo>
                  <a:lnTo>
                    <a:pt x="102" y="791"/>
                  </a:lnTo>
                  <a:lnTo>
                    <a:pt x="102" y="793"/>
                  </a:lnTo>
                  <a:lnTo>
                    <a:pt x="102" y="793"/>
                  </a:lnTo>
                  <a:lnTo>
                    <a:pt x="102" y="796"/>
                  </a:lnTo>
                  <a:lnTo>
                    <a:pt x="102" y="796"/>
                  </a:lnTo>
                  <a:lnTo>
                    <a:pt x="102" y="796"/>
                  </a:lnTo>
                  <a:lnTo>
                    <a:pt x="102" y="799"/>
                  </a:lnTo>
                  <a:lnTo>
                    <a:pt x="102" y="799"/>
                  </a:lnTo>
                  <a:lnTo>
                    <a:pt x="102" y="799"/>
                  </a:lnTo>
                  <a:lnTo>
                    <a:pt x="102" y="801"/>
                  </a:lnTo>
                  <a:lnTo>
                    <a:pt x="102" y="801"/>
                  </a:lnTo>
                  <a:lnTo>
                    <a:pt x="102" y="801"/>
                  </a:lnTo>
                  <a:lnTo>
                    <a:pt x="96" y="801"/>
                  </a:lnTo>
                  <a:lnTo>
                    <a:pt x="91" y="801"/>
                  </a:lnTo>
                  <a:lnTo>
                    <a:pt x="86" y="801"/>
                  </a:lnTo>
                  <a:lnTo>
                    <a:pt x="80" y="801"/>
                  </a:lnTo>
                  <a:lnTo>
                    <a:pt x="75" y="799"/>
                  </a:lnTo>
                  <a:lnTo>
                    <a:pt x="70" y="799"/>
                  </a:lnTo>
                  <a:lnTo>
                    <a:pt x="64" y="799"/>
                  </a:lnTo>
                  <a:lnTo>
                    <a:pt x="59" y="799"/>
                  </a:lnTo>
                  <a:lnTo>
                    <a:pt x="54" y="799"/>
                  </a:lnTo>
                  <a:lnTo>
                    <a:pt x="48" y="799"/>
                  </a:lnTo>
                  <a:lnTo>
                    <a:pt x="43" y="799"/>
                  </a:lnTo>
                  <a:lnTo>
                    <a:pt x="40" y="796"/>
                  </a:lnTo>
                  <a:lnTo>
                    <a:pt x="35" y="796"/>
                  </a:lnTo>
                  <a:lnTo>
                    <a:pt x="30" y="796"/>
                  </a:lnTo>
                  <a:lnTo>
                    <a:pt x="24" y="796"/>
                  </a:lnTo>
                  <a:lnTo>
                    <a:pt x="19" y="796"/>
                  </a:lnTo>
                  <a:lnTo>
                    <a:pt x="14" y="796"/>
                  </a:lnTo>
                  <a:lnTo>
                    <a:pt x="8" y="793"/>
                  </a:lnTo>
                  <a:lnTo>
                    <a:pt x="3"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0" y="793"/>
                  </a:lnTo>
                  <a:lnTo>
                    <a:pt x="3" y="769"/>
                  </a:lnTo>
                  <a:lnTo>
                    <a:pt x="5" y="743"/>
                  </a:lnTo>
                  <a:lnTo>
                    <a:pt x="8" y="719"/>
                  </a:lnTo>
                  <a:lnTo>
                    <a:pt x="8" y="694"/>
                  </a:lnTo>
                  <a:lnTo>
                    <a:pt x="11" y="668"/>
                  </a:lnTo>
                  <a:lnTo>
                    <a:pt x="14" y="644"/>
                  </a:lnTo>
                  <a:lnTo>
                    <a:pt x="16" y="620"/>
                  </a:lnTo>
                  <a:lnTo>
                    <a:pt x="16" y="596"/>
                  </a:lnTo>
                  <a:lnTo>
                    <a:pt x="19" y="569"/>
                  </a:lnTo>
                  <a:lnTo>
                    <a:pt x="22" y="545"/>
                  </a:lnTo>
                  <a:lnTo>
                    <a:pt x="24" y="521"/>
                  </a:lnTo>
                  <a:lnTo>
                    <a:pt x="24" y="494"/>
                  </a:lnTo>
                  <a:lnTo>
                    <a:pt x="27" y="470"/>
                  </a:lnTo>
                  <a:lnTo>
                    <a:pt x="30" y="446"/>
                  </a:lnTo>
                  <a:lnTo>
                    <a:pt x="32" y="422"/>
                  </a:lnTo>
                  <a:lnTo>
                    <a:pt x="32" y="395"/>
                  </a:lnTo>
                  <a:lnTo>
                    <a:pt x="35" y="371"/>
                  </a:lnTo>
                  <a:lnTo>
                    <a:pt x="38" y="347"/>
                  </a:lnTo>
                  <a:lnTo>
                    <a:pt x="40" y="320"/>
                  </a:lnTo>
                  <a:lnTo>
                    <a:pt x="40" y="296"/>
                  </a:lnTo>
                  <a:lnTo>
                    <a:pt x="43" y="272"/>
                  </a:lnTo>
                  <a:lnTo>
                    <a:pt x="46" y="248"/>
                  </a:lnTo>
                  <a:lnTo>
                    <a:pt x="48" y="222"/>
                  </a:lnTo>
                  <a:lnTo>
                    <a:pt x="51" y="198"/>
                  </a:lnTo>
                  <a:lnTo>
                    <a:pt x="51" y="173"/>
                  </a:lnTo>
                  <a:lnTo>
                    <a:pt x="54" y="147"/>
                  </a:lnTo>
                  <a:lnTo>
                    <a:pt x="56" y="123"/>
                  </a:lnTo>
                  <a:lnTo>
                    <a:pt x="59" y="99"/>
                  </a:lnTo>
                  <a:lnTo>
                    <a:pt x="59" y="75"/>
                  </a:lnTo>
                  <a:lnTo>
                    <a:pt x="62" y="48"/>
                  </a:lnTo>
                  <a:lnTo>
                    <a:pt x="64" y="24"/>
                  </a:lnTo>
                  <a:lnTo>
                    <a:pt x="67" y="0"/>
                  </a:lnTo>
                  <a:lnTo>
                    <a:pt x="88" y="0"/>
                  </a:lnTo>
                  <a:lnTo>
                    <a:pt x="110" y="3"/>
                  </a:lnTo>
                  <a:lnTo>
                    <a:pt x="131" y="5"/>
                  </a:lnTo>
                  <a:lnTo>
                    <a:pt x="152" y="5"/>
                  </a:lnTo>
                  <a:lnTo>
                    <a:pt x="171" y="8"/>
                  </a:lnTo>
                  <a:lnTo>
                    <a:pt x="192" y="8"/>
                  </a:lnTo>
                  <a:lnTo>
                    <a:pt x="214" y="11"/>
                  </a:lnTo>
                  <a:lnTo>
                    <a:pt x="235" y="13"/>
                  </a:lnTo>
                  <a:lnTo>
                    <a:pt x="256" y="13"/>
                  </a:lnTo>
                  <a:lnTo>
                    <a:pt x="278" y="16"/>
                  </a:lnTo>
                  <a:lnTo>
                    <a:pt x="299" y="16"/>
                  </a:lnTo>
                  <a:lnTo>
                    <a:pt x="320" y="19"/>
                  </a:lnTo>
                  <a:lnTo>
                    <a:pt x="342" y="19"/>
                  </a:lnTo>
                  <a:lnTo>
                    <a:pt x="363" y="21"/>
                  </a:lnTo>
                  <a:lnTo>
                    <a:pt x="384" y="21"/>
                  </a:lnTo>
                  <a:lnTo>
                    <a:pt x="406" y="21"/>
                  </a:lnTo>
                  <a:lnTo>
                    <a:pt x="427" y="24"/>
                  </a:lnTo>
                  <a:lnTo>
                    <a:pt x="448" y="24"/>
                  </a:lnTo>
                  <a:lnTo>
                    <a:pt x="470" y="27"/>
                  </a:lnTo>
                  <a:lnTo>
                    <a:pt x="491" y="27"/>
                  </a:lnTo>
                  <a:lnTo>
                    <a:pt x="512" y="27"/>
                  </a:lnTo>
                  <a:lnTo>
                    <a:pt x="534" y="29"/>
                  </a:lnTo>
                  <a:lnTo>
                    <a:pt x="555" y="29"/>
                  </a:lnTo>
                  <a:lnTo>
                    <a:pt x="577" y="29"/>
                  </a:lnTo>
                  <a:lnTo>
                    <a:pt x="598" y="32"/>
                  </a:lnTo>
                  <a:lnTo>
                    <a:pt x="619" y="32"/>
                  </a:lnTo>
                  <a:lnTo>
                    <a:pt x="641" y="32"/>
                  </a:lnTo>
                  <a:lnTo>
                    <a:pt x="662" y="35"/>
                  </a:lnTo>
                  <a:lnTo>
                    <a:pt x="683" y="35"/>
                  </a:lnTo>
                  <a:lnTo>
                    <a:pt x="705" y="35"/>
                  </a:lnTo>
                  <a:lnTo>
                    <a:pt x="726" y="35"/>
                  </a:lnTo>
                  <a:lnTo>
                    <a:pt x="747" y="37"/>
                  </a:lnTo>
                  <a:lnTo>
                    <a:pt x="747" y="53"/>
                  </a:lnTo>
                  <a:lnTo>
                    <a:pt x="747" y="72"/>
                  </a:lnTo>
                  <a:lnTo>
                    <a:pt x="747" y="88"/>
                  </a:lnTo>
                  <a:lnTo>
                    <a:pt x="745" y="107"/>
                  </a:lnTo>
                  <a:lnTo>
                    <a:pt x="742" y="107"/>
                  </a:lnTo>
                  <a:lnTo>
                    <a:pt x="742" y="109"/>
                  </a:lnTo>
                  <a:lnTo>
                    <a:pt x="742" y="112"/>
                  </a:lnTo>
                  <a:lnTo>
                    <a:pt x="739" y="133"/>
                  </a:lnTo>
                  <a:lnTo>
                    <a:pt x="739" y="152"/>
                  </a:lnTo>
                  <a:lnTo>
                    <a:pt x="739" y="171"/>
                  </a:lnTo>
                  <a:lnTo>
                    <a:pt x="739" y="192"/>
                  </a:lnTo>
                  <a:lnTo>
                    <a:pt x="737" y="211"/>
                  </a:lnTo>
                  <a:lnTo>
                    <a:pt x="737" y="230"/>
                  </a:lnTo>
                  <a:lnTo>
                    <a:pt x="737" y="251"/>
                  </a:lnTo>
                  <a:lnTo>
                    <a:pt x="737" y="270"/>
                  </a:lnTo>
                  <a:lnTo>
                    <a:pt x="737" y="288"/>
                  </a:lnTo>
                  <a:lnTo>
                    <a:pt x="734" y="310"/>
                  </a:lnTo>
                  <a:lnTo>
                    <a:pt x="734" y="328"/>
                  </a:lnTo>
                  <a:lnTo>
                    <a:pt x="734" y="347"/>
                  </a:lnTo>
                  <a:lnTo>
                    <a:pt x="734" y="366"/>
                  </a:lnTo>
                  <a:lnTo>
                    <a:pt x="731" y="387"/>
                  </a:lnTo>
                  <a:lnTo>
                    <a:pt x="731" y="406"/>
                  </a:lnTo>
                  <a:lnTo>
                    <a:pt x="731" y="425"/>
                  </a:lnTo>
                  <a:lnTo>
                    <a:pt x="731" y="446"/>
                  </a:lnTo>
                  <a:lnTo>
                    <a:pt x="729" y="465"/>
                  </a:lnTo>
                  <a:lnTo>
                    <a:pt x="729" y="483"/>
                  </a:lnTo>
                  <a:lnTo>
                    <a:pt x="729" y="505"/>
                  </a:lnTo>
                  <a:lnTo>
                    <a:pt x="729" y="523"/>
                  </a:lnTo>
                  <a:lnTo>
                    <a:pt x="726" y="542"/>
                  </a:lnTo>
                  <a:lnTo>
                    <a:pt x="726" y="564"/>
                  </a:lnTo>
                  <a:lnTo>
                    <a:pt x="726" y="582"/>
                  </a:lnTo>
                  <a:lnTo>
                    <a:pt x="726" y="601"/>
                  </a:lnTo>
                  <a:lnTo>
                    <a:pt x="726" y="622"/>
                  </a:lnTo>
                  <a:lnTo>
                    <a:pt x="723" y="641"/>
                  </a:lnTo>
                  <a:lnTo>
                    <a:pt x="723" y="660"/>
                  </a:lnTo>
                  <a:lnTo>
                    <a:pt x="723" y="681"/>
                  </a:lnTo>
                  <a:lnTo>
                    <a:pt x="723" y="700"/>
                  </a:lnTo>
                  <a:lnTo>
                    <a:pt x="721" y="719"/>
                  </a:lnTo>
                  <a:lnTo>
                    <a:pt x="721" y="740"/>
                  </a:lnTo>
                  <a:lnTo>
                    <a:pt x="694" y="737"/>
                  </a:lnTo>
                  <a:lnTo>
                    <a:pt x="667" y="737"/>
                  </a:lnTo>
                  <a:lnTo>
                    <a:pt x="641" y="737"/>
                  </a:lnTo>
                  <a:lnTo>
                    <a:pt x="614" y="735"/>
                  </a:lnTo>
                  <a:lnTo>
                    <a:pt x="590" y="735"/>
                  </a:lnTo>
                  <a:lnTo>
                    <a:pt x="563" y="735"/>
                  </a:lnTo>
                  <a:lnTo>
                    <a:pt x="536" y="732"/>
                  </a:lnTo>
                  <a:lnTo>
                    <a:pt x="510" y="732"/>
                  </a:lnTo>
                  <a:lnTo>
                    <a:pt x="483" y="729"/>
                  </a:lnTo>
                  <a:lnTo>
                    <a:pt x="456" y="729"/>
                  </a:lnTo>
                  <a:lnTo>
                    <a:pt x="430" y="727"/>
                  </a:lnTo>
                  <a:lnTo>
                    <a:pt x="403" y="727"/>
                  </a:lnTo>
                  <a:lnTo>
                    <a:pt x="376" y="724"/>
                  </a:lnTo>
                  <a:lnTo>
                    <a:pt x="350" y="724"/>
                  </a:lnTo>
                  <a:lnTo>
                    <a:pt x="323" y="721"/>
                  </a:lnTo>
                  <a:lnTo>
                    <a:pt x="296" y="721"/>
                  </a:lnTo>
                  <a:lnTo>
                    <a:pt x="294" y="721"/>
                  </a:lnTo>
                  <a:lnTo>
                    <a:pt x="291" y="721"/>
                  </a:lnTo>
                  <a:lnTo>
                    <a:pt x="291" y="721"/>
                  </a:lnTo>
                  <a:lnTo>
                    <a:pt x="294" y="727"/>
                  </a:lnTo>
                  <a:lnTo>
                    <a:pt x="294" y="729"/>
                  </a:lnTo>
                  <a:lnTo>
                    <a:pt x="296" y="735"/>
                  </a:lnTo>
                  <a:lnTo>
                    <a:pt x="296" y="737"/>
                  </a:lnTo>
                  <a:lnTo>
                    <a:pt x="299" y="740"/>
                  </a:lnTo>
                  <a:lnTo>
                    <a:pt x="296" y="743"/>
                  </a:lnTo>
                  <a:lnTo>
                    <a:pt x="299" y="743"/>
                  </a:lnTo>
                  <a:lnTo>
                    <a:pt x="299" y="745"/>
                  </a:lnTo>
                  <a:lnTo>
                    <a:pt x="302" y="745"/>
                  </a:lnTo>
                  <a:lnTo>
                    <a:pt x="302" y="745"/>
                  </a:lnTo>
                  <a:lnTo>
                    <a:pt x="302" y="745"/>
                  </a:lnTo>
                  <a:lnTo>
                    <a:pt x="304" y="748"/>
                  </a:lnTo>
                  <a:lnTo>
                    <a:pt x="304" y="748"/>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26" name="Freeform 23">
              <a:extLst>
                <a:ext uri="{FF2B5EF4-FFF2-40B4-BE49-F238E27FC236}">
                  <a16:creationId xmlns="" xmlns:a16="http://schemas.microsoft.com/office/drawing/2014/main" id="{7F7D7DAA-FA32-4E13-849A-1CC14087B749}"/>
                </a:ext>
              </a:extLst>
            </p:cNvPr>
            <p:cNvSpPr>
              <a:spLocks noEditPoints="1"/>
            </p:cNvSpPr>
            <p:nvPr/>
          </p:nvSpPr>
          <p:spPr bwMode="auto">
            <a:xfrm>
              <a:off x="5785" y="492"/>
              <a:ext cx="862" cy="625"/>
            </a:xfrm>
            <a:custGeom>
              <a:avLst/>
              <a:gdLst>
                <a:gd name="T0" fmla="*/ 633 w 862"/>
                <a:gd name="T1" fmla="*/ 625 h 625"/>
                <a:gd name="T2" fmla="*/ 715 w 862"/>
                <a:gd name="T3" fmla="*/ 585 h 625"/>
                <a:gd name="T4" fmla="*/ 747 w 862"/>
                <a:gd name="T5" fmla="*/ 574 h 625"/>
                <a:gd name="T6" fmla="*/ 777 w 862"/>
                <a:gd name="T7" fmla="*/ 550 h 625"/>
                <a:gd name="T8" fmla="*/ 833 w 862"/>
                <a:gd name="T9" fmla="*/ 494 h 625"/>
                <a:gd name="T10" fmla="*/ 817 w 862"/>
                <a:gd name="T11" fmla="*/ 504 h 625"/>
                <a:gd name="T12" fmla="*/ 787 w 862"/>
                <a:gd name="T13" fmla="*/ 529 h 625"/>
                <a:gd name="T14" fmla="*/ 806 w 862"/>
                <a:gd name="T15" fmla="*/ 513 h 625"/>
                <a:gd name="T16" fmla="*/ 819 w 862"/>
                <a:gd name="T17" fmla="*/ 488 h 625"/>
                <a:gd name="T18" fmla="*/ 774 w 862"/>
                <a:gd name="T19" fmla="*/ 523 h 625"/>
                <a:gd name="T20" fmla="*/ 721 w 862"/>
                <a:gd name="T21" fmla="*/ 542 h 625"/>
                <a:gd name="T22" fmla="*/ 702 w 862"/>
                <a:gd name="T23" fmla="*/ 545 h 625"/>
                <a:gd name="T24" fmla="*/ 681 w 862"/>
                <a:gd name="T25" fmla="*/ 563 h 625"/>
                <a:gd name="T26" fmla="*/ 670 w 862"/>
                <a:gd name="T27" fmla="*/ 571 h 625"/>
                <a:gd name="T28" fmla="*/ 654 w 862"/>
                <a:gd name="T29" fmla="*/ 609 h 625"/>
                <a:gd name="T30" fmla="*/ 673 w 862"/>
                <a:gd name="T31" fmla="*/ 593 h 625"/>
                <a:gd name="T32" fmla="*/ 686 w 862"/>
                <a:gd name="T33" fmla="*/ 593 h 625"/>
                <a:gd name="T34" fmla="*/ 739 w 862"/>
                <a:gd name="T35" fmla="*/ 563 h 625"/>
                <a:gd name="T36" fmla="*/ 774 w 862"/>
                <a:gd name="T37" fmla="*/ 550 h 625"/>
                <a:gd name="T38" fmla="*/ 801 w 862"/>
                <a:gd name="T39" fmla="*/ 537 h 625"/>
                <a:gd name="T40" fmla="*/ 835 w 862"/>
                <a:gd name="T41" fmla="*/ 510 h 625"/>
                <a:gd name="T42" fmla="*/ 838 w 862"/>
                <a:gd name="T43" fmla="*/ 462 h 625"/>
                <a:gd name="T44" fmla="*/ 326 w 862"/>
                <a:gd name="T45" fmla="*/ 154 h 625"/>
                <a:gd name="T46" fmla="*/ 339 w 862"/>
                <a:gd name="T47" fmla="*/ 146 h 625"/>
                <a:gd name="T48" fmla="*/ 331 w 862"/>
                <a:gd name="T49" fmla="*/ 149 h 625"/>
                <a:gd name="T50" fmla="*/ 315 w 862"/>
                <a:gd name="T51" fmla="*/ 205 h 625"/>
                <a:gd name="T52" fmla="*/ 635 w 862"/>
                <a:gd name="T53" fmla="*/ 510 h 625"/>
                <a:gd name="T54" fmla="*/ 654 w 862"/>
                <a:gd name="T55" fmla="*/ 569 h 625"/>
                <a:gd name="T56" fmla="*/ 667 w 862"/>
                <a:gd name="T57" fmla="*/ 563 h 625"/>
                <a:gd name="T58" fmla="*/ 675 w 862"/>
                <a:gd name="T59" fmla="*/ 539 h 625"/>
                <a:gd name="T60" fmla="*/ 678 w 862"/>
                <a:gd name="T61" fmla="*/ 496 h 625"/>
                <a:gd name="T62" fmla="*/ 657 w 862"/>
                <a:gd name="T63" fmla="*/ 392 h 625"/>
                <a:gd name="T64" fmla="*/ 657 w 862"/>
                <a:gd name="T65" fmla="*/ 280 h 625"/>
                <a:gd name="T66" fmla="*/ 635 w 862"/>
                <a:gd name="T67" fmla="*/ 189 h 625"/>
                <a:gd name="T68" fmla="*/ 622 w 862"/>
                <a:gd name="T69" fmla="*/ 189 h 625"/>
                <a:gd name="T70" fmla="*/ 617 w 862"/>
                <a:gd name="T71" fmla="*/ 160 h 625"/>
                <a:gd name="T72" fmla="*/ 601 w 862"/>
                <a:gd name="T73" fmla="*/ 130 h 625"/>
                <a:gd name="T74" fmla="*/ 592 w 862"/>
                <a:gd name="T75" fmla="*/ 74 h 625"/>
                <a:gd name="T76" fmla="*/ 584 w 862"/>
                <a:gd name="T77" fmla="*/ 58 h 625"/>
                <a:gd name="T78" fmla="*/ 584 w 862"/>
                <a:gd name="T79" fmla="*/ 40 h 625"/>
                <a:gd name="T80" fmla="*/ 579 w 862"/>
                <a:gd name="T81" fmla="*/ 21 h 625"/>
                <a:gd name="T82" fmla="*/ 534 w 862"/>
                <a:gd name="T83" fmla="*/ 10 h 625"/>
                <a:gd name="T84" fmla="*/ 414 w 862"/>
                <a:gd name="T85" fmla="*/ 45 h 625"/>
                <a:gd name="T86" fmla="*/ 347 w 862"/>
                <a:gd name="T87" fmla="*/ 138 h 625"/>
                <a:gd name="T88" fmla="*/ 310 w 862"/>
                <a:gd name="T89" fmla="*/ 195 h 625"/>
                <a:gd name="T90" fmla="*/ 326 w 862"/>
                <a:gd name="T91" fmla="*/ 192 h 625"/>
                <a:gd name="T92" fmla="*/ 336 w 862"/>
                <a:gd name="T93" fmla="*/ 200 h 625"/>
                <a:gd name="T94" fmla="*/ 318 w 862"/>
                <a:gd name="T95" fmla="*/ 221 h 625"/>
                <a:gd name="T96" fmla="*/ 334 w 862"/>
                <a:gd name="T97" fmla="*/ 243 h 625"/>
                <a:gd name="T98" fmla="*/ 288 w 862"/>
                <a:gd name="T99" fmla="*/ 299 h 625"/>
                <a:gd name="T100" fmla="*/ 264 w 862"/>
                <a:gd name="T101" fmla="*/ 317 h 625"/>
                <a:gd name="T102" fmla="*/ 115 w 862"/>
                <a:gd name="T103" fmla="*/ 328 h 625"/>
                <a:gd name="T104" fmla="*/ 72 w 862"/>
                <a:gd name="T105" fmla="*/ 384 h 625"/>
                <a:gd name="T106" fmla="*/ 70 w 862"/>
                <a:gd name="T107" fmla="*/ 430 h 625"/>
                <a:gd name="T108" fmla="*/ 35 w 862"/>
                <a:gd name="T109" fmla="*/ 472 h 625"/>
                <a:gd name="T110" fmla="*/ 5 w 862"/>
                <a:gd name="T111" fmla="*/ 529 h 625"/>
                <a:gd name="T112" fmla="*/ 182 w 862"/>
                <a:gd name="T113" fmla="*/ 510 h 625"/>
                <a:gd name="T114" fmla="*/ 424 w 862"/>
                <a:gd name="T115" fmla="*/ 459 h 625"/>
                <a:gd name="T116" fmla="*/ 499 w 862"/>
                <a:gd name="T117" fmla="*/ 464 h 625"/>
                <a:gd name="T118" fmla="*/ 512 w 862"/>
                <a:gd name="T119" fmla="*/ 496 h 625"/>
                <a:gd name="T120" fmla="*/ 552 w 862"/>
                <a:gd name="T121" fmla="*/ 515 h 625"/>
                <a:gd name="T122" fmla="*/ 70 w 862"/>
                <a:gd name="T123" fmla="*/ 387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62" h="625">
                  <a:moveTo>
                    <a:pt x="643" y="601"/>
                  </a:moveTo>
                  <a:lnTo>
                    <a:pt x="643" y="601"/>
                  </a:lnTo>
                  <a:lnTo>
                    <a:pt x="641" y="603"/>
                  </a:lnTo>
                  <a:lnTo>
                    <a:pt x="641" y="603"/>
                  </a:lnTo>
                  <a:lnTo>
                    <a:pt x="638" y="603"/>
                  </a:lnTo>
                  <a:lnTo>
                    <a:pt x="635" y="603"/>
                  </a:lnTo>
                  <a:lnTo>
                    <a:pt x="635" y="603"/>
                  </a:lnTo>
                  <a:lnTo>
                    <a:pt x="633" y="606"/>
                  </a:lnTo>
                  <a:lnTo>
                    <a:pt x="635" y="609"/>
                  </a:lnTo>
                  <a:lnTo>
                    <a:pt x="635" y="614"/>
                  </a:lnTo>
                  <a:lnTo>
                    <a:pt x="635" y="614"/>
                  </a:lnTo>
                  <a:lnTo>
                    <a:pt x="633" y="617"/>
                  </a:lnTo>
                  <a:lnTo>
                    <a:pt x="633" y="617"/>
                  </a:lnTo>
                  <a:lnTo>
                    <a:pt x="633" y="617"/>
                  </a:lnTo>
                  <a:lnTo>
                    <a:pt x="633" y="619"/>
                  </a:lnTo>
                  <a:lnTo>
                    <a:pt x="633" y="619"/>
                  </a:lnTo>
                  <a:lnTo>
                    <a:pt x="633" y="625"/>
                  </a:lnTo>
                  <a:lnTo>
                    <a:pt x="643" y="614"/>
                  </a:lnTo>
                  <a:lnTo>
                    <a:pt x="649" y="609"/>
                  </a:lnTo>
                  <a:lnTo>
                    <a:pt x="646" y="601"/>
                  </a:lnTo>
                  <a:lnTo>
                    <a:pt x="643" y="601"/>
                  </a:lnTo>
                  <a:close/>
                  <a:moveTo>
                    <a:pt x="731" y="579"/>
                  </a:moveTo>
                  <a:lnTo>
                    <a:pt x="731" y="579"/>
                  </a:lnTo>
                  <a:lnTo>
                    <a:pt x="731" y="577"/>
                  </a:lnTo>
                  <a:lnTo>
                    <a:pt x="731" y="577"/>
                  </a:lnTo>
                  <a:lnTo>
                    <a:pt x="731" y="577"/>
                  </a:lnTo>
                  <a:lnTo>
                    <a:pt x="729" y="579"/>
                  </a:lnTo>
                  <a:lnTo>
                    <a:pt x="723" y="579"/>
                  </a:lnTo>
                  <a:lnTo>
                    <a:pt x="721" y="579"/>
                  </a:lnTo>
                  <a:lnTo>
                    <a:pt x="721" y="582"/>
                  </a:lnTo>
                  <a:lnTo>
                    <a:pt x="721" y="582"/>
                  </a:lnTo>
                  <a:lnTo>
                    <a:pt x="718" y="585"/>
                  </a:lnTo>
                  <a:lnTo>
                    <a:pt x="718" y="585"/>
                  </a:lnTo>
                  <a:lnTo>
                    <a:pt x="715" y="585"/>
                  </a:lnTo>
                  <a:lnTo>
                    <a:pt x="702" y="593"/>
                  </a:lnTo>
                  <a:lnTo>
                    <a:pt x="705" y="593"/>
                  </a:lnTo>
                  <a:lnTo>
                    <a:pt x="718" y="587"/>
                  </a:lnTo>
                  <a:lnTo>
                    <a:pt x="723" y="582"/>
                  </a:lnTo>
                  <a:lnTo>
                    <a:pt x="731" y="579"/>
                  </a:lnTo>
                  <a:lnTo>
                    <a:pt x="731" y="579"/>
                  </a:lnTo>
                  <a:close/>
                  <a:moveTo>
                    <a:pt x="777" y="550"/>
                  </a:moveTo>
                  <a:lnTo>
                    <a:pt x="771" y="555"/>
                  </a:lnTo>
                  <a:lnTo>
                    <a:pt x="766" y="558"/>
                  </a:lnTo>
                  <a:lnTo>
                    <a:pt x="766" y="558"/>
                  </a:lnTo>
                  <a:lnTo>
                    <a:pt x="763" y="561"/>
                  </a:lnTo>
                  <a:lnTo>
                    <a:pt x="761" y="561"/>
                  </a:lnTo>
                  <a:lnTo>
                    <a:pt x="758" y="563"/>
                  </a:lnTo>
                  <a:lnTo>
                    <a:pt x="758" y="563"/>
                  </a:lnTo>
                  <a:lnTo>
                    <a:pt x="755" y="566"/>
                  </a:lnTo>
                  <a:lnTo>
                    <a:pt x="753" y="569"/>
                  </a:lnTo>
                  <a:lnTo>
                    <a:pt x="747" y="574"/>
                  </a:lnTo>
                  <a:lnTo>
                    <a:pt x="737" y="577"/>
                  </a:lnTo>
                  <a:lnTo>
                    <a:pt x="734" y="579"/>
                  </a:lnTo>
                  <a:lnTo>
                    <a:pt x="731" y="582"/>
                  </a:lnTo>
                  <a:lnTo>
                    <a:pt x="729" y="582"/>
                  </a:lnTo>
                  <a:lnTo>
                    <a:pt x="729" y="582"/>
                  </a:lnTo>
                  <a:lnTo>
                    <a:pt x="734" y="582"/>
                  </a:lnTo>
                  <a:lnTo>
                    <a:pt x="742" y="577"/>
                  </a:lnTo>
                  <a:lnTo>
                    <a:pt x="753" y="569"/>
                  </a:lnTo>
                  <a:lnTo>
                    <a:pt x="755" y="569"/>
                  </a:lnTo>
                  <a:lnTo>
                    <a:pt x="758" y="566"/>
                  </a:lnTo>
                  <a:lnTo>
                    <a:pt x="763" y="561"/>
                  </a:lnTo>
                  <a:lnTo>
                    <a:pt x="771" y="555"/>
                  </a:lnTo>
                  <a:lnTo>
                    <a:pt x="774" y="555"/>
                  </a:lnTo>
                  <a:lnTo>
                    <a:pt x="774" y="553"/>
                  </a:lnTo>
                  <a:lnTo>
                    <a:pt x="779" y="550"/>
                  </a:lnTo>
                  <a:lnTo>
                    <a:pt x="779" y="550"/>
                  </a:lnTo>
                  <a:lnTo>
                    <a:pt x="777" y="550"/>
                  </a:lnTo>
                  <a:close/>
                  <a:moveTo>
                    <a:pt x="862" y="486"/>
                  </a:moveTo>
                  <a:lnTo>
                    <a:pt x="859" y="486"/>
                  </a:lnTo>
                  <a:lnTo>
                    <a:pt x="857" y="486"/>
                  </a:lnTo>
                  <a:lnTo>
                    <a:pt x="857" y="488"/>
                  </a:lnTo>
                  <a:lnTo>
                    <a:pt x="857" y="488"/>
                  </a:lnTo>
                  <a:lnTo>
                    <a:pt x="854" y="488"/>
                  </a:lnTo>
                  <a:lnTo>
                    <a:pt x="854" y="488"/>
                  </a:lnTo>
                  <a:lnTo>
                    <a:pt x="851" y="488"/>
                  </a:lnTo>
                  <a:lnTo>
                    <a:pt x="851" y="491"/>
                  </a:lnTo>
                  <a:lnTo>
                    <a:pt x="849" y="491"/>
                  </a:lnTo>
                  <a:lnTo>
                    <a:pt x="849" y="494"/>
                  </a:lnTo>
                  <a:lnTo>
                    <a:pt x="846" y="496"/>
                  </a:lnTo>
                  <a:lnTo>
                    <a:pt x="841" y="499"/>
                  </a:lnTo>
                  <a:lnTo>
                    <a:pt x="841" y="502"/>
                  </a:lnTo>
                  <a:lnTo>
                    <a:pt x="838" y="499"/>
                  </a:lnTo>
                  <a:lnTo>
                    <a:pt x="838" y="499"/>
                  </a:lnTo>
                  <a:lnTo>
                    <a:pt x="833" y="494"/>
                  </a:lnTo>
                  <a:lnTo>
                    <a:pt x="830" y="494"/>
                  </a:lnTo>
                  <a:lnTo>
                    <a:pt x="830" y="496"/>
                  </a:lnTo>
                  <a:lnTo>
                    <a:pt x="830" y="499"/>
                  </a:lnTo>
                  <a:lnTo>
                    <a:pt x="830" y="502"/>
                  </a:lnTo>
                  <a:lnTo>
                    <a:pt x="825" y="499"/>
                  </a:lnTo>
                  <a:lnTo>
                    <a:pt x="825" y="499"/>
                  </a:lnTo>
                  <a:lnTo>
                    <a:pt x="825" y="499"/>
                  </a:lnTo>
                  <a:lnTo>
                    <a:pt x="825" y="502"/>
                  </a:lnTo>
                  <a:lnTo>
                    <a:pt x="825" y="502"/>
                  </a:lnTo>
                  <a:lnTo>
                    <a:pt x="822" y="502"/>
                  </a:lnTo>
                  <a:lnTo>
                    <a:pt x="819" y="504"/>
                  </a:lnTo>
                  <a:lnTo>
                    <a:pt x="819" y="504"/>
                  </a:lnTo>
                  <a:lnTo>
                    <a:pt x="817" y="504"/>
                  </a:lnTo>
                  <a:lnTo>
                    <a:pt x="817" y="502"/>
                  </a:lnTo>
                  <a:lnTo>
                    <a:pt x="817" y="502"/>
                  </a:lnTo>
                  <a:lnTo>
                    <a:pt x="814" y="502"/>
                  </a:lnTo>
                  <a:lnTo>
                    <a:pt x="817" y="504"/>
                  </a:lnTo>
                  <a:lnTo>
                    <a:pt x="814" y="507"/>
                  </a:lnTo>
                  <a:lnTo>
                    <a:pt x="811" y="510"/>
                  </a:lnTo>
                  <a:lnTo>
                    <a:pt x="809" y="515"/>
                  </a:lnTo>
                  <a:lnTo>
                    <a:pt x="806" y="518"/>
                  </a:lnTo>
                  <a:lnTo>
                    <a:pt x="806" y="521"/>
                  </a:lnTo>
                  <a:lnTo>
                    <a:pt x="809" y="521"/>
                  </a:lnTo>
                  <a:lnTo>
                    <a:pt x="806" y="523"/>
                  </a:lnTo>
                  <a:lnTo>
                    <a:pt x="803" y="523"/>
                  </a:lnTo>
                  <a:lnTo>
                    <a:pt x="801" y="526"/>
                  </a:lnTo>
                  <a:lnTo>
                    <a:pt x="801" y="526"/>
                  </a:lnTo>
                  <a:lnTo>
                    <a:pt x="798" y="526"/>
                  </a:lnTo>
                  <a:lnTo>
                    <a:pt x="795" y="526"/>
                  </a:lnTo>
                  <a:lnTo>
                    <a:pt x="793" y="529"/>
                  </a:lnTo>
                  <a:lnTo>
                    <a:pt x="793" y="526"/>
                  </a:lnTo>
                  <a:lnTo>
                    <a:pt x="790" y="526"/>
                  </a:lnTo>
                  <a:lnTo>
                    <a:pt x="790" y="526"/>
                  </a:lnTo>
                  <a:lnTo>
                    <a:pt x="787" y="529"/>
                  </a:lnTo>
                  <a:lnTo>
                    <a:pt x="790" y="526"/>
                  </a:lnTo>
                  <a:lnTo>
                    <a:pt x="790" y="523"/>
                  </a:lnTo>
                  <a:lnTo>
                    <a:pt x="793" y="521"/>
                  </a:lnTo>
                  <a:lnTo>
                    <a:pt x="795" y="521"/>
                  </a:lnTo>
                  <a:lnTo>
                    <a:pt x="795" y="518"/>
                  </a:lnTo>
                  <a:lnTo>
                    <a:pt x="795" y="515"/>
                  </a:lnTo>
                  <a:lnTo>
                    <a:pt x="795" y="515"/>
                  </a:lnTo>
                  <a:lnTo>
                    <a:pt x="798" y="515"/>
                  </a:lnTo>
                  <a:lnTo>
                    <a:pt x="798" y="513"/>
                  </a:lnTo>
                  <a:lnTo>
                    <a:pt x="798" y="513"/>
                  </a:lnTo>
                  <a:lnTo>
                    <a:pt x="798" y="513"/>
                  </a:lnTo>
                  <a:lnTo>
                    <a:pt x="801" y="513"/>
                  </a:lnTo>
                  <a:lnTo>
                    <a:pt x="801" y="510"/>
                  </a:lnTo>
                  <a:lnTo>
                    <a:pt x="803" y="510"/>
                  </a:lnTo>
                  <a:lnTo>
                    <a:pt x="803" y="510"/>
                  </a:lnTo>
                  <a:lnTo>
                    <a:pt x="803" y="513"/>
                  </a:lnTo>
                  <a:lnTo>
                    <a:pt x="806" y="513"/>
                  </a:lnTo>
                  <a:lnTo>
                    <a:pt x="806" y="510"/>
                  </a:lnTo>
                  <a:lnTo>
                    <a:pt x="806" y="510"/>
                  </a:lnTo>
                  <a:lnTo>
                    <a:pt x="803" y="507"/>
                  </a:lnTo>
                  <a:lnTo>
                    <a:pt x="803" y="507"/>
                  </a:lnTo>
                  <a:lnTo>
                    <a:pt x="806" y="504"/>
                  </a:lnTo>
                  <a:lnTo>
                    <a:pt x="806" y="504"/>
                  </a:lnTo>
                  <a:lnTo>
                    <a:pt x="809" y="504"/>
                  </a:lnTo>
                  <a:lnTo>
                    <a:pt x="809" y="502"/>
                  </a:lnTo>
                  <a:lnTo>
                    <a:pt x="809" y="502"/>
                  </a:lnTo>
                  <a:lnTo>
                    <a:pt x="806" y="502"/>
                  </a:lnTo>
                  <a:lnTo>
                    <a:pt x="806" y="502"/>
                  </a:lnTo>
                  <a:lnTo>
                    <a:pt x="806" y="502"/>
                  </a:lnTo>
                  <a:lnTo>
                    <a:pt x="811" y="491"/>
                  </a:lnTo>
                  <a:lnTo>
                    <a:pt x="814" y="488"/>
                  </a:lnTo>
                  <a:lnTo>
                    <a:pt x="817" y="491"/>
                  </a:lnTo>
                  <a:lnTo>
                    <a:pt x="817" y="491"/>
                  </a:lnTo>
                  <a:lnTo>
                    <a:pt x="819" y="488"/>
                  </a:lnTo>
                  <a:lnTo>
                    <a:pt x="819" y="486"/>
                  </a:lnTo>
                  <a:lnTo>
                    <a:pt x="819" y="486"/>
                  </a:lnTo>
                  <a:lnTo>
                    <a:pt x="819" y="483"/>
                  </a:lnTo>
                  <a:lnTo>
                    <a:pt x="819" y="483"/>
                  </a:lnTo>
                  <a:lnTo>
                    <a:pt x="817" y="483"/>
                  </a:lnTo>
                  <a:lnTo>
                    <a:pt x="814" y="483"/>
                  </a:lnTo>
                  <a:lnTo>
                    <a:pt x="811" y="488"/>
                  </a:lnTo>
                  <a:lnTo>
                    <a:pt x="809" y="491"/>
                  </a:lnTo>
                  <a:lnTo>
                    <a:pt x="806" y="494"/>
                  </a:lnTo>
                  <a:lnTo>
                    <a:pt x="806" y="496"/>
                  </a:lnTo>
                  <a:lnTo>
                    <a:pt x="801" y="499"/>
                  </a:lnTo>
                  <a:lnTo>
                    <a:pt x="801" y="499"/>
                  </a:lnTo>
                  <a:lnTo>
                    <a:pt x="798" y="504"/>
                  </a:lnTo>
                  <a:lnTo>
                    <a:pt x="793" y="507"/>
                  </a:lnTo>
                  <a:lnTo>
                    <a:pt x="787" y="515"/>
                  </a:lnTo>
                  <a:lnTo>
                    <a:pt x="785" y="518"/>
                  </a:lnTo>
                  <a:lnTo>
                    <a:pt x="774" y="523"/>
                  </a:lnTo>
                  <a:lnTo>
                    <a:pt x="755" y="526"/>
                  </a:lnTo>
                  <a:lnTo>
                    <a:pt x="739" y="531"/>
                  </a:lnTo>
                  <a:lnTo>
                    <a:pt x="739" y="531"/>
                  </a:lnTo>
                  <a:lnTo>
                    <a:pt x="739" y="534"/>
                  </a:lnTo>
                  <a:lnTo>
                    <a:pt x="739" y="534"/>
                  </a:lnTo>
                  <a:lnTo>
                    <a:pt x="737" y="534"/>
                  </a:lnTo>
                  <a:lnTo>
                    <a:pt x="737" y="531"/>
                  </a:lnTo>
                  <a:lnTo>
                    <a:pt x="734" y="531"/>
                  </a:lnTo>
                  <a:lnTo>
                    <a:pt x="734" y="531"/>
                  </a:lnTo>
                  <a:lnTo>
                    <a:pt x="731" y="534"/>
                  </a:lnTo>
                  <a:lnTo>
                    <a:pt x="731" y="537"/>
                  </a:lnTo>
                  <a:lnTo>
                    <a:pt x="731" y="539"/>
                  </a:lnTo>
                  <a:lnTo>
                    <a:pt x="731" y="539"/>
                  </a:lnTo>
                  <a:lnTo>
                    <a:pt x="726" y="542"/>
                  </a:lnTo>
                  <a:lnTo>
                    <a:pt x="723" y="545"/>
                  </a:lnTo>
                  <a:lnTo>
                    <a:pt x="723" y="542"/>
                  </a:lnTo>
                  <a:lnTo>
                    <a:pt x="721" y="542"/>
                  </a:lnTo>
                  <a:lnTo>
                    <a:pt x="721" y="542"/>
                  </a:lnTo>
                  <a:lnTo>
                    <a:pt x="718" y="542"/>
                  </a:lnTo>
                  <a:lnTo>
                    <a:pt x="707" y="542"/>
                  </a:lnTo>
                  <a:lnTo>
                    <a:pt x="705" y="542"/>
                  </a:lnTo>
                  <a:lnTo>
                    <a:pt x="705" y="545"/>
                  </a:lnTo>
                  <a:lnTo>
                    <a:pt x="707" y="545"/>
                  </a:lnTo>
                  <a:lnTo>
                    <a:pt x="710" y="545"/>
                  </a:lnTo>
                  <a:lnTo>
                    <a:pt x="710" y="545"/>
                  </a:lnTo>
                  <a:lnTo>
                    <a:pt x="713" y="545"/>
                  </a:lnTo>
                  <a:lnTo>
                    <a:pt x="713" y="547"/>
                  </a:lnTo>
                  <a:lnTo>
                    <a:pt x="710" y="547"/>
                  </a:lnTo>
                  <a:lnTo>
                    <a:pt x="710" y="547"/>
                  </a:lnTo>
                  <a:lnTo>
                    <a:pt x="707" y="547"/>
                  </a:lnTo>
                  <a:lnTo>
                    <a:pt x="705" y="550"/>
                  </a:lnTo>
                  <a:lnTo>
                    <a:pt x="705" y="547"/>
                  </a:lnTo>
                  <a:lnTo>
                    <a:pt x="702" y="547"/>
                  </a:lnTo>
                  <a:lnTo>
                    <a:pt x="702" y="545"/>
                  </a:lnTo>
                  <a:lnTo>
                    <a:pt x="702" y="545"/>
                  </a:lnTo>
                  <a:lnTo>
                    <a:pt x="699" y="545"/>
                  </a:lnTo>
                  <a:lnTo>
                    <a:pt x="697" y="547"/>
                  </a:lnTo>
                  <a:lnTo>
                    <a:pt x="699" y="547"/>
                  </a:lnTo>
                  <a:lnTo>
                    <a:pt x="699" y="550"/>
                  </a:lnTo>
                  <a:lnTo>
                    <a:pt x="702" y="550"/>
                  </a:lnTo>
                  <a:lnTo>
                    <a:pt x="699" y="553"/>
                  </a:lnTo>
                  <a:lnTo>
                    <a:pt x="697" y="553"/>
                  </a:lnTo>
                  <a:lnTo>
                    <a:pt x="697" y="553"/>
                  </a:lnTo>
                  <a:lnTo>
                    <a:pt x="697" y="550"/>
                  </a:lnTo>
                  <a:lnTo>
                    <a:pt x="697" y="550"/>
                  </a:lnTo>
                  <a:lnTo>
                    <a:pt x="691" y="550"/>
                  </a:lnTo>
                  <a:lnTo>
                    <a:pt x="683" y="553"/>
                  </a:lnTo>
                  <a:lnTo>
                    <a:pt x="681" y="558"/>
                  </a:lnTo>
                  <a:lnTo>
                    <a:pt x="686" y="566"/>
                  </a:lnTo>
                  <a:lnTo>
                    <a:pt x="683" y="566"/>
                  </a:lnTo>
                  <a:lnTo>
                    <a:pt x="681" y="563"/>
                  </a:lnTo>
                  <a:lnTo>
                    <a:pt x="678" y="561"/>
                  </a:lnTo>
                  <a:lnTo>
                    <a:pt x="675" y="561"/>
                  </a:lnTo>
                  <a:lnTo>
                    <a:pt x="675" y="561"/>
                  </a:lnTo>
                  <a:lnTo>
                    <a:pt x="675" y="563"/>
                  </a:lnTo>
                  <a:lnTo>
                    <a:pt x="675" y="566"/>
                  </a:lnTo>
                  <a:lnTo>
                    <a:pt x="678" y="566"/>
                  </a:lnTo>
                  <a:lnTo>
                    <a:pt x="678" y="566"/>
                  </a:lnTo>
                  <a:lnTo>
                    <a:pt x="678" y="569"/>
                  </a:lnTo>
                  <a:lnTo>
                    <a:pt x="678" y="569"/>
                  </a:lnTo>
                  <a:lnTo>
                    <a:pt x="678" y="569"/>
                  </a:lnTo>
                  <a:lnTo>
                    <a:pt x="675" y="569"/>
                  </a:lnTo>
                  <a:lnTo>
                    <a:pt x="675" y="566"/>
                  </a:lnTo>
                  <a:lnTo>
                    <a:pt x="673" y="566"/>
                  </a:lnTo>
                  <a:lnTo>
                    <a:pt x="673" y="569"/>
                  </a:lnTo>
                  <a:lnTo>
                    <a:pt x="673" y="571"/>
                  </a:lnTo>
                  <a:lnTo>
                    <a:pt x="673" y="574"/>
                  </a:lnTo>
                  <a:lnTo>
                    <a:pt x="670" y="571"/>
                  </a:lnTo>
                  <a:lnTo>
                    <a:pt x="667" y="571"/>
                  </a:lnTo>
                  <a:lnTo>
                    <a:pt x="665" y="574"/>
                  </a:lnTo>
                  <a:lnTo>
                    <a:pt x="665" y="577"/>
                  </a:lnTo>
                  <a:lnTo>
                    <a:pt x="659" y="577"/>
                  </a:lnTo>
                  <a:lnTo>
                    <a:pt x="657" y="579"/>
                  </a:lnTo>
                  <a:lnTo>
                    <a:pt x="654" y="590"/>
                  </a:lnTo>
                  <a:lnTo>
                    <a:pt x="654" y="590"/>
                  </a:lnTo>
                  <a:lnTo>
                    <a:pt x="651" y="590"/>
                  </a:lnTo>
                  <a:lnTo>
                    <a:pt x="651" y="593"/>
                  </a:lnTo>
                  <a:lnTo>
                    <a:pt x="651" y="593"/>
                  </a:lnTo>
                  <a:lnTo>
                    <a:pt x="651" y="593"/>
                  </a:lnTo>
                  <a:lnTo>
                    <a:pt x="651" y="593"/>
                  </a:lnTo>
                  <a:lnTo>
                    <a:pt x="649" y="598"/>
                  </a:lnTo>
                  <a:lnTo>
                    <a:pt x="649" y="598"/>
                  </a:lnTo>
                  <a:lnTo>
                    <a:pt x="651" y="603"/>
                  </a:lnTo>
                  <a:lnTo>
                    <a:pt x="654" y="606"/>
                  </a:lnTo>
                  <a:lnTo>
                    <a:pt x="654" y="609"/>
                  </a:lnTo>
                  <a:lnTo>
                    <a:pt x="657" y="606"/>
                  </a:lnTo>
                  <a:lnTo>
                    <a:pt x="662" y="606"/>
                  </a:lnTo>
                  <a:lnTo>
                    <a:pt x="662" y="603"/>
                  </a:lnTo>
                  <a:lnTo>
                    <a:pt x="662" y="603"/>
                  </a:lnTo>
                  <a:lnTo>
                    <a:pt x="665" y="603"/>
                  </a:lnTo>
                  <a:lnTo>
                    <a:pt x="665" y="603"/>
                  </a:lnTo>
                  <a:lnTo>
                    <a:pt x="665" y="603"/>
                  </a:lnTo>
                  <a:lnTo>
                    <a:pt x="667" y="603"/>
                  </a:lnTo>
                  <a:lnTo>
                    <a:pt x="667" y="601"/>
                  </a:lnTo>
                  <a:lnTo>
                    <a:pt x="665" y="598"/>
                  </a:lnTo>
                  <a:lnTo>
                    <a:pt x="665" y="598"/>
                  </a:lnTo>
                  <a:lnTo>
                    <a:pt x="665" y="598"/>
                  </a:lnTo>
                  <a:lnTo>
                    <a:pt x="665" y="598"/>
                  </a:lnTo>
                  <a:lnTo>
                    <a:pt x="667" y="595"/>
                  </a:lnTo>
                  <a:lnTo>
                    <a:pt x="667" y="593"/>
                  </a:lnTo>
                  <a:lnTo>
                    <a:pt x="670" y="593"/>
                  </a:lnTo>
                  <a:lnTo>
                    <a:pt x="673" y="593"/>
                  </a:lnTo>
                  <a:lnTo>
                    <a:pt x="675" y="593"/>
                  </a:lnTo>
                  <a:lnTo>
                    <a:pt x="678" y="593"/>
                  </a:lnTo>
                  <a:lnTo>
                    <a:pt x="678" y="595"/>
                  </a:lnTo>
                  <a:lnTo>
                    <a:pt x="678" y="595"/>
                  </a:lnTo>
                  <a:lnTo>
                    <a:pt x="678" y="595"/>
                  </a:lnTo>
                  <a:lnTo>
                    <a:pt x="678" y="595"/>
                  </a:lnTo>
                  <a:lnTo>
                    <a:pt x="678" y="598"/>
                  </a:lnTo>
                  <a:lnTo>
                    <a:pt x="665" y="606"/>
                  </a:lnTo>
                  <a:lnTo>
                    <a:pt x="662" y="609"/>
                  </a:lnTo>
                  <a:lnTo>
                    <a:pt x="667" y="609"/>
                  </a:lnTo>
                  <a:lnTo>
                    <a:pt x="681" y="598"/>
                  </a:lnTo>
                  <a:lnTo>
                    <a:pt x="699" y="595"/>
                  </a:lnTo>
                  <a:lnTo>
                    <a:pt x="699" y="593"/>
                  </a:lnTo>
                  <a:lnTo>
                    <a:pt x="697" y="593"/>
                  </a:lnTo>
                  <a:lnTo>
                    <a:pt x="689" y="598"/>
                  </a:lnTo>
                  <a:lnTo>
                    <a:pt x="686" y="595"/>
                  </a:lnTo>
                  <a:lnTo>
                    <a:pt x="686" y="593"/>
                  </a:lnTo>
                  <a:lnTo>
                    <a:pt x="689" y="593"/>
                  </a:lnTo>
                  <a:lnTo>
                    <a:pt x="694" y="590"/>
                  </a:lnTo>
                  <a:lnTo>
                    <a:pt x="705" y="585"/>
                  </a:lnTo>
                  <a:lnTo>
                    <a:pt x="715" y="582"/>
                  </a:lnTo>
                  <a:lnTo>
                    <a:pt x="718" y="579"/>
                  </a:lnTo>
                  <a:lnTo>
                    <a:pt x="721" y="577"/>
                  </a:lnTo>
                  <a:lnTo>
                    <a:pt x="729" y="574"/>
                  </a:lnTo>
                  <a:lnTo>
                    <a:pt x="729" y="571"/>
                  </a:lnTo>
                  <a:lnTo>
                    <a:pt x="729" y="571"/>
                  </a:lnTo>
                  <a:lnTo>
                    <a:pt x="731" y="569"/>
                  </a:lnTo>
                  <a:lnTo>
                    <a:pt x="731" y="569"/>
                  </a:lnTo>
                  <a:lnTo>
                    <a:pt x="737" y="569"/>
                  </a:lnTo>
                  <a:lnTo>
                    <a:pt x="739" y="569"/>
                  </a:lnTo>
                  <a:lnTo>
                    <a:pt x="742" y="569"/>
                  </a:lnTo>
                  <a:lnTo>
                    <a:pt x="742" y="566"/>
                  </a:lnTo>
                  <a:lnTo>
                    <a:pt x="739" y="566"/>
                  </a:lnTo>
                  <a:lnTo>
                    <a:pt x="739" y="563"/>
                  </a:lnTo>
                  <a:lnTo>
                    <a:pt x="742" y="563"/>
                  </a:lnTo>
                  <a:lnTo>
                    <a:pt x="742" y="563"/>
                  </a:lnTo>
                  <a:lnTo>
                    <a:pt x="745" y="563"/>
                  </a:lnTo>
                  <a:lnTo>
                    <a:pt x="745" y="563"/>
                  </a:lnTo>
                  <a:lnTo>
                    <a:pt x="747" y="563"/>
                  </a:lnTo>
                  <a:lnTo>
                    <a:pt x="750" y="561"/>
                  </a:lnTo>
                  <a:lnTo>
                    <a:pt x="753" y="561"/>
                  </a:lnTo>
                  <a:lnTo>
                    <a:pt x="753" y="558"/>
                  </a:lnTo>
                  <a:lnTo>
                    <a:pt x="761" y="558"/>
                  </a:lnTo>
                  <a:lnTo>
                    <a:pt x="763" y="555"/>
                  </a:lnTo>
                  <a:lnTo>
                    <a:pt x="763" y="553"/>
                  </a:lnTo>
                  <a:lnTo>
                    <a:pt x="766" y="553"/>
                  </a:lnTo>
                  <a:lnTo>
                    <a:pt x="769" y="553"/>
                  </a:lnTo>
                  <a:lnTo>
                    <a:pt x="769" y="553"/>
                  </a:lnTo>
                  <a:lnTo>
                    <a:pt x="771" y="553"/>
                  </a:lnTo>
                  <a:lnTo>
                    <a:pt x="774" y="550"/>
                  </a:lnTo>
                  <a:lnTo>
                    <a:pt x="774" y="550"/>
                  </a:lnTo>
                  <a:lnTo>
                    <a:pt x="771" y="547"/>
                  </a:lnTo>
                  <a:lnTo>
                    <a:pt x="774" y="547"/>
                  </a:lnTo>
                  <a:lnTo>
                    <a:pt x="787" y="542"/>
                  </a:lnTo>
                  <a:lnTo>
                    <a:pt x="790" y="542"/>
                  </a:lnTo>
                  <a:lnTo>
                    <a:pt x="787" y="542"/>
                  </a:lnTo>
                  <a:lnTo>
                    <a:pt x="787" y="545"/>
                  </a:lnTo>
                  <a:lnTo>
                    <a:pt x="782" y="547"/>
                  </a:lnTo>
                  <a:lnTo>
                    <a:pt x="782" y="547"/>
                  </a:lnTo>
                  <a:lnTo>
                    <a:pt x="782" y="547"/>
                  </a:lnTo>
                  <a:lnTo>
                    <a:pt x="782" y="547"/>
                  </a:lnTo>
                  <a:lnTo>
                    <a:pt x="782" y="550"/>
                  </a:lnTo>
                  <a:lnTo>
                    <a:pt x="782" y="547"/>
                  </a:lnTo>
                  <a:lnTo>
                    <a:pt x="782" y="547"/>
                  </a:lnTo>
                  <a:lnTo>
                    <a:pt x="782" y="547"/>
                  </a:lnTo>
                  <a:lnTo>
                    <a:pt x="785" y="547"/>
                  </a:lnTo>
                  <a:lnTo>
                    <a:pt x="795" y="539"/>
                  </a:lnTo>
                  <a:lnTo>
                    <a:pt x="801" y="537"/>
                  </a:lnTo>
                  <a:lnTo>
                    <a:pt x="803" y="534"/>
                  </a:lnTo>
                  <a:lnTo>
                    <a:pt x="806" y="531"/>
                  </a:lnTo>
                  <a:lnTo>
                    <a:pt x="803" y="531"/>
                  </a:lnTo>
                  <a:lnTo>
                    <a:pt x="803" y="529"/>
                  </a:lnTo>
                  <a:lnTo>
                    <a:pt x="803" y="529"/>
                  </a:lnTo>
                  <a:lnTo>
                    <a:pt x="803" y="526"/>
                  </a:lnTo>
                  <a:lnTo>
                    <a:pt x="803" y="526"/>
                  </a:lnTo>
                  <a:lnTo>
                    <a:pt x="806" y="526"/>
                  </a:lnTo>
                  <a:lnTo>
                    <a:pt x="809" y="526"/>
                  </a:lnTo>
                  <a:lnTo>
                    <a:pt x="809" y="529"/>
                  </a:lnTo>
                  <a:lnTo>
                    <a:pt x="809" y="531"/>
                  </a:lnTo>
                  <a:lnTo>
                    <a:pt x="809" y="529"/>
                  </a:lnTo>
                  <a:lnTo>
                    <a:pt x="814" y="526"/>
                  </a:lnTo>
                  <a:lnTo>
                    <a:pt x="817" y="526"/>
                  </a:lnTo>
                  <a:lnTo>
                    <a:pt x="822" y="521"/>
                  </a:lnTo>
                  <a:lnTo>
                    <a:pt x="830" y="513"/>
                  </a:lnTo>
                  <a:lnTo>
                    <a:pt x="835" y="510"/>
                  </a:lnTo>
                  <a:lnTo>
                    <a:pt x="843" y="502"/>
                  </a:lnTo>
                  <a:lnTo>
                    <a:pt x="849" y="499"/>
                  </a:lnTo>
                  <a:lnTo>
                    <a:pt x="859" y="488"/>
                  </a:lnTo>
                  <a:lnTo>
                    <a:pt x="862" y="488"/>
                  </a:lnTo>
                  <a:lnTo>
                    <a:pt x="862" y="486"/>
                  </a:lnTo>
                  <a:lnTo>
                    <a:pt x="862" y="486"/>
                  </a:lnTo>
                  <a:lnTo>
                    <a:pt x="862" y="486"/>
                  </a:lnTo>
                  <a:close/>
                  <a:moveTo>
                    <a:pt x="841" y="464"/>
                  </a:moveTo>
                  <a:lnTo>
                    <a:pt x="841" y="464"/>
                  </a:lnTo>
                  <a:lnTo>
                    <a:pt x="843" y="462"/>
                  </a:lnTo>
                  <a:lnTo>
                    <a:pt x="843" y="459"/>
                  </a:lnTo>
                  <a:lnTo>
                    <a:pt x="846" y="459"/>
                  </a:lnTo>
                  <a:lnTo>
                    <a:pt x="846" y="459"/>
                  </a:lnTo>
                  <a:lnTo>
                    <a:pt x="846" y="459"/>
                  </a:lnTo>
                  <a:lnTo>
                    <a:pt x="846" y="456"/>
                  </a:lnTo>
                  <a:lnTo>
                    <a:pt x="838" y="462"/>
                  </a:lnTo>
                  <a:lnTo>
                    <a:pt x="838" y="462"/>
                  </a:lnTo>
                  <a:lnTo>
                    <a:pt x="838" y="464"/>
                  </a:lnTo>
                  <a:lnTo>
                    <a:pt x="838" y="464"/>
                  </a:lnTo>
                  <a:lnTo>
                    <a:pt x="841" y="464"/>
                  </a:lnTo>
                  <a:close/>
                  <a:moveTo>
                    <a:pt x="606" y="101"/>
                  </a:moveTo>
                  <a:lnTo>
                    <a:pt x="606" y="101"/>
                  </a:lnTo>
                  <a:lnTo>
                    <a:pt x="606" y="101"/>
                  </a:lnTo>
                  <a:lnTo>
                    <a:pt x="606" y="101"/>
                  </a:lnTo>
                  <a:close/>
                  <a:moveTo>
                    <a:pt x="318" y="163"/>
                  </a:moveTo>
                  <a:lnTo>
                    <a:pt x="320" y="163"/>
                  </a:lnTo>
                  <a:lnTo>
                    <a:pt x="320" y="163"/>
                  </a:lnTo>
                  <a:lnTo>
                    <a:pt x="326" y="160"/>
                  </a:lnTo>
                  <a:lnTo>
                    <a:pt x="326" y="157"/>
                  </a:lnTo>
                  <a:lnTo>
                    <a:pt x="326" y="157"/>
                  </a:lnTo>
                  <a:lnTo>
                    <a:pt x="326" y="154"/>
                  </a:lnTo>
                  <a:lnTo>
                    <a:pt x="326" y="154"/>
                  </a:lnTo>
                  <a:lnTo>
                    <a:pt x="326" y="154"/>
                  </a:lnTo>
                  <a:lnTo>
                    <a:pt x="326" y="154"/>
                  </a:lnTo>
                  <a:lnTo>
                    <a:pt x="323" y="157"/>
                  </a:lnTo>
                  <a:lnTo>
                    <a:pt x="323" y="157"/>
                  </a:lnTo>
                  <a:lnTo>
                    <a:pt x="320" y="157"/>
                  </a:lnTo>
                  <a:lnTo>
                    <a:pt x="318" y="160"/>
                  </a:lnTo>
                  <a:lnTo>
                    <a:pt x="318" y="160"/>
                  </a:lnTo>
                  <a:lnTo>
                    <a:pt x="318" y="160"/>
                  </a:lnTo>
                  <a:lnTo>
                    <a:pt x="318" y="163"/>
                  </a:lnTo>
                  <a:lnTo>
                    <a:pt x="318" y="163"/>
                  </a:lnTo>
                  <a:close/>
                  <a:moveTo>
                    <a:pt x="328" y="152"/>
                  </a:moveTo>
                  <a:lnTo>
                    <a:pt x="328" y="154"/>
                  </a:lnTo>
                  <a:lnTo>
                    <a:pt x="328" y="154"/>
                  </a:lnTo>
                  <a:lnTo>
                    <a:pt x="331" y="157"/>
                  </a:lnTo>
                  <a:lnTo>
                    <a:pt x="331" y="154"/>
                  </a:lnTo>
                  <a:lnTo>
                    <a:pt x="334" y="152"/>
                  </a:lnTo>
                  <a:lnTo>
                    <a:pt x="336" y="152"/>
                  </a:lnTo>
                  <a:lnTo>
                    <a:pt x="336" y="149"/>
                  </a:lnTo>
                  <a:lnTo>
                    <a:pt x="339" y="146"/>
                  </a:lnTo>
                  <a:lnTo>
                    <a:pt x="339" y="144"/>
                  </a:lnTo>
                  <a:lnTo>
                    <a:pt x="339" y="144"/>
                  </a:lnTo>
                  <a:lnTo>
                    <a:pt x="339" y="144"/>
                  </a:lnTo>
                  <a:lnTo>
                    <a:pt x="339" y="141"/>
                  </a:lnTo>
                  <a:lnTo>
                    <a:pt x="339" y="144"/>
                  </a:lnTo>
                  <a:lnTo>
                    <a:pt x="336" y="144"/>
                  </a:lnTo>
                  <a:lnTo>
                    <a:pt x="336" y="146"/>
                  </a:lnTo>
                  <a:lnTo>
                    <a:pt x="336" y="144"/>
                  </a:lnTo>
                  <a:lnTo>
                    <a:pt x="334" y="146"/>
                  </a:lnTo>
                  <a:lnTo>
                    <a:pt x="334" y="149"/>
                  </a:lnTo>
                  <a:lnTo>
                    <a:pt x="331" y="149"/>
                  </a:lnTo>
                  <a:lnTo>
                    <a:pt x="331" y="149"/>
                  </a:lnTo>
                  <a:lnTo>
                    <a:pt x="331" y="149"/>
                  </a:lnTo>
                  <a:lnTo>
                    <a:pt x="331" y="149"/>
                  </a:lnTo>
                  <a:lnTo>
                    <a:pt x="331" y="149"/>
                  </a:lnTo>
                  <a:lnTo>
                    <a:pt x="331" y="149"/>
                  </a:lnTo>
                  <a:lnTo>
                    <a:pt x="331" y="149"/>
                  </a:lnTo>
                  <a:lnTo>
                    <a:pt x="328" y="149"/>
                  </a:lnTo>
                  <a:lnTo>
                    <a:pt x="328" y="152"/>
                  </a:lnTo>
                  <a:lnTo>
                    <a:pt x="328" y="149"/>
                  </a:lnTo>
                  <a:lnTo>
                    <a:pt x="328" y="152"/>
                  </a:lnTo>
                  <a:lnTo>
                    <a:pt x="328" y="152"/>
                  </a:lnTo>
                  <a:lnTo>
                    <a:pt x="326" y="152"/>
                  </a:lnTo>
                  <a:lnTo>
                    <a:pt x="328" y="152"/>
                  </a:lnTo>
                  <a:lnTo>
                    <a:pt x="328" y="152"/>
                  </a:lnTo>
                  <a:close/>
                  <a:moveTo>
                    <a:pt x="318" y="200"/>
                  </a:moveTo>
                  <a:lnTo>
                    <a:pt x="320" y="197"/>
                  </a:lnTo>
                  <a:lnTo>
                    <a:pt x="320" y="195"/>
                  </a:lnTo>
                  <a:lnTo>
                    <a:pt x="318" y="195"/>
                  </a:lnTo>
                  <a:lnTo>
                    <a:pt x="318" y="195"/>
                  </a:lnTo>
                  <a:lnTo>
                    <a:pt x="315" y="197"/>
                  </a:lnTo>
                  <a:lnTo>
                    <a:pt x="315" y="200"/>
                  </a:lnTo>
                  <a:lnTo>
                    <a:pt x="312" y="200"/>
                  </a:lnTo>
                  <a:lnTo>
                    <a:pt x="315" y="205"/>
                  </a:lnTo>
                  <a:lnTo>
                    <a:pt x="318" y="200"/>
                  </a:lnTo>
                  <a:lnTo>
                    <a:pt x="318" y="200"/>
                  </a:lnTo>
                  <a:close/>
                  <a:moveTo>
                    <a:pt x="651" y="550"/>
                  </a:moveTo>
                  <a:lnTo>
                    <a:pt x="651" y="547"/>
                  </a:lnTo>
                  <a:lnTo>
                    <a:pt x="646" y="537"/>
                  </a:lnTo>
                  <a:lnTo>
                    <a:pt x="646" y="529"/>
                  </a:lnTo>
                  <a:lnTo>
                    <a:pt x="646" y="526"/>
                  </a:lnTo>
                  <a:lnTo>
                    <a:pt x="643" y="526"/>
                  </a:lnTo>
                  <a:lnTo>
                    <a:pt x="641" y="523"/>
                  </a:lnTo>
                  <a:lnTo>
                    <a:pt x="641" y="523"/>
                  </a:lnTo>
                  <a:lnTo>
                    <a:pt x="638" y="521"/>
                  </a:lnTo>
                  <a:lnTo>
                    <a:pt x="635" y="515"/>
                  </a:lnTo>
                  <a:lnTo>
                    <a:pt x="635" y="515"/>
                  </a:lnTo>
                  <a:lnTo>
                    <a:pt x="635" y="515"/>
                  </a:lnTo>
                  <a:lnTo>
                    <a:pt x="635" y="513"/>
                  </a:lnTo>
                  <a:lnTo>
                    <a:pt x="635" y="513"/>
                  </a:lnTo>
                  <a:lnTo>
                    <a:pt x="635" y="510"/>
                  </a:lnTo>
                  <a:lnTo>
                    <a:pt x="638" y="507"/>
                  </a:lnTo>
                  <a:lnTo>
                    <a:pt x="638" y="510"/>
                  </a:lnTo>
                  <a:lnTo>
                    <a:pt x="638" y="513"/>
                  </a:lnTo>
                  <a:lnTo>
                    <a:pt x="638" y="515"/>
                  </a:lnTo>
                  <a:lnTo>
                    <a:pt x="641" y="518"/>
                  </a:lnTo>
                  <a:lnTo>
                    <a:pt x="643" y="521"/>
                  </a:lnTo>
                  <a:lnTo>
                    <a:pt x="646" y="521"/>
                  </a:lnTo>
                  <a:lnTo>
                    <a:pt x="649" y="523"/>
                  </a:lnTo>
                  <a:lnTo>
                    <a:pt x="649" y="529"/>
                  </a:lnTo>
                  <a:lnTo>
                    <a:pt x="651" y="531"/>
                  </a:lnTo>
                  <a:lnTo>
                    <a:pt x="654" y="545"/>
                  </a:lnTo>
                  <a:lnTo>
                    <a:pt x="654" y="547"/>
                  </a:lnTo>
                  <a:lnTo>
                    <a:pt x="654" y="553"/>
                  </a:lnTo>
                  <a:lnTo>
                    <a:pt x="654" y="558"/>
                  </a:lnTo>
                  <a:lnTo>
                    <a:pt x="654" y="563"/>
                  </a:lnTo>
                  <a:lnTo>
                    <a:pt x="654" y="566"/>
                  </a:lnTo>
                  <a:lnTo>
                    <a:pt x="654" y="569"/>
                  </a:lnTo>
                  <a:lnTo>
                    <a:pt x="649" y="582"/>
                  </a:lnTo>
                  <a:lnTo>
                    <a:pt x="649" y="585"/>
                  </a:lnTo>
                  <a:lnTo>
                    <a:pt x="649" y="587"/>
                  </a:lnTo>
                  <a:lnTo>
                    <a:pt x="651" y="590"/>
                  </a:lnTo>
                  <a:lnTo>
                    <a:pt x="651" y="587"/>
                  </a:lnTo>
                  <a:lnTo>
                    <a:pt x="654" y="579"/>
                  </a:lnTo>
                  <a:lnTo>
                    <a:pt x="657" y="574"/>
                  </a:lnTo>
                  <a:lnTo>
                    <a:pt x="657" y="574"/>
                  </a:lnTo>
                  <a:lnTo>
                    <a:pt x="662" y="571"/>
                  </a:lnTo>
                  <a:lnTo>
                    <a:pt x="665" y="569"/>
                  </a:lnTo>
                  <a:lnTo>
                    <a:pt x="670" y="569"/>
                  </a:lnTo>
                  <a:lnTo>
                    <a:pt x="667" y="569"/>
                  </a:lnTo>
                  <a:lnTo>
                    <a:pt x="665" y="566"/>
                  </a:lnTo>
                  <a:lnTo>
                    <a:pt x="665" y="566"/>
                  </a:lnTo>
                  <a:lnTo>
                    <a:pt x="665" y="563"/>
                  </a:lnTo>
                  <a:lnTo>
                    <a:pt x="667" y="563"/>
                  </a:lnTo>
                  <a:lnTo>
                    <a:pt x="667" y="563"/>
                  </a:lnTo>
                  <a:lnTo>
                    <a:pt x="667" y="563"/>
                  </a:lnTo>
                  <a:lnTo>
                    <a:pt x="667" y="561"/>
                  </a:lnTo>
                  <a:lnTo>
                    <a:pt x="670" y="558"/>
                  </a:lnTo>
                  <a:lnTo>
                    <a:pt x="673" y="553"/>
                  </a:lnTo>
                  <a:lnTo>
                    <a:pt x="673" y="550"/>
                  </a:lnTo>
                  <a:lnTo>
                    <a:pt x="675" y="550"/>
                  </a:lnTo>
                  <a:lnTo>
                    <a:pt x="678" y="550"/>
                  </a:lnTo>
                  <a:lnTo>
                    <a:pt x="678" y="547"/>
                  </a:lnTo>
                  <a:lnTo>
                    <a:pt x="678" y="545"/>
                  </a:lnTo>
                  <a:lnTo>
                    <a:pt x="678" y="545"/>
                  </a:lnTo>
                  <a:lnTo>
                    <a:pt x="678" y="542"/>
                  </a:lnTo>
                  <a:lnTo>
                    <a:pt x="678" y="542"/>
                  </a:lnTo>
                  <a:lnTo>
                    <a:pt x="678" y="542"/>
                  </a:lnTo>
                  <a:lnTo>
                    <a:pt x="678" y="542"/>
                  </a:lnTo>
                  <a:lnTo>
                    <a:pt x="678" y="539"/>
                  </a:lnTo>
                  <a:lnTo>
                    <a:pt x="678" y="539"/>
                  </a:lnTo>
                  <a:lnTo>
                    <a:pt x="675" y="539"/>
                  </a:lnTo>
                  <a:lnTo>
                    <a:pt x="675" y="539"/>
                  </a:lnTo>
                  <a:lnTo>
                    <a:pt x="675" y="539"/>
                  </a:lnTo>
                  <a:lnTo>
                    <a:pt x="675" y="537"/>
                  </a:lnTo>
                  <a:lnTo>
                    <a:pt x="673" y="534"/>
                  </a:lnTo>
                  <a:lnTo>
                    <a:pt x="667" y="531"/>
                  </a:lnTo>
                  <a:lnTo>
                    <a:pt x="667" y="531"/>
                  </a:lnTo>
                  <a:lnTo>
                    <a:pt x="667" y="529"/>
                  </a:lnTo>
                  <a:lnTo>
                    <a:pt x="673" y="526"/>
                  </a:lnTo>
                  <a:lnTo>
                    <a:pt x="678" y="521"/>
                  </a:lnTo>
                  <a:lnTo>
                    <a:pt x="683" y="515"/>
                  </a:lnTo>
                  <a:lnTo>
                    <a:pt x="686" y="510"/>
                  </a:lnTo>
                  <a:lnTo>
                    <a:pt x="689" y="510"/>
                  </a:lnTo>
                  <a:lnTo>
                    <a:pt x="686" y="507"/>
                  </a:lnTo>
                  <a:lnTo>
                    <a:pt x="683" y="504"/>
                  </a:lnTo>
                  <a:lnTo>
                    <a:pt x="683" y="502"/>
                  </a:lnTo>
                  <a:lnTo>
                    <a:pt x="681" y="499"/>
                  </a:lnTo>
                  <a:lnTo>
                    <a:pt x="678" y="496"/>
                  </a:lnTo>
                  <a:lnTo>
                    <a:pt x="678" y="491"/>
                  </a:lnTo>
                  <a:lnTo>
                    <a:pt x="678" y="486"/>
                  </a:lnTo>
                  <a:lnTo>
                    <a:pt x="675" y="478"/>
                  </a:lnTo>
                  <a:lnTo>
                    <a:pt x="675" y="472"/>
                  </a:lnTo>
                  <a:lnTo>
                    <a:pt x="673" y="464"/>
                  </a:lnTo>
                  <a:lnTo>
                    <a:pt x="673" y="459"/>
                  </a:lnTo>
                  <a:lnTo>
                    <a:pt x="673" y="454"/>
                  </a:lnTo>
                  <a:lnTo>
                    <a:pt x="670" y="446"/>
                  </a:lnTo>
                  <a:lnTo>
                    <a:pt x="670" y="440"/>
                  </a:lnTo>
                  <a:lnTo>
                    <a:pt x="667" y="435"/>
                  </a:lnTo>
                  <a:lnTo>
                    <a:pt x="667" y="427"/>
                  </a:lnTo>
                  <a:lnTo>
                    <a:pt x="665" y="422"/>
                  </a:lnTo>
                  <a:lnTo>
                    <a:pt x="665" y="416"/>
                  </a:lnTo>
                  <a:lnTo>
                    <a:pt x="665" y="408"/>
                  </a:lnTo>
                  <a:lnTo>
                    <a:pt x="662" y="403"/>
                  </a:lnTo>
                  <a:lnTo>
                    <a:pt x="662" y="395"/>
                  </a:lnTo>
                  <a:lnTo>
                    <a:pt x="657" y="392"/>
                  </a:lnTo>
                  <a:lnTo>
                    <a:pt x="657" y="390"/>
                  </a:lnTo>
                  <a:lnTo>
                    <a:pt x="659" y="387"/>
                  </a:lnTo>
                  <a:lnTo>
                    <a:pt x="659" y="376"/>
                  </a:lnTo>
                  <a:lnTo>
                    <a:pt x="659" y="355"/>
                  </a:lnTo>
                  <a:lnTo>
                    <a:pt x="659" y="344"/>
                  </a:lnTo>
                  <a:lnTo>
                    <a:pt x="659" y="334"/>
                  </a:lnTo>
                  <a:lnTo>
                    <a:pt x="659" y="323"/>
                  </a:lnTo>
                  <a:lnTo>
                    <a:pt x="659" y="312"/>
                  </a:lnTo>
                  <a:lnTo>
                    <a:pt x="662" y="304"/>
                  </a:lnTo>
                  <a:lnTo>
                    <a:pt x="662" y="299"/>
                  </a:lnTo>
                  <a:lnTo>
                    <a:pt x="662" y="296"/>
                  </a:lnTo>
                  <a:lnTo>
                    <a:pt x="659" y="293"/>
                  </a:lnTo>
                  <a:lnTo>
                    <a:pt x="657" y="291"/>
                  </a:lnTo>
                  <a:lnTo>
                    <a:pt x="657" y="285"/>
                  </a:lnTo>
                  <a:lnTo>
                    <a:pt x="657" y="283"/>
                  </a:lnTo>
                  <a:lnTo>
                    <a:pt x="657" y="280"/>
                  </a:lnTo>
                  <a:lnTo>
                    <a:pt x="657" y="280"/>
                  </a:lnTo>
                  <a:lnTo>
                    <a:pt x="657" y="277"/>
                  </a:lnTo>
                  <a:lnTo>
                    <a:pt x="654" y="272"/>
                  </a:lnTo>
                  <a:lnTo>
                    <a:pt x="654" y="267"/>
                  </a:lnTo>
                  <a:lnTo>
                    <a:pt x="651" y="261"/>
                  </a:lnTo>
                  <a:lnTo>
                    <a:pt x="651" y="253"/>
                  </a:lnTo>
                  <a:lnTo>
                    <a:pt x="649" y="245"/>
                  </a:lnTo>
                  <a:lnTo>
                    <a:pt x="646" y="229"/>
                  </a:lnTo>
                  <a:lnTo>
                    <a:pt x="643" y="221"/>
                  </a:lnTo>
                  <a:lnTo>
                    <a:pt x="641" y="213"/>
                  </a:lnTo>
                  <a:lnTo>
                    <a:pt x="641" y="205"/>
                  </a:lnTo>
                  <a:lnTo>
                    <a:pt x="638" y="200"/>
                  </a:lnTo>
                  <a:lnTo>
                    <a:pt x="638" y="197"/>
                  </a:lnTo>
                  <a:lnTo>
                    <a:pt x="638" y="195"/>
                  </a:lnTo>
                  <a:lnTo>
                    <a:pt x="638" y="192"/>
                  </a:lnTo>
                  <a:lnTo>
                    <a:pt x="635" y="189"/>
                  </a:lnTo>
                  <a:lnTo>
                    <a:pt x="635" y="189"/>
                  </a:lnTo>
                  <a:lnTo>
                    <a:pt x="635" y="189"/>
                  </a:lnTo>
                  <a:lnTo>
                    <a:pt x="633" y="189"/>
                  </a:lnTo>
                  <a:lnTo>
                    <a:pt x="633" y="187"/>
                  </a:lnTo>
                  <a:lnTo>
                    <a:pt x="630" y="184"/>
                  </a:lnTo>
                  <a:lnTo>
                    <a:pt x="630" y="181"/>
                  </a:lnTo>
                  <a:lnTo>
                    <a:pt x="627" y="181"/>
                  </a:lnTo>
                  <a:lnTo>
                    <a:pt x="627" y="181"/>
                  </a:lnTo>
                  <a:lnTo>
                    <a:pt x="625" y="181"/>
                  </a:lnTo>
                  <a:lnTo>
                    <a:pt x="625" y="181"/>
                  </a:lnTo>
                  <a:lnTo>
                    <a:pt x="625" y="181"/>
                  </a:lnTo>
                  <a:lnTo>
                    <a:pt x="625" y="181"/>
                  </a:lnTo>
                  <a:lnTo>
                    <a:pt x="622" y="184"/>
                  </a:lnTo>
                  <a:lnTo>
                    <a:pt x="622" y="184"/>
                  </a:lnTo>
                  <a:lnTo>
                    <a:pt x="622" y="184"/>
                  </a:lnTo>
                  <a:lnTo>
                    <a:pt x="622" y="184"/>
                  </a:lnTo>
                  <a:lnTo>
                    <a:pt x="622" y="187"/>
                  </a:lnTo>
                  <a:lnTo>
                    <a:pt x="622" y="189"/>
                  </a:lnTo>
                  <a:lnTo>
                    <a:pt x="622" y="189"/>
                  </a:lnTo>
                  <a:lnTo>
                    <a:pt x="622" y="189"/>
                  </a:lnTo>
                  <a:lnTo>
                    <a:pt x="622" y="189"/>
                  </a:lnTo>
                  <a:lnTo>
                    <a:pt x="619" y="192"/>
                  </a:lnTo>
                  <a:lnTo>
                    <a:pt x="619" y="192"/>
                  </a:lnTo>
                  <a:lnTo>
                    <a:pt x="619" y="192"/>
                  </a:lnTo>
                  <a:lnTo>
                    <a:pt x="619" y="192"/>
                  </a:lnTo>
                  <a:lnTo>
                    <a:pt x="617" y="189"/>
                  </a:lnTo>
                  <a:lnTo>
                    <a:pt x="617" y="189"/>
                  </a:lnTo>
                  <a:lnTo>
                    <a:pt x="617" y="187"/>
                  </a:lnTo>
                  <a:lnTo>
                    <a:pt x="617" y="184"/>
                  </a:lnTo>
                  <a:lnTo>
                    <a:pt x="617" y="181"/>
                  </a:lnTo>
                  <a:lnTo>
                    <a:pt x="617" y="181"/>
                  </a:lnTo>
                  <a:lnTo>
                    <a:pt x="617" y="168"/>
                  </a:lnTo>
                  <a:lnTo>
                    <a:pt x="617" y="165"/>
                  </a:lnTo>
                  <a:lnTo>
                    <a:pt x="617" y="165"/>
                  </a:lnTo>
                  <a:lnTo>
                    <a:pt x="617" y="163"/>
                  </a:lnTo>
                  <a:lnTo>
                    <a:pt x="617" y="160"/>
                  </a:lnTo>
                  <a:lnTo>
                    <a:pt x="614" y="160"/>
                  </a:lnTo>
                  <a:lnTo>
                    <a:pt x="611" y="157"/>
                  </a:lnTo>
                  <a:lnTo>
                    <a:pt x="611" y="157"/>
                  </a:lnTo>
                  <a:lnTo>
                    <a:pt x="611" y="154"/>
                  </a:lnTo>
                  <a:lnTo>
                    <a:pt x="611" y="152"/>
                  </a:lnTo>
                  <a:lnTo>
                    <a:pt x="611" y="152"/>
                  </a:lnTo>
                  <a:lnTo>
                    <a:pt x="611" y="149"/>
                  </a:lnTo>
                  <a:lnTo>
                    <a:pt x="609" y="149"/>
                  </a:lnTo>
                  <a:lnTo>
                    <a:pt x="609" y="146"/>
                  </a:lnTo>
                  <a:lnTo>
                    <a:pt x="606" y="144"/>
                  </a:lnTo>
                  <a:lnTo>
                    <a:pt x="606" y="141"/>
                  </a:lnTo>
                  <a:lnTo>
                    <a:pt x="603" y="136"/>
                  </a:lnTo>
                  <a:lnTo>
                    <a:pt x="603" y="133"/>
                  </a:lnTo>
                  <a:lnTo>
                    <a:pt x="603" y="130"/>
                  </a:lnTo>
                  <a:lnTo>
                    <a:pt x="603" y="130"/>
                  </a:lnTo>
                  <a:lnTo>
                    <a:pt x="603" y="130"/>
                  </a:lnTo>
                  <a:lnTo>
                    <a:pt x="601" y="130"/>
                  </a:lnTo>
                  <a:lnTo>
                    <a:pt x="601" y="130"/>
                  </a:lnTo>
                  <a:lnTo>
                    <a:pt x="601" y="133"/>
                  </a:lnTo>
                  <a:lnTo>
                    <a:pt x="598" y="128"/>
                  </a:lnTo>
                  <a:lnTo>
                    <a:pt x="598" y="112"/>
                  </a:lnTo>
                  <a:lnTo>
                    <a:pt x="595" y="109"/>
                  </a:lnTo>
                  <a:lnTo>
                    <a:pt x="598" y="106"/>
                  </a:lnTo>
                  <a:lnTo>
                    <a:pt x="603" y="98"/>
                  </a:lnTo>
                  <a:lnTo>
                    <a:pt x="603" y="96"/>
                  </a:lnTo>
                  <a:lnTo>
                    <a:pt x="601" y="93"/>
                  </a:lnTo>
                  <a:lnTo>
                    <a:pt x="601" y="93"/>
                  </a:lnTo>
                  <a:lnTo>
                    <a:pt x="601" y="88"/>
                  </a:lnTo>
                  <a:lnTo>
                    <a:pt x="598" y="85"/>
                  </a:lnTo>
                  <a:lnTo>
                    <a:pt x="598" y="82"/>
                  </a:lnTo>
                  <a:lnTo>
                    <a:pt x="595" y="82"/>
                  </a:lnTo>
                  <a:lnTo>
                    <a:pt x="595" y="82"/>
                  </a:lnTo>
                  <a:lnTo>
                    <a:pt x="595" y="74"/>
                  </a:lnTo>
                  <a:lnTo>
                    <a:pt x="592" y="74"/>
                  </a:lnTo>
                  <a:lnTo>
                    <a:pt x="592" y="74"/>
                  </a:lnTo>
                  <a:lnTo>
                    <a:pt x="592" y="77"/>
                  </a:lnTo>
                  <a:lnTo>
                    <a:pt x="592" y="80"/>
                  </a:lnTo>
                  <a:lnTo>
                    <a:pt x="592" y="82"/>
                  </a:lnTo>
                  <a:lnTo>
                    <a:pt x="592" y="80"/>
                  </a:lnTo>
                  <a:lnTo>
                    <a:pt x="590" y="77"/>
                  </a:lnTo>
                  <a:lnTo>
                    <a:pt x="590" y="77"/>
                  </a:lnTo>
                  <a:lnTo>
                    <a:pt x="592" y="74"/>
                  </a:lnTo>
                  <a:lnTo>
                    <a:pt x="592" y="72"/>
                  </a:lnTo>
                  <a:lnTo>
                    <a:pt x="590" y="72"/>
                  </a:lnTo>
                  <a:lnTo>
                    <a:pt x="587" y="69"/>
                  </a:lnTo>
                  <a:lnTo>
                    <a:pt x="590" y="66"/>
                  </a:lnTo>
                  <a:lnTo>
                    <a:pt x="590" y="64"/>
                  </a:lnTo>
                  <a:lnTo>
                    <a:pt x="587" y="61"/>
                  </a:lnTo>
                  <a:lnTo>
                    <a:pt x="587" y="61"/>
                  </a:lnTo>
                  <a:lnTo>
                    <a:pt x="584" y="61"/>
                  </a:lnTo>
                  <a:lnTo>
                    <a:pt x="584" y="58"/>
                  </a:lnTo>
                  <a:lnTo>
                    <a:pt x="582" y="56"/>
                  </a:lnTo>
                  <a:lnTo>
                    <a:pt x="582" y="53"/>
                  </a:lnTo>
                  <a:lnTo>
                    <a:pt x="582" y="53"/>
                  </a:lnTo>
                  <a:lnTo>
                    <a:pt x="582" y="53"/>
                  </a:lnTo>
                  <a:lnTo>
                    <a:pt x="582" y="53"/>
                  </a:lnTo>
                  <a:lnTo>
                    <a:pt x="582" y="50"/>
                  </a:lnTo>
                  <a:lnTo>
                    <a:pt x="579" y="50"/>
                  </a:lnTo>
                  <a:lnTo>
                    <a:pt x="582" y="48"/>
                  </a:lnTo>
                  <a:lnTo>
                    <a:pt x="582" y="45"/>
                  </a:lnTo>
                  <a:lnTo>
                    <a:pt x="579" y="42"/>
                  </a:lnTo>
                  <a:lnTo>
                    <a:pt x="579" y="40"/>
                  </a:lnTo>
                  <a:lnTo>
                    <a:pt x="579" y="40"/>
                  </a:lnTo>
                  <a:lnTo>
                    <a:pt x="582" y="40"/>
                  </a:lnTo>
                  <a:lnTo>
                    <a:pt x="582" y="40"/>
                  </a:lnTo>
                  <a:lnTo>
                    <a:pt x="584" y="42"/>
                  </a:lnTo>
                  <a:lnTo>
                    <a:pt x="584" y="42"/>
                  </a:lnTo>
                  <a:lnTo>
                    <a:pt x="584" y="40"/>
                  </a:lnTo>
                  <a:lnTo>
                    <a:pt x="584" y="40"/>
                  </a:lnTo>
                  <a:lnTo>
                    <a:pt x="584" y="37"/>
                  </a:lnTo>
                  <a:lnTo>
                    <a:pt x="582" y="37"/>
                  </a:lnTo>
                  <a:lnTo>
                    <a:pt x="582" y="37"/>
                  </a:lnTo>
                  <a:lnTo>
                    <a:pt x="579" y="34"/>
                  </a:lnTo>
                  <a:lnTo>
                    <a:pt x="579" y="34"/>
                  </a:lnTo>
                  <a:lnTo>
                    <a:pt x="579" y="34"/>
                  </a:lnTo>
                  <a:lnTo>
                    <a:pt x="579" y="32"/>
                  </a:lnTo>
                  <a:lnTo>
                    <a:pt x="582" y="32"/>
                  </a:lnTo>
                  <a:lnTo>
                    <a:pt x="582" y="32"/>
                  </a:lnTo>
                  <a:lnTo>
                    <a:pt x="582" y="32"/>
                  </a:lnTo>
                  <a:lnTo>
                    <a:pt x="582" y="29"/>
                  </a:lnTo>
                  <a:lnTo>
                    <a:pt x="582" y="26"/>
                  </a:lnTo>
                  <a:lnTo>
                    <a:pt x="582" y="26"/>
                  </a:lnTo>
                  <a:lnTo>
                    <a:pt x="579" y="24"/>
                  </a:lnTo>
                  <a:lnTo>
                    <a:pt x="579" y="24"/>
                  </a:lnTo>
                  <a:lnTo>
                    <a:pt x="579" y="21"/>
                  </a:lnTo>
                  <a:lnTo>
                    <a:pt x="579" y="18"/>
                  </a:lnTo>
                  <a:lnTo>
                    <a:pt x="579" y="13"/>
                  </a:lnTo>
                  <a:lnTo>
                    <a:pt x="576" y="10"/>
                  </a:lnTo>
                  <a:lnTo>
                    <a:pt x="576" y="8"/>
                  </a:lnTo>
                  <a:lnTo>
                    <a:pt x="576" y="8"/>
                  </a:lnTo>
                  <a:lnTo>
                    <a:pt x="579" y="8"/>
                  </a:lnTo>
                  <a:lnTo>
                    <a:pt x="579" y="8"/>
                  </a:lnTo>
                  <a:lnTo>
                    <a:pt x="579" y="5"/>
                  </a:lnTo>
                  <a:lnTo>
                    <a:pt x="579" y="5"/>
                  </a:lnTo>
                  <a:lnTo>
                    <a:pt x="579" y="2"/>
                  </a:lnTo>
                  <a:lnTo>
                    <a:pt x="576" y="0"/>
                  </a:lnTo>
                  <a:lnTo>
                    <a:pt x="576" y="0"/>
                  </a:lnTo>
                  <a:lnTo>
                    <a:pt x="574" y="0"/>
                  </a:lnTo>
                  <a:lnTo>
                    <a:pt x="563" y="2"/>
                  </a:lnTo>
                  <a:lnTo>
                    <a:pt x="552" y="5"/>
                  </a:lnTo>
                  <a:lnTo>
                    <a:pt x="544" y="8"/>
                  </a:lnTo>
                  <a:lnTo>
                    <a:pt x="534" y="10"/>
                  </a:lnTo>
                  <a:lnTo>
                    <a:pt x="523" y="13"/>
                  </a:lnTo>
                  <a:lnTo>
                    <a:pt x="512" y="16"/>
                  </a:lnTo>
                  <a:lnTo>
                    <a:pt x="504" y="18"/>
                  </a:lnTo>
                  <a:lnTo>
                    <a:pt x="494" y="21"/>
                  </a:lnTo>
                  <a:lnTo>
                    <a:pt x="483" y="24"/>
                  </a:lnTo>
                  <a:lnTo>
                    <a:pt x="472" y="26"/>
                  </a:lnTo>
                  <a:lnTo>
                    <a:pt x="464" y="26"/>
                  </a:lnTo>
                  <a:lnTo>
                    <a:pt x="454" y="29"/>
                  </a:lnTo>
                  <a:lnTo>
                    <a:pt x="443" y="32"/>
                  </a:lnTo>
                  <a:lnTo>
                    <a:pt x="443" y="32"/>
                  </a:lnTo>
                  <a:lnTo>
                    <a:pt x="440" y="34"/>
                  </a:lnTo>
                  <a:lnTo>
                    <a:pt x="427" y="34"/>
                  </a:lnTo>
                  <a:lnTo>
                    <a:pt x="424" y="34"/>
                  </a:lnTo>
                  <a:lnTo>
                    <a:pt x="422" y="37"/>
                  </a:lnTo>
                  <a:lnTo>
                    <a:pt x="419" y="40"/>
                  </a:lnTo>
                  <a:lnTo>
                    <a:pt x="414" y="42"/>
                  </a:lnTo>
                  <a:lnTo>
                    <a:pt x="414" y="45"/>
                  </a:lnTo>
                  <a:lnTo>
                    <a:pt x="408" y="48"/>
                  </a:lnTo>
                  <a:lnTo>
                    <a:pt x="408" y="50"/>
                  </a:lnTo>
                  <a:lnTo>
                    <a:pt x="403" y="53"/>
                  </a:lnTo>
                  <a:lnTo>
                    <a:pt x="390" y="64"/>
                  </a:lnTo>
                  <a:lnTo>
                    <a:pt x="384" y="72"/>
                  </a:lnTo>
                  <a:lnTo>
                    <a:pt x="376" y="85"/>
                  </a:lnTo>
                  <a:lnTo>
                    <a:pt x="366" y="98"/>
                  </a:lnTo>
                  <a:lnTo>
                    <a:pt x="355" y="112"/>
                  </a:lnTo>
                  <a:lnTo>
                    <a:pt x="352" y="120"/>
                  </a:lnTo>
                  <a:lnTo>
                    <a:pt x="350" y="125"/>
                  </a:lnTo>
                  <a:lnTo>
                    <a:pt x="350" y="125"/>
                  </a:lnTo>
                  <a:lnTo>
                    <a:pt x="350" y="125"/>
                  </a:lnTo>
                  <a:lnTo>
                    <a:pt x="350" y="125"/>
                  </a:lnTo>
                  <a:lnTo>
                    <a:pt x="352" y="128"/>
                  </a:lnTo>
                  <a:lnTo>
                    <a:pt x="352" y="130"/>
                  </a:lnTo>
                  <a:lnTo>
                    <a:pt x="352" y="133"/>
                  </a:lnTo>
                  <a:lnTo>
                    <a:pt x="347" y="138"/>
                  </a:lnTo>
                  <a:lnTo>
                    <a:pt x="347" y="138"/>
                  </a:lnTo>
                  <a:lnTo>
                    <a:pt x="347" y="138"/>
                  </a:lnTo>
                  <a:lnTo>
                    <a:pt x="347" y="141"/>
                  </a:lnTo>
                  <a:lnTo>
                    <a:pt x="347" y="141"/>
                  </a:lnTo>
                  <a:lnTo>
                    <a:pt x="344" y="141"/>
                  </a:lnTo>
                  <a:lnTo>
                    <a:pt x="342" y="144"/>
                  </a:lnTo>
                  <a:lnTo>
                    <a:pt x="339" y="146"/>
                  </a:lnTo>
                  <a:lnTo>
                    <a:pt x="339" y="146"/>
                  </a:lnTo>
                  <a:lnTo>
                    <a:pt x="328" y="160"/>
                  </a:lnTo>
                  <a:lnTo>
                    <a:pt x="318" y="171"/>
                  </a:lnTo>
                  <a:lnTo>
                    <a:pt x="302" y="187"/>
                  </a:lnTo>
                  <a:lnTo>
                    <a:pt x="302" y="187"/>
                  </a:lnTo>
                  <a:lnTo>
                    <a:pt x="302" y="192"/>
                  </a:lnTo>
                  <a:lnTo>
                    <a:pt x="304" y="192"/>
                  </a:lnTo>
                  <a:lnTo>
                    <a:pt x="307" y="192"/>
                  </a:lnTo>
                  <a:lnTo>
                    <a:pt x="307" y="192"/>
                  </a:lnTo>
                  <a:lnTo>
                    <a:pt x="310" y="195"/>
                  </a:lnTo>
                  <a:lnTo>
                    <a:pt x="310" y="195"/>
                  </a:lnTo>
                  <a:lnTo>
                    <a:pt x="310" y="197"/>
                  </a:lnTo>
                  <a:lnTo>
                    <a:pt x="310" y="197"/>
                  </a:lnTo>
                  <a:lnTo>
                    <a:pt x="310" y="197"/>
                  </a:lnTo>
                  <a:lnTo>
                    <a:pt x="312" y="197"/>
                  </a:lnTo>
                  <a:lnTo>
                    <a:pt x="312" y="197"/>
                  </a:lnTo>
                  <a:lnTo>
                    <a:pt x="312" y="195"/>
                  </a:lnTo>
                  <a:lnTo>
                    <a:pt x="312" y="192"/>
                  </a:lnTo>
                  <a:lnTo>
                    <a:pt x="318" y="189"/>
                  </a:lnTo>
                  <a:lnTo>
                    <a:pt x="320" y="189"/>
                  </a:lnTo>
                  <a:lnTo>
                    <a:pt x="323" y="189"/>
                  </a:lnTo>
                  <a:lnTo>
                    <a:pt x="326" y="189"/>
                  </a:lnTo>
                  <a:lnTo>
                    <a:pt x="326" y="192"/>
                  </a:lnTo>
                  <a:lnTo>
                    <a:pt x="326" y="192"/>
                  </a:lnTo>
                  <a:lnTo>
                    <a:pt x="326" y="192"/>
                  </a:lnTo>
                  <a:lnTo>
                    <a:pt x="326" y="192"/>
                  </a:lnTo>
                  <a:lnTo>
                    <a:pt x="326" y="192"/>
                  </a:lnTo>
                  <a:lnTo>
                    <a:pt x="326" y="192"/>
                  </a:lnTo>
                  <a:lnTo>
                    <a:pt x="328" y="189"/>
                  </a:lnTo>
                  <a:lnTo>
                    <a:pt x="328" y="192"/>
                  </a:lnTo>
                  <a:lnTo>
                    <a:pt x="326" y="195"/>
                  </a:lnTo>
                  <a:lnTo>
                    <a:pt x="326" y="197"/>
                  </a:lnTo>
                  <a:lnTo>
                    <a:pt x="323" y="197"/>
                  </a:lnTo>
                  <a:lnTo>
                    <a:pt x="320" y="200"/>
                  </a:lnTo>
                  <a:lnTo>
                    <a:pt x="320" y="203"/>
                  </a:lnTo>
                  <a:lnTo>
                    <a:pt x="320" y="203"/>
                  </a:lnTo>
                  <a:lnTo>
                    <a:pt x="328" y="200"/>
                  </a:lnTo>
                  <a:lnTo>
                    <a:pt x="331" y="200"/>
                  </a:lnTo>
                  <a:lnTo>
                    <a:pt x="331" y="197"/>
                  </a:lnTo>
                  <a:lnTo>
                    <a:pt x="334" y="195"/>
                  </a:lnTo>
                  <a:lnTo>
                    <a:pt x="336" y="195"/>
                  </a:lnTo>
                  <a:lnTo>
                    <a:pt x="336" y="197"/>
                  </a:lnTo>
                  <a:lnTo>
                    <a:pt x="336" y="197"/>
                  </a:lnTo>
                  <a:lnTo>
                    <a:pt x="336" y="200"/>
                  </a:lnTo>
                  <a:lnTo>
                    <a:pt x="334" y="203"/>
                  </a:lnTo>
                  <a:lnTo>
                    <a:pt x="331" y="203"/>
                  </a:lnTo>
                  <a:lnTo>
                    <a:pt x="331" y="205"/>
                  </a:lnTo>
                  <a:lnTo>
                    <a:pt x="328" y="205"/>
                  </a:lnTo>
                  <a:lnTo>
                    <a:pt x="331" y="208"/>
                  </a:lnTo>
                  <a:lnTo>
                    <a:pt x="331" y="211"/>
                  </a:lnTo>
                  <a:lnTo>
                    <a:pt x="328" y="213"/>
                  </a:lnTo>
                  <a:lnTo>
                    <a:pt x="326" y="216"/>
                  </a:lnTo>
                  <a:lnTo>
                    <a:pt x="323" y="219"/>
                  </a:lnTo>
                  <a:lnTo>
                    <a:pt x="320" y="219"/>
                  </a:lnTo>
                  <a:lnTo>
                    <a:pt x="320" y="216"/>
                  </a:lnTo>
                  <a:lnTo>
                    <a:pt x="323" y="213"/>
                  </a:lnTo>
                  <a:lnTo>
                    <a:pt x="318" y="216"/>
                  </a:lnTo>
                  <a:lnTo>
                    <a:pt x="315" y="219"/>
                  </a:lnTo>
                  <a:lnTo>
                    <a:pt x="315" y="221"/>
                  </a:lnTo>
                  <a:lnTo>
                    <a:pt x="315" y="221"/>
                  </a:lnTo>
                  <a:lnTo>
                    <a:pt x="318" y="221"/>
                  </a:lnTo>
                  <a:lnTo>
                    <a:pt x="320" y="224"/>
                  </a:lnTo>
                  <a:lnTo>
                    <a:pt x="320" y="224"/>
                  </a:lnTo>
                  <a:lnTo>
                    <a:pt x="323" y="224"/>
                  </a:lnTo>
                  <a:lnTo>
                    <a:pt x="323" y="224"/>
                  </a:lnTo>
                  <a:lnTo>
                    <a:pt x="323" y="227"/>
                  </a:lnTo>
                  <a:lnTo>
                    <a:pt x="323" y="227"/>
                  </a:lnTo>
                  <a:lnTo>
                    <a:pt x="323" y="227"/>
                  </a:lnTo>
                  <a:lnTo>
                    <a:pt x="326" y="229"/>
                  </a:lnTo>
                  <a:lnTo>
                    <a:pt x="328" y="235"/>
                  </a:lnTo>
                  <a:lnTo>
                    <a:pt x="328" y="235"/>
                  </a:lnTo>
                  <a:lnTo>
                    <a:pt x="328" y="237"/>
                  </a:lnTo>
                  <a:lnTo>
                    <a:pt x="328" y="240"/>
                  </a:lnTo>
                  <a:lnTo>
                    <a:pt x="331" y="245"/>
                  </a:lnTo>
                  <a:lnTo>
                    <a:pt x="331" y="248"/>
                  </a:lnTo>
                  <a:lnTo>
                    <a:pt x="331" y="245"/>
                  </a:lnTo>
                  <a:lnTo>
                    <a:pt x="331" y="243"/>
                  </a:lnTo>
                  <a:lnTo>
                    <a:pt x="334" y="243"/>
                  </a:lnTo>
                  <a:lnTo>
                    <a:pt x="334" y="243"/>
                  </a:lnTo>
                  <a:lnTo>
                    <a:pt x="331" y="251"/>
                  </a:lnTo>
                  <a:lnTo>
                    <a:pt x="331" y="253"/>
                  </a:lnTo>
                  <a:lnTo>
                    <a:pt x="336" y="256"/>
                  </a:lnTo>
                  <a:lnTo>
                    <a:pt x="334" y="256"/>
                  </a:lnTo>
                  <a:lnTo>
                    <a:pt x="331" y="264"/>
                  </a:lnTo>
                  <a:lnTo>
                    <a:pt x="328" y="264"/>
                  </a:lnTo>
                  <a:lnTo>
                    <a:pt x="323" y="267"/>
                  </a:lnTo>
                  <a:lnTo>
                    <a:pt x="320" y="267"/>
                  </a:lnTo>
                  <a:lnTo>
                    <a:pt x="315" y="267"/>
                  </a:lnTo>
                  <a:lnTo>
                    <a:pt x="312" y="267"/>
                  </a:lnTo>
                  <a:lnTo>
                    <a:pt x="310" y="275"/>
                  </a:lnTo>
                  <a:lnTo>
                    <a:pt x="307" y="275"/>
                  </a:lnTo>
                  <a:lnTo>
                    <a:pt x="296" y="283"/>
                  </a:lnTo>
                  <a:lnTo>
                    <a:pt x="294" y="285"/>
                  </a:lnTo>
                  <a:lnTo>
                    <a:pt x="291" y="291"/>
                  </a:lnTo>
                  <a:lnTo>
                    <a:pt x="288" y="299"/>
                  </a:lnTo>
                  <a:lnTo>
                    <a:pt x="286" y="299"/>
                  </a:lnTo>
                  <a:lnTo>
                    <a:pt x="283" y="299"/>
                  </a:lnTo>
                  <a:lnTo>
                    <a:pt x="283" y="301"/>
                  </a:lnTo>
                  <a:lnTo>
                    <a:pt x="283" y="301"/>
                  </a:lnTo>
                  <a:lnTo>
                    <a:pt x="278" y="304"/>
                  </a:lnTo>
                  <a:lnTo>
                    <a:pt x="267" y="309"/>
                  </a:lnTo>
                  <a:lnTo>
                    <a:pt x="267" y="309"/>
                  </a:lnTo>
                  <a:lnTo>
                    <a:pt x="267" y="312"/>
                  </a:lnTo>
                  <a:lnTo>
                    <a:pt x="267" y="312"/>
                  </a:lnTo>
                  <a:lnTo>
                    <a:pt x="267" y="312"/>
                  </a:lnTo>
                  <a:lnTo>
                    <a:pt x="267" y="315"/>
                  </a:lnTo>
                  <a:lnTo>
                    <a:pt x="267" y="315"/>
                  </a:lnTo>
                  <a:lnTo>
                    <a:pt x="267" y="315"/>
                  </a:lnTo>
                  <a:lnTo>
                    <a:pt x="267" y="315"/>
                  </a:lnTo>
                  <a:lnTo>
                    <a:pt x="267" y="317"/>
                  </a:lnTo>
                  <a:lnTo>
                    <a:pt x="264" y="317"/>
                  </a:lnTo>
                  <a:lnTo>
                    <a:pt x="264" y="317"/>
                  </a:lnTo>
                  <a:lnTo>
                    <a:pt x="262" y="315"/>
                  </a:lnTo>
                  <a:lnTo>
                    <a:pt x="262" y="315"/>
                  </a:lnTo>
                  <a:lnTo>
                    <a:pt x="262" y="315"/>
                  </a:lnTo>
                  <a:lnTo>
                    <a:pt x="262" y="312"/>
                  </a:lnTo>
                  <a:lnTo>
                    <a:pt x="222" y="320"/>
                  </a:lnTo>
                  <a:lnTo>
                    <a:pt x="219" y="323"/>
                  </a:lnTo>
                  <a:lnTo>
                    <a:pt x="206" y="328"/>
                  </a:lnTo>
                  <a:lnTo>
                    <a:pt x="200" y="331"/>
                  </a:lnTo>
                  <a:lnTo>
                    <a:pt x="198" y="328"/>
                  </a:lnTo>
                  <a:lnTo>
                    <a:pt x="187" y="323"/>
                  </a:lnTo>
                  <a:lnTo>
                    <a:pt x="187" y="323"/>
                  </a:lnTo>
                  <a:lnTo>
                    <a:pt x="184" y="323"/>
                  </a:lnTo>
                  <a:lnTo>
                    <a:pt x="184" y="323"/>
                  </a:lnTo>
                  <a:lnTo>
                    <a:pt x="182" y="320"/>
                  </a:lnTo>
                  <a:lnTo>
                    <a:pt x="144" y="323"/>
                  </a:lnTo>
                  <a:lnTo>
                    <a:pt x="131" y="325"/>
                  </a:lnTo>
                  <a:lnTo>
                    <a:pt x="115" y="328"/>
                  </a:lnTo>
                  <a:lnTo>
                    <a:pt x="86" y="339"/>
                  </a:lnTo>
                  <a:lnTo>
                    <a:pt x="78" y="344"/>
                  </a:lnTo>
                  <a:lnTo>
                    <a:pt x="67" y="347"/>
                  </a:lnTo>
                  <a:lnTo>
                    <a:pt x="56" y="355"/>
                  </a:lnTo>
                  <a:lnTo>
                    <a:pt x="48" y="358"/>
                  </a:lnTo>
                  <a:lnTo>
                    <a:pt x="51" y="360"/>
                  </a:lnTo>
                  <a:lnTo>
                    <a:pt x="54" y="371"/>
                  </a:lnTo>
                  <a:lnTo>
                    <a:pt x="54" y="374"/>
                  </a:lnTo>
                  <a:lnTo>
                    <a:pt x="54" y="374"/>
                  </a:lnTo>
                  <a:lnTo>
                    <a:pt x="54" y="376"/>
                  </a:lnTo>
                  <a:lnTo>
                    <a:pt x="51" y="376"/>
                  </a:lnTo>
                  <a:lnTo>
                    <a:pt x="51" y="379"/>
                  </a:lnTo>
                  <a:lnTo>
                    <a:pt x="54" y="382"/>
                  </a:lnTo>
                  <a:lnTo>
                    <a:pt x="54" y="382"/>
                  </a:lnTo>
                  <a:lnTo>
                    <a:pt x="56" y="382"/>
                  </a:lnTo>
                  <a:lnTo>
                    <a:pt x="70" y="382"/>
                  </a:lnTo>
                  <a:lnTo>
                    <a:pt x="72" y="384"/>
                  </a:lnTo>
                  <a:lnTo>
                    <a:pt x="72" y="387"/>
                  </a:lnTo>
                  <a:lnTo>
                    <a:pt x="70" y="392"/>
                  </a:lnTo>
                  <a:lnTo>
                    <a:pt x="70" y="395"/>
                  </a:lnTo>
                  <a:lnTo>
                    <a:pt x="70" y="395"/>
                  </a:lnTo>
                  <a:lnTo>
                    <a:pt x="72" y="398"/>
                  </a:lnTo>
                  <a:lnTo>
                    <a:pt x="72" y="398"/>
                  </a:lnTo>
                  <a:lnTo>
                    <a:pt x="75" y="403"/>
                  </a:lnTo>
                  <a:lnTo>
                    <a:pt x="75" y="406"/>
                  </a:lnTo>
                  <a:lnTo>
                    <a:pt x="78" y="408"/>
                  </a:lnTo>
                  <a:lnTo>
                    <a:pt x="80" y="411"/>
                  </a:lnTo>
                  <a:lnTo>
                    <a:pt x="80" y="411"/>
                  </a:lnTo>
                  <a:lnTo>
                    <a:pt x="80" y="414"/>
                  </a:lnTo>
                  <a:lnTo>
                    <a:pt x="80" y="419"/>
                  </a:lnTo>
                  <a:lnTo>
                    <a:pt x="80" y="422"/>
                  </a:lnTo>
                  <a:lnTo>
                    <a:pt x="78" y="422"/>
                  </a:lnTo>
                  <a:lnTo>
                    <a:pt x="78" y="424"/>
                  </a:lnTo>
                  <a:lnTo>
                    <a:pt x="70" y="430"/>
                  </a:lnTo>
                  <a:lnTo>
                    <a:pt x="67" y="432"/>
                  </a:lnTo>
                  <a:lnTo>
                    <a:pt x="64" y="438"/>
                  </a:lnTo>
                  <a:lnTo>
                    <a:pt x="62" y="443"/>
                  </a:lnTo>
                  <a:lnTo>
                    <a:pt x="62" y="446"/>
                  </a:lnTo>
                  <a:lnTo>
                    <a:pt x="59" y="446"/>
                  </a:lnTo>
                  <a:lnTo>
                    <a:pt x="59" y="446"/>
                  </a:lnTo>
                  <a:lnTo>
                    <a:pt x="59" y="451"/>
                  </a:lnTo>
                  <a:lnTo>
                    <a:pt x="56" y="454"/>
                  </a:lnTo>
                  <a:lnTo>
                    <a:pt x="56" y="454"/>
                  </a:lnTo>
                  <a:lnTo>
                    <a:pt x="56" y="454"/>
                  </a:lnTo>
                  <a:lnTo>
                    <a:pt x="48" y="459"/>
                  </a:lnTo>
                  <a:lnTo>
                    <a:pt x="48" y="462"/>
                  </a:lnTo>
                  <a:lnTo>
                    <a:pt x="43" y="467"/>
                  </a:lnTo>
                  <a:lnTo>
                    <a:pt x="37" y="470"/>
                  </a:lnTo>
                  <a:lnTo>
                    <a:pt x="37" y="470"/>
                  </a:lnTo>
                  <a:lnTo>
                    <a:pt x="35" y="470"/>
                  </a:lnTo>
                  <a:lnTo>
                    <a:pt x="35" y="472"/>
                  </a:lnTo>
                  <a:lnTo>
                    <a:pt x="35" y="472"/>
                  </a:lnTo>
                  <a:lnTo>
                    <a:pt x="32" y="475"/>
                  </a:lnTo>
                  <a:lnTo>
                    <a:pt x="27" y="483"/>
                  </a:lnTo>
                  <a:lnTo>
                    <a:pt x="24" y="488"/>
                  </a:lnTo>
                  <a:lnTo>
                    <a:pt x="21" y="488"/>
                  </a:lnTo>
                  <a:lnTo>
                    <a:pt x="19" y="491"/>
                  </a:lnTo>
                  <a:lnTo>
                    <a:pt x="13" y="496"/>
                  </a:lnTo>
                  <a:lnTo>
                    <a:pt x="5" y="502"/>
                  </a:lnTo>
                  <a:lnTo>
                    <a:pt x="3" y="504"/>
                  </a:lnTo>
                  <a:lnTo>
                    <a:pt x="3" y="507"/>
                  </a:lnTo>
                  <a:lnTo>
                    <a:pt x="0" y="507"/>
                  </a:lnTo>
                  <a:lnTo>
                    <a:pt x="0" y="507"/>
                  </a:lnTo>
                  <a:lnTo>
                    <a:pt x="3" y="513"/>
                  </a:lnTo>
                  <a:lnTo>
                    <a:pt x="3" y="515"/>
                  </a:lnTo>
                  <a:lnTo>
                    <a:pt x="3" y="521"/>
                  </a:lnTo>
                  <a:lnTo>
                    <a:pt x="3" y="523"/>
                  </a:lnTo>
                  <a:lnTo>
                    <a:pt x="5" y="529"/>
                  </a:lnTo>
                  <a:lnTo>
                    <a:pt x="5" y="531"/>
                  </a:lnTo>
                  <a:lnTo>
                    <a:pt x="5" y="537"/>
                  </a:lnTo>
                  <a:lnTo>
                    <a:pt x="8" y="539"/>
                  </a:lnTo>
                  <a:lnTo>
                    <a:pt x="8" y="545"/>
                  </a:lnTo>
                  <a:lnTo>
                    <a:pt x="11" y="545"/>
                  </a:lnTo>
                  <a:lnTo>
                    <a:pt x="27" y="542"/>
                  </a:lnTo>
                  <a:lnTo>
                    <a:pt x="40" y="539"/>
                  </a:lnTo>
                  <a:lnTo>
                    <a:pt x="54" y="537"/>
                  </a:lnTo>
                  <a:lnTo>
                    <a:pt x="70" y="534"/>
                  </a:lnTo>
                  <a:lnTo>
                    <a:pt x="83" y="531"/>
                  </a:lnTo>
                  <a:lnTo>
                    <a:pt x="96" y="529"/>
                  </a:lnTo>
                  <a:lnTo>
                    <a:pt x="112" y="526"/>
                  </a:lnTo>
                  <a:lnTo>
                    <a:pt x="126" y="521"/>
                  </a:lnTo>
                  <a:lnTo>
                    <a:pt x="139" y="518"/>
                  </a:lnTo>
                  <a:lnTo>
                    <a:pt x="155" y="515"/>
                  </a:lnTo>
                  <a:lnTo>
                    <a:pt x="168" y="513"/>
                  </a:lnTo>
                  <a:lnTo>
                    <a:pt x="182" y="510"/>
                  </a:lnTo>
                  <a:lnTo>
                    <a:pt x="198" y="507"/>
                  </a:lnTo>
                  <a:lnTo>
                    <a:pt x="211" y="504"/>
                  </a:lnTo>
                  <a:lnTo>
                    <a:pt x="224" y="502"/>
                  </a:lnTo>
                  <a:lnTo>
                    <a:pt x="240" y="499"/>
                  </a:lnTo>
                  <a:lnTo>
                    <a:pt x="254" y="496"/>
                  </a:lnTo>
                  <a:lnTo>
                    <a:pt x="267" y="494"/>
                  </a:lnTo>
                  <a:lnTo>
                    <a:pt x="283" y="491"/>
                  </a:lnTo>
                  <a:lnTo>
                    <a:pt x="296" y="488"/>
                  </a:lnTo>
                  <a:lnTo>
                    <a:pt x="310" y="483"/>
                  </a:lnTo>
                  <a:lnTo>
                    <a:pt x="326" y="480"/>
                  </a:lnTo>
                  <a:lnTo>
                    <a:pt x="339" y="478"/>
                  </a:lnTo>
                  <a:lnTo>
                    <a:pt x="352" y="475"/>
                  </a:lnTo>
                  <a:lnTo>
                    <a:pt x="368" y="472"/>
                  </a:lnTo>
                  <a:lnTo>
                    <a:pt x="382" y="470"/>
                  </a:lnTo>
                  <a:lnTo>
                    <a:pt x="395" y="467"/>
                  </a:lnTo>
                  <a:lnTo>
                    <a:pt x="411" y="462"/>
                  </a:lnTo>
                  <a:lnTo>
                    <a:pt x="424" y="459"/>
                  </a:lnTo>
                  <a:lnTo>
                    <a:pt x="438" y="456"/>
                  </a:lnTo>
                  <a:lnTo>
                    <a:pt x="454" y="454"/>
                  </a:lnTo>
                  <a:lnTo>
                    <a:pt x="467" y="451"/>
                  </a:lnTo>
                  <a:lnTo>
                    <a:pt x="470" y="448"/>
                  </a:lnTo>
                  <a:lnTo>
                    <a:pt x="470" y="448"/>
                  </a:lnTo>
                  <a:lnTo>
                    <a:pt x="470" y="451"/>
                  </a:lnTo>
                  <a:lnTo>
                    <a:pt x="472" y="454"/>
                  </a:lnTo>
                  <a:lnTo>
                    <a:pt x="478" y="454"/>
                  </a:lnTo>
                  <a:lnTo>
                    <a:pt x="480" y="454"/>
                  </a:lnTo>
                  <a:lnTo>
                    <a:pt x="480" y="456"/>
                  </a:lnTo>
                  <a:lnTo>
                    <a:pt x="483" y="459"/>
                  </a:lnTo>
                  <a:lnTo>
                    <a:pt x="483" y="462"/>
                  </a:lnTo>
                  <a:lnTo>
                    <a:pt x="486" y="464"/>
                  </a:lnTo>
                  <a:lnTo>
                    <a:pt x="491" y="462"/>
                  </a:lnTo>
                  <a:lnTo>
                    <a:pt x="491" y="462"/>
                  </a:lnTo>
                  <a:lnTo>
                    <a:pt x="494" y="462"/>
                  </a:lnTo>
                  <a:lnTo>
                    <a:pt x="499" y="464"/>
                  </a:lnTo>
                  <a:lnTo>
                    <a:pt x="499" y="464"/>
                  </a:lnTo>
                  <a:lnTo>
                    <a:pt x="502" y="464"/>
                  </a:lnTo>
                  <a:lnTo>
                    <a:pt x="502" y="467"/>
                  </a:lnTo>
                  <a:lnTo>
                    <a:pt x="502" y="467"/>
                  </a:lnTo>
                  <a:lnTo>
                    <a:pt x="502" y="470"/>
                  </a:lnTo>
                  <a:lnTo>
                    <a:pt x="502" y="472"/>
                  </a:lnTo>
                  <a:lnTo>
                    <a:pt x="504" y="472"/>
                  </a:lnTo>
                  <a:lnTo>
                    <a:pt x="507" y="472"/>
                  </a:lnTo>
                  <a:lnTo>
                    <a:pt x="507" y="475"/>
                  </a:lnTo>
                  <a:lnTo>
                    <a:pt x="507" y="478"/>
                  </a:lnTo>
                  <a:lnTo>
                    <a:pt x="507" y="478"/>
                  </a:lnTo>
                  <a:lnTo>
                    <a:pt x="507" y="480"/>
                  </a:lnTo>
                  <a:lnTo>
                    <a:pt x="510" y="483"/>
                  </a:lnTo>
                  <a:lnTo>
                    <a:pt x="510" y="488"/>
                  </a:lnTo>
                  <a:lnTo>
                    <a:pt x="510" y="494"/>
                  </a:lnTo>
                  <a:lnTo>
                    <a:pt x="512" y="496"/>
                  </a:lnTo>
                  <a:lnTo>
                    <a:pt x="512" y="496"/>
                  </a:lnTo>
                  <a:lnTo>
                    <a:pt x="520" y="507"/>
                  </a:lnTo>
                  <a:lnTo>
                    <a:pt x="523" y="507"/>
                  </a:lnTo>
                  <a:lnTo>
                    <a:pt x="526" y="510"/>
                  </a:lnTo>
                  <a:lnTo>
                    <a:pt x="528" y="510"/>
                  </a:lnTo>
                  <a:lnTo>
                    <a:pt x="531" y="510"/>
                  </a:lnTo>
                  <a:lnTo>
                    <a:pt x="534" y="513"/>
                  </a:lnTo>
                  <a:lnTo>
                    <a:pt x="534" y="513"/>
                  </a:lnTo>
                  <a:lnTo>
                    <a:pt x="536" y="513"/>
                  </a:lnTo>
                  <a:lnTo>
                    <a:pt x="542" y="510"/>
                  </a:lnTo>
                  <a:lnTo>
                    <a:pt x="544" y="513"/>
                  </a:lnTo>
                  <a:lnTo>
                    <a:pt x="547" y="513"/>
                  </a:lnTo>
                  <a:lnTo>
                    <a:pt x="547" y="513"/>
                  </a:lnTo>
                  <a:lnTo>
                    <a:pt x="547" y="513"/>
                  </a:lnTo>
                  <a:lnTo>
                    <a:pt x="550" y="510"/>
                  </a:lnTo>
                  <a:lnTo>
                    <a:pt x="550" y="513"/>
                  </a:lnTo>
                  <a:lnTo>
                    <a:pt x="550" y="513"/>
                  </a:lnTo>
                  <a:lnTo>
                    <a:pt x="552" y="515"/>
                  </a:lnTo>
                  <a:lnTo>
                    <a:pt x="552" y="515"/>
                  </a:lnTo>
                  <a:lnTo>
                    <a:pt x="555" y="518"/>
                  </a:lnTo>
                  <a:lnTo>
                    <a:pt x="558" y="521"/>
                  </a:lnTo>
                  <a:lnTo>
                    <a:pt x="568" y="523"/>
                  </a:lnTo>
                  <a:lnTo>
                    <a:pt x="579" y="529"/>
                  </a:lnTo>
                  <a:lnTo>
                    <a:pt x="592" y="531"/>
                  </a:lnTo>
                  <a:lnTo>
                    <a:pt x="603" y="537"/>
                  </a:lnTo>
                  <a:lnTo>
                    <a:pt x="617" y="539"/>
                  </a:lnTo>
                  <a:lnTo>
                    <a:pt x="627" y="542"/>
                  </a:lnTo>
                  <a:lnTo>
                    <a:pt x="641" y="547"/>
                  </a:lnTo>
                  <a:lnTo>
                    <a:pt x="651" y="550"/>
                  </a:lnTo>
                  <a:close/>
                  <a:moveTo>
                    <a:pt x="59" y="392"/>
                  </a:moveTo>
                  <a:lnTo>
                    <a:pt x="62" y="392"/>
                  </a:lnTo>
                  <a:lnTo>
                    <a:pt x="62" y="395"/>
                  </a:lnTo>
                  <a:lnTo>
                    <a:pt x="64" y="395"/>
                  </a:lnTo>
                  <a:lnTo>
                    <a:pt x="67" y="395"/>
                  </a:lnTo>
                  <a:lnTo>
                    <a:pt x="70" y="387"/>
                  </a:lnTo>
                  <a:lnTo>
                    <a:pt x="70" y="384"/>
                  </a:lnTo>
                  <a:lnTo>
                    <a:pt x="70" y="384"/>
                  </a:lnTo>
                  <a:lnTo>
                    <a:pt x="67" y="384"/>
                  </a:lnTo>
                  <a:lnTo>
                    <a:pt x="64" y="384"/>
                  </a:lnTo>
                  <a:lnTo>
                    <a:pt x="62" y="384"/>
                  </a:lnTo>
                  <a:lnTo>
                    <a:pt x="62" y="384"/>
                  </a:lnTo>
                  <a:lnTo>
                    <a:pt x="59" y="384"/>
                  </a:lnTo>
                  <a:lnTo>
                    <a:pt x="59" y="387"/>
                  </a:lnTo>
                  <a:lnTo>
                    <a:pt x="59" y="392"/>
                  </a:lnTo>
                  <a:lnTo>
                    <a:pt x="59" y="392"/>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27" name="Freeform 24">
              <a:extLst>
                <a:ext uri="{FF2B5EF4-FFF2-40B4-BE49-F238E27FC236}">
                  <a16:creationId xmlns="" xmlns:a16="http://schemas.microsoft.com/office/drawing/2014/main" id="{60B745D1-A959-41C9-A9F8-7CB5A0F48352}"/>
                </a:ext>
              </a:extLst>
            </p:cNvPr>
            <p:cNvSpPr>
              <a:spLocks noEditPoints="1"/>
            </p:cNvSpPr>
            <p:nvPr/>
          </p:nvSpPr>
          <p:spPr bwMode="auto">
            <a:xfrm>
              <a:off x="6305" y="1013"/>
              <a:ext cx="153" cy="336"/>
            </a:xfrm>
            <a:custGeom>
              <a:avLst/>
              <a:gdLst>
                <a:gd name="T0" fmla="*/ 129 w 153"/>
                <a:gd name="T1" fmla="*/ 256 h 336"/>
                <a:gd name="T2" fmla="*/ 137 w 153"/>
                <a:gd name="T3" fmla="*/ 248 h 336"/>
                <a:gd name="T4" fmla="*/ 150 w 153"/>
                <a:gd name="T5" fmla="*/ 203 h 336"/>
                <a:gd name="T6" fmla="*/ 142 w 153"/>
                <a:gd name="T7" fmla="*/ 237 h 336"/>
                <a:gd name="T8" fmla="*/ 150 w 153"/>
                <a:gd name="T9" fmla="*/ 203 h 336"/>
                <a:gd name="T10" fmla="*/ 150 w 153"/>
                <a:gd name="T11" fmla="*/ 157 h 336"/>
                <a:gd name="T12" fmla="*/ 150 w 153"/>
                <a:gd name="T13" fmla="*/ 128 h 336"/>
                <a:gd name="T14" fmla="*/ 142 w 153"/>
                <a:gd name="T15" fmla="*/ 109 h 336"/>
                <a:gd name="T16" fmla="*/ 118 w 153"/>
                <a:gd name="T17" fmla="*/ 112 h 336"/>
                <a:gd name="T18" fmla="*/ 110 w 153"/>
                <a:gd name="T19" fmla="*/ 98 h 336"/>
                <a:gd name="T20" fmla="*/ 113 w 153"/>
                <a:gd name="T21" fmla="*/ 82 h 336"/>
                <a:gd name="T22" fmla="*/ 118 w 153"/>
                <a:gd name="T23" fmla="*/ 72 h 336"/>
                <a:gd name="T24" fmla="*/ 126 w 153"/>
                <a:gd name="T25" fmla="*/ 72 h 336"/>
                <a:gd name="T26" fmla="*/ 129 w 153"/>
                <a:gd name="T27" fmla="*/ 56 h 336"/>
                <a:gd name="T28" fmla="*/ 97 w 153"/>
                <a:gd name="T29" fmla="*/ 18 h 336"/>
                <a:gd name="T30" fmla="*/ 35 w 153"/>
                <a:gd name="T31" fmla="*/ 2 h 336"/>
                <a:gd name="T32" fmla="*/ 30 w 153"/>
                <a:gd name="T33" fmla="*/ 8 h 336"/>
                <a:gd name="T34" fmla="*/ 19 w 153"/>
                <a:gd name="T35" fmla="*/ 37 h 336"/>
                <a:gd name="T36" fmla="*/ 16 w 153"/>
                <a:gd name="T37" fmla="*/ 42 h 336"/>
                <a:gd name="T38" fmla="*/ 3 w 153"/>
                <a:gd name="T39" fmla="*/ 58 h 336"/>
                <a:gd name="T40" fmla="*/ 6 w 153"/>
                <a:gd name="T41" fmla="*/ 66 h 336"/>
                <a:gd name="T42" fmla="*/ 11 w 153"/>
                <a:gd name="T43" fmla="*/ 69 h 336"/>
                <a:gd name="T44" fmla="*/ 11 w 153"/>
                <a:gd name="T45" fmla="*/ 85 h 336"/>
                <a:gd name="T46" fmla="*/ 3 w 153"/>
                <a:gd name="T47" fmla="*/ 93 h 336"/>
                <a:gd name="T48" fmla="*/ 6 w 153"/>
                <a:gd name="T49" fmla="*/ 104 h 336"/>
                <a:gd name="T50" fmla="*/ 11 w 153"/>
                <a:gd name="T51" fmla="*/ 117 h 336"/>
                <a:gd name="T52" fmla="*/ 30 w 153"/>
                <a:gd name="T53" fmla="*/ 136 h 336"/>
                <a:gd name="T54" fmla="*/ 51 w 153"/>
                <a:gd name="T55" fmla="*/ 146 h 336"/>
                <a:gd name="T56" fmla="*/ 67 w 153"/>
                <a:gd name="T57" fmla="*/ 168 h 336"/>
                <a:gd name="T58" fmla="*/ 51 w 153"/>
                <a:gd name="T59" fmla="*/ 179 h 336"/>
                <a:gd name="T60" fmla="*/ 38 w 153"/>
                <a:gd name="T61" fmla="*/ 200 h 336"/>
                <a:gd name="T62" fmla="*/ 35 w 153"/>
                <a:gd name="T63" fmla="*/ 211 h 336"/>
                <a:gd name="T64" fmla="*/ 27 w 153"/>
                <a:gd name="T65" fmla="*/ 216 h 336"/>
                <a:gd name="T66" fmla="*/ 6 w 153"/>
                <a:gd name="T67" fmla="*/ 240 h 336"/>
                <a:gd name="T68" fmla="*/ 3 w 153"/>
                <a:gd name="T69" fmla="*/ 248 h 336"/>
                <a:gd name="T70" fmla="*/ 6 w 153"/>
                <a:gd name="T71" fmla="*/ 261 h 336"/>
                <a:gd name="T72" fmla="*/ 6 w 153"/>
                <a:gd name="T73" fmla="*/ 275 h 336"/>
                <a:gd name="T74" fmla="*/ 30 w 153"/>
                <a:gd name="T75" fmla="*/ 288 h 336"/>
                <a:gd name="T76" fmla="*/ 38 w 153"/>
                <a:gd name="T77" fmla="*/ 293 h 336"/>
                <a:gd name="T78" fmla="*/ 54 w 153"/>
                <a:gd name="T79" fmla="*/ 299 h 336"/>
                <a:gd name="T80" fmla="*/ 59 w 153"/>
                <a:gd name="T81" fmla="*/ 304 h 336"/>
                <a:gd name="T82" fmla="*/ 70 w 153"/>
                <a:gd name="T83" fmla="*/ 299 h 336"/>
                <a:gd name="T84" fmla="*/ 81 w 153"/>
                <a:gd name="T85" fmla="*/ 299 h 336"/>
                <a:gd name="T86" fmla="*/ 83 w 153"/>
                <a:gd name="T87" fmla="*/ 328 h 336"/>
                <a:gd name="T88" fmla="*/ 89 w 153"/>
                <a:gd name="T89" fmla="*/ 333 h 336"/>
                <a:gd name="T90" fmla="*/ 99 w 153"/>
                <a:gd name="T91" fmla="*/ 315 h 336"/>
                <a:gd name="T92" fmla="*/ 107 w 153"/>
                <a:gd name="T93" fmla="*/ 304 h 336"/>
                <a:gd name="T94" fmla="*/ 102 w 153"/>
                <a:gd name="T95" fmla="*/ 304 h 336"/>
                <a:gd name="T96" fmla="*/ 113 w 153"/>
                <a:gd name="T97" fmla="*/ 285 h 336"/>
                <a:gd name="T98" fmla="*/ 107 w 153"/>
                <a:gd name="T99" fmla="*/ 277 h 336"/>
                <a:gd name="T100" fmla="*/ 118 w 153"/>
                <a:gd name="T101" fmla="*/ 267 h 336"/>
                <a:gd name="T102" fmla="*/ 123 w 153"/>
                <a:gd name="T103" fmla="*/ 269 h 336"/>
                <a:gd name="T104" fmla="*/ 123 w 153"/>
                <a:gd name="T105" fmla="*/ 256 h 336"/>
                <a:gd name="T106" fmla="*/ 129 w 153"/>
                <a:gd name="T107" fmla="*/ 251 h 336"/>
                <a:gd name="T108" fmla="*/ 126 w 153"/>
                <a:gd name="T109" fmla="*/ 237 h 336"/>
                <a:gd name="T110" fmla="*/ 137 w 153"/>
                <a:gd name="T111" fmla="*/ 240 h 336"/>
                <a:gd name="T112" fmla="*/ 137 w 153"/>
                <a:gd name="T113" fmla="*/ 227 h 336"/>
                <a:gd name="T114" fmla="*/ 145 w 153"/>
                <a:gd name="T115" fmla="*/ 216 h 336"/>
                <a:gd name="T116" fmla="*/ 142 w 153"/>
                <a:gd name="T117" fmla="*/ 200 h 336"/>
                <a:gd name="T118" fmla="*/ 145 w 153"/>
                <a:gd name="T119" fmla="*/ 181 h 336"/>
                <a:gd name="T120" fmla="*/ 142 w 153"/>
                <a:gd name="T121" fmla="*/ 171 h 336"/>
                <a:gd name="T122" fmla="*/ 147 w 153"/>
                <a:gd name="T123" fmla="*/ 160 h 336"/>
                <a:gd name="T124" fmla="*/ 150 w 153"/>
                <a:gd name="T125" fmla="*/ 16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3" h="336">
                  <a:moveTo>
                    <a:pt x="131" y="248"/>
                  </a:moveTo>
                  <a:lnTo>
                    <a:pt x="134" y="251"/>
                  </a:lnTo>
                  <a:lnTo>
                    <a:pt x="131" y="251"/>
                  </a:lnTo>
                  <a:lnTo>
                    <a:pt x="131" y="256"/>
                  </a:lnTo>
                  <a:lnTo>
                    <a:pt x="131" y="256"/>
                  </a:lnTo>
                  <a:lnTo>
                    <a:pt x="129" y="256"/>
                  </a:lnTo>
                  <a:lnTo>
                    <a:pt x="129" y="256"/>
                  </a:lnTo>
                  <a:lnTo>
                    <a:pt x="126" y="253"/>
                  </a:lnTo>
                  <a:lnTo>
                    <a:pt x="126" y="256"/>
                  </a:lnTo>
                  <a:lnTo>
                    <a:pt x="129" y="259"/>
                  </a:lnTo>
                  <a:lnTo>
                    <a:pt x="131" y="259"/>
                  </a:lnTo>
                  <a:lnTo>
                    <a:pt x="134" y="256"/>
                  </a:lnTo>
                  <a:lnTo>
                    <a:pt x="137" y="251"/>
                  </a:lnTo>
                  <a:lnTo>
                    <a:pt x="137" y="248"/>
                  </a:lnTo>
                  <a:lnTo>
                    <a:pt x="139" y="248"/>
                  </a:lnTo>
                  <a:lnTo>
                    <a:pt x="139" y="245"/>
                  </a:lnTo>
                  <a:lnTo>
                    <a:pt x="139" y="245"/>
                  </a:lnTo>
                  <a:lnTo>
                    <a:pt x="134" y="245"/>
                  </a:lnTo>
                  <a:lnTo>
                    <a:pt x="131" y="248"/>
                  </a:lnTo>
                  <a:close/>
                  <a:moveTo>
                    <a:pt x="150" y="203"/>
                  </a:moveTo>
                  <a:lnTo>
                    <a:pt x="150" y="203"/>
                  </a:lnTo>
                  <a:lnTo>
                    <a:pt x="150" y="208"/>
                  </a:lnTo>
                  <a:lnTo>
                    <a:pt x="150" y="211"/>
                  </a:lnTo>
                  <a:lnTo>
                    <a:pt x="142" y="229"/>
                  </a:lnTo>
                  <a:lnTo>
                    <a:pt x="142" y="235"/>
                  </a:lnTo>
                  <a:lnTo>
                    <a:pt x="142" y="235"/>
                  </a:lnTo>
                  <a:lnTo>
                    <a:pt x="142" y="235"/>
                  </a:lnTo>
                  <a:lnTo>
                    <a:pt x="142" y="237"/>
                  </a:lnTo>
                  <a:lnTo>
                    <a:pt x="145" y="232"/>
                  </a:lnTo>
                  <a:lnTo>
                    <a:pt x="147" y="221"/>
                  </a:lnTo>
                  <a:lnTo>
                    <a:pt x="150" y="216"/>
                  </a:lnTo>
                  <a:lnTo>
                    <a:pt x="150" y="211"/>
                  </a:lnTo>
                  <a:lnTo>
                    <a:pt x="153" y="205"/>
                  </a:lnTo>
                  <a:lnTo>
                    <a:pt x="153" y="200"/>
                  </a:lnTo>
                  <a:lnTo>
                    <a:pt x="150" y="203"/>
                  </a:lnTo>
                  <a:close/>
                  <a:moveTo>
                    <a:pt x="150" y="181"/>
                  </a:moveTo>
                  <a:lnTo>
                    <a:pt x="153" y="176"/>
                  </a:lnTo>
                  <a:lnTo>
                    <a:pt x="150" y="176"/>
                  </a:lnTo>
                  <a:lnTo>
                    <a:pt x="150" y="173"/>
                  </a:lnTo>
                  <a:lnTo>
                    <a:pt x="150" y="165"/>
                  </a:lnTo>
                  <a:lnTo>
                    <a:pt x="150" y="160"/>
                  </a:lnTo>
                  <a:lnTo>
                    <a:pt x="150" y="157"/>
                  </a:lnTo>
                  <a:lnTo>
                    <a:pt x="147" y="154"/>
                  </a:lnTo>
                  <a:lnTo>
                    <a:pt x="147" y="154"/>
                  </a:lnTo>
                  <a:lnTo>
                    <a:pt x="147" y="149"/>
                  </a:lnTo>
                  <a:lnTo>
                    <a:pt x="147" y="138"/>
                  </a:lnTo>
                  <a:lnTo>
                    <a:pt x="147" y="136"/>
                  </a:lnTo>
                  <a:lnTo>
                    <a:pt x="147" y="130"/>
                  </a:lnTo>
                  <a:lnTo>
                    <a:pt x="150" y="128"/>
                  </a:lnTo>
                  <a:lnTo>
                    <a:pt x="150" y="125"/>
                  </a:lnTo>
                  <a:lnTo>
                    <a:pt x="145" y="106"/>
                  </a:lnTo>
                  <a:lnTo>
                    <a:pt x="142" y="104"/>
                  </a:lnTo>
                  <a:lnTo>
                    <a:pt x="139" y="101"/>
                  </a:lnTo>
                  <a:lnTo>
                    <a:pt x="139" y="104"/>
                  </a:lnTo>
                  <a:lnTo>
                    <a:pt x="139" y="106"/>
                  </a:lnTo>
                  <a:lnTo>
                    <a:pt x="142" y="109"/>
                  </a:lnTo>
                  <a:lnTo>
                    <a:pt x="145" y="109"/>
                  </a:lnTo>
                  <a:lnTo>
                    <a:pt x="142" y="112"/>
                  </a:lnTo>
                  <a:lnTo>
                    <a:pt x="137" y="109"/>
                  </a:lnTo>
                  <a:lnTo>
                    <a:pt x="126" y="109"/>
                  </a:lnTo>
                  <a:lnTo>
                    <a:pt x="123" y="109"/>
                  </a:lnTo>
                  <a:lnTo>
                    <a:pt x="118" y="112"/>
                  </a:lnTo>
                  <a:lnTo>
                    <a:pt x="118" y="112"/>
                  </a:lnTo>
                  <a:lnTo>
                    <a:pt x="115" y="109"/>
                  </a:lnTo>
                  <a:lnTo>
                    <a:pt x="113" y="109"/>
                  </a:lnTo>
                  <a:lnTo>
                    <a:pt x="110" y="109"/>
                  </a:lnTo>
                  <a:lnTo>
                    <a:pt x="110" y="106"/>
                  </a:lnTo>
                  <a:lnTo>
                    <a:pt x="110" y="104"/>
                  </a:lnTo>
                  <a:lnTo>
                    <a:pt x="110" y="101"/>
                  </a:lnTo>
                  <a:lnTo>
                    <a:pt x="110" y="98"/>
                  </a:lnTo>
                  <a:lnTo>
                    <a:pt x="110" y="98"/>
                  </a:lnTo>
                  <a:lnTo>
                    <a:pt x="110" y="96"/>
                  </a:lnTo>
                  <a:lnTo>
                    <a:pt x="110" y="93"/>
                  </a:lnTo>
                  <a:lnTo>
                    <a:pt x="113" y="93"/>
                  </a:lnTo>
                  <a:lnTo>
                    <a:pt x="113" y="90"/>
                  </a:lnTo>
                  <a:lnTo>
                    <a:pt x="113" y="85"/>
                  </a:lnTo>
                  <a:lnTo>
                    <a:pt x="113" y="82"/>
                  </a:lnTo>
                  <a:lnTo>
                    <a:pt x="113" y="80"/>
                  </a:lnTo>
                  <a:lnTo>
                    <a:pt x="115" y="80"/>
                  </a:lnTo>
                  <a:lnTo>
                    <a:pt x="115" y="77"/>
                  </a:lnTo>
                  <a:lnTo>
                    <a:pt x="115" y="77"/>
                  </a:lnTo>
                  <a:lnTo>
                    <a:pt x="115" y="74"/>
                  </a:lnTo>
                  <a:lnTo>
                    <a:pt x="118" y="72"/>
                  </a:lnTo>
                  <a:lnTo>
                    <a:pt x="118" y="72"/>
                  </a:lnTo>
                  <a:lnTo>
                    <a:pt x="121" y="72"/>
                  </a:lnTo>
                  <a:lnTo>
                    <a:pt x="118" y="80"/>
                  </a:lnTo>
                  <a:lnTo>
                    <a:pt x="121" y="77"/>
                  </a:lnTo>
                  <a:lnTo>
                    <a:pt x="121" y="77"/>
                  </a:lnTo>
                  <a:lnTo>
                    <a:pt x="123" y="77"/>
                  </a:lnTo>
                  <a:lnTo>
                    <a:pt x="123" y="74"/>
                  </a:lnTo>
                  <a:lnTo>
                    <a:pt x="126" y="72"/>
                  </a:lnTo>
                  <a:lnTo>
                    <a:pt x="129" y="69"/>
                  </a:lnTo>
                  <a:lnTo>
                    <a:pt x="129" y="66"/>
                  </a:lnTo>
                  <a:lnTo>
                    <a:pt x="129" y="66"/>
                  </a:lnTo>
                  <a:lnTo>
                    <a:pt x="129" y="64"/>
                  </a:lnTo>
                  <a:lnTo>
                    <a:pt x="129" y="64"/>
                  </a:lnTo>
                  <a:lnTo>
                    <a:pt x="129" y="61"/>
                  </a:lnTo>
                  <a:lnTo>
                    <a:pt x="129" y="56"/>
                  </a:lnTo>
                  <a:lnTo>
                    <a:pt x="131" y="48"/>
                  </a:lnTo>
                  <a:lnTo>
                    <a:pt x="131" y="37"/>
                  </a:lnTo>
                  <a:lnTo>
                    <a:pt x="131" y="32"/>
                  </a:lnTo>
                  <a:lnTo>
                    <a:pt x="131" y="29"/>
                  </a:lnTo>
                  <a:lnTo>
                    <a:pt x="121" y="26"/>
                  </a:lnTo>
                  <a:lnTo>
                    <a:pt x="107" y="21"/>
                  </a:lnTo>
                  <a:lnTo>
                    <a:pt x="97" y="18"/>
                  </a:lnTo>
                  <a:lnTo>
                    <a:pt x="83" y="16"/>
                  </a:lnTo>
                  <a:lnTo>
                    <a:pt x="72" y="10"/>
                  </a:lnTo>
                  <a:lnTo>
                    <a:pt x="59" y="8"/>
                  </a:lnTo>
                  <a:lnTo>
                    <a:pt x="48" y="2"/>
                  </a:lnTo>
                  <a:lnTo>
                    <a:pt x="38" y="0"/>
                  </a:lnTo>
                  <a:lnTo>
                    <a:pt x="38" y="0"/>
                  </a:lnTo>
                  <a:lnTo>
                    <a:pt x="35" y="2"/>
                  </a:lnTo>
                  <a:lnTo>
                    <a:pt x="32" y="2"/>
                  </a:lnTo>
                  <a:lnTo>
                    <a:pt x="32" y="2"/>
                  </a:lnTo>
                  <a:lnTo>
                    <a:pt x="30" y="5"/>
                  </a:lnTo>
                  <a:lnTo>
                    <a:pt x="30" y="5"/>
                  </a:lnTo>
                  <a:lnTo>
                    <a:pt x="30" y="5"/>
                  </a:lnTo>
                  <a:lnTo>
                    <a:pt x="30" y="5"/>
                  </a:lnTo>
                  <a:lnTo>
                    <a:pt x="30" y="8"/>
                  </a:lnTo>
                  <a:lnTo>
                    <a:pt x="30" y="8"/>
                  </a:lnTo>
                  <a:lnTo>
                    <a:pt x="24" y="16"/>
                  </a:lnTo>
                  <a:lnTo>
                    <a:pt x="24" y="16"/>
                  </a:lnTo>
                  <a:lnTo>
                    <a:pt x="24" y="18"/>
                  </a:lnTo>
                  <a:lnTo>
                    <a:pt x="24" y="21"/>
                  </a:lnTo>
                  <a:lnTo>
                    <a:pt x="22" y="29"/>
                  </a:lnTo>
                  <a:lnTo>
                    <a:pt x="19" y="37"/>
                  </a:lnTo>
                  <a:lnTo>
                    <a:pt x="16" y="37"/>
                  </a:lnTo>
                  <a:lnTo>
                    <a:pt x="16" y="37"/>
                  </a:lnTo>
                  <a:lnTo>
                    <a:pt x="16" y="40"/>
                  </a:lnTo>
                  <a:lnTo>
                    <a:pt x="16" y="40"/>
                  </a:lnTo>
                  <a:lnTo>
                    <a:pt x="14" y="40"/>
                  </a:lnTo>
                  <a:lnTo>
                    <a:pt x="16" y="42"/>
                  </a:lnTo>
                  <a:lnTo>
                    <a:pt x="16" y="42"/>
                  </a:lnTo>
                  <a:lnTo>
                    <a:pt x="16" y="42"/>
                  </a:lnTo>
                  <a:lnTo>
                    <a:pt x="11" y="50"/>
                  </a:lnTo>
                  <a:lnTo>
                    <a:pt x="11" y="50"/>
                  </a:lnTo>
                  <a:lnTo>
                    <a:pt x="8" y="53"/>
                  </a:lnTo>
                  <a:lnTo>
                    <a:pt x="6" y="53"/>
                  </a:lnTo>
                  <a:lnTo>
                    <a:pt x="6" y="56"/>
                  </a:lnTo>
                  <a:lnTo>
                    <a:pt x="3" y="58"/>
                  </a:lnTo>
                  <a:lnTo>
                    <a:pt x="3" y="61"/>
                  </a:lnTo>
                  <a:lnTo>
                    <a:pt x="3" y="61"/>
                  </a:lnTo>
                  <a:lnTo>
                    <a:pt x="3" y="64"/>
                  </a:lnTo>
                  <a:lnTo>
                    <a:pt x="6" y="64"/>
                  </a:lnTo>
                  <a:lnTo>
                    <a:pt x="6" y="64"/>
                  </a:lnTo>
                  <a:lnTo>
                    <a:pt x="6" y="66"/>
                  </a:lnTo>
                  <a:lnTo>
                    <a:pt x="6" y="66"/>
                  </a:lnTo>
                  <a:lnTo>
                    <a:pt x="6" y="66"/>
                  </a:lnTo>
                  <a:lnTo>
                    <a:pt x="6" y="66"/>
                  </a:lnTo>
                  <a:lnTo>
                    <a:pt x="8" y="66"/>
                  </a:lnTo>
                  <a:lnTo>
                    <a:pt x="8" y="66"/>
                  </a:lnTo>
                  <a:lnTo>
                    <a:pt x="8" y="66"/>
                  </a:lnTo>
                  <a:lnTo>
                    <a:pt x="8" y="66"/>
                  </a:lnTo>
                  <a:lnTo>
                    <a:pt x="11" y="69"/>
                  </a:lnTo>
                  <a:lnTo>
                    <a:pt x="14" y="72"/>
                  </a:lnTo>
                  <a:lnTo>
                    <a:pt x="14" y="74"/>
                  </a:lnTo>
                  <a:lnTo>
                    <a:pt x="14" y="77"/>
                  </a:lnTo>
                  <a:lnTo>
                    <a:pt x="14" y="77"/>
                  </a:lnTo>
                  <a:lnTo>
                    <a:pt x="11" y="80"/>
                  </a:lnTo>
                  <a:lnTo>
                    <a:pt x="11" y="82"/>
                  </a:lnTo>
                  <a:lnTo>
                    <a:pt x="11" y="85"/>
                  </a:lnTo>
                  <a:lnTo>
                    <a:pt x="11" y="88"/>
                  </a:lnTo>
                  <a:lnTo>
                    <a:pt x="8" y="88"/>
                  </a:lnTo>
                  <a:lnTo>
                    <a:pt x="6" y="88"/>
                  </a:lnTo>
                  <a:lnTo>
                    <a:pt x="6" y="90"/>
                  </a:lnTo>
                  <a:lnTo>
                    <a:pt x="6" y="90"/>
                  </a:lnTo>
                  <a:lnTo>
                    <a:pt x="3" y="90"/>
                  </a:lnTo>
                  <a:lnTo>
                    <a:pt x="3" y="93"/>
                  </a:lnTo>
                  <a:lnTo>
                    <a:pt x="3" y="93"/>
                  </a:lnTo>
                  <a:lnTo>
                    <a:pt x="6" y="93"/>
                  </a:lnTo>
                  <a:lnTo>
                    <a:pt x="6" y="93"/>
                  </a:lnTo>
                  <a:lnTo>
                    <a:pt x="6" y="98"/>
                  </a:lnTo>
                  <a:lnTo>
                    <a:pt x="6" y="101"/>
                  </a:lnTo>
                  <a:lnTo>
                    <a:pt x="6" y="101"/>
                  </a:lnTo>
                  <a:lnTo>
                    <a:pt x="6" y="104"/>
                  </a:lnTo>
                  <a:lnTo>
                    <a:pt x="6" y="104"/>
                  </a:lnTo>
                  <a:lnTo>
                    <a:pt x="6" y="106"/>
                  </a:lnTo>
                  <a:lnTo>
                    <a:pt x="8" y="109"/>
                  </a:lnTo>
                  <a:lnTo>
                    <a:pt x="8" y="112"/>
                  </a:lnTo>
                  <a:lnTo>
                    <a:pt x="8" y="112"/>
                  </a:lnTo>
                  <a:lnTo>
                    <a:pt x="8" y="114"/>
                  </a:lnTo>
                  <a:lnTo>
                    <a:pt x="11" y="117"/>
                  </a:lnTo>
                  <a:lnTo>
                    <a:pt x="11" y="117"/>
                  </a:lnTo>
                  <a:lnTo>
                    <a:pt x="14" y="117"/>
                  </a:lnTo>
                  <a:lnTo>
                    <a:pt x="22" y="117"/>
                  </a:lnTo>
                  <a:lnTo>
                    <a:pt x="24" y="120"/>
                  </a:lnTo>
                  <a:lnTo>
                    <a:pt x="27" y="130"/>
                  </a:lnTo>
                  <a:lnTo>
                    <a:pt x="27" y="133"/>
                  </a:lnTo>
                  <a:lnTo>
                    <a:pt x="30" y="136"/>
                  </a:lnTo>
                  <a:lnTo>
                    <a:pt x="32" y="136"/>
                  </a:lnTo>
                  <a:lnTo>
                    <a:pt x="38" y="133"/>
                  </a:lnTo>
                  <a:lnTo>
                    <a:pt x="40" y="136"/>
                  </a:lnTo>
                  <a:lnTo>
                    <a:pt x="43" y="141"/>
                  </a:lnTo>
                  <a:lnTo>
                    <a:pt x="48" y="144"/>
                  </a:lnTo>
                  <a:lnTo>
                    <a:pt x="51" y="144"/>
                  </a:lnTo>
                  <a:lnTo>
                    <a:pt x="51" y="146"/>
                  </a:lnTo>
                  <a:lnTo>
                    <a:pt x="54" y="149"/>
                  </a:lnTo>
                  <a:lnTo>
                    <a:pt x="59" y="154"/>
                  </a:lnTo>
                  <a:lnTo>
                    <a:pt x="67" y="157"/>
                  </a:lnTo>
                  <a:lnTo>
                    <a:pt x="70" y="160"/>
                  </a:lnTo>
                  <a:lnTo>
                    <a:pt x="72" y="162"/>
                  </a:lnTo>
                  <a:lnTo>
                    <a:pt x="70" y="165"/>
                  </a:lnTo>
                  <a:lnTo>
                    <a:pt x="67" y="168"/>
                  </a:lnTo>
                  <a:lnTo>
                    <a:pt x="64" y="168"/>
                  </a:lnTo>
                  <a:lnTo>
                    <a:pt x="62" y="171"/>
                  </a:lnTo>
                  <a:lnTo>
                    <a:pt x="62" y="171"/>
                  </a:lnTo>
                  <a:lnTo>
                    <a:pt x="59" y="176"/>
                  </a:lnTo>
                  <a:lnTo>
                    <a:pt x="56" y="176"/>
                  </a:lnTo>
                  <a:lnTo>
                    <a:pt x="54" y="179"/>
                  </a:lnTo>
                  <a:lnTo>
                    <a:pt x="51" y="179"/>
                  </a:lnTo>
                  <a:lnTo>
                    <a:pt x="48" y="184"/>
                  </a:lnTo>
                  <a:lnTo>
                    <a:pt x="48" y="187"/>
                  </a:lnTo>
                  <a:lnTo>
                    <a:pt x="46" y="189"/>
                  </a:lnTo>
                  <a:lnTo>
                    <a:pt x="43" y="192"/>
                  </a:lnTo>
                  <a:lnTo>
                    <a:pt x="40" y="197"/>
                  </a:lnTo>
                  <a:lnTo>
                    <a:pt x="40" y="197"/>
                  </a:lnTo>
                  <a:lnTo>
                    <a:pt x="38" y="200"/>
                  </a:lnTo>
                  <a:lnTo>
                    <a:pt x="38" y="200"/>
                  </a:lnTo>
                  <a:lnTo>
                    <a:pt x="38" y="203"/>
                  </a:lnTo>
                  <a:lnTo>
                    <a:pt x="38" y="203"/>
                  </a:lnTo>
                  <a:lnTo>
                    <a:pt x="40" y="205"/>
                  </a:lnTo>
                  <a:lnTo>
                    <a:pt x="38" y="208"/>
                  </a:lnTo>
                  <a:lnTo>
                    <a:pt x="38" y="211"/>
                  </a:lnTo>
                  <a:lnTo>
                    <a:pt x="35" y="211"/>
                  </a:lnTo>
                  <a:lnTo>
                    <a:pt x="35" y="211"/>
                  </a:lnTo>
                  <a:lnTo>
                    <a:pt x="32" y="211"/>
                  </a:lnTo>
                  <a:lnTo>
                    <a:pt x="32" y="211"/>
                  </a:lnTo>
                  <a:lnTo>
                    <a:pt x="32" y="211"/>
                  </a:lnTo>
                  <a:lnTo>
                    <a:pt x="30" y="213"/>
                  </a:lnTo>
                  <a:lnTo>
                    <a:pt x="27" y="216"/>
                  </a:lnTo>
                  <a:lnTo>
                    <a:pt x="27" y="216"/>
                  </a:lnTo>
                  <a:lnTo>
                    <a:pt x="24" y="216"/>
                  </a:lnTo>
                  <a:lnTo>
                    <a:pt x="19" y="219"/>
                  </a:lnTo>
                  <a:lnTo>
                    <a:pt x="14" y="224"/>
                  </a:lnTo>
                  <a:lnTo>
                    <a:pt x="11" y="227"/>
                  </a:lnTo>
                  <a:lnTo>
                    <a:pt x="8" y="232"/>
                  </a:lnTo>
                  <a:lnTo>
                    <a:pt x="6" y="235"/>
                  </a:lnTo>
                  <a:lnTo>
                    <a:pt x="6" y="240"/>
                  </a:lnTo>
                  <a:lnTo>
                    <a:pt x="6" y="240"/>
                  </a:lnTo>
                  <a:lnTo>
                    <a:pt x="6" y="240"/>
                  </a:lnTo>
                  <a:lnTo>
                    <a:pt x="6" y="243"/>
                  </a:lnTo>
                  <a:lnTo>
                    <a:pt x="6" y="243"/>
                  </a:lnTo>
                  <a:lnTo>
                    <a:pt x="3" y="245"/>
                  </a:lnTo>
                  <a:lnTo>
                    <a:pt x="3" y="245"/>
                  </a:lnTo>
                  <a:lnTo>
                    <a:pt x="3" y="248"/>
                  </a:lnTo>
                  <a:lnTo>
                    <a:pt x="3" y="251"/>
                  </a:lnTo>
                  <a:lnTo>
                    <a:pt x="3" y="251"/>
                  </a:lnTo>
                  <a:lnTo>
                    <a:pt x="0" y="253"/>
                  </a:lnTo>
                  <a:lnTo>
                    <a:pt x="0" y="256"/>
                  </a:lnTo>
                  <a:lnTo>
                    <a:pt x="0" y="256"/>
                  </a:lnTo>
                  <a:lnTo>
                    <a:pt x="0" y="259"/>
                  </a:lnTo>
                  <a:lnTo>
                    <a:pt x="6" y="261"/>
                  </a:lnTo>
                  <a:lnTo>
                    <a:pt x="6" y="261"/>
                  </a:lnTo>
                  <a:lnTo>
                    <a:pt x="6" y="269"/>
                  </a:lnTo>
                  <a:lnTo>
                    <a:pt x="6" y="272"/>
                  </a:lnTo>
                  <a:lnTo>
                    <a:pt x="6" y="272"/>
                  </a:lnTo>
                  <a:lnTo>
                    <a:pt x="6" y="272"/>
                  </a:lnTo>
                  <a:lnTo>
                    <a:pt x="6" y="269"/>
                  </a:lnTo>
                  <a:lnTo>
                    <a:pt x="6" y="275"/>
                  </a:lnTo>
                  <a:lnTo>
                    <a:pt x="11" y="277"/>
                  </a:lnTo>
                  <a:lnTo>
                    <a:pt x="14" y="277"/>
                  </a:lnTo>
                  <a:lnTo>
                    <a:pt x="27" y="288"/>
                  </a:lnTo>
                  <a:lnTo>
                    <a:pt x="27" y="288"/>
                  </a:lnTo>
                  <a:lnTo>
                    <a:pt x="30" y="288"/>
                  </a:lnTo>
                  <a:lnTo>
                    <a:pt x="30" y="288"/>
                  </a:lnTo>
                  <a:lnTo>
                    <a:pt x="30" y="288"/>
                  </a:lnTo>
                  <a:lnTo>
                    <a:pt x="30" y="288"/>
                  </a:lnTo>
                  <a:lnTo>
                    <a:pt x="32" y="288"/>
                  </a:lnTo>
                  <a:lnTo>
                    <a:pt x="32" y="288"/>
                  </a:lnTo>
                  <a:lnTo>
                    <a:pt x="35" y="288"/>
                  </a:lnTo>
                  <a:lnTo>
                    <a:pt x="35" y="291"/>
                  </a:lnTo>
                  <a:lnTo>
                    <a:pt x="38" y="293"/>
                  </a:lnTo>
                  <a:lnTo>
                    <a:pt x="38" y="293"/>
                  </a:lnTo>
                  <a:lnTo>
                    <a:pt x="43" y="291"/>
                  </a:lnTo>
                  <a:lnTo>
                    <a:pt x="43" y="293"/>
                  </a:lnTo>
                  <a:lnTo>
                    <a:pt x="46" y="296"/>
                  </a:lnTo>
                  <a:lnTo>
                    <a:pt x="46" y="296"/>
                  </a:lnTo>
                  <a:lnTo>
                    <a:pt x="48" y="296"/>
                  </a:lnTo>
                  <a:lnTo>
                    <a:pt x="51" y="299"/>
                  </a:lnTo>
                  <a:lnTo>
                    <a:pt x="54" y="299"/>
                  </a:lnTo>
                  <a:lnTo>
                    <a:pt x="54" y="299"/>
                  </a:lnTo>
                  <a:lnTo>
                    <a:pt x="54" y="301"/>
                  </a:lnTo>
                  <a:lnTo>
                    <a:pt x="54" y="301"/>
                  </a:lnTo>
                  <a:lnTo>
                    <a:pt x="56" y="304"/>
                  </a:lnTo>
                  <a:lnTo>
                    <a:pt x="56" y="304"/>
                  </a:lnTo>
                  <a:lnTo>
                    <a:pt x="56" y="304"/>
                  </a:lnTo>
                  <a:lnTo>
                    <a:pt x="59" y="304"/>
                  </a:lnTo>
                  <a:lnTo>
                    <a:pt x="59" y="304"/>
                  </a:lnTo>
                  <a:lnTo>
                    <a:pt x="62" y="301"/>
                  </a:lnTo>
                  <a:lnTo>
                    <a:pt x="62" y="301"/>
                  </a:lnTo>
                  <a:lnTo>
                    <a:pt x="64" y="299"/>
                  </a:lnTo>
                  <a:lnTo>
                    <a:pt x="67" y="299"/>
                  </a:lnTo>
                  <a:lnTo>
                    <a:pt x="70" y="299"/>
                  </a:lnTo>
                  <a:lnTo>
                    <a:pt x="70" y="299"/>
                  </a:lnTo>
                  <a:lnTo>
                    <a:pt x="70" y="301"/>
                  </a:lnTo>
                  <a:lnTo>
                    <a:pt x="70" y="301"/>
                  </a:lnTo>
                  <a:lnTo>
                    <a:pt x="72" y="301"/>
                  </a:lnTo>
                  <a:lnTo>
                    <a:pt x="72" y="301"/>
                  </a:lnTo>
                  <a:lnTo>
                    <a:pt x="75" y="299"/>
                  </a:lnTo>
                  <a:lnTo>
                    <a:pt x="75" y="299"/>
                  </a:lnTo>
                  <a:lnTo>
                    <a:pt x="81" y="299"/>
                  </a:lnTo>
                  <a:lnTo>
                    <a:pt x="81" y="299"/>
                  </a:lnTo>
                  <a:lnTo>
                    <a:pt x="83" y="299"/>
                  </a:lnTo>
                  <a:lnTo>
                    <a:pt x="86" y="304"/>
                  </a:lnTo>
                  <a:lnTo>
                    <a:pt x="86" y="309"/>
                  </a:lnTo>
                  <a:lnTo>
                    <a:pt x="83" y="323"/>
                  </a:lnTo>
                  <a:lnTo>
                    <a:pt x="83" y="325"/>
                  </a:lnTo>
                  <a:lnTo>
                    <a:pt x="83" y="328"/>
                  </a:lnTo>
                  <a:lnTo>
                    <a:pt x="86" y="331"/>
                  </a:lnTo>
                  <a:lnTo>
                    <a:pt x="86" y="331"/>
                  </a:lnTo>
                  <a:lnTo>
                    <a:pt x="83" y="333"/>
                  </a:lnTo>
                  <a:lnTo>
                    <a:pt x="83" y="333"/>
                  </a:lnTo>
                  <a:lnTo>
                    <a:pt x="86" y="336"/>
                  </a:lnTo>
                  <a:lnTo>
                    <a:pt x="86" y="336"/>
                  </a:lnTo>
                  <a:lnTo>
                    <a:pt x="89" y="333"/>
                  </a:lnTo>
                  <a:lnTo>
                    <a:pt x="94" y="331"/>
                  </a:lnTo>
                  <a:lnTo>
                    <a:pt x="97" y="328"/>
                  </a:lnTo>
                  <a:lnTo>
                    <a:pt x="99" y="323"/>
                  </a:lnTo>
                  <a:lnTo>
                    <a:pt x="102" y="317"/>
                  </a:lnTo>
                  <a:lnTo>
                    <a:pt x="102" y="317"/>
                  </a:lnTo>
                  <a:lnTo>
                    <a:pt x="99" y="317"/>
                  </a:lnTo>
                  <a:lnTo>
                    <a:pt x="99" y="315"/>
                  </a:lnTo>
                  <a:lnTo>
                    <a:pt x="102" y="315"/>
                  </a:lnTo>
                  <a:lnTo>
                    <a:pt x="105" y="312"/>
                  </a:lnTo>
                  <a:lnTo>
                    <a:pt x="105" y="312"/>
                  </a:lnTo>
                  <a:lnTo>
                    <a:pt x="105" y="309"/>
                  </a:lnTo>
                  <a:lnTo>
                    <a:pt x="107" y="307"/>
                  </a:lnTo>
                  <a:lnTo>
                    <a:pt x="107" y="307"/>
                  </a:lnTo>
                  <a:lnTo>
                    <a:pt x="107" y="304"/>
                  </a:lnTo>
                  <a:lnTo>
                    <a:pt x="105" y="304"/>
                  </a:lnTo>
                  <a:lnTo>
                    <a:pt x="105" y="304"/>
                  </a:lnTo>
                  <a:lnTo>
                    <a:pt x="105" y="304"/>
                  </a:lnTo>
                  <a:lnTo>
                    <a:pt x="105" y="304"/>
                  </a:lnTo>
                  <a:lnTo>
                    <a:pt x="105" y="304"/>
                  </a:lnTo>
                  <a:lnTo>
                    <a:pt x="102" y="304"/>
                  </a:lnTo>
                  <a:lnTo>
                    <a:pt x="102" y="304"/>
                  </a:lnTo>
                  <a:lnTo>
                    <a:pt x="105" y="301"/>
                  </a:lnTo>
                  <a:lnTo>
                    <a:pt x="105" y="301"/>
                  </a:lnTo>
                  <a:lnTo>
                    <a:pt x="105" y="301"/>
                  </a:lnTo>
                  <a:lnTo>
                    <a:pt x="107" y="301"/>
                  </a:lnTo>
                  <a:lnTo>
                    <a:pt x="110" y="291"/>
                  </a:lnTo>
                  <a:lnTo>
                    <a:pt x="110" y="288"/>
                  </a:lnTo>
                  <a:lnTo>
                    <a:pt x="113" y="285"/>
                  </a:lnTo>
                  <a:lnTo>
                    <a:pt x="115" y="280"/>
                  </a:lnTo>
                  <a:lnTo>
                    <a:pt x="118" y="277"/>
                  </a:lnTo>
                  <a:lnTo>
                    <a:pt x="118" y="275"/>
                  </a:lnTo>
                  <a:lnTo>
                    <a:pt x="113" y="280"/>
                  </a:lnTo>
                  <a:lnTo>
                    <a:pt x="110" y="280"/>
                  </a:lnTo>
                  <a:lnTo>
                    <a:pt x="110" y="277"/>
                  </a:lnTo>
                  <a:lnTo>
                    <a:pt x="107" y="277"/>
                  </a:lnTo>
                  <a:lnTo>
                    <a:pt x="107" y="277"/>
                  </a:lnTo>
                  <a:lnTo>
                    <a:pt x="107" y="275"/>
                  </a:lnTo>
                  <a:lnTo>
                    <a:pt x="110" y="275"/>
                  </a:lnTo>
                  <a:lnTo>
                    <a:pt x="118" y="272"/>
                  </a:lnTo>
                  <a:lnTo>
                    <a:pt x="118" y="272"/>
                  </a:lnTo>
                  <a:lnTo>
                    <a:pt x="115" y="269"/>
                  </a:lnTo>
                  <a:lnTo>
                    <a:pt x="118" y="267"/>
                  </a:lnTo>
                  <a:lnTo>
                    <a:pt x="121" y="261"/>
                  </a:lnTo>
                  <a:lnTo>
                    <a:pt x="123" y="264"/>
                  </a:lnTo>
                  <a:lnTo>
                    <a:pt x="121" y="267"/>
                  </a:lnTo>
                  <a:lnTo>
                    <a:pt x="121" y="269"/>
                  </a:lnTo>
                  <a:lnTo>
                    <a:pt x="118" y="272"/>
                  </a:lnTo>
                  <a:lnTo>
                    <a:pt x="121" y="272"/>
                  </a:lnTo>
                  <a:lnTo>
                    <a:pt x="123" y="269"/>
                  </a:lnTo>
                  <a:lnTo>
                    <a:pt x="129" y="264"/>
                  </a:lnTo>
                  <a:lnTo>
                    <a:pt x="131" y="264"/>
                  </a:lnTo>
                  <a:lnTo>
                    <a:pt x="129" y="261"/>
                  </a:lnTo>
                  <a:lnTo>
                    <a:pt x="126" y="259"/>
                  </a:lnTo>
                  <a:lnTo>
                    <a:pt x="126" y="256"/>
                  </a:lnTo>
                  <a:lnTo>
                    <a:pt x="123" y="259"/>
                  </a:lnTo>
                  <a:lnTo>
                    <a:pt x="123" y="256"/>
                  </a:lnTo>
                  <a:lnTo>
                    <a:pt x="123" y="256"/>
                  </a:lnTo>
                  <a:lnTo>
                    <a:pt x="123" y="253"/>
                  </a:lnTo>
                  <a:lnTo>
                    <a:pt x="123" y="251"/>
                  </a:lnTo>
                  <a:lnTo>
                    <a:pt x="126" y="251"/>
                  </a:lnTo>
                  <a:lnTo>
                    <a:pt x="126" y="251"/>
                  </a:lnTo>
                  <a:lnTo>
                    <a:pt x="129" y="251"/>
                  </a:lnTo>
                  <a:lnTo>
                    <a:pt x="129" y="251"/>
                  </a:lnTo>
                  <a:lnTo>
                    <a:pt x="131" y="248"/>
                  </a:lnTo>
                  <a:lnTo>
                    <a:pt x="129" y="245"/>
                  </a:lnTo>
                  <a:lnTo>
                    <a:pt x="129" y="243"/>
                  </a:lnTo>
                  <a:lnTo>
                    <a:pt x="126" y="243"/>
                  </a:lnTo>
                  <a:lnTo>
                    <a:pt x="126" y="240"/>
                  </a:lnTo>
                  <a:lnTo>
                    <a:pt x="126" y="235"/>
                  </a:lnTo>
                  <a:lnTo>
                    <a:pt x="126" y="237"/>
                  </a:lnTo>
                  <a:lnTo>
                    <a:pt x="129" y="237"/>
                  </a:lnTo>
                  <a:lnTo>
                    <a:pt x="129" y="237"/>
                  </a:lnTo>
                  <a:lnTo>
                    <a:pt x="131" y="235"/>
                  </a:lnTo>
                  <a:lnTo>
                    <a:pt x="134" y="237"/>
                  </a:lnTo>
                  <a:lnTo>
                    <a:pt x="137" y="237"/>
                  </a:lnTo>
                  <a:lnTo>
                    <a:pt x="137" y="240"/>
                  </a:lnTo>
                  <a:lnTo>
                    <a:pt x="137" y="240"/>
                  </a:lnTo>
                  <a:lnTo>
                    <a:pt x="139" y="240"/>
                  </a:lnTo>
                  <a:lnTo>
                    <a:pt x="139" y="237"/>
                  </a:lnTo>
                  <a:lnTo>
                    <a:pt x="137" y="235"/>
                  </a:lnTo>
                  <a:lnTo>
                    <a:pt x="134" y="232"/>
                  </a:lnTo>
                  <a:lnTo>
                    <a:pt x="134" y="229"/>
                  </a:lnTo>
                  <a:lnTo>
                    <a:pt x="137" y="229"/>
                  </a:lnTo>
                  <a:lnTo>
                    <a:pt x="137" y="227"/>
                  </a:lnTo>
                  <a:lnTo>
                    <a:pt x="137" y="227"/>
                  </a:lnTo>
                  <a:lnTo>
                    <a:pt x="139" y="224"/>
                  </a:lnTo>
                  <a:lnTo>
                    <a:pt x="139" y="224"/>
                  </a:lnTo>
                  <a:lnTo>
                    <a:pt x="139" y="221"/>
                  </a:lnTo>
                  <a:lnTo>
                    <a:pt x="142" y="219"/>
                  </a:lnTo>
                  <a:lnTo>
                    <a:pt x="145" y="219"/>
                  </a:lnTo>
                  <a:lnTo>
                    <a:pt x="145" y="216"/>
                  </a:lnTo>
                  <a:lnTo>
                    <a:pt x="145" y="211"/>
                  </a:lnTo>
                  <a:lnTo>
                    <a:pt x="145" y="211"/>
                  </a:lnTo>
                  <a:lnTo>
                    <a:pt x="147" y="208"/>
                  </a:lnTo>
                  <a:lnTo>
                    <a:pt x="147" y="205"/>
                  </a:lnTo>
                  <a:lnTo>
                    <a:pt x="145" y="205"/>
                  </a:lnTo>
                  <a:lnTo>
                    <a:pt x="142" y="205"/>
                  </a:lnTo>
                  <a:lnTo>
                    <a:pt x="142" y="200"/>
                  </a:lnTo>
                  <a:lnTo>
                    <a:pt x="142" y="195"/>
                  </a:lnTo>
                  <a:lnTo>
                    <a:pt x="145" y="192"/>
                  </a:lnTo>
                  <a:lnTo>
                    <a:pt x="145" y="189"/>
                  </a:lnTo>
                  <a:lnTo>
                    <a:pt x="145" y="189"/>
                  </a:lnTo>
                  <a:lnTo>
                    <a:pt x="145" y="187"/>
                  </a:lnTo>
                  <a:lnTo>
                    <a:pt x="145" y="184"/>
                  </a:lnTo>
                  <a:lnTo>
                    <a:pt x="145" y="181"/>
                  </a:lnTo>
                  <a:lnTo>
                    <a:pt x="147" y="179"/>
                  </a:lnTo>
                  <a:lnTo>
                    <a:pt x="145" y="179"/>
                  </a:lnTo>
                  <a:lnTo>
                    <a:pt x="142" y="179"/>
                  </a:lnTo>
                  <a:lnTo>
                    <a:pt x="145" y="176"/>
                  </a:lnTo>
                  <a:lnTo>
                    <a:pt x="145" y="173"/>
                  </a:lnTo>
                  <a:lnTo>
                    <a:pt x="142" y="171"/>
                  </a:lnTo>
                  <a:lnTo>
                    <a:pt x="142" y="171"/>
                  </a:lnTo>
                  <a:lnTo>
                    <a:pt x="142" y="168"/>
                  </a:lnTo>
                  <a:lnTo>
                    <a:pt x="142" y="168"/>
                  </a:lnTo>
                  <a:lnTo>
                    <a:pt x="145" y="168"/>
                  </a:lnTo>
                  <a:lnTo>
                    <a:pt x="145" y="165"/>
                  </a:lnTo>
                  <a:lnTo>
                    <a:pt x="147" y="165"/>
                  </a:lnTo>
                  <a:lnTo>
                    <a:pt x="147" y="162"/>
                  </a:lnTo>
                  <a:lnTo>
                    <a:pt x="147" y="160"/>
                  </a:lnTo>
                  <a:lnTo>
                    <a:pt x="145" y="162"/>
                  </a:lnTo>
                  <a:lnTo>
                    <a:pt x="145" y="160"/>
                  </a:lnTo>
                  <a:lnTo>
                    <a:pt x="145" y="160"/>
                  </a:lnTo>
                  <a:lnTo>
                    <a:pt x="147" y="160"/>
                  </a:lnTo>
                  <a:lnTo>
                    <a:pt x="147" y="162"/>
                  </a:lnTo>
                  <a:lnTo>
                    <a:pt x="150" y="165"/>
                  </a:lnTo>
                  <a:lnTo>
                    <a:pt x="150" y="168"/>
                  </a:lnTo>
                  <a:lnTo>
                    <a:pt x="150" y="171"/>
                  </a:lnTo>
                  <a:lnTo>
                    <a:pt x="147" y="176"/>
                  </a:lnTo>
                  <a:lnTo>
                    <a:pt x="153" y="197"/>
                  </a:lnTo>
                  <a:lnTo>
                    <a:pt x="153" y="195"/>
                  </a:lnTo>
                  <a:lnTo>
                    <a:pt x="150" y="181"/>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28" name="Freeform 25">
              <a:extLst>
                <a:ext uri="{FF2B5EF4-FFF2-40B4-BE49-F238E27FC236}">
                  <a16:creationId xmlns="" xmlns:a16="http://schemas.microsoft.com/office/drawing/2014/main" id="{DB93F95A-8FC0-4186-84EC-4A2860F31015}"/>
                </a:ext>
              </a:extLst>
            </p:cNvPr>
            <p:cNvSpPr>
              <a:spLocks/>
            </p:cNvSpPr>
            <p:nvPr/>
          </p:nvSpPr>
          <p:spPr bwMode="auto">
            <a:xfrm>
              <a:off x="6508" y="393"/>
              <a:ext cx="190" cy="379"/>
            </a:xfrm>
            <a:custGeom>
              <a:avLst/>
              <a:gdLst>
                <a:gd name="T0" fmla="*/ 190 w 190"/>
                <a:gd name="T1" fmla="*/ 288 h 379"/>
                <a:gd name="T2" fmla="*/ 184 w 190"/>
                <a:gd name="T3" fmla="*/ 304 h 379"/>
                <a:gd name="T4" fmla="*/ 179 w 190"/>
                <a:gd name="T5" fmla="*/ 318 h 379"/>
                <a:gd name="T6" fmla="*/ 163 w 190"/>
                <a:gd name="T7" fmla="*/ 326 h 379"/>
                <a:gd name="T8" fmla="*/ 158 w 190"/>
                <a:gd name="T9" fmla="*/ 331 h 379"/>
                <a:gd name="T10" fmla="*/ 152 w 190"/>
                <a:gd name="T11" fmla="*/ 331 h 379"/>
                <a:gd name="T12" fmla="*/ 150 w 190"/>
                <a:gd name="T13" fmla="*/ 336 h 379"/>
                <a:gd name="T14" fmla="*/ 147 w 190"/>
                <a:gd name="T15" fmla="*/ 344 h 379"/>
                <a:gd name="T16" fmla="*/ 142 w 190"/>
                <a:gd name="T17" fmla="*/ 350 h 379"/>
                <a:gd name="T18" fmla="*/ 123 w 190"/>
                <a:gd name="T19" fmla="*/ 355 h 379"/>
                <a:gd name="T20" fmla="*/ 86 w 190"/>
                <a:gd name="T21" fmla="*/ 363 h 379"/>
                <a:gd name="T22" fmla="*/ 51 w 190"/>
                <a:gd name="T23" fmla="*/ 371 h 379"/>
                <a:gd name="T24" fmla="*/ 22 w 190"/>
                <a:gd name="T25" fmla="*/ 379 h 379"/>
                <a:gd name="T26" fmla="*/ 22 w 190"/>
                <a:gd name="T27" fmla="*/ 379 h 379"/>
                <a:gd name="T28" fmla="*/ 22 w 190"/>
                <a:gd name="T29" fmla="*/ 379 h 379"/>
                <a:gd name="T30" fmla="*/ 22 w 190"/>
                <a:gd name="T31" fmla="*/ 379 h 379"/>
                <a:gd name="T32" fmla="*/ 8 w 190"/>
                <a:gd name="T33" fmla="*/ 368 h 379"/>
                <a:gd name="T34" fmla="*/ 6 w 190"/>
                <a:gd name="T35" fmla="*/ 360 h 379"/>
                <a:gd name="T36" fmla="*/ 8 w 190"/>
                <a:gd name="T37" fmla="*/ 347 h 379"/>
                <a:gd name="T38" fmla="*/ 8 w 190"/>
                <a:gd name="T39" fmla="*/ 326 h 379"/>
                <a:gd name="T40" fmla="*/ 6 w 190"/>
                <a:gd name="T41" fmla="*/ 312 h 379"/>
                <a:gd name="T42" fmla="*/ 6 w 190"/>
                <a:gd name="T43" fmla="*/ 310 h 379"/>
                <a:gd name="T44" fmla="*/ 8 w 190"/>
                <a:gd name="T45" fmla="*/ 302 h 379"/>
                <a:gd name="T46" fmla="*/ 0 w 190"/>
                <a:gd name="T47" fmla="*/ 264 h 379"/>
                <a:gd name="T48" fmla="*/ 3 w 190"/>
                <a:gd name="T49" fmla="*/ 243 h 379"/>
                <a:gd name="T50" fmla="*/ 11 w 190"/>
                <a:gd name="T51" fmla="*/ 229 h 379"/>
                <a:gd name="T52" fmla="*/ 11 w 190"/>
                <a:gd name="T53" fmla="*/ 213 h 379"/>
                <a:gd name="T54" fmla="*/ 14 w 190"/>
                <a:gd name="T55" fmla="*/ 200 h 379"/>
                <a:gd name="T56" fmla="*/ 11 w 190"/>
                <a:gd name="T57" fmla="*/ 168 h 379"/>
                <a:gd name="T58" fmla="*/ 24 w 190"/>
                <a:gd name="T59" fmla="*/ 149 h 379"/>
                <a:gd name="T60" fmla="*/ 40 w 190"/>
                <a:gd name="T61" fmla="*/ 131 h 379"/>
                <a:gd name="T62" fmla="*/ 48 w 190"/>
                <a:gd name="T63" fmla="*/ 117 h 379"/>
                <a:gd name="T64" fmla="*/ 48 w 190"/>
                <a:gd name="T65" fmla="*/ 109 h 379"/>
                <a:gd name="T66" fmla="*/ 46 w 190"/>
                <a:gd name="T67" fmla="*/ 104 h 379"/>
                <a:gd name="T68" fmla="*/ 35 w 190"/>
                <a:gd name="T69" fmla="*/ 91 h 379"/>
                <a:gd name="T70" fmla="*/ 43 w 190"/>
                <a:gd name="T71" fmla="*/ 64 h 379"/>
                <a:gd name="T72" fmla="*/ 38 w 190"/>
                <a:gd name="T73" fmla="*/ 50 h 379"/>
                <a:gd name="T74" fmla="*/ 38 w 190"/>
                <a:gd name="T75" fmla="*/ 42 h 379"/>
                <a:gd name="T76" fmla="*/ 43 w 190"/>
                <a:gd name="T77" fmla="*/ 24 h 379"/>
                <a:gd name="T78" fmla="*/ 43 w 190"/>
                <a:gd name="T79" fmla="*/ 18 h 379"/>
                <a:gd name="T80" fmla="*/ 51 w 190"/>
                <a:gd name="T81" fmla="*/ 8 h 379"/>
                <a:gd name="T82" fmla="*/ 70 w 190"/>
                <a:gd name="T83" fmla="*/ 2 h 379"/>
                <a:gd name="T84" fmla="*/ 75 w 190"/>
                <a:gd name="T85" fmla="*/ 16 h 379"/>
                <a:gd name="T86" fmla="*/ 86 w 190"/>
                <a:gd name="T87" fmla="*/ 50 h 379"/>
                <a:gd name="T88" fmla="*/ 99 w 190"/>
                <a:gd name="T89" fmla="*/ 85 h 379"/>
                <a:gd name="T90" fmla="*/ 110 w 190"/>
                <a:gd name="T91" fmla="*/ 120 h 379"/>
                <a:gd name="T92" fmla="*/ 120 w 190"/>
                <a:gd name="T93" fmla="*/ 155 h 379"/>
                <a:gd name="T94" fmla="*/ 131 w 190"/>
                <a:gd name="T95" fmla="*/ 189 h 379"/>
                <a:gd name="T96" fmla="*/ 144 w 190"/>
                <a:gd name="T97" fmla="*/ 224 h 379"/>
                <a:gd name="T98" fmla="*/ 147 w 190"/>
                <a:gd name="T99" fmla="*/ 237 h 379"/>
                <a:gd name="T100" fmla="*/ 150 w 190"/>
                <a:gd name="T101" fmla="*/ 243 h 379"/>
                <a:gd name="T102" fmla="*/ 150 w 190"/>
                <a:gd name="T103" fmla="*/ 251 h 379"/>
                <a:gd name="T104" fmla="*/ 166 w 190"/>
                <a:gd name="T105" fmla="*/ 264 h 379"/>
                <a:gd name="T106" fmla="*/ 171 w 190"/>
                <a:gd name="T107" fmla="*/ 270 h 379"/>
                <a:gd name="T108" fmla="*/ 176 w 190"/>
                <a:gd name="T109" fmla="*/ 28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0" h="379">
                  <a:moveTo>
                    <a:pt x="184" y="286"/>
                  </a:moveTo>
                  <a:lnTo>
                    <a:pt x="184" y="288"/>
                  </a:lnTo>
                  <a:lnTo>
                    <a:pt x="187" y="288"/>
                  </a:lnTo>
                  <a:lnTo>
                    <a:pt x="187" y="286"/>
                  </a:lnTo>
                  <a:lnTo>
                    <a:pt x="190" y="288"/>
                  </a:lnTo>
                  <a:lnTo>
                    <a:pt x="190" y="288"/>
                  </a:lnTo>
                  <a:lnTo>
                    <a:pt x="190" y="291"/>
                  </a:lnTo>
                  <a:lnTo>
                    <a:pt x="190" y="291"/>
                  </a:lnTo>
                  <a:lnTo>
                    <a:pt x="187" y="294"/>
                  </a:lnTo>
                  <a:lnTo>
                    <a:pt x="184" y="304"/>
                  </a:lnTo>
                  <a:lnTo>
                    <a:pt x="184" y="310"/>
                  </a:lnTo>
                  <a:lnTo>
                    <a:pt x="184" y="312"/>
                  </a:lnTo>
                  <a:lnTo>
                    <a:pt x="184" y="315"/>
                  </a:lnTo>
                  <a:lnTo>
                    <a:pt x="182" y="318"/>
                  </a:lnTo>
                  <a:lnTo>
                    <a:pt x="179" y="318"/>
                  </a:lnTo>
                  <a:lnTo>
                    <a:pt x="174" y="315"/>
                  </a:lnTo>
                  <a:lnTo>
                    <a:pt x="174" y="315"/>
                  </a:lnTo>
                  <a:lnTo>
                    <a:pt x="174" y="318"/>
                  </a:lnTo>
                  <a:lnTo>
                    <a:pt x="163" y="323"/>
                  </a:lnTo>
                  <a:lnTo>
                    <a:pt x="163" y="326"/>
                  </a:lnTo>
                  <a:lnTo>
                    <a:pt x="163" y="326"/>
                  </a:lnTo>
                  <a:lnTo>
                    <a:pt x="160" y="328"/>
                  </a:lnTo>
                  <a:lnTo>
                    <a:pt x="160" y="328"/>
                  </a:lnTo>
                  <a:lnTo>
                    <a:pt x="160" y="328"/>
                  </a:lnTo>
                  <a:lnTo>
                    <a:pt x="158" y="331"/>
                  </a:lnTo>
                  <a:lnTo>
                    <a:pt x="158" y="331"/>
                  </a:lnTo>
                  <a:lnTo>
                    <a:pt x="158" y="331"/>
                  </a:lnTo>
                  <a:lnTo>
                    <a:pt x="155" y="331"/>
                  </a:lnTo>
                  <a:lnTo>
                    <a:pt x="155" y="331"/>
                  </a:lnTo>
                  <a:lnTo>
                    <a:pt x="152" y="331"/>
                  </a:lnTo>
                  <a:lnTo>
                    <a:pt x="152" y="331"/>
                  </a:lnTo>
                  <a:lnTo>
                    <a:pt x="152" y="334"/>
                  </a:lnTo>
                  <a:lnTo>
                    <a:pt x="152" y="334"/>
                  </a:lnTo>
                  <a:lnTo>
                    <a:pt x="152" y="334"/>
                  </a:lnTo>
                  <a:lnTo>
                    <a:pt x="150" y="336"/>
                  </a:lnTo>
                  <a:lnTo>
                    <a:pt x="150" y="339"/>
                  </a:lnTo>
                  <a:lnTo>
                    <a:pt x="150" y="339"/>
                  </a:lnTo>
                  <a:lnTo>
                    <a:pt x="150" y="342"/>
                  </a:lnTo>
                  <a:lnTo>
                    <a:pt x="150" y="342"/>
                  </a:lnTo>
                  <a:lnTo>
                    <a:pt x="147" y="344"/>
                  </a:lnTo>
                  <a:lnTo>
                    <a:pt x="147" y="344"/>
                  </a:lnTo>
                  <a:lnTo>
                    <a:pt x="144" y="344"/>
                  </a:lnTo>
                  <a:lnTo>
                    <a:pt x="144" y="347"/>
                  </a:lnTo>
                  <a:lnTo>
                    <a:pt x="144" y="350"/>
                  </a:lnTo>
                  <a:lnTo>
                    <a:pt x="142" y="350"/>
                  </a:lnTo>
                  <a:lnTo>
                    <a:pt x="142" y="352"/>
                  </a:lnTo>
                  <a:lnTo>
                    <a:pt x="139" y="352"/>
                  </a:lnTo>
                  <a:lnTo>
                    <a:pt x="139" y="352"/>
                  </a:lnTo>
                  <a:lnTo>
                    <a:pt x="131" y="355"/>
                  </a:lnTo>
                  <a:lnTo>
                    <a:pt x="123" y="355"/>
                  </a:lnTo>
                  <a:lnTo>
                    <a:pt x="115" y="358"/>
                  </a:lnTo>
                  <a:lnTo>
                    <a:pt x="110" y="358"/>
                  </a:lnTo>
                  <a:lnTo>
                    <a:pt x="102" y="360"/>
                  </a:lnTo>
                  <a:lnTo>
                    <a:pt x="94" y="363"/>
                  </a:lnTo>
                  <a:lnTo>
                    <a:pt x="86" y="363"/>
                  </a:lnTo>
                  <a:lnTo>
                    <a:pt x="80" y="366"/>
                  </a:lnTo>
                  <a:lnTo>
                    <a:pt x="72" y="368"/>
                  </a:lnTo>
                  <a:lnTo>
                    <a:pt x="64" y="368"/>
                  </a:lnTo>
                  <a:lnTo>
                    <a:pt x="56" y="371"/>
                  </a:lnTo>
                  <a:lnTo>
                    <a:pt x="51" y="371"/>
                  </a:lnTo>
                  <a:lnTo>
                    <a:pt x="43" y="374"/>
                  </a:lnTo>
                  <a:lnTo>
                    <a:pt x="35" y="376"/>
                  </a:lnTo>
                  <a:lnTo>
                    <a:pt x="27" y="376"/>
                  </a:lnTo>
                  <a:lnTo>
                    <a:pt x="22" y="379"/>
                  </a:lnTo>
                  <a:lnTo>
                    <a:pt x="22" y="379"/>
                  </a:lnTo>
                  <a:lnTo>
                    <a:pt x="22" y="379"/>
                  </a:lnTo>
                  <a:lnTo>
                    <a:pt x="22" y="379"/>
                  </a:lnTo>
                  <a:lnTo>
                    <a:pt x="22" y="379"/>
                  </a:lnTo>
                  <a:lnTo>
                    <a:pt x="22" y="379"/>
                  </a:lnTo>
                  <a:lnTo>
                    <a:pt x="22" y="379"/>
                  </a:lnTo>
                  <a:lnTo>
                    <a:pt x="22" y="379"/>
                  </a:lnTo>
                  <a:lnTo>
                    <a:pt x="22" y="379"/>
                  </a:lnTo>
                  <a:lnTo>
                    <a:pt x="22" y="379"/>
                  </a:lnTo>
                  <a:lnTo>
                    <a:pt x="22" y="379"/>
                  </a:lnTo>
                  <a:lnTo>
                    <a:pt x="22" y="379"/>
                  </a:lnTo>
                  <a:lnTo>
                    <a:pt x="22" y="379"/>
                  </a:lnTo>
                  <a:lnTo>
                    <a:pt x="22" y="379"/>
                  </a:lnTo>
                  <a:lnTo>
                    <a:pt x="22" y="379"/>
                  </a:lnTo>
                  <a:lnTo>
                    <a:pt x="22" y="379"/>
                  </a:lnTo>
                  <a:lnTo>
                    <a:pt x="22" y="379"/>
                  </a:lnTo>
                  <a:lnTo>
                    <a:pt x="22" y="379"/>
                  </a:lnTo>
                  <a:lnTo>
                    <a:pt x="19" y="374"/>
                  </a:lnTo>
                  <a:lnTo>
                    <a:pt x="16" y="374"/>
                  </a:lnTo>
                  <a:lnTo>
                    <a:pt x="11" y="368"/>
                  </a:lnTo>
                  <a:lnTo>
                    <a:pt x="8" y="368"/>
                  </a:lnTo>
                  <a:lnTo>
                    <a:pt x="8" y="366"/>
                  </a:lnTo>
                  <a:lnTo>
                    <a:pt x="8" y="366"/>
                  </a:lnTo>
                  <a:lnTo>
                    <a:pt x="6" y="363"/>
                  </a:lnTo>
                  <a:lnTo>
                    <a:pt x="6" y="360"/>
                  </a:lnTo>
                  <a:lnTo>
                    <a:pt x="6" y="360"/>
                  </a:lnTo>
                  <a:lnTo>
                    <a:pt x="6" y="358"/>
                  </a:lnTo>
                  <a:lnTo>
                    <a:pt x="8" y="355"/>
                  </a:lnTo>
                  <a:lnTo>
                    <a:pt x="6" y="350"/>
                  </a:lnTo>
                  <a:lnTo>
                    <a:pt x="6" y="347"/>
                  </a:lnTo>
                  <a:lnTo>
                    <a:pt x="8" y="347"/>
                  </a:lnTo>
                  <a:lnTo>
                    <a:pt x="11" y="344"/>
                  </a:lnTo>
                  <a:lnTo>
                    <a:pt x="11" y="342"/>
                  </a:lnTo>
                  <a:lnTo>
                    <a:pt x="8" y="336"/>
                  </a:lnTo>
                  <a:lnTo>
                    <a:pt x="8" y="328"/>
                  </a:lnTo>
                  <a:lnTo>
                    <a:pt x="8" y="326"/>
                  </a:lnTo>
                  <a:lnTo>
                    <a:pt x="8" y="320"/>
                  </a:lnTo>
                  <a:lnTo>
                    <a:pt x="6" y="320"/>
                  </a:lnTo>
                  <a:lnTo>
                    <a:pt x="6" y="315"/>
                  </a:lnTo>
                  <a:lnTo>
                    <a:pt x="6" y="312"/>
                  </a:lnTo>
                  <a:lnTo>
                    <a:pt x="6" y="312"/>
                  </a:lnTo>
                  <a:lnTo>
                    <a:pt x="6" y="312"/>
                  </a:lnTo>
                  <a:lnTo>
                    <a:pt x="6" y="310"/>
                  </a:lnTo>
                  <a:lnTo>
                    <a:pt x="6" y="310"/>
                  </a:lnTo>
                  <a:lnTo>
                    <a:pt x="6" y="310"/>
                  </a:lnTo>
                  <a:lnTo>
                    <a:pt x="6" y="310"/>
                  </a:lnTo>
                  <a:lnTo>
                    <a:pt x="6" y="307"/>
                  </a:lnTo>
                  <a:lnTo>
                    <a:pt x="6" y="307"/>
                  </a:lnTo>
                  <a:lnTo>
                    <a:pt x="6" y="304"/>
                  </a:lnTo>
                  <a:lnTo>
                    <a:pt x="6" y="304"/>
                  </a:lnTo>
                  <a:lnTo>
                    <a:pt x="8" y="302"/>
                  </a:lnTo>
                  <a:lnTo>
                    <a:pt x="6" y="299"/>
                  </a:lnTo>
                  <a:lnTo>
                    <a:pt x="6" y="294"/>
                  </a:lnTo>
                  <a:lnTo>
                    <a:pt x="0" y="270"/>
                  </a:lnTo>
                  <a:lnTo>
                    <a:pt x="0" y="267"/>
                  </a:lnTo>
                  <a:lnTo>
                    <a:pt x="0" y="264"/>
                  </a:lnTo>
                  <a:lnTo>
                    <a:pt x="3" y="259"/>
                  </a:lnTo>
                  <a:lnTo>
                    <a:pt x="3" y="256"/>
                  </a:lnTo>
                  <a:lnTo>
                    <a:pt x="3" y="253"/>
                  </a:lnTo>
                  <a:lnTo>
                    <a:pt x="3" y="248"/>
                  </a:lnTo>
                  <a:lnTo>
                    <a:pt x="3" y="243"/>
                  </a:lnTo>
                  <a:lnTo>
                    <a:pt x="3" y="243"/>
                  </a:lnTo>
                  <a:lnTo>
                    <a:pt x="6" y="240"/>
                  </a:lnTo>
                  <a:lnTo>
                    <a:pt x="6" y="237"/>
                  </a:lnTo>
                  <a:lnTo>
                    <a:pt x="11" y="232"/>
                  </a:lnTo>
                  <a:lnTo>
                    <a:pt x="11" y="229"/>
                  </a:lnTo>
                  <a:lnTo>
                    <a:pt x="11" y="227"/>
                  </a:lnTo>
                  <a:lnTo>
                    <a:pt x="11" y="224"/>
                  </a:lnTo>
                  <a:lnTo>
                    <a:pt x="11" y="221"/>
                  </a:lnTo>
                  <a:lnTo>
                    <a:pt x="11" y="216"/>
                  </a:lnTo>
                  <a:lnTo>
                    <a:pt x="11" y="213"/>
                  </a:lnTo>
                  <a:lnTo>
                    <a:pt x="16" y="203"/>
                  </a:lnTo>
                  <a:lnTo>
                    <a:pt x="16" y="203"/>
                  </a:lnTo>
                  <a:lnTo>
                    <a:pt x="14" y="203"/>
                  </a:lnTo>
                  <a:lnTo>
                    <a:pt x="14" y="200"/>
                  </a:lnTo>
                  <a:lnTo>
                    <a:pt x="14" y="200"/>
                  </a:lnTo>
                  <a:lnTo>
                    <a:pt x="14" y="197"/>
                  </a:lnTo>
                  <a:lnTo>
                    <a:pt x="16" y="189"/>
                  </a:lnTo>
                  <a:lnTo>
                    <a:pt x="16" y="184"/>
                  </a:lnTo>
                  <a:lnTo>
                    <a:pt x="14" y="179"/>
                  </a:lnTo>
                  <a:lnTo>
                    <a:pt x="11" y="168"/>
                  </a:lnTo>
                  <a:lnTo>
                    <a:pt x="11" y="160"/>
                  </a:lnTo>
                  <a:lnTo>
                    <a:pt x="11" y="155"/>
                  </a:lnTo>
                  <a:lnTo>
                    <a:pt x="14" y="152"/>
                  </a:lnTo>
                  <a:lnTo>
                    <a:pt x="19" y="149"/>
                  </a:lnTo>
                  <a:lnTo>
                    <a:pt x="24" y="149"/>
                  </a:lnTo>
                  <a:lnTo>
                    <a:pt x="27" y="147"/>
                  </a:lnTo>
                  <a:lnTo>
                    <a:pt x="30" y="147"/>
                  </a:lnTo>
                  <a:lnTo>
                    <a:pt x="30" y="141"/>
                  </a:lnTo>
                  <a:lnTo>
                    <a:pt x="32" y="139"/>
                  </a:lnTo>
                  <a:lnTo>
                    <a:pt x="40" y="131"/>
                  </a:lnTo>
                  <a:lnTo>
                    <a:pt x="40" y="131"/>
                  </a:lnTo>
                  <a:lnTo>
                    <a:pt x="43" y="128"/>
                  </a:lnTo>
                  <a:lnTo>
                    <a:pt x="43" y="125"/>
                  </a:lnTo>
                  <a:lnTo>
                    <a:pt x="46" y="123"/>
                  </a:lnTo>
                  <a:lnTo>
                    <a:pt x="48" y="117"/>
                  </a:lnTo>
                  <a:lnTo>
                    <a:pt x="46" y="117"/>
                  </a:lnTo>
                  <a:lnTo>
                    <a:pt x="46" y="115"/>
                  </a:lnTo>
                  <a:lnTo>
                    <a:pt x="46" y="112"/>
                  </a:lnTo>
                  <a:lnTo>
                    <a:pt x="46" y="109"/>
                  </a:lnTo>
                  <a:lnTo>
                    <a:pt x="48" y="109"/>
                  </a:lnTo>
                  <a:lnTo>
                    <a:pt x="48" y="109"/>
                  </a:lnTo>
                  <a:lnTo>
                    <a:pt x="48" y="107"/>
                  </a:lnTo>
                  <a:lnTo>
                    <a:pt x="48" y="107"/>
                  </a:lnTo>
                  <a:lnTo>
                    <a:pt x="48" y="104"/>
                  </a:lnTo>
                  <a:lnTo>
                    <a:pt x="46" y="104"/>
                  </a:lnTo>
                  <a:lnTo>
                    <a:pt x="40" y="96"/>
                  </a:lnTo>
                  <a:lnTo>
                    <a:pt x="40" y="96"/>
                  </a:lnTo>
                  <a:lnTo>
                    <a:pt x="40" y="93"/>
                  </a:lnTo>
                  <a:lnTo>
                    <a:pt x="38" y="91"/>
                  </a:lnTo>
                  <a:lnTo>
                    <a:pt x="35" y="91"/>
                  </a:lnTo>
                  <a:lnTo>
                    <a:pt x="35" y="85"/>
                  </a:lnTo>
                  <a:lnTo>
                    <a:pt x="38" y="80"/>
                  </a:lnTo>
                  <a:lnTo>
                    <a:pt x="40" y="74"/>
                  </a:lnTo>
                  <a:lnTo>
                    <a:pt x="43" y="66"/>
                  </a:lnTo>
                  <a:lnTo>
                    <a:pt x="43" y="64"/>
                  </a:lnTo>
                  <a:lnTo>
                    <a:pt x="40" y="61"/>
                  </a:lnTo>
                  <a:lnTo>
                    <a:pt x="40" y="58"/>
                  </a:lnTo>
                  <a:lnTo>
                    <a:pt x="38" y="56"/>
                  </a:lnTo>
                  <a:lnTo>
                    <a:pt x="38" y="53"/>
                  </a:lnTo>
                  <a:lnTo>
                    <a:pt x="38" y="50"/>
                  </a:lnTo>
                  <a:lnTo>
                    <a:pt x="40" y="50"/>
                  </a:lnTo>
                  <a:lnTo>
                    <a:pt x="40" y="50"/>
                  </a:lnTo>
                  <a:lnTo>
                    <a:pt x="38" y="48"/>
                  </a:lnTo>
                  <a:lnTo>
                    <a:pt x="38" y="45"/>
                  </a:lnTo>
                  <a:lnTo>
                    <a:pt x="38" y="42"/>
                  </a:lnTo>
                  <a:lnTo>
                    <a:pt x="40" y="37"/>
                  </a:lnTo>
                  <a:lnTo>
                    <a:pt x="40" y="34"/>
                  </a:lnTo>
                  <a:lnTo>
                    <a:pt x="40" y="32"/>
                  </a:lnTo>
                  <a:lnTo>
                    <a:pt x="40" y="29"/>
                  </a:lnTo>
                  <a:lnTo>
                    <a:pt x="43" y="24"/>
                  </a:lnTo>
                  <a:lnTo>
                    <a:pt x="43" y="21"/>
                  </a:lnTo>
                  <a:lnTo>
                    <a:pt x="40" y="21"/>
                  </a:lnTo>
                  <a:lnTo>
                    <a:pt x="38" y="21"/>
                  </a:lnTo>
                  <a:lnTo>
                    <a:pt x="38" y="18"/>
                  </a:lnTo>
                  <a:lnTo>
                    <a:pt x="43" y="18"/>
                  </a:lnTo>
                  <a:lnTo>
                    <a:pt x="43" y="16"/>
                  </a:lnTo>
                  <a:lnTo>
                    <a:pt x="46" y="10"/>
                  </a:lnTo>
                  <a:lnTo>
                    <a:pt x="46" y="10"/>
                  </a:lnTo>
                  <a:lnTo>
                    <a:pt x="48" y="8"/>
                  </a:lnTo>
                  <a:lnTo>
                    <a:pt x="51" y="8"/>
                  </a:lnTo>
                  <a:lnTo>
                    <a:pt x="59" y="10"/>
                  </a:lnTo>
                  <a:lnTo>
                    <a:pt x="62" y="10"/>
                  </a:lnTo>
                  <a:lnTo>
                    <a:pt x="64" y="10"/>
                  </a:lnTo>
                  <a:lnTo>
                    <a:pt x="67" y="8"/>
                  </a:lnTo>
                  <a:lnTo>
                    <a:pt x="70" y="2"/>
                  </a:lnTo>
                  <a:lnTo>
                    <a:pt x="70" y="2"/>
                  </a:lnTo>
                  <a:lnTo>
                    <a:pt x="70" y="0"/>
                  </a:lnTo>
                  <a:lnTo>
                    <a:pt x="70" y="0"/>
                  </a:lnTo>
                  <a:lnTo>
                    <a:pt x="72" y="8"/>
                  </a:lnTo>
                  <a:lnTo>
                    <a:pt x="75" y="16"/>
                  </a:lnTo>
                  <a:lnTo>
                    <a:pt x="78" y="21"/>
                  </a:lnTo>
                  <a:lnTo>
                    <a:pt x="80" y="29"/>
                  </a:lnTo>
                  <a:lnTo>
                    <a:pt x="83" y="34"/>
                  </a:lnTo>
                  <a:lnTo>
                    <a:pt x="86" y="42"/>
                  </a:lnTo>
                  <a:lnTo>
                    <a:pt x="86" y="50"/>
                  </a:lnTo>
                  <a:lnTo>
                    <a:pt x="88" y="56"/>
                  </a:lnTo>
                  <a:lnTo>
                    <a:pt x="91" y="64"/>
                  </a:lnTo>
                  <a:lnTo>
                    <a:pt x="94" y="69"/>
                  </a:lnTo>
                  <a:lnTo>
                    <a:pt x="96" y="77"/>
                  </a:lnTo>
                  <a:lnTo>
                    <a:pt x="99" y="85"/>
                  </a:lnTo>
                  <a:lnTo>
                    <a:pt x="99" y="91"/>
                  </a:lnTo>
                  <a:lnTo>
                    <a:pt x="102" y="99"/>
                  </a:lnTo>
                  <a:lnTo>
                    <a:pt x="104" y="104"/>
                  </a:lnTo>
                  <a:lnTo>
                    <a:pt x="107" y="112"/>
                  </a:lnTo>
                  <a:lnTo>
                    <a:pt x="110" y="120"/>
                  </a:lnTo>
                  <a:lnTo>
                    <a:pt x="112" y="125"/>
                  </a:lnTo>
                  <a:lnTo>
                    <a:pt x="115" y="133"/>
                  </a:lnTo>
                  <a:lnTo>
                    <a:pt x="115" y="139"/>
                  </a:lnTo>
                  <a:lnTo>
                    <a:pt x="118" y="147"/>
                  </a:lnTo>
                  <a:lnTo>
                    <a:pt x="120" y="155"/>
                  </a:lnTo>
                  <a:lnTo>
                    <a:pt x="123" y="160"/>
                  </a:lnTo>
                  <a:lnTo>
                    <a:pt x="126" y="168"/>
                  </a:lnTo>
                  <a:lnTo>
                    <a:pt x="128" y="176"/>
                  </a:lnTo>
                  <a:lnTo>
                    <a:pt x="131" y="181"/>
                  </a:lnTo>
                  <a:lnTo>
                    <a:pt x="131" y="189"/>
                  </a:lnTo>
                  <a:lnTo>
                    <a:pt x="134" y="195"/>
                  </a:lnTo>
                  <a:lnTo>
                    <a:pt x="136" y="203"/>
                  </a:lnTo>
                  <a:lnTo>
                    <a:pt x="139" y="211"/>
                  </a:lnTo>
                  <a:lnTo>
                    <a:pt x="142" y="216"/>
                  </a:lnTo>
                  <a:lnTo>
                    <a:pt x="144" y="224"/>
                  </a:lnTo>
                  <a:lnTo>
                    <a:pt x="144" y="227"/>
                  </a:lnTo>
                  <a:lnTo>
                    <a:pt x="147" y="232"/>
                  </a:lnTo>
                  <a:lnTo>
                    <a:pt x="147" y="235"/>
                  </a:lnTo>
                  <a:lnTo>
                    <a:pt x="147" y="235"/>
                  </a:lnTo>
                  <a:lnTo>
                    <a:pt x="147" y="237"/>
                  </a:lnTo>
                  <a:lnTo>
                    <a:pt x="147" y="237"/>
                  </a:lnTo>
                  <a:lnTo>
                    <a:pt x="147" y="237"/>
                  </a:lnTo>
                  <a:lnTo>
                    <a:pt x="147" y="240"/>
                  </a:lnTo>
                  <a:lnTo>
                    <a:pt x="150" y="243"/>
                  </a:lnTo>
                  <a:lnTo>
                    <a:pt x="150" y="243"/>
                  </a:lnTo>
                  <a:lnTo>
                    <a:pt x="150" y="248"/>
                  </a:lnTo>
                  <a:lnTo>
                    <a:pt x="150" y="248"/>
                  </a:lnTo>
                  <a:lnTo>
                    <a:pt x="150" y="248"/>
                  </a:lnTo>
                  <a:lnTo>
                    <a:pt x="150" y="251"/>
                  </a:lnTo>
                  <a:lnTo>
                    <a:pt x="150" y="251"/>
                  </a:lnTo>
                  <a:lnTo>
                    <a:pt x="150" y="253"/>
                  </a:lnTo>
                  <a:lnTo>
                    <a:pt x="152" y="253"/>
                  </a:lnTo>
                  <a:lnTo>
                    <a:pt x="155" y="256"/>
                  </a:lnTo>
                  <a:lnTo>
                    <a:pt x="160" y="259"/>
                  </a:lnTo>
                  <a:lnTo>
                    <a:pt x="166" y="264"/>
                  </a:lnTo>
                  <a:lnTo>
                    <a:pt x="168" y="264"/>
                  </a:lnTo>
                  <a:lnTo>
                    <a:pt x="171" y="267"/>
                  </a:lnTo>
                  <a:lnTo>
                    <a:pt x="171" y="267"/>
                  </a:lnTo>
                  <a:lnTo>
                    <a:pt x="171" y="270"/>
                  </a:lnTo>
                  <a:lnTo>
                    <a:pt x="171" y="270"/>
                  </a:lnTo>
                  <a:lnTo>
                    <a:pt x="171" y="270"/>
                  </a:lnTo>
                  <a:lnTo>
                    <a:pt x="171" y="275"/>
                  </a:lnTo>
                  <a:lnTo>
                    <a:pt x="174" y="278"/>
                  </a:lnTo>
                  <a:lnTo>
                    <a:pt x="174" y="278"/>
                  </a:lnTo>
                  <a:lnTo>
                    <a:pt x="176" y="280"/>
                  </a:lnTo>
                  <a:lnTo>
                    <a:pt x="179" y="283"/>
                  </a:lnTo>
                  <a:lnTo>
                    <a:pt x="184" y="286"/>
                  </a:lnTo>
                  <a:lnTo>
                    <a:pt x="184" y="286"/>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29" name="Freeform 26">
              <a:extLst>
                <a:ext uri="{FF2B5EF4-FFF2-40B4-BE49-F238E27FC236}">
                  <a16:creationId xmlns="" xmlns:a16="http://schemas.microsoft.com/office/drawing/2014/main" id="{E49EB67B-5C9F-4BD5-8AA8-2239997559E1}"/>
                </a:ext>
              </a:extLst>
            </p:cNvPr>
            <p:cNvSpPr>
              <a:spLocks/>
            </p:cNvSpPr>
            <p:nvPr/>
          </p:nvSpPr>
          <p:spPr bwMode="auto">
            <a:xfrm>
              <a:off x="3213" y="1087"/>
              <a:ext cx="944" cy="422"/>
            </a:xfrm>
            <a:custGeom>
              <a:avLst/>
              <a:gdLst>
                <a:gd name="T0" fmla="*/ 816 w 944"/>
                <a:gd name="T1" fmla="*/ 83 h 422"/>
                <a:gd name="T2" fmla="*/ 822 w 944"/>
                <a:gd name="T3" fmla="*/ 102 h 422"/>
                <a:gd name="T4" fmla="*/ 824 w 944"/>
                <a:gd name="T5" fmla="*/ 118 h 422"/>
                <a:gd name="T6" fmla="*/ 832 w 944"/>
                <a:gd name="T7" fmla="*/ 131 h 422"/>
                <a:gd name="T8" fmla="*/ 843 w 944"/>
                <a:gd name="T9" fmla="*/ 150 h 422"/>
                <a:gd name="T10" fmla="*/ 854 w 944"/>
                <a:gd name="T11" fmla="*/ 166 h 422"/>
                <a:gd name="T12" fmla="*/ 851 w 944"/>
                <a:gd name="T13" fmla="*/ 179 h 422"/>
                <a:gd name="T14" fmla="*/ 851 w 944"/>
                <a:gd name="T15" fmla="*/ 193 h 422"/>
                <a:gd name="T16" fmla="*/ 856 w 944"/>
                <a:gd name="T17" fmla="*/ 203 h 422"/>
                <a:gd name="T18" fmla="*/ 862 w 944"/>
                <a:gd name="T19" fmla="*/ 203 h 422"/>
                <a:gd name="T20" fmla="*/ 864 w 944"/>
                <a:gd name="T21" fmla="*/ 211 h 422"/>
                <a:gd name="T22" fmla="*/ 870 w 944"/>
                <a:gd name="T23" fmla="*/ 222 h 422"/>
                <a:gd name="T24" fmla="*/ 875 w 944"/>
                <a:gd name="T25" fmla="*/ 235 h 422"/>
                <a:gd name="T26" fmla="*/ 878 w 944"/>
                <a:gd name="T27" fmla="*/ 251 h 422"/>
                <a:gd name="T28" fmla="*/ 878 w 944"/>
                <a:gd name="T29" fmla="*/ 265 h 422"/>
                <a:gd name="T30" fmla="*/ 878 w 944"/>
                <a:gd name="T31" fmla="*/ 270 h 422"/>
                <a:gd name="T32" fmla="*/ 880 w 944"/>
                <a:gd name="T33" fmla="*/ 276 h 422"/>
                <a:gd name="T34" fmla="*/ 883 w 944"/>
                <a:gd name="T35" fmla="*/ 289 h 422"/>
                <a:gd name="T36" fmla="*/ 883 w 944"/>
                <a:gd name="T37" fmla="*/ 305 h 422"/>
                <a:gd name="T38" fmla="*/ 880 w 944"/>
                <a:gd name="T39" fmla="*/ 313 h 422"/>
                <a:gd name="T40" fmla="*/ 891 w 944"/>
                <a:gd name="T41" fmla="*/ 324 h 422"/>
                <a:gd name="T42" fmla="*/ 894 w 944"/>
                <a:gd name="T43" fmla="*/ 340 h 422"/>
                <a:gd name="T44" fmla="*/ 899 w 944"/>
                <a:gd name="T45" fmla="*/ 348 h 422"/>
                <a:gd name="T46" fmla="*/ 904 w 944"/>
                <a:gd name="T47" fmla="*/ 358 h 422"/>
                <a:gd name="T48" fmla="*/ 907 w 944"/>
                <a:gd name="T49" fmla="*/ 369 h 422"/>
                <a:gd name="T50" fmla="*/ 915 w 944"/>
                <a:gd name="T51" fmla="*/ 372 h 422"/>
                <a:gd name="T52" fmla="*/ 926 w 944"/>
                <a:gd name="T53" fmla="*/ 380 h 422"/>
                <a:gd name="T54" fmla="*/ 931 w 944"/>
                <a:gd name="T55" fmla="*/ 393 h 422"/>
                <a:gd name="T56" fmla="*/ 934 w 944"/>
                <a:gd name="T57" fmla="*/ 406 h 422"/>
                <a:gd name="T58" fmla="*/ 899 w 944"/>
                <a:gd name="T59" fmla="*/ 414 h 422"/>
                <a:gd name="T60" fmla="*/ 760 w 944"/>
                <a:gd name="T61" fmla="*/ 420 h 422"/>
                <a:gd name="T62" fmla="*/ 624 w 944"/>
                <a:gd name="T63" fmla="*/ 422 h 422"/>
                <a:gd name="T64" fmla="*/ 486 w 944"/>
                <a:gd name="T65" fmla="*/ 422 h 422"/>
                <a:gd name="T66" fmla="*/ 349 w 944"/>
                <a:gd name="T67" fmla="*/ 422 h 422"/>
                <a:gd name="T68" fmla="*/ 211 w 944"/>
                <a:gd name="T69" fmla="*/ 422 h 422"/>
                <a:gd name="T70" fmla="*/ 213 w 944"/>
                <a:gd name="T71" fmla="*/ 369 h 422"/>
                <a:gd name="T72" fmla="*/ 213 w 944"/>
                <a:gd name="T73" fmla="*/ 318 h 422"/>
                <a:gd name="T74" fmla="*/ 192 w 944"/>
                <a:gd name="T75" fmla="*/ 284 h 422"/>
                <a:gd name="T76" fmla="*/ 115 w 944"/>
                <a:gd name="T77" fmla="*/ 281 h 422"/>
                <a:gd name="T78" fmla="*/ 37 w 944"/>
                <a:gd name="T79" fmla="*/ 278 h 422"/>
                <a:gd name="T80" fmla="*/ 0 w 944"/>
                <a:gd name="T81" fmla="*/ 225 h 422"/>
                <a:gd name="T82" fmla="*/ 3 w 944"/>
                <a:gd name="T83" fmla="*/ 121 h 422"/>
                <a:gd name="T84" fmla="*/ 8 w 944"/>
                <a:gd name="T85" fmla="*/ 16 h 422"/>
                <a:gd name="T86" fmla="*/ 99 w 944"/>
                <a:gd name="T87" fmla="*/ 3 h 422"/>
                <a:gd name="T88" fmla="*/ 205 w 944"/>
                <a:gd name="T89" fmla="*/ 6 h 422"/>
                <a:gd name="T90" fmla="*/ 312 w 944"/>
                <a:gd name="T91" fmla="*/ 8 h 422"/>
                <a:gd name="T92" fmla="*/ 421 w 944"/>
                <a:gd name="T93" fmla="*/ 8 h 422"/>
                <a:gd name="T94" fmla="*/ 528 w 944"/>
                <a:gd name="T95" fmla="*/ 8 h 422"/>
                <a:gd name="T96" fmla="*/ 592 w 944"/>
                <a:gd name="T97" fmla="*/ 8 h 422"/>
                <a:gd name="T98" fmla="*/ 608 w 944"/>
                <a:gd name="T99" fmla="*/ 19 h 422"/>
                <a:gd name="T100" fmla="*/ 635 w 944"/>
                <a:gd name="T101" fmla="*/ 32 h 422"/>
                <a:gd name="T102" fmla="*/ 654 w 944"/>
                <a:gd name="T103" fmla="*/ 32 h 422"/>
                <a:gd name="T104" fmla="*/ 659 w 944"/>
                <a:gd name="T105" fmla="*/ 24 h 422"/>
                <a:gd name="T106" fmla="*/ 678 w 944"/>
                <a:gd name="T107" fmla="*/ 27 h 422"/>
                <a:gd name="T108" fmla="*/ 718 w 944"/>
                <a:gd name="T109" fmla="*/ 19 h 422"/>
                <a:gd name="T110" fmla="*/ 734 w 944"/>
                <a:gd name="T111" fmla="*/ 32 h 422"/>
                <a:gd name="T112" fmla="*/ 750 w 944"/>
                <a:gd name="T113" fmla="*/ 35 h 422"/>
                <a:gd name="T114" fmla="*/ 768 w 944"/>
                <a:gd name="T115" fmla="*/ 40 h 422"/>
                <a:gd name="T116" fmla="*/ 774 w 944"/>
                <a:gd name="T117" fmla="*/ 48 h 422"/>
                <a:gd name="T118" fmla="*/ 782 w 944"/>
                <a:gd name="T119" fmla="*/ 48 h 422"/>
                <a:gd name="T120" fmla="*/ 787 w 944"/>
                <a:gd name="T121" fmla="*/ 59 h 422"/>
                <a:gd name="T122" fmla="*/ 806 w 944"/>
                <a:gd name="T123" fmla="*/ 7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44" h="422">
                  <a:moveTo>
                    <a:pt x="806" y="70"/>
                  </a:moveTo>
                  <a:lnTo>
                    <a:pt x="811" y="70"/>
                  </a:lnTo>
                  <a:lnTo>
                    <a:pt x="814" y="70"/>
                  </a:lnTo>
                  <a:lnTo>
                    <a:pt x="814" y="72"/>
                  </a:lnTo>
                  <a:lnTo>
                    <a:pt x="816" y="78"/>
                  </a:lnTo>
                  <a:lnTo>
                    <a:pt x="816" y="83"/>
                  </a:lnTo>
                  <a:lnTo>
                    <a:pt x="814" y="88"/>
                  </a:lnTo>
                  <a:lnTo>
                    <a:pt x="819" y="94"/>
                  </a:lnTo>
                  <a:lnTo>
                    <a:pt x="819" y="97"/>
                  </a:lnTo>
                  <a:lnTo>
                    <a:pt x="819" y="97"/>
                  </a:lnTo>
                  <a:lnTo>
                    <a:pt x="822" y="99"/>
                  </a:lnTo>
                  <a:lnTo>
                    <a:pt x="822" y="102"/>
                  </a:lnTo>
                  <a:lnTo>
                    <a:pt x="822" y="105"/>
                  </a:lnTo>
                  <a:lnTo>
                    <a:pt x="822" y="107"/>
                  </a:lnTo>
                  <a:lnTo>
                    <a:pt x="822" y="110"/>
                  </a:lnTo>
                  <a:lnTo>
                    <a:pt x="822" y="113"/>
                  </a:lnTo>
                  <a:lnTo>
                    <a:pt x="822" y="115"/>
                  </a:lnTo>
                  <a:lnTo>
                    <a:pt x="824" y="118"/>
                  </a:lnTo>
                  <a:lnTo>
                    <a:pt x="827" y="118"/>
                  </a:lnTo>
                  <a:lnTo>
                    <a:pt x="830" y="121"/>
                  </a:lnTo>
                  <a:lnTo>
                    <a:pt x="830" y="123"/>
                  </a:lnTo>
                  <a:lnTo>
                    <a:pt x="830" y="126"/>
                  </a:lnTo>
                  <a:lnTo>
                    <a:pt x="830" y="129"/>
                  </a:lnTo>
                  <a:lnTo>
                    <a:pt x="832" y="131"/>
                  </a:lnTo>
                  <a:lnTo>
                    <a:pt x="835" y="137"/>
                  </a:lnTo>
                  <a:lnTo>
                    <a:pt x="838" y="137"/>
                  </a:lnTo>
                  <a:lnTo>
                    <a:pt x="843" y="142"/>
                  </a:lnTo>
                  <a:lnTo>
                    <a:pt x="846" y="147"/>
                  </a:lnTo>
                  <a:lnTo>
                    <a:pt x="843" y="147"/>
                  </a:lnTo>
                  <a:lnTo>
                    <a:pt x="843" y="150"/>
                  </a:lnTo>
                  <a:lnTo>
                    <a:pt x="843" y="153"/>
                  </a:lnTo>
                  <a:lnTo>
                    <a:pt x="843" y="153"/>
                  </a:lnTo>
                  <a:lnTo>
                    <a:pt x="846" y="158"/>
                  </a:lnTo>
                  <a:lnTo>
                    <a:pt x="846" y="158"/>
                  </a:lnTo>
                  <a:lnTo>
                    <a:pt x="851" y="163"/>
                  </a:lnTo>
                  <a:lnTo>
                    <a:pt x="854" y="166"/>
                  </a:lnTo>
                  <a:lnTo>
                    <a:pt x="854" y="169"/>
                  </a:lnTo>
                  <a:lnTo>
                    <a:pt x="851" y="171"/>
                  </a:lnTo>
                  <a:lnTo>
                    <a:pt x="851" y="174"/>
                  </a:lnTo>
                  <a:lnTo>
                    <a:pt x="851" y="177"/>
                  </a:lnTo>
                  <a:lnTo>
                    <a:pt x="851" y="177"/>
                  </a:lnTo>
                  <a:lnTo>
                    <a:pt x="851" y="179"/>
                  </a:lnTo>
                  <a:lnTo>
                    <a:pt x="851" y="179"/>
                  </a:lnTo>
                  <a:lnTo>
                    <a:pt x="851" y="182"/>
                  </a:lnTo>
                  <a:lnTo>
                    <a:pt x="851" y="182"/>
                  </a:lnTo>
                  <a:lnTo>
                    <a:pt x="851" y="187"/>
                  </a:lnTo>
                  <a:lnTo>
                    <a:pt x="851" y="190"/>
                  </a:lnTo>
                  <a:lnTo>
                    <a:pt x="851" y="193"/>
                  </a:lnTo>
                  <a:lnTo>
                    <a:pt x="854" y="195"/>
                  </a:lnTo>
                  <a:lnTo>
                    <a:pt x="854" y="195"/>
                  </a:lnTo>
                  <a:lnTo>
                    <a:pt x="854" y="198"/>
                  </a:lnTo>
                  <a:lnTo>
                    <a:pt x="854" y="201"/>
                  </a:lnTo>
                  <a:lnTo>
                    <a:pt x="856" y="203"/>
                  </a:lnTo>
                  <a:lnTo>
                    <a:pt x="856" y="203"/>
                  </a:lnTo>
                  <a:lnTo>
                    <a:pt x="859" y="201"/>
                  </a:lnTo>
                  <a:lnTo>
                    <a:pt x="859" y="201"/>
                  </a:lnTo>
                  <a:lnTo>
                    <a:pt x="862" y="201"/>
                  </a:lnTo>
                  <a:lnTo>
                    <a:pt x="862" y="201"/>
                  </a:lnTo>
                  <a:lnTo>
                    <a:pt x="862" y="203"/>
                  </a:lnTo>
                  <a:lnTo>
                    <a:pt x="862" y="203"/>
                  </a:lnTo>
                  <a:lnTo>
                    <a:pt x="862" y="203"/>
                  </a:lnTo>
                  <a:lnTo>
                    <a:pt x="862" y="206"/>
                  </a:lnTo>
                  <a:lnTo>
                    <a:pt x="862" y="209"/>
                  </a:lnTo>
                  <a:lnTo>
                    <a:pt x="862" y="209"/>
                  </a:lnTo>
                  <a:lnTo>
                    <a:pt x="862" y="211"/>
                  </a:lnTo>
                  <a:lnTo>
                    <a:pt x="864" y="211"/>
                  </a:lnTo>
                  <a:lnTo>
                    <a:pt x="867" y="211"/>
                  </a:lnTo>
                  <a:lnTo>
                    <a:pt x="870" y="211"/>
                  </a:lnTo>
                  <a:lnTo>
                    <a:pt x="870" y="211"/>
                  </a:lnTo>
                  <a:lnTo>
                    <a:pt x="870" y="214"/>
                  </a:lnTo>
                  <a:lnTo>
                    <a:pt x="870" y="219"/>
                  </a:lnTo>
                  <a:lnTo>
                    <a:pt x="870" y="222"/>
                  </a:lnTo>
                  <a:lnTo>
                    <a:pt x="867" y="230"/>
                  </a:lnTo>
                  <a:lnTo>
                    <a:pt x="870" y="230"/>
                  </a:lnTo>
                  <a:lnTo>
                    <a:pt x="875" y="233"/>
                  </a:lnTo>
                  <a:lnTo>
                    <a:pt x="875" y="233"/>
                  </a:lnTo>
                  <a:lnTo>
                    <a:pt x="878" y="233"/>
                  </a:lnTo>
                  <a:lnTo>
                    <a:pt x="875" y="235"/>
                  </a:lnTo>
                  <a:lnTo>
                    <a:pt x="872" y="238"/>
                  </a:lnTo>
                  <a:lnTo>
                    <a:pt x="872" y="241"/>
                  </a:lnTo>
                  <a:lnTo>
                    <a:pt x="872" y="246"/>
                  </a:lnTo>
                  <a:lnTo>
                    <a:pt x="872" y="249"/>
                  </a:lnTo>
                  <a:lnTo>
                    <a:pt x="872" y="249"/>
                  </a:lnTo>
                  <a:lnTo>
                    <a:pt x="878" y="251"/>
                  </a:lnTo>
                  <a:lnTo>
                    <a:pt x="880" y="251"/>
                  </a:lnTo>
                  <a:lnTo>
                    <a:pt x="878" y="254"/>
                  </a:lnTo>
                  <a:lnTo>
                    <a:pt x="878" y="254"/>
                  </a:lnTo>
                  <a:lnTo>
                    <a:pt x="878" y="259"/>
                  </a:lnTo>
                  <a:lnTo>
                    <a:pt x="878" y="262"/>
                  </a:lnTo>
                  <a:lnTo>
                    <a:pt x="878" y="265"/>
                  </a:lnTo>
                  <a:lnTo>
                    <a:pt x="878" y="267"/>
                  </a:lnTo>
                  <a:lnTo>
                    <a:pt x="878" y="267"/>
                  </a:lnTo>
                  <a:lnTo>
                    <a:pt x="878" y="267"/>
                  </a:lnTo>
                  <a:lnTo>
                    <a:pt x="878" y="267"/>
                  </a:lnTo>
                  <a:lnTo>
                    <a:pt x="878" y="267"/>
                  </a:lnTo>
                  <a:lnTo>
                    <a:pt x="878" y="270"/>
                  </a:lnTo>
                  <a:lnTo>
                    <a:pt x="878" y="270"/>
                  </a:lnTo>
                  <a:lnTo>
                    <a:pt x="878" y="270"/>
                  </a:lnTo>
                  <a:lnTo>
                    <a:pt x="878" y="273"/>
                  </a:lnTo>
                  <a:lnTo>
                    <a:pt x="878" y="273"/>
                  </a:lnTo>
                  <a:lnTo>
                    <a:pt x="878" y="276"/>
                  </a:lnTo>
                  <a:lnTo>
                    <a:pt x="880" y="276"/>
                  </a:lnTo>
                  <a:lnTo>
                    <a:pt x="880" y="278"/>
                  </a:lnTo>
                  <a:lnTo>
                    <a:pt x="883" y="278"/>
                  </a:lnTo>
                  <a:lnTo>
                    <a:pt x="883" y="281"/>
                  </a:lnTo>
                  <a:lnTo>
                    <a:pt x="880" y="284"/>
                  </a:lnTo>
                  <a:lnTo>
                    <a:pt x="883" y="284"/>
                  </a:lnTo>
                  <a:lnTo>
                    <a:pt x="883" y="289"/>
                  </a:lnTo>
                  <a:lnTo>
                    <a:pt x="883" y="292"/>
                  </a:lnTo>
                  <a:lnTo>
                    <a:pt x="883" y="294"/>
                  </a:lnTo>
                  <a:lnTo>
                    <a:pt x="883" y="297"/>
                  </a:lnTo>
                  <a:lnTo>
                    <a:pt x="883" y="300"/>
                  </a:lnTo>
                  <a:lnTo>
                    <a:pt x="883" y="302"/>
                  </a:lnTo>
                  <a:lnTo>
                    <a:pt x="883" y="305"/>
                  </a:lnTo>
                  <a:lnTo>
                    <a:pt x="883" y="305"/>
                  </a:lnTo>
                  <a:lnTo>
                    <a:pt x="883" y="308"/>
                  </a:lnTo>
                  <a:lnTo>
                    <a:pt x="880" y="310"/>
                  </a:lnTo>
                  <a:lnTo>
                    <a:pt x="880" y="310"/>
                  </a:lnTo>
                  <a:lnTo>
                    <a:pt x="880" y="313"/>
                  </a:lnTo>
                  <a:lnTo>
                    <a:pt x="880" y="313"/>
                  </a:lnTo>
                  <a:lnTo>
                    <a:pt x="880" y="316"/>
                  </a:lnTo>
                  <a:lnTo>
                    <a:pt x="880" y="316"/>
                  </a:lnTo>
                  <a:lnTo>
                    <a:pt x="880" y="318"/>
                  </a:lnTo>
                  <a:lnTo>
                    <a:pt x="883" y="321"/>
                  </a:lnTo>
                  <a:lnTo>
                    <a:pt x="888" y="321"/>
                  </a:lnTo>
                  <a:lnTo>
                    <a:pt x="891" y="324"/>
                  </a:lnTo>
                  <a:lnTo>
                    <a:pt x="891" y="326"/>
                  </a:lnTo>
                  <a:lnTo>
                    <a:pt x="891" y="329"/>
                  </a:lnTo>
                  <a:lnTo>
                    <a:pt x="891" y="332"/>
                  </a:lnTo>
                  <a:lnTo>
                    <a:pt x="891" y="334"/>
                  </a:lnTo>
                  <a:lnTo>
                    <a:pt x="891" y="340"/>
                  </a:lnTo>
                  <a:lnTo>
                    <a:pt x="894" y="340"/>
                  </a:lnTo>
                  <a:lnTo>
                    <a:pt x="896" y="340"/>
                  </a:lnTo>
                  <a:lnTo>
                    <a:pt x="899" y="342"/>
                  </a:lnTo>
                  <a:lnTo>
                    <a:pt x="899" y="342"/>
                  </a:lnTo>
                  <a:lnTo>
                    <a:pt x="899" y="345"/>
                  </a:lnTo>
                  <a:lnTo>
                    <a:pt x="899" y="345"/>
                  </a:lnTo>
                  <a:lnTo>
                    <a:pt x="899" y="348"/>
                  </a:lnTo>
                  <a:lnTo>
                    <a:pt x="902" y="350"/>
                  </a:lnTo>
                  <a:lnTo>
                    <a:pt x="902" y="353"/>
                  </a:lnTo>
                  <a:lnTo>
                    <a:pt x="904" y="353"/>
                  </a:lnTo>
                  <a:lnTo>
                    <a:pt x="904" y="356"/>
                  </a:lnTo>
                  <a:lnTo>
                    <a:pt x="904" y="358"/>
                  </a:lnTo>
                  <a:lnTo>
                    <a:pt x="904" y="358"/>
                  </a:lnTo>
                  <a:lnTo>
                    <a:pt x="904" y="358"/>
                  </a:lnTo>
                  <a:lnTo>
                    <a:pt x="907" y="361"/>
                  </a:lnTo>
                  <a:lnTo>
                    <a:pt x="907" y="366"/>
                  </a:lnTo>
                  <a:lnTo>
                    <a:pt x="907" y="366"/>
                  </a:lnTo>
                  <a:lnTo>
                    <a:pt x="907" y="366"/>
                  </a:lnTo>
                  <a:lnTo>
                    <a:pt x="907" y="369"/>
                  </a:lnTo>
                  <a:lnTo>
                    <a:pt x="904" y="369"/>
                  </a:lnTo>
                  <a:lnTo>
                    <a:pt x="907" y="372"/>
                  </a:lnTo>
                  <a:lnTo>
                    <a:pt x="907" y="372"/>
                  </a:lnTo>
                  <a:lnTo>
                    <a:pt x="910" y="372"/>
                  </a:lnTo>
                  <a:lnTo>
                    <a:pt x="912" y="372"/>
                  </a:lnTo>
                  <a:lnTo>
                    <a:pt x="915" y="372"/>
                  </a:lnTo>
                  <a:lnTo>
                    <a:pt x="915" y="374"/>
                  </a:lnTo>
                  <a:lnTo>
                    <a:pt x="915" y="377"/>
                  </a:lnTo>
                  <a:lnTo>
                    <a:pt x="918" y="377"/>
                  </a:lnTo>
                  <a:lnTo>
                    <a:pt x="918" y="377"/>
                  </a:lnTo>
                  <a:lnTo>
                    <a:pt x="923" y="380"/>
                  </a:lnTo>
                  <a:lnTo>
                    <a:pt x="926" y="380"/>
                  </a:lnTo>
                  <a:lnTo>
                    <a:pt x="926" y="380"/>
                  </a:lnTo>
                  <a:lnTo>
                    <a:pt x="926" y="382"/>
                  </a:lnTo>
                  <a:lnTo>
                    <a:pt x="926" y="385"/>
                  </a:lnTo>
                  <a:lnTo>
                    <a:pt x="928" y="390"/>
                  </a:lnTo>
                  <a:lnTo>
                    <a:pt x="928" y="390"/>
                  </a:lnTo>
                  <a:lnTo>
                    <a:pt x="931" y="393"/>
                  </a:lnTo>
                  <a:lnTo>
                    <a:pt x="934" y="396"/>
                  </a:lnTo>
                  <a:lnTo>
                    <a:pt x="934" y="398"/>
                  </a:lnTo>
                  <a:lnTo>
                    <a:pt x="934" y="398"/>
                  </a:lnTo>
                  <a:lnTo>
                    <a:pt x="934" y="401"/>
                  </a:lnTo>
                  <a:lnTo>
                    <a:pt x="931" y="404"/>
                  </a:lnTo>
                  <a:lnTo>
                    <a:pt x="934" y="406"/>
                  </a:lnTo>
                  <a:lnTo>
                    <a:pt x="934" y="409"/>
                  </a:lnTo>
                  <a:lnTo>
                    <a:pt x="939" y="409"/>
                  </a:lnTo>
                  <a:lnTo>
                    <a:pt x="942" y="409"/>
                  </a:lnTo>
                  <a:lnTo>
                    <a:pt x="944" y="412"/>
                  </a:lnTo>
                  <a:lnTo>
                    <a:pt x="920" y="414"/>
                  </a:lnTo>
                  <a:lnTo>
                    <a:pt x="899" y="414"/>
                  </a:lnTo>
                  <a:lnTo>
                    <a:pt x="875" y="414"/>
                  </a:lnTo>
                  <a:lnTo>
                    <a:pt x="854" y="417"/>
                  </a:lnTo>
                  <a:lnTo>
                    <a:pt x="830" y="417"/>
                  </a:lnTo>
                  <a:lnTo>
                    <a:pt x="806" y="417"/>
                  </a:lnTo>
                  <a:lnTo>
                    <a:pt x="784" y="420"/>
                  </a:lnTo>
                  <a:lnTo>
                    <a:pt x="760" y="420"/>
                  </a:lnTo>
                  <a:lnTo>
                    <a:pt x="739" y="420"/>
                  </a:lnTo>
                  <a:lnTo>
                    <a:pt x="715" y="420"/>
                  </a:lnTo>
                  <a:lnTo>
                    <a:pt x="691" y="420"/>
                  </a:lnTo>
                  <a:lnTo>
                    <a:pt x="670" y="422"/>
                  </a:lnTo>
                  <a:lnTo>
                    <a:pt x="646" y="422"/>
                  </a:lnTo>
                  <a:lnTo>
                    <a:pt x="624" y="422"/>
                  </a:lnTo>
                  <a:lnTo>
                    <a:pt x="600" y="422"/>
                  </a:lnTo>
                  <a:lnTo>
                    <a:pt x="579" y="422"/>
                  </a:lnTo>
                  <a:lnTo>
                    <a:pt x="555" y="422"/>
                  </a:lnTo>
                  <a:lnTo>
                    <a:pt x="531" y="422"/>
                  </a:lnTo>
                  <a:lnTo>
                    <a:pt x="510" y="422"/>
                  </a:lnTo>
                  <a:lnTo>
                    <a:pt x="486" y="422"/>
                  </a:lnTo>
                  <a:lnTo>
                    <a:pt x="464" y="422"/>
                  </a:lnTo>
                  <a:lnTo>
                    <a:pt x="440" y="422"/>
                  </a:lnTo>
                  <a:lnTo>
                    <a:pt x="419" y="422"/>
                  </a:lnTo>
                  <a:lnTo>
                    <a:pt x="395" y="422"/>
                  </a:lnTo>
                  <a:lnTo>
                    <a:pt x="371" y="422"/>
                  </a:lnTo>
                  <a:lnTo>
                    <a:pt x="349" y="422"/>
                  </a:lnTo>
                  <a:lnTo>
                    <a:pt x="325" y="422"/>
                  </a:lnTo>
                  <a:lnTo>
                    <a:pt x="304" y="422"/>
                  </a:lnTo>
                  <a:lnTo>
                    <a:pt x="280" y="422"/>
                  </a:lnTo>
                  <a:lnTo>
                    <a:pt x="259" y="422"/>
                  </a:lnTo>
                  <a:lnTo>
                    <a:pt x="235" y="422"/>
                  </a:lnTo>
                  <a:lnTo>
                    <a:pt x="211" y="422"/>
                  </a:lnTo>
                  <a:lnTo>
                    <a:pt x="211" y="412"/>
                  </a:lnTo>
                  <a:lnTo>
                    <a:pt x="211" y="404"/>
                  </a:lnTo>
                  <a:lnTo>
                    <a:pt x="213" y="396"/>
                  </a:lnTo>
                  <a:lnTo>
                    <a:pt x="213" y="388"/>
                  </a:lnTo>
                  <a:lnTo>
                    <a:pt x="213" y="377"/>
                  </a:lnTo>
                  <a:lnTo>
                    <a:pt x="213" y="369"/>
                  </a:lnTo>
                  <a:lnTo>
                    <a:pt x="213" y="361"/>
                  </a:lnTo>
                  <a:lnTo>
                    <a:pt x="213" y="353"/>
                  </a:lnTo>
                  <a:lnTo>
                    <a:pt x="213" y="342"/>
                  </a:lnTo>
                  <a:lnTo>
                    <a:pt x="213" y="334"/>
                  </a:lnTo>
                  <a:lnTo>
                    <a:pt x="213" y="326"/>
                  </a:lnTo>
                  <a:lnTo>
                    <a:pt x="213" y="318"/>
                  </a:lnTo>
                  <a:lnTo>
                    <a:pt x="213" y="308"/>
                  </a:lnTo>
                  <a:lnTo>
                    <a:pt x="213" y="300"/>
                  </a:lnTo>
                  <a:lnTo>
                    <a:pt x="213" y="292"/>
                  </a:lnTo>
                  <a:lnTo>
                    <a:pt x="213" y="284"/>
                  </a:lnTo>
                  <a:lnTo>
                    <a:pt x="205" y="284"/>
                  </a:lnTo>
                  <a:lnTo>
                    <a:pt x="192" y="284"/>
                  </a:lnTo>
                  <a:lnTo>
                    <a:pt x="179" y="281"/>
                  </a:lnTo>
                  <a:lnTo>
                    <a:pt x="165" y="281"/>
                  </a:lnTo>
                  <a:lnTo>
                    <a:pt x="152" y="281"/>
                  </a:lnTo>
                  <a:lnTo>
                    <a:pt x="139" y="281"/>
                  </a:lnTo>
                  <a:lnTo>
                    <a:pt x="128" y="281"/>
                  </a:lnTo>
                  <a:lnTo>
                    <a:pt x="115" y="281"/>
                  </a:lnTo>
                  <a:lnTo>
                    <a:pt x="101" y="281"/>
                  </a:lnTo>
                  <a:lnTo>
                    <a:pt x="88" y="281"/>
                  </a:lnTo>
                  <a:lnTo>
                    <a:pt x="75" y="278"/>
                  </a:lnTo>
                  <a:lnTo>
                    <a:pt x="64" y="278"/>
                  </a:lnTo>
                  <a:lnTo>
                    <a:pt x="51" y="278"/>
                  </a:lnTo>
                  <a:lnTo>
                    <a:pt x="37" y="278"/>
                  </a:lnTo>
                  <a:lnTo>
                    <a:pt x="24" y="278"/>
                  </a:lnTo>
                  <a:lnTo>
                    <a:pt x="11" y="278"/>
                  </a:lnTo>
                  <a:lnTo>
                    <a:pt x="0" y="278"/>
                  </a:lnTo>
                  <a:lnTo>
                    <a:pt x="0" y="259"/>
                  </a:lnTo>
                  <a:lnTo>
                    <a:pt x="0" y="243"/>
                  </a:lnTo>
                  <a:lnTo>
                    <a:pt x="0" y="225"/>
                  </a:lnTo>
                  <a:lnTo>
                    <a:pt x="0" y="209"/>
                  </a:lnTo>
                  <a:lnTo>
                    <a:pt x="3" y="190"/>
                  </a:lnTo>
                  <a:lnTo>
                    <a:pt x="3" y="174"/>
                  </a:lnTo>
                  <a:lnTo>
                    <a:pt x="3" y="155"/>
                  </a:lnTo>
                  <a:lnTo>
                    <a:pt x="3" y="139"/>
                  </a:lnTo>
                  <a:lnTo>
                    <a:pt x="3" y="121"/>
                  </a:lnTo>
                  <a:lnTo>
                    <a:pt x="5" y="105"/>
                  </a:lnTo>
                  <a:lnTo>
                    <a:pt x="5" y="86"/>
                  </a:lnTo>
                  <a:lnTo>
                    <a:pt x="5" y="70"/>
                  </a:lnTo>
                  <a:lnTo>
                    <a:pt x="5" y="51"/>
                  </a:lnTo>
                  <a:lnTo>
                    <a:pt x="8" y="35"/>
                  </a:lnTo>
                  <a:lnTo>
                    <a:pt x="8" y="16"/>
                  </a:lnTo>
                  <a:lnTo>
                    <a:pt x="8" y="0"/>
                  </a:lnTo>
                  <a:lnTo>
                    <a:pt x="27" y="0"/>
                  </a:lnTo>
                  <a:lnTo>
                    <a:pt x="43" y="3"/>
                  </a:lnTo>
                  <a:lnTo>
                    <a:pt x="61" y="3"/>
                  </a:lnTo>
                  <a:lnTo>
                    <a:pt x="80" y="3"/>
                  </a:lnTo>
                  <a:lnTo>
                    <a:pt x="99" y="3"/>
                  </a:lnTo>
                  <a:lnTo>
                    <a:pt x="115" y="3"/>
                  </a:lnTo>
                  <a:lnTo>
                    <a:pt x="133" y="3"/>
                  </a:lnTo>
                  <a:lnTo>
                    <a:pt x="152" y="6"/>
                  </a:lnTo>
                  <a:lnTo>
                    <a:pt x="171" y="6"/>
                  </a:lnTo>
                  <a:lnTo>
                    <a:pt x="187" y="6"/>
                  </a:lnTo>
                  <a:lnTo>
                    <a:pt x="205" y="6"/>
                  </a:lnTo>
                  <a:lnTo>
                    <a:pt x="224" y="6"/>
                  </a:lnTo>
                  <a:lnTo>
                    <a:pt x="243" y="6"/>
                  </a:lnTo>
                  <a:lnTo>
                    <a:pt x="259" y="6"/>
                  </a:lnTo>
                  <a:lnTo>
                    <a:pt x="277" y="8"/>
                  </a:lnTo>
                  <a:lnTo>
                    <a:pt x="296" y="8"/>
                  </a:lnTo>
                  <a:lnTo>
                    <a:pt x="312" y="8"/>
                  </a:lnTo>
                  <a:lnTo>
                    <a:pt x="331" y="8"/>
                  </a:lnTo>
                  <a:lnTo>
                    <a:pt x="349" y="8"/>
                  </a:lnTo>
                  <a:lnTo>
                    <a:pt x="368" y="8"/>
                  </a:lnTo>
                  <a:lnTo>
                    <a:pt x="384" y="8"/>
                  </a:lnTo>
                  <a:lnTo>
                    <a:pt x="403" y="8"/>
                  </a:lnTo>
                  <a:lnTo>
                    <a:pt x="421" y="8"/>
                  </a:lnTo>
                  <a:lnTo>
                    <a:pt x="440" y="8"/>
                  </a:lnTo>
                  <a:lnTo>
                    <a:pt x="456" y="8"/>
                  </a:lnTo>
                  <a:lnTo>
                    <a:pt x="475" y="8"/>
                  </a:lnTo>
                  <a:lnTo>
                    <a:pt x="494" y="8"/>
                  </a:lnTo>
                  <a:lnTo>
                    <a:pt x="512" y="8"/>
                  </a:lnTo>
                  <a:lnTo>
                    <a:pt x="528" y="8"/>
                  </a:lnTo>
                  <a:lnTo>
                    <a:pt x="547" y="8"/>
                  </a:lnTo>
                  <a:lnTo>
                    <a:pt x="566" y="8"/>
                  </a:lnTo>
                  <a:lnTo>
                    <a:pt x="582" y="8"/>
                  </a:lnTo>
                  <a:lnTo>
                    <a:pt x="592" y="8"/>
                  </a:lnTo>
                  <a:lnTo>
                    <a:pt x="592" y="8"/>
                  </a:lnTo>
                  <a:lnTo>
                    <a:pt x="592" y="8"/>
                  </a:lnTo>
                  <a:lnTo>
                    <a:pt x="595" y="11"/>
                  </a:lnTo>
                  <a:lnTo>
                    <a:pt x="595" y="11"/>
                  </a:lnTo>
                  <a:lnTo>
                    <a:pt x="606" y="16"/>
                  </a:lnTo>
                  <a:lnTo>
                    <a:pt x="608" y="16"/>
                  </a:lnTo>
                  <a:lnTo>
                    <a:pt x="608" y="16"/>
                  </a:lnTo>
                  <a:lnTo>
                    <a:pt x="608" y="19"/>
                  </a:lnTo>
                  <a:lnTo>
                    <a:pt x="614" y="22"/>
                  </a:lnTo>
                  <a:lnTo>
                    <a:pt x="619" y="24"/>
                  </a:lnTo>
                  <a:lnTo>
                    <a:pt x="632" y="30"/>
                  </a:lnTo>
                  <a:lnTo>
                    <a:pt x="635" y="32"/>
                  </a:lnTo>
                  <a:lnTo>
                    <a:pt x="635" y="32"/>
                  </a:lnTo>
                  <a:lnTo>
                    <a:pt x="635" y="32"/>
                  </a:lnTo>
                  <a:lnTo>
                    <a:pt x="643" y="35"/>
                  </a:lnTo>
                  <a:lnTo>
                    <a:pt x="646" y="35"/>
                  </a:lnTo>
                  <a:lnTo>
                    <a:pt x="648" y="35"/>
                  </a:lnTo>
                  <a:lnTo>
                    <a:pt x="651" y="35"/>
                  </a:lnTo>
                  <a:lnTo>
                    <a:pt x="654" y="32"/>
                  </a:lnTo>
                  <a:lnTo>
                    <a:pt x="654" y="32"/>
                  </a:lnTo>
                  <a:lnTo>
                    <a:pt x="654" y="32"/>
                  </a:lnTo>
                  <a:lnTo>
                    <a:pt x="654" y="30"/>
                  </a:lnTo>
                  <a:lnTo>
                    <a:pt x="656" y="27"/>
                  </a:lnTo>
                  <a:lnTo>
                    <a:pt x="656" y="27"/>
                  </a:lnTo>
                  <a:lnTo>
                    <a:pt x="656" y="24"/>
                  </a:lnTo>
                  <a:lnTo>
                    <a:pt x="659" y="24"/>
                  </a:lnTo>
                  <a:lnTo>
                    <a:pt x="662" y="24"/>
                  </a:lnTo>
                  <a:lnTo>
                    <a:pt x="667" y="24"/>
                  </a:lnTo>
                  <a:lnTo>
                    <a:pt x="672" y="24"/>
                  </a:lnTo>
                  <a:lnTo>
                    <a:pt x="675" y="24"/>
                  </a:lnTo>
                  <a:lnTo>
                    <a:pt x="675" y="24"/>
                  </a:lnTo>
                  <a:lnTo>
                    <a:pt x="678" y="27"/>
                  </a:lnTo>
                  <a:lnTo>
                    <a:pt x="680" y="27"/>
                  </a:lnTo>
                  <a:lnTo>
                    <a:pt x="683" y="24"/>
                  </a:lnTo>
                  <a:lnTo>
                    <a:pt x="686" y="22"/>
                  </a:lnTo>
                  <a:lnTo>
                    <a:pt x="694" y="24"/>
                  </a:lnTo>
                  <a:lnTo>
                    <a:pt x="696" y="24"/>
                  </a:lnTo>
                  <a:lnTo>
                    <a:pt x="718" y="19"/>
                  </a:lnTo>
                  <a:lnTo>
                    <a:pt x="720" y="22"/>
                  </a:lnTo>
                  <a:lnTo>
                    <a:pt x="723" y="22"/>
                  </a:lnTo>
                  <a:lnTo>
                    <a:pt x="726" y="24"/>
                  </a:lnTo>
                  <a:lnTo>
                    <a:pt x="728" y="27"/>
                  </a:lnTo>
                  <a:lnTo>
                    <a:pt x="731" y="30"/>
                  </a:lnTo>
                  <a:lnTo>
                    <a:pt x="734" y="32"/>
                  </a:lnTo>
                  <a:lnTo>
                    <a:pt x="736" y="32"/>
                  </a:lnTo>
                  <a:lnTo>
                    <a:pt x="739" y="35"/>
                  </a:lnTo>
                  <a:lnTo>
                    <a:pt x="744" y="35"/>
                  </a:lnTo>
                  <a:lnTo>
                    <a:pt x="744" y="35"/>
                  </a:lnTo>
                  <a:lnTo>
                    <a:pt x="747" y="35"/>
                  </a:lnTo>
                  <a:lnTo>
                    <a:pt x="750" y="35"/>
                  </a:lnTo>
                  <a:lnTo>
                    <a:pt x="752" y="38"/>
                  </a:lnTo>
                  <a:lnTo>
                    <a:pt x="752" y="38"/>
                  </a:lnTo>
                  <a:lnTo>
                    <a:pt x="752" y="38"/>
                  </a:lnTo>
                  <a:lnTo>
                    <a:pt x="755" y="38"/>
                  </a:lnTo>
                  <a:lnTo>
                    <a:pt x="766" y="40"/>
                  </a:lnTo>
                  <a:lnTo>
                    <a:pt x="768" y="40"/>
                  </a:lnTo>
                  <a:lnTo>
                    <a:pt x="768" y="43"/>
                  </a:lnTo>
                  <a:lnTo>
                    <a:pt x="768" y="43"/>
                  </a:lnTo>
                  <a:lnTo>
                    <a:pt x="771" y="46"/>
                  </a:lnTo>
                  <a:lnTo>
                    <a:pt x="771" y="46"/>
                  </a:lnTo>
                  <a:lnTo>
                    <a:pt x="771" y="46"/>
                  </a:lnTo>
                  <a:lnTo>
                    <a:pt x="774" y="48"/>
                  </a:lnTo>
                  <a:lnTo>
                    <a:pt x="774" y="48"/>
                  </a:lnTo>
                  <a:lnTo>
                    <a:pt x="779" y="46"/>
                  </a:lnTo>
                  <a:lnTo>
                    <a:pt x="779" y="46"/>
                  </a:lnTo>
                  <a:lnTo>
                    <a:pt x="782" y="48"/>
                  </a:lnTo>
                  <a:lnTo>
                    <a:pt x="782" y="48"/>
                  </a:lnTo>
                  <a:lnTo>
                    <a:pt x="782" y="48"/>
                  </a:lnTo>
                  <a:lnTo>
                    <a:pt x="782" y="51"/>
                  </a:lnTo>
                  <a:lnTo>
                    <a:pt x="782" y="51"/>
                  </a:lnTo>
                  <a:lnTo>
                    <a:pt x="782" y="54"/>
                  </a:lnTo>
                  <a:lnTo>
                    <a:pt x="782" y="54"/>
                  </a:lnTo>
                  <a:lnTo>
                    <a:pt x="782" y="56"/>
                  </a:lnTo>
                  <a:lnTo>
                    <a:pt x="787" y="59"/>
                  </a:lnTo>
                  <a:lnTo>
                    <a:pt x="790" y="62"/>
                  </a:lnTo>
                  <a:lnTo>
                    <a:pt x="790" y="64"/>
                  </a:lnTo>
                  <a:lnTo>
                    <a:pt x="790" y="67"/>
                  </a:lnTo>
                  <a:lnTo>
                    <a:pt x="792" y="67"/>
                  </a:lnTo>
                  <a:lnTo>
                    <a:pt x="806" y="70"/>
                  </a:lnTo>
                  <a:lnTo>
                    <a:pt x="806" y="70"/>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30" name="Freeform 27">
              <a:extLst>
                <a:ext uri="{FF2B5EF4-FFF2-40B4-BE49-F238E27FC236}">
                  <a16:creationId xmlns="" xmlns:a16="http://schemas.microsoft.com/office/drawing/2014/main" id="{719E9962-6743-4EC0-ABD3-7F929E947DB8}"/>
                </a:ext>
              </a:extLst>
            </p:cNvPr>
            <p:cNvSpPr>
              <a:spLocks/>
            </p:cNvSpPr>
            <p:nvPr/>
          </p:nvSpPr>
          <p:spPr bwMode="auto">
            <a:xfrm>
              <a:off x="3237" y="275"/>
              <a:ext cx="760" cy="417"/>
            </a:xfrm>
            <a:custGeom>
              <a:avLst/>
              <a:gdLst>
                <a:gd name="T0" fmla="*/ 688 w 760"/>
                <a:gd name="T1" fmla="*/ 414 h 417"/>
                <a:gd name="T2" fmla="*/ 592 w 760"/>
                <a:gd name="T3" fmla="*/ 417 h 417"/>
                <a:gd name="T4" fmla="*/ 499 w 760"/>
                <a:gd name="T5" fmla="*/ 417 h 417"/>
                <a:gd name="T6" fmla="*/ 403 w 760"/>
                <a:gd name="T7" fmla="*/ 417 h 417"/>
                <a:gd name="T8" fmla="*/ 309 w 760"/>
                <a:gd name="T9" fmla="*/ 417 h 417"/>
                <a:gd name="T10" fmla="*/ 213 w 760"/>
                <a:gd name="T11" fmla="*/ 417 h 417"/>
                <a:gd name="T12" fmla="*/ 120 w 760"/>
                <a:gd name="T13" fmla="*/ 414 h 417"/>
                <a:gd name="T14" fmla="*/ 24 w 760"/>
                <a:gd name="T15" fmla="*/ 412 h 417"/>
                <a:gd name="T16" fmla="*/ 3 w 760"/>
                <a:gd name="T17" fmla="*/ 334 h 417"/>
                <a:gd name="T18" fmla="*/ 5 w 760"/>
                <a:gd name="T19" fmla="*/ 230 h 417"/>
                <a:gd name="T20" fmla="*/ 8 w 760"/>
                <a:gd name="T21" fmla="*/ 128 h 417"/>
                <a:gd name="T22" fmla="*/ 13 w 760"/>
                <a:gd name="T23" fmla="*/ 27 h 417"/>
                <a:gd name="T24" fmla="*/ 61 w 760"/>
                <a:gd name="T25" fmla="*/ 3 h 417"/>
                <a:gd name="T26" fmla="*/ 149 w 760"/>
                <a:gd name="T27" fmla="*/ 5 h 417"/>
                <a:gd name="T28" fmla="*/ 235 w 760"/>
                <a:gd name="T29" fmla="*/ 5 h 417"/>
                <a:gd name="T30" fmla="*/ 299 w 760"/>
                <a:gd name="T31" fmla="*/ 8 h 417"/>
                <a:gd name="T32" fmla="*/ 387 w 760"/>
                <a:gd name="T33" fmla="*/ 8 h 417"/>
                <a:gd name="T34" fmla="*/ 472 w 760"/>
                <a:gd name="T35" fmla="*/ 8 h 417"/>
                <a:gd name="T36" fmla="*/ 558 w 760"/>
                <a:gd name="T37" fmla="*/ 5 h 417"/>
                <a:gd name="T38" fmla="*/ 646 w 760"/>
                <a:gd name="T39" fmla="*/ 5 h 417"/>
                <a:gd name="T40" fmla="*/ 680 w 760"/>
                <a:gd name="T41" fmla="*/ 8 h 417"/>
                <a:gd name="T42" fmla="*/ 683 w 760"/>
                <a:gd name="T43" fmla="*/ 16 h 417"/>
                <a:gd name="T44" fmla="*/ 686 w 760"/>
                <a:gd name="T45" fmla="*/ 24 h 417"/>
                <a:gd name="T46" fmla="*/ 694 w 760"/>
                <a:gd name="T47" fmla="*/ 43 h 417"/>
                <a:gd name="T48" fmla="*/ 688 w 760"/>
                <a:gd name="T49" fmla="*/ 64 h 417"/>
                <a:gd name="T50" fmla="*/ 694 w 760"/>
                <a:gd name="T51" fmla="*/ 80 h 417"/>
                <a:gd name="T52" fmla="*/ 694 w 760"/>
                <a:gd name="T53" fmla="*/ 96 h 417"/>
                <a:gd name="T54" fmla="*/ 694 w 760"/>
                <a:gd name="T55" fmla="*/ 115 h 417"/>
                <a:gd name="T56" fmla="*/ 702 w 760"/>
                <a:gd name="T57" fmla="*/ 139 h 417"/>
                <a:gd name="T58" fmla="*/ 707 w 760"/>
                <a:gd name="T59" fmla="*/ 152 h 417"/>
                <a:gd name="T60" fmla="*/ 707 w 760"/>
                <a:gd name="T61" fmla="*/ 160 h 417"/>
                <a:gd name="T62" fmla="*/ 710 w 760"/>
                <a:gd name="T63" fmla="*/ 163 h 417"/>
                <a:gd name="T64" fmla="*/ 715 w 760"/>
                <a:gd name="T65" fmla="*/ 171 h 417"/>
                <a:gd name="T66" fmla="*/ 720 w 760"/>
                <a:gd name="T67" fmla="*/ 184 h 417"/>
                <a:gd name="T68" fmla="*/ 723 w 760"/>
                <a:gd name="T69" fmla="*/ 190 h 417"/>
                <a:gd name="T70" fmla="*/ 723 w 760"/>
                <a:gd name="T71" fmla="*/ 195 h 417"/>
                <a:gd name="T72" fmla="*/ 723 w 760"/>
                <a:gd name="T73" fmla="*/ 203 h 417"/>
                <a:gd name="T74" fmla="*/ 723 w 760"/>
                <a:gd name="T75" fmla="*/ 217 h 417"/>
                <a:gd name="T76" fmla="*/ 726 w 760"/>
                <a:gd name="T77" fmla="*/ 238 h 417"/>
                <a:gd name="T78" fmla="*/ 726 w 760"/>
                <a:gd name="T79" fmla="*/ 249 h 417"/>
                <a:gd name="T80" fmla="*/ 728 w 760"/>
                <a:gd name="T81" fmla="*/ 262 h 417"/>
                <a:gd name="T82" fmla="*/ 731 w 760"/>
                <a:gd name="T83" fmla="*/ 275 h 417"/>
                <a:gd name="T84" fmla="*/ 731 w 760"/>
                <a:gd name="T85" fmla="*/ 278 h 417"/>
                <a:gd name="T86" fmla="*/ 734 w 760"/>
                <a:gd name="T87" fmla="*/ 281 h 417"/>
                <a:gd name="T88" fmla="*/ 734 w 760"/>
                <a:gd name="T89" fmla="*/ 283 h 417"/>
                <a:gd name="T90" fmla="*/ 731 w 760"/>
                <a:gd name="T91" fmla="*/ 294 h 417"/>
                <a:gd name="T92" fmla="*/ 731 w 760"/>
                <a:gd name="T93" fmla="*/ 299 h 417"/>
                <a:gd name="T94" fmla="*/ 731 w 760"/>
                <a:gd name="T95" fmla="*/ 315 h 417"/>
                <a:gd name="T96" fmla="*/ 736 w 760"/>
                <a:gd name="T97" fmla="*/ 326 h 417"/>
                <a:gd name="T98" fmla="*/ 739 w 760"/>
                <a:gd name="T99" fmla="*/ 339 h 417"/>
                <a:gd name="T100" fmla="*/ 742 w 760"/>
                <a:gd name="T101" fmla="*/ 342 h 417"/>
                <a:gd name="T102" fmla="*/ 752 w 760"/>
                <a:gd name="T103" fmla="*/ 358 h 417"/>
                <a:gd name="T104" fmla="*/ 755 w 760"/>
                <a:gd name="T105" fmla="*/ 374 h 417"/>
                <a:gd name="T106" fmla="*/ 758 w 760"/>
                <a:gd name="T107" fmla="*/ 382 h 417"/>
                <a:gd name="T108" fmla="*/ 758 w 760"/>
                <a:gd name="T109" fmla="*/ 390 h 417"/>
                <a:gd name="T110" fmla="*/ 758 w 760"/>
                <a:gd name="T111" fmla="*/ 404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60" h="417">
                  <a:moveTo>
                    <a:pt x="760" y="412"/>
                  </a:moveTo>
                  <a:lnTo>
                    <a:pt x="736" y="414"/>
                  </a:lnTo>
                  <a:lnTo>
                    <a:pt x="712" y="414"/>
                  </a:lnTo>
                  <a:lnTo>
                    <a:pt x="688" y="414"/>
                  </a:lnTo>
                  <a:lnTo>
                    <a:pt x="664" y="414"/>
                  </a:lnTo>
                  <a:lnTo>
                    <a:pt x="640" y="414"/>
                  </a:lnTo>
                  <a:lnTo>
                    <a:pt x="616" y="417"/>
                  </a:lnTo>
                  <a:lnTo>
                    <a:pt x="592" y="417"/>
                  </a:lnTo>
                  <a:lnTo>
                    <a:pt x="568" y="417"/>
                  </a:lnTo>
                  <a:lnTo>
                    <a:pt x="547" y="417"/>
                  </a:lnTo>
                  <a:lnTo>
                    <a:pt x="523" y="417"/>
                  </a:lnTo>
                  <a:lnTo>
                    <a:pt x="499" y="417"/>
                  </a:lnTo>
                  <a:lnTo>
                    <a:pt x="475" y="417"/>
                  </a:lnTo>
                  <a:lnTo>
                    <a:pt x="451" y="417"/>
                  </a:lnTo>
                  <a:lnTo>
                    <a:pt x="427" y="417"/>
                  </a:lnTo>
                  <a:lnTo>
                    <a:pt x="403" y="417"/>
                  </a:lnTo>
                  <a:lnTo>
                    <a:pt x="379" y="417"/>
                  </a:lnTo>
                  <a:lnTo>
                    <a:pt x="355" y="417"/>
                  </a:lnTo>
                  <a:lnTo>
                    <a:pt x="333" y="417"/>
                  </a:lnTo>
                  <a:lnTo>
                    <a:pt x="309" y="417"/>
                  </a:lnTo>
                  <a:lnTo>
                    <a:pt x="285" y="417"/>
                  </a:lnTo>
                  <a:lnTo>
                    <a:pt x="261" y="417"/>
                  </a:lnTo>
                  <a:lnTo>
                    <a:pt x="237" y="417"/>
                  </a:lnTo>
                  <a:lnTo>
                    <a:pt x="213" y="417"/>
                  </a:lnTo>
                  <a:lnTo>
                    <a:pt x="189" y="417"/>
                  </a:lnTo>
                  <a:lnTo>
                    <a:pt x="165" y="414"/>
                  </a:lnTo>
                  <a:lnTo>
                    <a:pt x="144" y="414"/>
                  </a:lnTo>
                  <a:lnTo>
                    <a:pt x="120" y="414"/>
                  </a:lnTo>
                  <a:lnTo>
                    <a:pt x="96" y="414"/>
                  </a:lnTo>
                  <a:lnTo>
                    <a:pt x="72" y="412"/>
                  </a:lnTo>
                  <a:lnTo>
                    <a:pt x="48" y="412"/>
                  </a:lnTo>
                  <a:lnTo>
                    <a:pt x="24" y="412"/>
                  </a:lnTo>
                  <a:lnTo>
                    <a:pt x="0" y="412"/>
                  </a:lnTo>
                  <a:lnTo>
                    <a:pt x="0" y="385"/>
                  </a:lnTo>
                  <a:lnTo>
                    <a:pt x="3" y="358"/>
                  </a:lnTo>
                  <a:lnTo>
                    <a:pt x="3" y="334"/>
                  </a:lnTo>
                  <a:lnTo>
                    <a:pt x="3" y="307"/>
                  </a:lnTo>
                  <a:lnTo>
                    <a:pt x="5" y="281"/>
                  </a:lnTo>
                  <a:lnTo>
                    <a:pt x="5" y="257"/>
                  </a:lnTo>
                  <a:lnTo>
                    <a:pt x="5" y="230"/>
                  </a:lnTo>
                  <a:lnTo>
                    <a:pt x="8" y="203"/>
                  </a:lnTo>
                  <a:lnTo>
                    <a:pt x="8" y="179"/>
                  </a:lnTo>
                  <a:lnTo>
                    <a:pt x="8" y="152"/>
                  </a:lnTo>
                  <a:lnTo>
                    <a:pt x="8" y="128"/>
                  </a:lnTo>
                  <a:lnTo>
                    <a:pt x="11" y="102"/>
                  </a:lnTo>
                  <a:lnTo>
                    <a:pt x="11" y="78"/>
                  </a:lnTo>
                  <a:lnTo>
                    <a:pt x="11" y="51"/>
                  </a:lnTo>
                  <a:lnTo>
                    <a:pt x="13" y="27"/>
                  </a:lnTo>
                  <a:lnTo>
                    <a:pt x="13" y="0"/>
                  </a:lnTo>
                  <a:lnTo>
                    <a:pt x="19" y="0"/>
                  </a:lnTo>
                  <a:lnTo>
                    <a:pt x="40" y="3"/>
                  </a:lnTo>
                  <a:lnTo>
                    <a:pt x="61" y="3"/>
                  </a:lnTo>
                  <a:lnTo>
                    <a:pt x="83" y="3"/>
                  </a:lnTo>
                  <a:lnTo>
                    <a:pt x="107" y="3"/>
                  </a:lnTo>
                  <a:lnTo>
                    <a:pt x="128" y="5"/>
                  </a:lnTo>
                  <a:lnTo>
                    <a:pt x="149" y="5"/>
                  </a:lnTo>
                  <a:lnTo>
                    <a:pt x="171" y="5"/>
                  </a:lnTo>
                  <a:lnTo>
                    <a:pt x="192" y="5"/>
                  </a:lnTo>
                  <a:lnTo>
                    <a:pt x="213" y="5"/>
                  </a:lnTo>
                  <a:lnTo>
                    <a:pt x="235" y="5"/>
                  </a:lnTo>
                  <a:lnTo>
                    <a:pt x="256" y="5"/>
                  </a:lnTo>
                  <a:lnTo>
                    <a:pt x="275" y="8"/>
                  </a:lnTo>
                  <a:lnTo>
                    <a:pt x="277" y="8"/>
                  </a:lnTo>
                  <a:lnTo>
                    <a:pt x="299" y="8"/>
                  </a:lnTo>
                  <a:lnTo>
                    <a:pt x="320" y="8"/>
                  </a:lnTo>
                  <a:lnTo>
                    <a:pt x="341" y="8"/>
                  </a:lnTo>
                  <a:lnTo>
                    <a:pt x="365" y="8"/>
                  </a:lnTo>
                  <a:lnTo>
                    <a:pt x="387" y="8"/>
                  </a:lnTo>
                  <a:lnTo>
                    <a:pt x="408" y="8"/>
                  </a:lnTo>
                  <a:lnTo>
                    <a:pt x="430" y="8"/>
                  </a:lnTo>
                  <a:lnTo>
                    <a:pt x="451" y="8"/>
                  </a:lnTo>
                  <a:lnTo>
                    <a:pt x="472" y="8"/>
                  </a:lnTo>
                  <a:lnTo>
                    <a:pt x="494" y="8"/>
                  </a:lnTo>
                  <a:lnTo>
                    <a:pt x="515" y="8"/>
                  </a:lnTo>
                  <a:lnTo>
                    <a:pt x="536" y="8"/>
                  </a:lnTo>
                  <a:lnTo>
                    <a:pt x="558" y="5"/>
                  </a:lnTo>
                  <a:lnTo>
                    <a:pt x="579" y="5"/>
                  </a:lnTo>
                  <a:lnTo>
                    <a:pt x="600" y="5"/>
                  </a:lnTo>
                  <a:lnTo>
                    <a:pt x="624" y="5"/>
                  </a:lnTo>
                  <a:lnTo>
                    <a:pt x="646" y="5"/>
                  </a:lnTo>
                  <a:lnTo>
                    <a:pt x="667" y="5"/>
                  </a:lnTo>
                  <a:lnTo>
                    <a:pt x="680" y="5"/>
                  </a:lnTo>
                  <a:lnTo>
                    <a:pt x="680" y="5"/>
                  </a:lnTo>
                  <a:lnTo>
                    <a:pt x="680" y="8"/>
                  </a:lnTo>
                  <a:lnTo>
                    <a:pt x="680" y="11"/>
                  </a:lnTo>
                  <a:lnTo>
                    <a:pt x="683" y="11"/>
                  </a:lnTo>
                  <a:lnTo>
                    <a:pt x="683" y="13"/>
                  </a:lnTo>
                  <a:lnTo>
                    <a:pt x="683" y="16"/>
                  </a:lnTo>
                  <a:lnTo>
                    <a:pt x="683" y="16"/>
                  </a:lnTo>
                  <a:lnTo>
                    <a:pt x="686" y="19"/>
                  </a:lnTo>
                  <a:lnTo>
                    <a:pt x="686" y="19"/>
                  </a:lnTo>
                  <a:lnTo>
                    <a:pt x="686" y="24"/>
                  </a:lnTo>
                  <a:lnTo>
                    <a:pt x="688" y="32"/>
                  </a:lnTo>
                  <a:lnTo>
                    <a:pt x="691" y="38"/>
                  </a:lnTo>
                  <a:lnTo>
                    <a:pt x="691" y="38"/>
                  </a:lnTo>
                  <a:lnTo>
                    <a:pt x="694" y="43"/>
                  </a:lnTo>
                  <a:lnTo>
                    <a:pt x="694" y="51"/>
                  </a:lnTo>
                  <a:lnTo>
                    <a:pt x="694" y="54"/>
                  </a:lnTo>
                  <a:lnTo>
                    <a:pt x="691" y="59"/>
                  </a:lnTo>
                  <a:lnTo>
                    <a:pt x="688" y="64"/>
                  </a:lnTo>
                  <a:lnTo>
                    <a:pt x="691" y="72"/>
                  </a:lnTo>
                  <a:lnTo>
                    <a:pt x="691" y="78"/>
                  </a:lnTo>
                  <a:lnTo>
                    <a:pt x="694" y="80"/>
                  </a:lnTo>
                  <a:lnTo>
                    <a:pt x="694" y="80"/>
                  </a:lnTo>
                  <a:lnTo>
                    <a:pt x="694" y="83"/>
                  </a:lnTo>
                  <a:lnTo>
                    <a:pt x="691" y="86"/>
                  </a:lnTo>
                  <a:lnTo>
                    <a:pt x="691" y="86"/>
                  </a:lnTo>
                  <a:lnTo>
                    <a:pt x="694" y="96"/>
                  </a:lnTo>
                  <a:lnTo>
                    <a:pt x="694" y="96"/>
                  </a:lnTo>
                  <a:lnTo>
                    <a:pt x="694" y="99"/>
                  </a:lnTo>
                  <a:lnTo>
                    <a:pt x="694" y="107"/>
                  </a:lnTo>
                  <a:lnTo>
                    <a:pt x="694" y="115"/>
                  </a:lnTo>
                  <a:lnTo>
                    <a:pt x="694" y="118"/>
                  </a:lnTo>
                  <a:lnTo>
                    <a:pt x="696" y="123"/>
                  </a:lnTo>
                  <a:lnTo>
                    <a:pt x="702" y="134"/>
                  </a:lnTo>
                  <a:lnTo>
                    <a:pt x="702" y="139"/>
                  </a:lnTo>
                  <a:lnTo>
                    <a:pt x="704" y="142"/>
                  </a:lnTo>
                  <a:lnTo>
                    <a:pt x="707" y="147"/>
                  </a:lnTo>
                  <a:lnTo>
                    <a:pt x="704" y="150"/>
                  </a:lnTo>
                  <a:lnTo>
                    <a:pt x="707" y="152"/>
                  </a:lnTo>
                  <a:lnTo>
                    <a:pt x="710" y="160"/>
                  </a:lnTo>
                  <a:lnTo>
                    <a:pt x="710" y="160"/>
                  </a:lnTo>
                  <a:lnTo>
                    <a:pt x="707" y="160"/>
                  </a:lnTo>
                  <a:lnTo>
                    <a:pt x="707" y="160"/>
                  </a:lnTo>
                  <a:lnTo>
                    <a:pt x="710" y="163"/>
                  </a:lnTo>
                  <a:lnTo>
                    <a:pt x="710" y="163"/>
                  </a:lnTo>
                  <a:lnTo>
                    <a:pt x="710" y="163"/>
                  </a:lnTo>
                  <a:lnTo>
                    <a:pt x="710" y="163"/>
                  </a:lnTo>
                  <a:lnTo>
                    <a:pt x="710" y="163"/>
                  </a:lnTo>
                  <a:lnTo>
                    <a:pt x="712" y="166"/>
                  </a:lnTo>
                  <a:lnTo>
                    <a:pt x="712" y="168"/>
                  </a:lnTo>
                  <a:lnTo>
                    <a:pt x="715" y="171"/>
                  </a:lnTo>
                  <a:lnTo>
                    <a:pt x="715" y="174"/>
                  </a:lnTo>
                  <a:lnTo>
                    <a:pt x="718" y="176"/>
                  </a:lnTo>
                  <a:lnTo>
                    <a:pt x="718" y="179"/>
                  </a:lnTo>
                  <a:lnTo>
                    <a:pt x="720" y="184"/>
                  </a:lnTo>
                  <a:lnTo>
                    <a:pt x="720" y="187"/>
                  </a:lnTo>
                  <a:lnTo>
                    <a:pt x="723" y="190"/>
                  </a:lnTo>
                  <a:lnTo>
                    <a:pt x="723" y="190"/>
                  </a:lnTo>
                  <a:lnTo>
                    <a:pt x="723" y="190"/>
                  </a:lnTo>
                  <a:lnTo>
                    <a:pt x="723" y="190"/>
                  </a:lnTo>
                  <a:lnTo>
                    <a:pt x="723" y="192"/>
                  </a:lnTo>
                  <a:lnTo>
                    <a:pt x="723" y="192"/>
                  </a:lnTo>
                  <a:lnTo>
                    <a:pt x="723" y="195"/>
                  </a:lnTo>
                  <a:lnTo>
                    <a:pt x="723" y="198"/>
                  </a:lnTo>
                  <a:lnTo>
                    <a:pt x="723" y="201"/>
                  </a:lnTo>
                  <a:lnTo>
                    <a:pt x="723" y="203"/>
                  </a:lnTo>
                  <a:lnTo>
                    <a:pt x="723" y="203"/>
                  </a:lnTo>
                  <a:lnTo>
                    <a:pt x="723" y="211"/>
                  </a:lnTo>
                  <a:lnTo>
                    <a:pt x="723" y="214"/>
                  </a:lnTo>
                  <a:lnTo>
                    <a:pt x="723" y="214"/>
                  </a:lnTo>
                  <a:lnTo>
                    <a:pt x="723" y="217"/>
                  </a:lnTo>
                  <a:lnTo>
                    <a:pt x="723" y="217"/>
                  </a:lnTo>
                  <a:lnTo>
                    <a:pt x="726" y="219"/>
                  </a:lnTo>
                  <a:lnTo>
                    <a:pt x="726" y="235"/>
                  </a:lnTo>
                  <a:lnTo>
                    <a:pt x="726" y="238"/>
                  </a:lnTo>
                  <a:lnTo>
                    <a:pt x="726" y="246"/>
                  </a:lnTo>
                  <a:lnTo>
                    <a:pt x="726" y="249"/>
                  </a:lnTo>
                  <a:lnTo>
                    <a:pt x="726" y="249"/>
                  </a:lnTo>
                  <a:lnTo>
                    <a:pt x="726" y="249"/>
                  </a:lnTo>
                  <a:lnTo>
                    <a:pt x="726" y="251"/>
                  </a:lnTo>
                  <a:lnTo>
                    <a:pt x="726" y="254"/>
                  </a:lnTo>
                  <a:lnTo>
                    <a:pt x="728" y="259"/>
                  </a:lnTo>
                  <a:lnTo>
                    <a:pt x="728" y="262"/>
                  </a:lnTo>
                  <a:lnTo>
                    <a:pt x="728" y="270"/>
                  </a:lnTo>
                  <a:lnTo>
                    <a:pt x="728" y="273"/>
                  </a:lnTo>
                  <a:lnTo>
                    <a:pt x="728" y="273"/>
                  </a:lnTo>
                  <a:lnTo>
                    <a:pt x="731" y="275"/>
                  </a:lnTo>
                  <a:lnTo>
                    <a:pt x="731" y="275"/>
                  </a:lnTo>
                  <a:lnTo>
                    <a:pt x="731" y="278"/>
                  </a:lnTo>
                  <a:lnTo>
                    <a:pt x="731" y="278"/>
                  </a:lnTo>
                  <a:lnTo>
                    <a:pt x="731" y="278"/>
                  </a:lnTo>
                  <a:lnTo>
                    <a:pt x="731" y="278"/>
                  </a:lnTo>
                  <a:lnTo>
                    <a:pt x="734" y="278"/>
                  </a:lnTo>
                  <a:lnTo>
                    <a:pt x="734" y="278"/>
                  </a:lnTo>
                  <a:lnTo>
                    <a:pt x="734" y="281"/>
                  </a:lnTo>
                  <a:lnTo>
                    <a:pt x="734" y="281"/>
                  </a:lnTo>
                  <a:lnTo>
                    <a:pt x="734" y="281"/>
                  </a:lnTo>
                  <a:lnTo>
                    <a:pt x="734" y="281"/>
                  </a:lnTo>
                  <a:lnTo>
                    <a:pt x="734" y="283"/>
                  </a:lnTo>
                  <a:lnTo>
                    <a:pt x="734" y="286"/>
                  </a:lnTo>
                  <a:lnTo>
                    <a:pt x="731" y="286"/>
                  </a:lnTo>
                  <a:lnTo>
                    <a:pt x="734" y="291"/>
                  </a:lnTo>
                  <a:lnTo>
                    <a:pt x="731" y="294"/>
                  </a:lnTo>
                  <a:lnTo>
                    <a:pt x="731" y="294"/>
                  </a:lnTo>
                  <a:lnTo>
                    <a:pt x="731" y="297"/>
                  </a:lnTo>
                  <a:lnTo>
                    <a:pt x="731" y="297"/>
                  </a:lnTo>
                  <a:lnTo>
                    <a:pt x="731" y="299"/>
                  </a:lnTo>
                  <a:lnTo>
                    <a:pt x="734" y="305"/>
                  </a:lnTo>
                  <a:lnTo>
                    <a:pt x="734" y="307"/>
                  </a:lnTo>
                  <a:lnTo>
                    <a:pt x="734" y="310"/>
                  </a:lnTo>
                  <a:lnTo>
                    <a:pt x="731" y="315"/>
                  </a:lnTo>
                  <a:lnTo>
                    <a:pt x="731" y="318"/>
                  </a:lnTo>
                  <a:lnTo>
                    <a:pt x="734" y="321"/>
                  </a:lnTo>
                  <a:lnTo>
                    <a:pt x="736" y="323"/>
                  </a:lnTo>
                  <a:lnTo>
                    <a:pt x="736" y="326"/>
                  </a:lnTo>
                  <a:lnTo>
                    <a:pt x="739" y="331"/>
                  </a:lnTo>
                  <a:lnTo>
                    <a:pt x="739" y="334"/>
                  </a:lnTo>
                  <a:lnTo>
                    <a:pt x="739" y="337"/>
                  </a:lnTo>
                  <a:lnTo>
                    <a:pt x="739" y="339"/>
                  </a:lnTo>
                  <a:lnTo>
                    <a:pt x="739" y="339"/>
                  </a:lnTo>
                  <a:lnTo>
                    <a:pt x="742" y="342"/>
                  </a:lnTo>
                  <a:lnTo>
                    <a:pt x="742" y="342"/>
                  </a:lnTo>
                  <a:lnTo>
                    <a:pt x="742" y="342"/>
                  </a:lnTo>
                  <a:lnTo>
                    <a:pt x="742" y="345"/>
                  </a:lnTo>
                  <a:lnTo>
                    <a:pt x="742" y="347"/>
                  </a:lnTo>
                  <a:lnTo>
                    <a:pt x="747" y="355"/>
                  </a:lnTo>
                  <a:lnTo>
                    <a:pt x="752" y="358"/>
                  </a:lnTo>
                  <a:lnTo>
                    <a:pt x="752" y="361"/>
                  </a:lnTo>
                  <a:lnTo>
                    <a:pt x="755" y="363"/>
                  </a:lnTo>
                  <a:lnTo>
                    <a:pt x="755" y="371"/>
                  </a:lnTo>
                  <a:lnTo>
                    <a:pt x="755" y="374"/>
                  </a:lnTo>
                  <a:lnTo>
                    <a:pt x="755" y="377"/>
                  </a:lnTo>
                  <a:lnTo>
                    <a:pt x="755" y="377"/>
                  </a:lnTo>
                  <a:lnTo>
                    <a:pt x="758" y="382"/>
                  </a:lnTo>
                  <a:lnTo>
                    <a:pt x="758" y="382"/>
                  </a:lnTo>
                  <a:lnTo>
                    <a:pt x="758" y="382"/>
                  </a:lnTo>
                  <a:lnTo>
                    <a:pt x="758" y="385"/>
                  </a:lnTo>
                  <a:lnTo>
                    <a:pt x="758" y="385"/>
                  </a:lnTo>
                  <a:lnTo>
                    <a:pt x="758" y="390"/>
                  </a:lnTo>
                  <a:lnTo>
                    <a:pt x="758" y="393"/>
                  </a:lnTo>
                  <a:lnTo>
                    <a:pt x="758" y="396"/>
                  </a:lnTo>
                  <a:lnTo>
                    <a:pt x="758" y="398"/>
                  </a:lnTo>
                  <a:lnTo>
                    <a:pt x="758" y="404"/>
                  </a:lnTo>
                  <a:lnTo>
                    <a:pt x="760" y="412"/>
                  </a:lnTo>
                  <a:lnTo>
                    <a:pt x="760" y="412"/>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31" name="Freeform 28">
              <a:extLst>
                <a:ext uri="{FF2B5EF4-FFF2-40B4-BE49-F238E27FC236}">
                  <a16:creationId xmlns="" xmlns:a16="http://schemas.microsoft.com/office/drawing/2014/main" id="{D6BC1520-F3FA-49F5-A775-107E406D8588}"/>
                </a:ext>
              </a:extLst>
            </p:cNvPr>
            <p:cNvSpPr>
              <a:spLocks noEditPoints="1"/>
            </p:cNvSpPr>
            <p:nvPr/>
          </p:nvSpPr>
          <p:spPr bwMode="auto">
            <a:xfrm>
              <a:off x="5449" y="1694"/>
              <a:ext cx="995" cy="433"/>
            </a:xfrm>
            <a:custGeom>
              <a:avLst/>
              <a:gdLst>
                <a:gd name="T0" fmla="*/ 766 w 995"/>
                <a:gd name="T1" fmla="*/ 374 h 433"/>
                <a:gd name="T2" fmla="*/ 883 w 995"/>
                <a:gd name="T3" fmla="*/ 278 h 433"/>
                <a:gd name="T4" fmla="*/ 899 w 995"/>
                <a:gd name="T5" fmla="*/ 280 h 433"/>
                <a:gd name="T6" fmla="*/ 939 w 995"/>
                <a:gd name="T7" fmla="*/ 211 h 433"/>
                <a:gd name="T8" fmla="*/ 990 w 995"/>
                <a:gd name="T9" fmla="*/ 117 h 433"/>
                <a:gd name="T10" fmla="*/ 993 w 995"/>
                <a:gd name="T11" fmla="*/ 160 h 433"/>
                <a:gd name="T12" fmla="*/ 977 w 995"/>
                <a:gd name="T13" fmla="*/ 181 h 433"/>
                <a:gd name="T14" fmla="*/ 953 w 995"/>
                <a:gd name="T15" fmla="*/ 85 h 433"/>
                <a:gd name="T16" fmla="*/ 926 w 995"/>
                <a:gd name="T17" fmla="*/ 24 h 433"/>
                <a:gd name="T18" fmla="*/ 942 w 995"/>
                <a:gd name="T19" fmla="*/ 59 h 433"/>
                <a:gd name="T20" fmla="*/ 971 w 995"/>
                <a:gd name="T21" fmla="*/ 93 h 433"/>
                <a:gd name="T22" fmla="*/ 950 w 995"/>
                <a:gd name="T23" fmla="*/ 131 h 433"/>
                <a:gd name="T24" fmla="*/ 958 w 995"/>
                <a:gd name="T25" fmla="*/ 112 h 433"/>
                <a:gd name="T26" fmla="*/ 934 w 995"/>
                <a:gd name="T27" fmla="*/ 85 h 433"/>
                <a:gd name="T28" fmla="*/ 923 w 995"/>
                <a:gd name="T29" fmla="*/ 125 h 433"/>
                <a:gd name="T30" fmla="*/ 910 w 995"/>
                <a:gd name="T31" fmla="*/ 109 h 433"/>
                <a:gd name="T32" fmla="*/ 888 w 995"/>
                <a:gd name="T33" fmla="*/ 96 h 433"/>
                <a:gd name="T34" fmla="*/ 838 w 995"/>
                <a:gd name="T35" fmla="*/ 93 h 433"/>
                <a:gd name="T36" fmla="*/ 830 w 995"/>
                <a:gd name="T37" fmla="*/ 64 h 433"/>
                <a:gd name="T38" fmla="*/ 878 w 995"/>
                <a:gd name="T39" fmla="*/ 72 h 433"/>
                <a:gd name="T40" fmla="*/ 880 w 995"/>
                <a:gd name="T41" fmla="*/ 61 h 433"/>
                <a:gd name="T42" fmla="*/ 896 w 995"/>
                <a:gd name="T43" fmla="*/ 53 h 433"/>
                <a:gd name="T44" fmla="*/ 915 w 995"/>
                <a:gd name="T45" fmla="*/ 53 h 433"/>
                <a:gd name="T46" fmla="*/ 926 w 995"/>
                <a:gd name="T47" fmla="*/ 51 h 433"/>
                <a:gd name="T48" fmla="*/ 912 w 995"/>
                <a:gd name="T49" fmla="*/ 21 h 433"/>
                <a:gd name="T50" fmla="*/ 800 w 995"/>
                <a:gd name="T51" fmla="*/ 24 h 433"/>
                <a:gd name="T52" fmla="*/ 331 w 995"/>
                <a:gd name="T53" fmla="*/ 109 h 433"/>
                <a:gd name="T54" fmla="*/ 264 w 995"/>
                <a:gd name="T55" fmla="*/ 157 h 433"/>
                <a:gd name="T56" fmla="*/ 224 w 995"/>
                <a:gd name="T57" fmla="*/ 192 h 433"/>
                <a:gd name="T58" fmla="*/ 192 w 995"/>
                <a:gd name="T59" fmla="*/ 211 h 433"/>
                <a:gd name="T60" fmla="*/ 176 w 995"/>
                <a:gd name="T61" fmla="*/ 216 h 433"/>
                <a:gd name="T62" fmla="*/ 149 w 995"/>
                <a:gd name="T63" fmla="*/ 232 h 433"/>
                <a:gd name="T64" fmla="*/ 136 w 995"/>
                <a:gd name="T65" fmla="*/ 256 h 433"/>
                <a:gd name="T66" fmla="*/ 99 w 995"/>
                <a:gd name="T67" fmla="*/ 283 h 433"/>
                <a:gd name="T68" fmla="*/ 64 w 995"/>
                <a:gd name="T69" fmla="*/ 299 h 433"/>
                <a:gd name="T70" fmla="*/ 29 w 995"/>
                <a:gd name="T71" fmla="*/ 326 h 433"/>
                <a:gd name="T72" fmla="*/ 11 w 995"/>
                <a:gd name="T73" fmla="*/ 350 h 433"/>
                <a:gd name="T74" fmla="*/ 72 w 995"/>
                <a:gd name="T75" fmla="*/ 379 h 433"/>
                <a:gd name="T76" fmla="*/ 187 w 995"/>
                <a:gd name="T77" fmla="*/ 342 h 433"/>
                <a:gd name="T78" fmla="*/ 219 w 995"/>
                <a:gd name="T79" fmla="*/ 326 h 433"/>
                <a:gd name="T80" fmla="*/ 371 w 995"/>
                <a:gd name="T81" fmla="*/ 310 h 433"/>
                <a:gd name="T82" fmla="*/ 387 w 995"/>
                <a:gd name="T83" fmla="*/ 312 h 433"/>
                <a:gd name="T84" fmla="*/ 518 w 995"/>
                <a:gd name="T85" fmla="*/ 331 h 433"/>
                <a:gd name="T86" fmla="*/ 688 w 995"/>
                <a:gd name="T87" fmla="*/ 433 h 433"/>
                <a:gd name="T88" fmla="*/ 752 w 995"/>
                <a:gd name="T89" fmla="*/ 395 h 433"/>
                <a:gd name="T90" fmla="*/ 776 w 995"/>
                <a:gd name="T91" fmla="*/ 342 h 433"/>
                <a:gd name="T92" fmla="*/ 800 w 995"/>
                <a:gd name="T93" fmla="*/ 296 h 433"/>
                <a:gd name="T94" fmla="*/ 806 w 995"/>
                <a:gd name="T95" fmla="*/ 307 h 433"/>
                <a:gd name="T96" fmla="*/ 830 w 995"/>
                <a:gd name="T97" fmla="*/ 280 h 433"/>
                <a:gd name="T98" fmla="*/ 886 w 995"/>
                <a:gd name="T99" fmla="*/ 272 h 433"/>
                <a:gd name="T100" fmla="*/ 904 w 995"/>
                <a:gd name="T101" fmla="*/ 248 h 433"/>
                <a:gd name="T102" fmla="*/ 910 w 995"/>
                <a:gd name="T103" fmla="*/ 222 h 433"/>
                <a:gd name="T104" fmla="*/ 896 w 995"/>
                <a:gd name="T105" fmla="*/ 222 h 433"/>
                <a:gd name="T106" fmla="*/ 880 w 995"/>
                <a:gd name="T107" fmla="*/ 238 h 433"/>
                <a:gd name="T108" fmla="*/ 827 w 995"/>
                <a:gd name="T109" fmla="*/ 230 h 433"/>
                <a:gd name="T110" fmla="*/ 878 w 995"/>
                <a:gd name="T111" fmla="*/ 208 h 433"/>
                <a:gd name="T112" fmla="*/ 886 w 995"/>
                <a:gd name="T113" fmla="*/ 198 h 433"/>
                <a:gd name="T114" fmla="*/ 819 w 995"/>
                <a:gd name="T115" fmla="*/ 171 h 433"/>
                <a:gd name="T116" fmla="*/ 867 w 995"/>
                <a:gd name="T117" fmla="*/ 173 h 433"/>
                <a:gd name="T118" fmla="*/ 870 w 995"/>
                <a:gd name="T119" fmla="*/ 165 h 433"/>
                <a:gd name="T120" fmla="*/ 888 w 995"/>
                <a:gd name="T121" fmla="*/ 163 h 433"/>
                <a:gd name="T122" fmla="*/ 907 w 995"/>
                <a:gd name="T123" fmla="*/ 176 h 433"/>
                <a:gd name="T124" fmla="*/ 934 w 995"/>
                <a:gd name="T125" fmla="*/ 155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5" h="433">
                  <a:moveTo>
                    <a:pt x="755" y="417"/>
                  </a:moveTo>
                  <a:lnTo>
                    <a:pt x="755" y="417"/>
                  </a:lnTo>
                  <a:lnTo>
                    <a:pt x="752" y="417"/>
                  </a:lnTo>
                  <a:lnTo>
                    <a:pt x="750" y="417"/>
                  </a:lnTo>
                  <a:lnTo>
                    <a:pt x="750" y="419"/>
                  </a:lnTo>
                  <a:lnTo>
                    <a:pt x="752" y="422"/>
                  </a:lnTo>
                  <a:lnTo>
                    <a:pt x="752" y="422"/>
                  </a:lnTo>
                  <a:lnTo>
                    <a:pt x="755" y="422"/>
                  </a:lnTo>
                  <a:lnTo>
                    <a:pt x="758" y="422"/>
                  </a:lnTo>
                  <a:lnTo>
                    <a:pt x="758" y="422"/>
                  </a:lnTo>
                  <a:lnTo>
                    <a:pt x="758" y="414"/>
                  </a:lnTo>
                  <a:lnTo>
                    <a:pt x="755" y="417"/>
                  </a:lnTo>
                  <a:lnTo>
                    <a:pt x="755" y="417"/>
                  </a:lnTo>
                  <a:close/>
                  <a:moveTo>
                    <a:pt x="763" y="377"/>
                  </a:moveTo>
                  <a:lnTo>
                    <a:pt x="760" y="379"/>
                  </a:lnTo>
                  <a:lnTo>
                    <a:pt x="760" y="385"/>
                  </a:lnTo>
                  <a:lnTo>
                    <a:pt x="760" y="387"/>
                  </a:lnTo>
                  <a:lnTo>
                    <a:pt x="763" y="385"/>
                  </a:lnTo>
                  <a:lnTo>
                    <a:pt x="763" y="382"/>
                  </a:lnTo>
                  <a:lnTo>
                    <a:pt x="763" y="374"/>
                  </a:lnTo>
                  <a:lnTo>
                    <a:pt x="766" y="374"/>
                  </a:lnTo>
                  <a:lnTo>
                    <a:pt x="766" y="374"/>
                  </a:lnTo>
                  <a:lnTo>
                    <a:pt x="766" y="374"/>
                  </a:lnTo>
                  <a:lnTo>
                    <a:pt x="766" y="374"/>
                  </a:lnTo>
                  <a:lnTo>
                    <a:pt x="763" y="377"/>
                  </a:lnTo>
                  <a:close/>
                  <a:moveTo>
                    <a:pt x="806" y="315"/>
                  </a:moveTo>
                  <a:lnTo>
                    <a:pt x="803" y="320"/>
                  </a:lnTo>
                  <a:lnTo>
                    <a:pt x="800" y="320"/>
                  </a:lnTo>
                  <a:lnTo>
                    <a:pt x="798" y="320"/>
                  </a:lnTo>
                  <a:lnTo>
                    <a:pt x="784" y="334"/>
                  </a:lnTo>
                  <a:lnTo>
                    <a:pt x="782" y="339"/>
                  </a:lnTo>
                  <a:lnTo>
                    <a:pt x="782" y="344"/>
                  </a:lnTo>
                  <a:lnTo>
                    <a:pt x="782" y="342"/>
                  </a:lnTo>
                  <a:lnTo>
                    <a:pt x="792" y="328"/>
                  </a:lnTo>
                  <a:lnTo>
                    <a:pt x="792" y="328"/>
                  </a:lnTo>
                  <a:lnTo>
                    <a:pt x="798" y="326"/>
                  </a:lnTo>
                  <a:lnTo>
                    <a:pt x="806" y="318"/>
                  </a:lnTo>
                  <a:lnTo>
                    <a:pt x="808" y="315"/>
                  </a:lnTo>
                  <a:lnTo>
                    <a:pt x="808" y="315"/>
                  </a:lnTo>
                  <a:lnTo>
                    <a:pt x="808" y="315"/>
                  </a:lnTo>
                  <a:lnTo>
                    <a:pt x="808" y="315"/>
                  </a:lnTo>
                  <a:lnTo>
                    <a:pt x="808" y="315"/>
                  </a:lnTo>
                  <a:lnTo>
                    <a:pt x="806" y="315"/>
                  </a:lnTo>
                  <a:close/>
                  <a:moveTo>
                    <a:pt x="894" y="278"/>
                  </a:moveTo>
                  <a:lnTo>
                    <a:pt x="894" y="275"/>
                  </a:lnTo>
                  <a:lnTo>
                    <a:pt x="886" y="275"/>
                  </a:lnTo>
                  <a:lnTo>
                    <a:pt x="883" y="275"/>
                  </a:lnTo>
                  <a:lnTo>
                    <a:pt x="883" y="278"/>
                  </a:lnTo>
                  <a:lnTo>
                    <a:pt x="883" y="278"/>
                  </a:lnTo>
                  <a:lnTo>
                    <a:pt x="891" y="278"/>
                  </a:lnTo>
                  <a:lnTo>
                    <a:pt x="896" y="280"/>
                  </a:lnTo>
                  <a:lnTo>
                    <a:pt x="896" y="280"/>
                  </a:lnTo>
                  <a:lnTo>
                    <a:pt x="896" y="280"/>
                  </a:lnTo>
                  <a:lnTo>
                    <a:pt x="896" y="278"/>
                  </a:lnTo>
                  <a:lnTo>
                    <a:pt x="894" y="278"/>
                  </a:lnTo>
                  <a:close/>
                  <a:moveTo>
                    <a:pt x="872" y="275"/>
                  </a:moveTo>
                  <a:lnTo>
                    <a:pt x="854" y="280"/>
                  </a:lnTo>
                  <a:lnTo>
                    <a:pt x="838" y="288"/>
                  </a:lnTo>
                  <a:lnTo>
                    <a:pt x="835" y="288"/>
                  </a:lnTo>
                  <a:lnTo>
                    <a:pt x="832" y="291"/>
                  </a:lnTo>
                  <a:lnTo>
                    <a:pt x="862" y="278"/>
                  </a:lnTo>
                  <a:lnTo>
                    <a:pt x="864" y="278"/>
                  </a:lnTo>
                  <a:lnTo>
                    <a:pt x="880" y="275"/>
                  </a:lnTo>
                  <a:lnTo>
                    <a:pt x="878" y="275"/>
                  </a:lnTo>
                  <a:lnTo>
                    <a:pt x="872" y="275"/>
                  </a:lnTo>
                  <a:close/>
                  <a:moveTo>
                    <a:pt x="923" y="232"/>
                  </a:moveTo>
                  <a:lnTo>
                    <a:pt x="920" y="235"/>
                  </a:lnTo>
                  <a:lnTo>
                    <a:pt x="920" y="235"/>
                  </a:lnTo>
                  <a:lnTo>
                    <a:pt x="920" y="235"/>
                  </a:lnTo>
                  <a:lnTo>
                    <a:pt x="915" y="240"/>
                  </a:lnTo>
                  <a:lnTo>
                    <a:pt x="907" y="256"/>
                  </a:lnTo>
                  <a:lnTo>
                    <a:pt x="899" y="280"/>
                  </a:lnTo>
                  <a:lnTo>
                    <a:pt x="899" y="283"/>
                  </a:lnTo>
                  <a:lnTo>
                    <a:pt x="899" y="286"/>
                  </a:lnTo>
                  <a:lnTo>
                    <a:pt x="899" y="283"/>
                  </a:lnTo>
                  <a:lnTo>
                    <a:pt x="910" y="256"/>
                  </a:lnTo>
                  <a:lnTo>
                    <a:pt x="912" y="248"/>
                  </a:lnTo>
                  <a:lnTo>
                    <a:pt x="915" y="246"/>
                  </a:lnTo>
                  <a:lnTo>
                    <a:pt x="918" y="243"/>
                  </a:lnTo>
                  <a:lnTo>
                    <a:pt x="923" y="238"/>
                  </a:lnTo>
                  <a:lnTo>
                    <a:pt x="926" y="235"/>
                  </a:lnTo>
                  <a:lnTo>
                    <a:pt x="926" y="230"/>
                  </a:lnTo>
                  <a:lnTo>
                    <a:pt x="926" y="230"/>
                  </a:lnTo>
                  <a:lnTo>
                    <a:pt x="923" y="232"/>
                  </a:lnTo>
                  <a:close/>
                  <a:moveTo>
                    <a:pt x="937" y="208"/>
                  </a:moveTo>
                  <a:lnTo>
                    <a:pt x="937" y="208"/>
                  </a:lnTo>
                  <a:lnTo>
                    <a:pt x="937" y="211"/>
                  </a:lnTo>
                  <a:lnTo>
                    <a:pt x="937" y="211"/>
                  </a:lnTo>
                  <a:lnTo>
                    <a:pt x="934" y="214"/>
                  </a:lnTo>
                  <a:lnTo>
                    <a:pt x="934" y="214"/>
                  </a:lnTo>
                  <a:lnTo>
                    <a:pt x="934" y="216"/>
                  </a:lnTo>
                  <a:lnTo>
                    <a:pt x="931" y="219"/>
                  </a:lnTo>
                  <a:lnTo>
                    <a:pt x="931" y="222"/>
                  </a:lnTo>
                  <a:lnTo>
                    <a:pt x="931" y="222"/>
                  </a:lnTo>
                  <a:lnTo>
                    <a:pt x="934" y="219"/>
                  </a:lnTo>
                  <a:lnTo>
                    <a:pt x="939" y="211"/>
                  </a:lnTo>
                  <a:lnTo>
                    <a:pt x="939" y="211"/>
                  </a:lnTo>
                  <a:lnTo>
                    <a:pt x="942" y="211"/>
                  </a:lnTo>
                  <a:lnTo>
                    <a:pt x="942" y="211"/>
                  </a:lnTo>
                  <a:lnTo>
                    <a:pt x="942" y="208"/>
                  </a:lnTo>
                  <a:lnTo>
                    <a:pt x="939" y="208"/>
                  </a:lnTo>
                  <a:lnTo>
                    <a:pt x="937" y="208"/>
                  </a:lnTo>
                  <a:close/>
                  <a:moveTo>
                    <a:pt x="955" y="192"/>
                  </a:moveTo>
                  <a:lnTo>
                    <a:pt x="950" y="198"/>
                  </a:lnTo>
                  <a:lnTo>
                    <a:pt x="947" y="200"/>
                  </a:lnTo>
                  <a:lnTo>
                    <a:pt x="945" y="200"/>
                  </a:lnTo>
                  <a:lnTo>
                    <a:pt x="945" y="203"/>
                  </a:lnTo>
                  <a:lnTo>
                    <a:pt x="945" y="206"/>
                  </a:lnTo>
                  <a:lnTo>
                    <a:pt x="942" y="208"/>
                  </a:lnTo>
                  <a:lnTo>
                    <a:pt x="953" y="195"/>
                  </a:lnTo>
                  <a:lnTo>
                    <a:pt x="963" y="189"/>
                  </a:lnTo>
                  <a:lnTo>
                    <a:pt x="966" y="187"/>
                  </a:lnTo>
                  <a:lnTo>
                    <a:pt x="966" y="187"/>
                  </a:lnTo>
                  <a:lnTo>
                    <a:pt x="966" y="184"/>
                  </a:lnTo>
                  <a:lnTo>
                    <a:pt x="969" y="184"/>
                  </a:lnTo>
                  <a:lnTo>
                    <a:pt x="963" y="187"/>
                  </a:lnTo>
                  <a:lnTo>
                    <a:pt x="955" y="192"/>
                  </a:lnTo>
                  <a:close/>
                  <a:moveTo>
                    <a:pt x="993" y="133"/>
                  </a:moveTo>
                  <a:lnTo>
                    <a:pt x="993" y="123"/>
                  </a:lnTo>
                  <a:lnTo>
                    <a:pt x="990" y="117"/>
                  </a:lnTo>
                  <a:lnTo>
                    <a:pt x="987" y="112"/>
                  </a:lnTo>
                  <a:lnTo>
                    <a:pt x="985" y="109"/>
                  </a:lnTo>
                  <a:lnTo>
                    <a:pt x="985" y="107"/>
                  </a:lnTo>
                  <a:lnTo>
                    <a:pt x="982" y="101"/>
                  </a:lnTo>
                  <a:lnTo>
                    <a:pt x="979" y="99"/>
                  </a:lnTo>
                  <a:lnTo>
                    <a:pt x="977" y="99"/>
                  </a:lnTo>
                  <a:lnTo>
                    <a:pt x="977" y="99"/>
                  </a:lnTo>
                  <a:lnTo>
                    <a:pt x="979" y="101"/>
                  </a:lnTo>
                  <a:lnTo>
                    <a:pt x="982" y="104"/>
                  </a:lnTo>
                  <a:lnTo>
                    <a:pt x="982" y="107"/>
                  </a:lnTo>
                  <a:lnTo>
                    <a:pt x="987" y="117"/>
                  </a:lnTo>
                  <a:lnTo>
                    <a:pt x="990" y="123"/>
                  </a:lnTo>
                  <a:lnTo>
                    <a:pt x="990" y="125"/>
                  </a:lnTo>
                  <a:lnTo>
                    <a:pt x="990" y="128"/>
                  </a:lnTo>
                  <a:lnTo>
                    <a:pt x="990" y="131"/>
                  </a:lnTo>
                  <a:lnTo>
                    <a:pt x="990" y="133"/>
                  </a:lnTo>
                  <a:lnTo>
                    <a:pt x="990" y="133"/>
                  </a:lnTo>
                  <a:lnTo>
                    <a:pt x="990" y="136"/>
                  </a:lnTo>
                  <a:lnTo>
                    <a:pt x="990" y="139"/>
                  </a:lnTo>
                  <a:lnTo>
                    <a:pt x="993" y="141"/>
                  </a:lnTo>
                  <a:lnTo>
                    <a:pt x="993" y="147"/>
                  </a:lnTo>
                  <a:lnTo>
                    <a:pt x="993" y="152"/>
                  </a:lnTo>
                  <a:lnTo>
                    <a:pt x="993" y="160"/>
                  </a:lnTo>
                  <a:lnTo>
                    <a:pt x="993" y="160"/>
                  </a:lnTo>
                  <a:lnTo>
                    <a:pt x="993" y="165"/>
                  </a:lnTo>
                  <a:lnTo>
                    <a:pt x="990" y="168"/>
                  </a:lnTo>
                  <a:lnTo>
                    <a:pt x="985" y="173"/>
                  </a:lnTo>
                  <a:lnTo>
                    <a:pt x="977" y="179"/>
                  </a:lnTo>
                  <a:lnTo>
                    <a:pt x="977" y="179"/>
                  </a:lnTo>
                  <a:lnTo>
                    <a:pt x="977" y="179"/>
                  </a:lnTo>
                  <a:lnTo>
                    <a:pt x="977" y="176"/>
                  </a:lnTo>
                  <a:lnTo>
                    <a:pt x="977" y="176"/>
                  </a:lnTo>
                  <a:lnTo>
                    <a:pt x="977" y="176"/>
                  </a:lnTo>
                  <a:lnTo>
                    <a:pt x="974" y="179"/>
                  </a:lnTo>
                  <a:lnTo>
                    <a:pt x="977" y="179"/>
                  </a:lnTo>
                  <a:lnTo>
                    <a:pt x="974" y="179"/>
                  </a:lnTo>
                  <a:lnTo>
                    <a:pt x="974" y="179"/>
                  </a:lnTo>
                  <a:lnTo>
                    <a:pt x="974" y="181"/>
                  </a:lnTo>
                  <a:lnTo>
                    <a:pt x="974" y="181"/>
                  </a:lnTo>
                  <a:lnTo>
                    <a:pt x="974" y="181"/>
                  </a:lnTo>
                  <a:lnTo>
                    <a:pt x="971" y="181"/>
                  </a:lnTo>
                  <a:lnTo>
                    <a:pt x="971" y="184"/>
                  </a:lnTo>
                  <a:lnTo>
                    <a:pt x="971" y="184"/>
                  </a:lnTo>
                  <a:lnTo>
                    <a:pt x="974" y="184"/>
                  </a:lnTo>
                  <a:lnTo>
                    <a:pt x="974" y="184"/>
                  </a:lnTo>
                  <a:lnTo>
                    <a:pt x="974" y="181"/>
                  </a:lnTo>
                  <a:lnTo>
                    <a:pt x="977" y="181"/>
                  </a:lnTo>
                  <a:lnTo>
                    <a:pt x="977" y="181"/>
                  </a:lnTo>
                  <a:lnTo>
                    <a:pt x="982" y="179"/>
                  </a:lnTo>
                  <a:lnTo>
                    <a:pt x="985" y="176"/>
                  </a:lnTo>
                  <a:lnTo>
                    <a:pt x="987" y="173"/>
                  </a:lnTo>
                  <a:lnTo>
                    <a:pt x="990" y="173"/>
                  </a:lnTo>
                  <a:lnTo>
                    <a:pt x="993" y="173"/>
                  </a:lnTo>
                  <a:lnTo>
                    <a:pt x="993" y="171"/>
                  </a:lnTo>
                  <a:lnTo>
                    <a:pt x="995" y="168"/>
                  </a:lnTo>
                  <a:lnTo>
                    <a:pt x="995" y="157"/>
                  </a:lnTo>
                  <a:lnTo>
                    <a:pt x="993" y="133"/>
                  </a:lnTo>
                  <a:close/>
                  <a:moveTo>
                    <a:pt x="961" y="85"/>
                  </a:moveTo>
                  <a:lnTo>
                    <a:pt x="958" y="83"/>
                  </a:lnTo>
                  <a:lnTo>
                    <a:pt x="958" y="83"/>
                  </a:lnTo>
                  <a:lnTo>
                    <a:pt x="955" y="80"/>
                  </a:lnTo>
                  <a:lnTo>
                    <a:pt x="955" y="80"/>
                  </a:lnTo>
                  <a:lnTo>
                    <a:pt x="955" y="80"/>
                  </a:lnTo>
                  <a:lnTo>
                    <a:pt x="953" y="80"/>
                  </a:lnTo>
                  <a:lnTo>
                    <a:pt x="953" y="80"/>
                  </a:lnTo>
                  <a:lnTo>
                    <a:pt x="950" y="80"/>
                  </a:lnTo>
                  <a:lnTo>
                    <a:pt x="950" y="80"/>
                  </a:lnTo>
                  <a:lnTo>
                    <a:pt x="950" y="83"/>
                  </a:lnTo>
                  <a:lnTo>
                    <a:pt x="950" y="83"/>
                  </a:lnTo>
                  <a:lnTo>
                    <a:pt x="950" y="83"/>
                  </a:lnTo>
                  <a:lnTo>
                    <a:pt x="953" y="83"/>
                  </a:lnTo>
                  <a:lnTo>
                    <a:pt x="953" y="85"/>
                  </a:lnTo>
                  <a:lnTo>
                    <a:pt x="955" y="88"/>
                  </a:lnTo>
                  <a:lnTo>
                    <a:pt x="958" y="88"/>
                  </a:lnTo>
                  <a:lnTo>
                    <a:pt x="958" y="91"/>
                  </a:lnTo>
                  <a:lnTo>
                    <a:pt x="961" y="93"/>
                  </a:lnTo>
                  <a:lnTo>
                    <a:pt x="963" y="93"/>
                  </a:lnTo>
                  <a:lnTo>
                    <a:pt x="963" y="93"/>
                  </a:lnTo>
                  <a:lnTo>
                    <a:pt x="963" y="93"/>
                  </a:lnTo>
                  <a:lnTo>
                    <a:pt x="963" y="91"/>
                  </a:lnTo>
                  <a:lnTo>
                    <a:pt x="966" y="88"/>
                  </a:lnTo>
                  <a:lnTo>
                    <a:pt x="961" y="85"/>
                  </a:lnTo>
                  <a:close/>
                  <a:moveTo>
                    <a:pt x="971" y="93"/>
                  </a:moveTo>
                  <a:lnTo>
                    <a:pt x="971" y="96"/>
                  </a:lnTo>
                  <a:lnTo>
                    <a:pt x="974" y="96"/>
                  </a:lnTo>
                  <a:lnTo>
                    <a:pt x="977" y="96"/>
                  </a:lnTo>
                  <a:lnTo>
                    <a:pt x="977" y="96"/>
                  </a:lnTo>
                  <a:lnTo>
                    <a:pt x="971" y="88"/>
                  </a:lnTo>
                  <a:lnTo>
                    <a:pt x="969" y="83"/>
                  </a:lnTo>
                  <a:lnTo>
                    <a:pt x="945" y="56"/>
                  </a:lnTo>
                  <a:lnTo>
                    <a:pt x="937" y="43"/>
                  </a:lnTo>
                  <a:lnTo>
                    <a:pt x="931" y="35"/>
                  </a:lnTo>
                  <a:lnTo>
                    <a:pt x="931" y="35"/>
                  </a:lnTo>
                  <a:lnTo>
                    <a:pt x="931" y="29"/>
                  </a:lnTo>
                  <a:lnTo>
                    <a:pt x="928" y="27"/>
                  </a:lnTo>
                  <a:lnTo>
                    <a:pt x="926" y="24"/>
                  </a:lnTo>
                  <a:lnTo>
                    <a:pt x="918" y="0"/>
                  </a:lnTo>
                  <a:lnTo>
                    <a:pt x="918" y="0"/>
                  </a:lnTo>
                  <a:lnTo>
                    <a:pt x="915" y="2"/>
                  </a:lnTo>
                  <a:lnTo>
                    <a:pt x="915" y="2"/>
                  </a:lnTo>
                  <a:lnTo>
                    <a:pt x="915" y="2"/>
                  </a:lnTo>
                  <a:lnTo>
                    <a:pt x="915" y="2"/>
                  </a:lnTo>
                  <a:lnTo>
                    <a:pt x="918" y="8"/>
                  </a:lnTo>
                  <a:lnTo>
                    <a:pt x="918" y="10"/>
                  </a:lnTo>
                  <a:lnTo>
                    <a:pt x="920" y="13"/>
                  </a:lnTo>
                  <a:lnTo>
                    <a:pt x="920" y="16"/>
                  </a:lnTo>
                  <a:lnTo>
                    <a:pt x="923" y="19"/>
                  </a:lnTo>
                  <a:lnTo>
                    <a:pt x="926" y="21"/>
                  </a:lnTo>
                  <a:lnTo>
                    <a:pt x="928" y="29"/>
                  </a:lnTo>
                  <a:lnTo>
                    <a:pt x="928" y="35"/>
                  </a:lnTo>
                  <a:lnTo>
                    <a:pt x="928" y="35"/>
                  </a:lnTo>
                  <a:lnTo>
                    <a:pt x="928" y="35"/>
                  </a:lnTo>
                  <a:lnTo>
                    <a:pt x="928" y="35"/>
                  </a:lnTo>
                  <a:lnTo>
                    <a:pt x="928" y="35"/>
                  </a:lnTo>
                  <a:lnTo>
                    <a:pt x="931" y="37"/>
                  </a:lnTo>
                  <a:lnTo>
                    <a:pt x="937" y="43"/>
                  </a:lnTo>
                  <a:lnTo>
                    <a:pt x="937" y="45"/>
                  </a:lnTo>
                  <a:lnTo>
                    <a:pt x="939" y="51"/>
                  </a:lnTo>
                  <a:lnTo>
                    <a:pt x="942" y="53"/>
                  </a:lnTo>
                  <a:lnTo>
                    <a:pt x="942" y="59"/>
                  </a:lnTo>
                  <a:lnTo>
                    <a:pt x="942" y="59"/>
                  </a:lnTo>
                  <a:lnTo>
                    <a:pt x="945" y="61"/>
                  </a:lnTo>
                  <a:lnTo>
                    <a:pt x="945" y="64"/>
                  </a:lnTo>
                  <a:lnTo>
                    <a:pt x="947" y="64"/>
                  </a:lnTo>
                  <a:lnTo>
                    <a:pt x="947" y="67"/>
                  </a:lnTo>
                  <a:lnTo>
                    <a:pt x="950" y="64"/>
                  </a:lnTo>
                  <a:lnTo>
                    <a:pt x="950" y="64"/>
                  </a:lnTo>
                  <a:lnTo>
                    <a:pt x="953" y="67"/>
                  </a:lnTo>
                  <a:lnTo>
                    <a:pt x="953" y="69"/>
                  </a:lnTo>
                  <a:lnTo>
                    <a:pt x="950" y="69"/>
                  </a:lnTo>
                  <a:lnTo>
                    <a:pt x="950" y="69"/>
                  </a:lnTo>
                  <a:lnTo>
                    <a:pt x="947" y="69"/>
                  </a:lnTo>
                  <a:lnTo>
                    <a:pt x="947" y="72"/>
                  </a:lnTo>
                  <a:lnTo>
                    <a:pt x="950" y="72"/>
                  </a:lnTo>
                  <a:lnTo>
                    <a:pt x="953" y="72"/>
                  </a:lnTo>
                  <a:lnTo>
                    <a:pt x="953" y="72"/>
                  </a:lnTo>
                  <a:lnTo>
                    <a:pt x="953" y="72"/>
                  </a:lnTo>
                  <a:lnTo>
                    <a:pt x="963" y="80"/>
                  </a:lnTo>
                  <a:lnTo>
                    <a:pt x="966" y="83"/>
                  </a:lnTo>
                  <a:lnTo>
                    <a:pt x="969" y="88"/>
                  </a:lnTo>
                  <a:lnTo>
                    <a:pt x="969" y="91"/>
                  </a:lnTo>
                  <a:lnTo>
                    <a:pt x="971" y="91"/>
                  </a:lnTo>
                  <a:lnTo>
                    <a:pt x="971" y="93"/>
                  </a:lnTo>
                  <a:lnTo>
                    <a:pt x="971" y="93"/>
                  </a:lnTo>
                  <a:close/>
                  <a:moveTo>
                    <a:pt x="904" y="8"/>
                  </a:moveTo>
                  <a:lnTo>
                    <a:pt x="904" y="8"/>
                  </a:lnTo>
                  <a:lnTo>
                    <a:pt x="904" y="10"/>
                  </a:lnTo>
                  <a:lnTo>
                    <a:pt x="907" y="10"/>
                  </a:lnTo>
                  <a:lnTo>
                    <a:pt x="912" y="10"/>
                  </a:lnTo>
                  <a:lnTo>
                    <a:pt x="912" y="10"/>
                  </a:lnTo>
                  <a:lnTo>
                    <a:pt x="912" y="8"/>
                  </a:lnTo>
                  <a:lnTo>
                    <a:pt x="912" y="8"/>
                  </a:lnTo>
                  <a:lnTo>
                    <a:pt x="912" y="5"/>
                  </a:lnTo>
                  <a:lnTo>
                    <a:pt x="910" y="2"/>
                  </a:lnTo>
                  <a:lnTo>
                    <a:pt x="910" y="2"/>
                  </a:lnTo>
                  <a:lnTo>
                    <a:pt x="910" y="2"/>
                  </a:lnTo>
                  <a:lnTo>
                    <a:pt x="907" y="2"/>
                  </a:lnTo>
                  <a:lnTo>
                    <a:pt x="907" y="5"/>
                  </a:lnTo>
                  <a:lnTo>
                    <a:pt x="904" y="5"/>
                  </a:lnTo>
                  <a:lnTo>
                    <a:pt x="904" y="2"/>
                  </a:lnTo>
                  <a:lnTo>
                    <a:pt x="899" y="5"/>
                  </a:lnTo>
                  <a:lnTo>
                    <a:pt x="899" y="5"/>
                  </a:lnTo>
                  <a:lnTo>
                    <a:pt x="904" y="8"/>
                  </a:lnTo>
                  <a:close/>
                  <a:moveTo>
                    <a:pt x="942" y="131"/>
                  </a:moveTo>
                  <a:lnTo>
                    <a:pt x="945" y="131"/>
                  </a:lnTo>
                  <a:lnTo>
                    <a:pt x="947" y="133"/>
                  </a:lnTo>
                  <a:lnTo>
                    <a:pt x="950" y="131"/>
                  </a:lnTo>
                  <a:lnTo>
                    <a:pt x="950" y="131"/>
                  </a:lnTo>
                  <a:lnTo>
                    <a:pt x="950" y="131"/>
                  </a:lnTo>
                  <a:lnTo>
                    <a:pt x="950" y="131"/>
                  </a:lnTo>
                  <a:lnTo>
                    <a:pt x="950" y="133"/>
                  </a:lnTo>
                  <a:lnTo>
                    <a:pt x="950" y="133"/>
                  </a:lnTo>
                  <a:lnTo>
                    <a:pt x="947" y="133"/>
                  </a:lnTo>
                  <a:lnTo>
                    <a:pt x="947" y="136"/>
                  </a:lnTo>
                  <a:lnTo>
                    <a:pt x="953" y="133"/>
                  </a:lnTo>
                  <a:lnTo>
                    <a:pt x="953" y="133"/>
                  </a:lnTo>
                  <a:lnTo>
                    <a:pt x="955" y="133"/>
                  </a:lnTo>
                  <a:lnTo>
                    <a:pt x="955" y="131"/>
                  </a:lnTo>
                  <a:lnTo>
                    <a:pt x="953" y="131"/>
                  </a:lnTo>
                  <a:lnTo>
                    <a:pt x="953" y="128"/>
                  </a:lnTo>
                  <a:lnTo>
                    <a:pt x="955" y="128"/>
                  </a:lnTo>
                  <a:lnTo>
                    <a:pt x="955" y="128"/>
                  </a:lnTo>
                  <a:lnTo>
                    <a:pt x="955" y="128"/>
                  </a:lnTo>
                  <a:lnTo>
                    <a:pt x="955" y="128"/>
                  </a:lnTo>
                  <a:lnTo>
                    <a:pt x="958" y="123"/>
                  </a:lnTo>
                  <a:lnTo>
                    <a:pt x="958" y="123"/>
                  </a:lnTo>
                  <a:lnTo>
                    <a:pt x="953" y="120"/>
                  </a:lnTo>
                  <a:lnTo>
                    <a:pt x="953" y="117"/>
                  </a:lnTo>
                  <a:lnTo>
                    <a:pt x="953" y="115"/>
                  </a:lnTo>
                  <a:lnTo>
                    <a:pt x="955" y="115"/>
                  </a:lnTo>
                  <a:lnTo>
                    <a:pt x="958" y="115"/>
                  </a:lnTo>
                  <a:lnTo>
                    <a:pt x="958" y="112"/>
                  </a:lnTo>
                  <a:lnTo>
                    <a:pt x="958" y="109"/>
                  </a:lnTo>
                  <a:lnTo>
                    <a:pt x="955" y="109"/>
                  </a:lnTo>
                  <a:lnTo>
                    <a:pt x="953" y="107"/>
                  </a:lnTo>
                  <a:lnTo>
                    <a:pt x="953" y="104"/>
                  </a:lnTo>
                  <a:lnTo>
                    <a:pt x="953" y="104"/>
                  </a:lnTo>
                  <a:lnTo>
                    <a:pt x="953" y="101"/>
                  </a:lnTo>
                  <a:lnTo>
                    <a:pt x="955" y="99"/>
                  </a:lnTo>
                  <a:lnTo>
                    <a:pt x="953" y="96"/>
                  </a:lnTo>
                  <a:lnTo>
                    <a:pt x="953" y="96"/>
                  </a:lnTo>
                  <a:lnTo>
                    <a:pt x="950" y="93"/>
                  </a:lnTo>
                  <a:lnTo>
                    <a:pt x="950" y="91"/>
                  </a:lnTo>
                  <a:lnTo>
                    <a:pt x="942" y="83"/>
                  </a:lnTo>
                  <a:lnTo>
                    <a:pt x="939" y="80"/>
                  </a:lnTo>
                  <a:lnTo>
                    <a:pt x="934" y="80"/>
                  </a:lnTo>
                  <a:lnTo>
                    <a:pt x="934" y="80"/>
                  </a:lnTo>
                  <a:lnTo>
                    <a:pt x="934" y="83"/>
                  </a:lnTo>
                  <a:lnTo>
                    <a:pt x="934" y="83"/>
                  </a:lnTo>
                  <a:lnTo>
                    <a:pt x="934" y="85"/>
                  </a:lnTo>
                  <a:lnTo>
                    <a:pt x="934" y="83"/>
                  </a:lnTo>
                  <a:lnTo>
                    <a:pt x="937" y="83"/>
                  </a:lnTo>
                  <a:lnTo>
                    <a:pt x="937" y="85"/>
                  </a:lnTo>
                  <a:lnTo>
                    <a:pt x="939" y="85"/>
                  </a:lnTo>
                  <a:lnTo>
                    <a:pt x="937" y="85"/>
                  </a:lnTo>
                  <a:lnTo>
                    <a:pt x="934" y="85"/>
                  </a:lnTo>
                  <a:lnTo>
                    <a:pt x="931" y="85"/>
                  </a:lnTo>
                  <a:lnTo>
                    <a:pt x="928" y="85"/>
                  </a:lnTo>
                  <a:lnTo>
                    <a:pt x="931" y="88"/>
                  </a:lnTo>
                  <a:lnTo>
                    <a:pt x="931" y="88"/>
                  </a:lnTo>
                  <a:lnTo>
                    <a:pt x="934" y="91"/>
                  </a:lnTo>
                  <a:lnTo>
                    <a:pt x="937" y="91"/>
                  </a:lnTo>
                  <a:lnTo>
                    <a:pt x="937" y="91"/>
                  </a:lnTo>
                  <a:lnTo>
                    <a:pt x="937" y="93"/>
                  </a:lnTo>
                  <a:lnTo>
                    <a:pt x="937" y="93"/>
                  </a:lnTo>
                  <a:lnTo>
                    <a:pt x="934" y="93"/>
                  </a:lnTo>
                  <a:lnTo>
                    <a:pt x="931" y="93"/>
                  </a:lnTo>
                  <a:lnTo>
                    <a:pt x="928" y="91"/>
                  </a:lnTo>
                  <a:lnTo>
                    <a:pt x="926" y="88"/>
                  </a:lnTo>
                  <a:lnTo>
                    <a:pt x="926" y="88"/>
                  </a:lnTo>
                  <a:lnTo>
                    <a:pt x="926" y="91"/>
                  </a:lnTo>
                  <a:lnTo>
                    <a:pt x="923" y="93"/>
                  </a:lnTo>
                  <a:lnTo>
                    <a:pt x="920" y="96"/>
                  </a:lnTo>
                  <a:lnTo>
                    <a:pt x="926" y="112"/>
                  </a:lnTo>
                  <a:lnTo>
                    <a:pt x="926" y="117"/>
                  </a:lnTo>
                  <a:lnTo>
                    <a:pt x="923" y="128"/>
                  </a:lnTo>
                  <a:lnTo>
                    <a:pt x="923" y="128"/>
                  </a:lnTo>
                  <a:lnTo>
                    <a:pt x="923" y="128"/>
                  </a:lnTo>
                  <a:lnTo>
                    <a:pt x="923" y="128"/>
                  </a:lnTo>
                  <a:lnTo>
                    <a:pt x="923" y="125"/>
                  </a:lnTo>
                  <a:lnTo>
                    <a:pt x="923" y="125"/>
                  </a:lnTo>
                  <a:lnTo>
                    <a:pt x="918" y="128"/>
                  </a:lnTo>
                  <a:lnTo>
                    <a:pt x="915" y="128"/>
                  </a:lnTo>
                  <a:lnTo>
                    <a:pt x="912" y="128"/>
                  </a:lnTo>
                  <a:lnTo>
                    <a:pt x="910" y="125"/>
                  </a:lnTo>
                  <a:lnTo>
                    <a:pt x="912" y="123"/>
                  </a:lnTo>
                  <a:lnTo>
                    <a:pt x="918" y="125"/>
                  </a:lnTo>
                  <a:lnTo>
                    <a:pt x="920" y="125"/>
                  </a:lnTo>
                  <a:lnTo>
                    <a:pt x="923" y="123"/>
                  </a:lnTo>
                  <a:lnTo>
                    <a:pt x="920" y="123"/>
                  </a:lnTo>
                  <a:lnTo>
                    <a:pt x="920" y="120"/>
                  </a:lnTo>
                  <a:lnTo>
                    <a:pt x="918" y="120"/>
                  </a:lnTo>
                  <a:lnTo>
                    <a:pt x="920" y="117"/>
                  </a:lnTo>
                  <a:lnTo>
                    <a:pt x="920" y="117"/>
                  </a:lnTo>
                  <a:lnTo>
                    <a:pt x="920" y="115"/>
                  </a:lnTo>
                  <a:lnTo>
                    <a:pt x="918" y="115"/>
                  </a:lnTo>
                  <a:lnTo>
                    <a:pt x="918" y="112"/>
                  </a:lnTo>
                  <a:lnTo>
                    <a:pt x="918" y="112"/>
                  </a:lnTo>
                  <a:lnTo>
                    <a:pt x="915" y="112"/>
                  </a:lnTo>
                  <a:lnTo>
                    <a:pt x="915" y="112"/>
                  </a:lnTo>
                  <a:lnTo>
                    <a:pt x="912" y="112"/>
                  </a:lnTo>
                  <a:lnTo>
                    <a:pt x="910" y="112"/>
                  </a:lnTo>
                  <a:lnTo>
                    <a:pt x="910" y="112"/>
                  </a:lnTo>
                  <a:lnTo>
                    <a:pt x="910" y="109"/>
                  </a:lnTo>
                  <a:lnTo>
                    <a:pt x="915" y="112"/>
                  </a:lnTo>
                  <a:lnTo>
                    <a:pt x="918" y="109"/>
                  </a:lnTo>
                  <a:lnTo>
                    <a:pt x="918" y="107"/>
                  </a:lnTo>
                  <a:lnTo>
                    <a:pt x="915" y="101"/>
                  </a:lnTo>
                  <a:lnTo>
                    <a:pt x="912" y="101"/>
                  </a:lnTo>
                  <a:lnTo>
                    <a:pt x="912" y="99"/>
                  </a:lnTo>
                  <a:lnTo>
                    <a:pt x="915" y="99"/>
                  </a:lnTo>
                  <a:lnTo>
                    <a:pt x="915" y="96"/>
                  </a:lnTo>
                  <a:lnTo>
                    <a:pt x="915" y="93"/>
                  </a:lnTo>
                  <a:lnTo>
                    <a:pt x="918" y="91"/>
                  </a:lnTo>
                  <a:lnTo>
                    <a:pt x="915" y="91"/>
                  </a:lnTo>
                  <a:lnTo>
                    <a:pt x="912" y="93"/>
                  </a:lnTo>
                  <a:lnTo>
                    <a:pt x="912" y="88"/>
                  </a:lnTo>
                  <a:lnTo>
                    <a:pt x="912" y="85"/>
                  </a:lnTo>
                  <a:lnTo>
                    <a:pt x="915" y="88"/>
                  </a:lnTo>
                  <a:lnTo>
                    <a:pt x="915" y="85"/>
                  </a:lnTo>
                  <a:lnTo>
                    <a:pt x="912" y="83"/>
                  </a:lnTo>
                  <a:lnTo>
                    <a:pt x="910" y="83"/>
                  </a:lnTo>
                  <a:lnTo>
                    <a:pt x="907" y="83"/>
                  </a:lnTo>
                  <a:lnTo>
                    <a:pt x="896" y="85"/>
                  </a:lnTo>
                  <a:lnTo>
                    <a:pt x="886" y="91"/>
                  </a:lnTo>
                  <a:lnTo>
                    <a:pt x="883" y="93"/>
                  </a:lnTo>
                  <a:lnTo>
                    <a:pt x="886" y="93"/>
                  </a:lnTo>
                  <a:lnTo>
                    <a:pt x="888" y="96"/>
                  </a:lnTo>
                  <a:lnTo>
                    <a:pt x="891" y="96"/>
                  </a:lnTo>
                  <a:lnTo>
                    <a:pt x="886" y="96"/>
                  </a:lnTo>
                  <a:lnTo>
                    <a:pt x="883" y="96"/>
                  </a:lnTo>
                  <a:lnTo>
                    <a:pt x="880" y="96"/>
                  </a:lnTo>
                  <a:lnTo>
                    <a:pt x="878" y="96"/>
                  </a:lnTo>
                  <a:lnTo>
                    <a:pt x="878" y="99"/>
                  </a:lnTo>
                  <a:lnTo>
                    <a:pt x="878" y="99"/>
                  </a:lnTo>
                  <a:lnTo>
                    <a:pt x="875" y="99"/>
                  </a:lnTo>
                  <a:lnTo>
                    <a:pt x="875" y="96"/>
                  </a:lnTo>
                  <a:lnTo>
                    <a:pt x="875" y="96"/>
                  </a:lnTo>
                  <a:lnTo>
                    <a:pt x="875" y="93"/>
                  </a:lnTo>
                  <a:lnTo>
                    <a:pt x="875" y="93"/>
                  </a:lnTo>
                  <a:lnTo>
                    <a:pt x="870" y="93"/>
                  </a:lnTo>
                  <a:lnTo>
                    <a:pt x="864" y="96"/>
                  </a:lnTo>
                  <a:lnTo>
                    <a:pt x="859" y="99"/>
                  </a:lnTo>
                  <a:lnTo>
                    <a:pt x="856" y="101"/>
                  </a:lnTo>
                  <a:lnTo>
                    <a:pt x="856" y="101"/>
                  </a:lnTo>
                  <a:lnTo>
                    <a:pt x="854" y="101"/>
                  </a:lnTo>
                  <a:lnTo>
                    <a:pt x="838" y="104"/>
                  </a:lnTo>
                  <a:lnTo>
                    <a:pt x="838" y="104"/>
                  </a:lnTo>
                  <a:lnTo>
                    <a:pt x="840" y="99"/>
                  </a:lnTo>
                  <a:lnTo>
                    <a:pt x="840" y="96"/>
                  </a:lnTo>
                  <a:lnTo>
                    <a:pt x="838" y="96"/>
                  </a:lnTo>
                  <a:lnTo>
                    <a:pt x="838" y="93"/>
                  </a:lnTo>
                  <a:lnTo>
                    <a:pt x="838" y="93"/>
                  </a:lnTo>
                  <a:lnTo>
                    <a:pt x="838" y="91"/>
                  </a:lnTo>
                  <a:lnTo>
                    <a:pt x="835" y="91"/>
                  </a:lnTo>
                  <a:lnTo>
                    <a:pt x="835" y="91"/>
                  </a:lnTo>
                  <a:lnTo>
                    <a:pt x="832" y="88"/>
                  </a:lnTo>
                  <a:lnTo>
                    <a:pt x="832" y="85"/>
                  </a:lnTo>
                  <a:lnTo>
                    <a:pt x="830" y="83"/>
                  </a:lnTo>
                  <a:lnTo>
                    <a:pt x="830" y="80"/>
                  </a:lnTo>
                  <a:lnTo>
                    <a:pt x="827" y="72"/>
                  </a:lnTo>
                  <a:lnTo>
                    <a:pt x="827" y="69"/>
                  </a:lnTo>
                  <a:lnTo>
                    <a:pt x="827" y="67"/>
                  </a:lnTo>
                  <a:lnTo>
                    <a:pt x="830" y="64"/>
                  </a:lnTo>
                  <a:lnTo>
                    <a:pt x="830" y="61"/>
                  </a:lnTo>
                  <a:lnTo>
                    <a:pt x="830" y="59"/>
                  </a:lnTo>
                  <a:lnTo>
                    <a:pt x="830" y="59"/>
                  </a:lnTo>
                  <a:lnTo>
                    <a:pt x="830" y="56"/>
                  </a:lnTo>
                  <a:lnTo>
                    <a:pt x="827" y="56"/>
                  </a:lnTo>
                  <a:lnTo>
                    <a:pt x="827" y="53"/>
                  </a:lnTo>
                  <a:lnTo>
                    <a:pt x="830" y="53"/>
                  </a:lnTo>
                  <a:lnTo>
                    <a:pt x="832" y="53"/>
                  </a:lnTo>
                  <a:lnTo>
                    <a:pt x="832" y="56"/>
                  </a:lnTo>
                  <a:lnTo>
                    <a:pt x="832" y="61"/>
                  </a:lnTo>
                  <a:lnTo>
                    <a:pt x="832" y="61"/>
                  </a:lnTo>
                  <a:lnTo>
                    <a:pt x="830" y="64"/>
                  </a:lnTo>
                  <a:lnTo>
                    <a:pt x="830" y="67"/>
                  </a:lnTo>
                  <a:lnTo>
                    <a:pt x="830" y="72"/>
                  </a:lnTo>
                  <a:lnTo>
                    <a:pt x="832" y="77"/>
                  </a:lnTo>
                  <a:lnTo>
                    <a:pt x="835" y="83"/>
                  </a:lnTo>
                  <a:lnTo>
                    <a:pt x="838" y="88"/>
                  </a:lnTo>
                  <a:lnTo>
                    <a:pt x="840" y="91"/>
                  </a:lnTo>
                  <a:lnTo>
                    <a:pt x="843" y="91"/>
                  </a:lnTo>
                  <a:lnTo>
                    <a:pt x="846" y="85"/>
                  </a:lnTo>
                  <a:lnTo>
                    <a:pt x="846" y="88"/>
                  </a:lnTo>
                  <a:lnTo>
                    <a:pt x="851" y="91"/>
                  </a:lnTo>
                  <a:lnTo>
                    <a:pt x="851" y="93"/>
                  </a:lnTo>
                  <a:lnTo>
                    <a:pt x="854" y="91"/>
                  </a:lnTo>
                  <a:lnTo>
                    <a:pt x="859" y="91"/>
                  </a:lnTo>
                  <a:lnTo>
                    <a:pt x="862" y="91"/>
                  </a:lnTo>
                  <a:lnTo>
                    <a:pt x="864" y="88"/>
                  </a:lnTo>
                  <a:lnTo>
                    <a:pt x="867" y="83"/>
                  </a:lnTo>
                  <a:lnTo>
                    <a:pt x="870" y="80"/>
                  </a:lnTo>
                  <a:lnTo>
                    <a:pt x="867" y="80"/>
                  </a:lnTo>
                  <a:lnTo>
                    <a:pt x="867" y="80"/>
                  </a:lnTo>
                  <a:lnTo>
                    <a:pt x="867" y="80"/>
                  </a:lnTo>
                  <a:lnTo>
                    <a:pt x="870" y="77"/>
                  </a:lnTo>
                  <a:lnTo>
                    <a:pt x="880" y="75"/>
                  </a:lnTo>
                  <a:lnTo>
                    <a:pt x="880" y="72"/>
                  </a:lnTo>
                  <a:lnTo>
                    <a:pt x="878" y="72"/>
                  </a:lnTo>
                  <a:lnTo>
                    <a:pt x="872" y="72"/>
                  </a:lnTo>
                  <a:lnTo>
                    <a:pt x="870" y="72"/>
                  </a:lnTo>
                  <a:lnTo>
                    <a:pt x="870" y="69"/>
                  </a:lnTo>
                  <a:lnTo>
                    <a:pt x="867" y="69"/>
                  </a:lnTo>
                  <a:lnTo>
                    <a:pt x="864" y="67"/>
                  </a:lnTo>
                  <a:lnTo>
                    <a:pt x="862" y="67"/>
                  </a:lnTo>
                  <a:lnTo>
                    <a:pt x="862" y="67"/>
                  </a:lnTo>
                  <a:lnTo>
                    <a:pt x="859" y="64"/>
                  </a:lnTo>
                  <a:lnTo>
                    <a:pt x="862" y="64"/>
                  </a:lnTo>
                  <a:lnTo>
                    <a:pt x="864" y="64"/>
                  </a:lnTo>
                  <a:lnTo>
                    <a:pt x="867" y="67"/>
                  </a:lnTo>
                  <a:lnTo>
                    <a:pt x="867" y="64"/>
                  </a:lnTo>
                  <a:lnTo>
                    <a:pt x="870" y="67"/>
                  </a:lnTo>
                  <a:lnTo>
                    <a:pt x="875" y="69"/>
                  </a:lnTo>
                  <a:lnTo>
                    <a:pt x="886" y="72"/>
                  </a:lnTo>
                  <a:lnTo>
                    <a:pt x="888" y="72"/>
                  </a:lnTo>
                  <a:lnTo>
                    <a:pt x="891" y="69"/>
                  </a:lnTo>
                  <a:lnTo>
                    <a:pt x="891" y="69"/>
                  </a:lnTo>
                  <a:lnTo>
                    <a:pt x="888" y="69"/>
                  </a:lnTo>
                  <a:lnTo>
                    <a:pt x="886" y="64"/>
                  </a:lnTo>
                  <a:lnTo>
                    <a:pt x="883" y="61"/>
                  </a:lnTo>
                  <a:lnTo>
                    <a:pt x="883" y="61"/>
                  </a:lnTo>
                  <a:lnTo>
                    <a:pt x="880" y="61"/>
                  </a:lnTo>
                  <a:lnTo>
                    <a:pt x="880" y="61"/>
                  </a:lnTo>
                  <a:lnTo>
                    <a:pt x="878" y="59"/>
                  </a:lnTo>
                  <a:lnTo>
                    <a:pt x="878" y="59"/>
                  </a:lnTo>
                  <a:lnTo>
                    <a:pt x="878" y="59"/>
                  </a:lnTo>
                  <a:lnTo>
                    <a:pt x="880" y="59"/>
                  </a:lnTo>
                  <a:lnTo>
                    <a:pt x="886" y="61"/>
                  </a:lnTo>
                  <a:lnTo>
                    <a:pt x="886" y="61"/>
                  </a:lnTo>
                  <a:lnTo>
                    <a:pt x="886" y="61"/>
                  </a:lnTo>
                  <a:lnTo>
                    <a:pt x="888" y="64"/>
                  </a:lnTo>
                  <a:lnTo>
                    <a:pt x="894" y="67"/>
                  </a:lnTo>
                  <a:lnTo>
                    <a:pt x="894" y="67"/>
                  </a:lnTo>
                  <a:lnTo>
                    <a:pt x="896" y="67"/>
                  </a:lnTo>
                  <a:lnTo>
                    <a:pt x="899" y="64"/>
                  </a:lnTo>
                  <a:lnTo>
                    <a:pt x="899" y="64"/>
                  </a:lnTo>
                  <a:lnTo>
                    <a:pt x="899" y="64"/>
                  </a:lnTo>
                  <a:lnTo>
                    <a:pt x="899" y="64"/>
                  </a:lnTo>
                  <a:lnTo>
                    <a:pt x="902" y="61"/>
                  </a:lnTo>
                  <a:lnTo>
                    <a:pt x="902" y="61"/>
                  </a:lnTo>
                  <a:lnTo>
                    <a:pt x="904" y="59"/>
                  </a:lnTo>
                  <a:lnTo>
                    <a:pt x="904" y="59"/>
                  </a:lnTo>
                  <a:lnTo>
                    <a:pt x="904" y="59"/>
                  </a:lnTo>
                  <a:lnTo>
                    <a:pt x="902" y="59"/>
                  </a:lnTo>
                  <a:lnTo>
                    <a:pt x="902" y="53"/>
                  </a:lnTo>
                  <a:lnTo>
                    <a:pt x="899" y="53"/>
                  </a:lnTo>
                  <a:lnTo>
                    <a:pt x="896" y="53"/>
                  </a:lnTo>
                  <a:lnTo>
                    <a:pt x="894" y="51"/>
                  </a:lnTo>
                  <a:lnTo>
                    <a:pt x="891" y="48"/>
                  </a:lnTo>
                  <a:lnTo>
                    <a:pt x="888" y="48"/>
                  </a:lnTo>
                  <a:lnTo>
                    <a:pt x="886" y="45"/>
                  </a:lnTo>
                  <a:lnTo>
                    <a:pt x="883" y="45"/>
                  </a:lnTo>
                  <a:lnTo>
                    <a:pt x="883" y="45"/>
                  </a:lnTo>
                  <a:lnTo>
                    <a:pt x="883" y="43"/>
                  </a:lnTo>
                  <a:lnTo>
                    <a:pt x="883" y="43"/>
                  </a:lnTo>
                  <a:lnTo>
                    <a:pt x="886" y="40"/>
                  </a:lnTo>
                  <a:lnTo>
                    <a:pt x="886" y="40"/>
                  </a:lnTo>
                  <a:lnTo>
                    <a:pt x="886" y="43"/>
                  </a:lnTo>
                  <a:lnTo>
                    <a:pt x="886" y="43"/>
                  </a:lnTo>
                  <a:lnTo>
                    <a:pt x="886" y="43"/>
                  </a:lnTo>
                  <a:lnTo>
                    <a:pt x="891" y="43"/>
                  </a:lnTo>
                  <a:lnTo>
                    <a:pt x="894" y="45"/>
                  </a:lnTo>
                  <a:lnTo>
                    <a:pt x="896" y="45"/>
                  </a:lnTo>
                  <a:lnTo>
                    <a:pt x="899" y="48"/>
                  </a:lnTo>
                  <a:lnTo>
                    <a:pt x="899" y="48"/>
                  </a:lnTo>
                  <a:lnTo>
                    <a:pt x="902" y="48"/>
                  </a:lnTo>
                  <a:lnTo>
                    <a:pt x="904" y="48"/>
                  </a:lnTo>
                  <a:lnTo>
                    <a:pt x="907" y="53"/>
                  </a:lnTo>
                  <a:lnTo>
                    <a:pt x="910" y="53"/>
                  </a:lnTo>
                  <a:lnTo>
                    <a:pt x="912" y="53"/>
                  </a:lnTo>
                  <a:lnTo>
                    <a:pt x="915" y="53"/>
                  </a:lnTo>
                  <a:lnTo>
                    <a:pt x="923" y="56"/>
                  </a:lnTo>
                  <a:lnTo>
                    <a:pt x="923" y="53"/>
                  </a:lnTo>
                  <a:lnTo>
                    <a:pt x="920" y="53"/>
                  </a:lnTo>
                  <a:lnTo>
                    <a:pt x="918" y="53"/>
                  </a:lnTo>
                  <a:lnTo>
                    <a:pt x="915" y="51"/>
                  </a:lnTo>
                  <a:lnTo>
                    <a:pt x="915" y="51"/>
                  </a:lnTo>
                  <a:lnTo>
                    <a:pt x="915" y="48"/>
                  </a:lnTo>
                  <a:lnTo>
                    <a:pt x="915" y="45"/>
                  </a:lnTo>
                  <a:lnTo>
                    <a:pt x="912" y="40"/>
                  </a:lnTo>
                  <a:lnTo>
                    <a:pt x="910" y="40"/>
                  </a:lnTo>
                  <a:lnTo>
                    <a:pt x="910" y="37"/>
                  </a:lnTo>
                  <a:lnTo>
                    <a:pt x="907" y="37"/>
                  </a:lnTo>
                  <a:lnTo>
                    <a:pt x="910" y="37"/>
                  </a:lnTo>
                  <a:lnTo>
                    <a:pt x="912" y="37"/>
                  </a:lnTo>
                  <a:lnTo>
                    <a:pt x="915" y="40"/>
                  </a:lnTo>
                  <a:lnTo>
                    <a:pt x="915" y="43"/>
                  </a:lnTo>
                  <a:lnTo>
                    <a:pt x="915" y="43"/>
                  </a:lnTo>
                  <a:lnTo>
                    <a:pt x="918" y="43"/>
                  </a:lnTo>
                  <a:lnTo>
                    <a:pt x="920" y="43"/>
                  </a:lnTo>
                  <a:lnTo>
                    <a:pt x="920" y="45"/>
                  </a:lnTo>
                  <a:lnTo>
                    <a:pt x="920" y="48"/>
                  </a:lnTo>
                  <a:lnTo>
                    <a:pt x="920" y="48"/>
                  </a:lnTo>
                  <a:lnTo>
                    <a:pt x="920" y="48"/>
                  </a:lnTo>
                  <a:lnTo>
                    <a:pt x="926" y="51"/>
                  </a:lnTo>
                  <a:lnTo>
                    <a:pt x="926" y="51"/>
                  </a:lnTo>
                  <a:lnTo>
                    <a:pt x="928" y="53"/>
                  </a:lnTo>
                  <a:lnTo>
                    <a:pt x="928" y="53"/>
                  </a:lnTo>
                  <a:lnTo>
                    <a:pt x="928" y="56"/>
                  </a:lnTo>
                  <a:lnTo>
                    <a:pt x="928" y="56"/>
                  </a:lnTo>
                  <a:lnTo>
                    <a:pt x="928" y="59"/>
                  </a:lnTo>
                  <a:lnTo>
                    <a:pt x="928" y="59"/>
                  </a:lnTo>
                  <a:lnTo>
                    <a:pt x="931" y="61"/>
                  </a:lnTo>
                  <a:lnTo>
                    <a:pt x="934" y="64"/>
                  </a:lnTo>
                  <a:lnTo>
                    <a:pt x="937" y="64"/>
                  </a:lnTo>
                  <a:lnTo>
                    <a:pt x="939" y="64"/>
                  </a:lnTo>
                  <a:lnTo>
                    <a:pt x="937" y="61"/>
                  </a:lnTo>
                  <a:lnTo>
                    <a:pt x="937" y="59"/>
                  </a:lnTo>
                  <a:lnTo>
                    <a:pt x="934" y="56"/>
                  </a:lnTo>
                  <a:lnTo>
                    <a:pt x="934" y="53"/>
                  </a:lnTo>
                  <a:lnTo>
                    <a:pt x="923" y="40"/>
                  </a:lnTo>
                  <a:lnTo>
                    <a:pt x="923" y="37"/>
                  </a:lnTo>
                  <a:lnTo>
                    <a:pt x="920" y="35"/>
                  </a:lnTo>
                  <a:lnTo>
                    <a:pt x="918" y="32"/>
                  </a:lnTo>
                  <a:lnTo>
                    <a:pt x="915" y="29"/>
                  </a:lnTo>
                  <a:lnTo>
                    <a:pt x="915" y="24"/>
                  </a:lnTo>
                  <a:lnTo>
                    <a:pt x="912" y="19"/>
                  </a:lnTo>
                  <a:lnTo>
                    <a:pt x="912" y="19"/>
                  </a:lnTo>
                  <a:lnTo>
                    <a:pt x="912" y="21"/>
                  </a:lnTo>
                  <a:lnTo>
                    <a:pt x="912" y="24"/>
                  </a:lnTo>
                  <a:lnTo>
                    <a:pt x="910" y="24"/>
                  </a:lnTo>
                  <a:lnTo>
                    <a:pt x="912" y="27"/>
                  </a:lnTo>
                  <a:lnTo>
                    <a:pt x="912" y="27"/>
                  </a:lnTo>
                  <a:lnTo>
                    <a:pt x="912" y="27"/>
                  </a:lnTo>
                  <a:lnTo>
                    <a:pt x="915" y="29"/>
                  </a:lnTo>
                  <a:lnTo>
                    <a:pt x="912" y="27"/>
                  </a:lnTo>
                  <a:lnTo>
                    <a:pt x="907" y="24"/>
                  </a:lnTo>
                  <a:lnTo>
                    <a:pt x="907" y="21"/>
                  </a:lnTo>
                  <a:lnTo>
                    <a:pt x="907" y="19"/>
                  </a:lnTo>
                  <a:lnTo>
                    <a:pt x="904" y="19"/>
                  </a:lnTo>
                  <a:lnTo>
                    <a:pt x="902" y="16"/>
                  </a:lnTo>
                  <a:lnTo>
                    <a:pt x="899" y="16"/>
                  </a:lnTo>
                  <a:lnTo>
                    <a:pt x="899" y="13"/>
                  </a:lnTo>
                  <a:lnTo>
                    <a:pt x="896" y="10"/>
                  </a:lnTo>
                  <a:lnTo>
                    <a:pt x="896" y="8"/>
                  </a:lnTo>
                  <a:lnTo>
                    <a:pt x="896" y="5"/>
                  </a:lnTo>
                  <a:lnTo>
                    <a:pt x="896" y="5"/>
                  </a:lnTo>
                  <a:lnTo>
                    <a:pt x="894" y="5"/>
                  </a:lnTo>
                  <a:lnTo>
                    <a:pt x="878" y="10"/>
                  </a:lnTo>
                  <a:lnTo>
                    <a:pt x="859" y="13"/>
                  </a:lnTo>
                  <a:lnTo>
                    <a:pt x="838" y="19"/>
                  </a:lnTo>
                  <a:lnTo>
                    <a:pt x="819" y="21"/>
                  </a:lnTo>
                  <a:lnTo>
                    <a:pt x="800" y="24"/>
                  </a:lnTo>
                  <a:lnTo>
                    <a:pt x="782" y="29"/>
                  </a:lnTo>
                  <a:lnTo>
                    <a:pt x="760" y="32"/>
                  </a:lnTo>
                  <a:lnTo>
                    <a:pt x="742" y="37"/>
                  </a:lnTo>
                  <a:lnTo>
                    <a:pt x="723" y="40"/>
                  </a:lnTo>
                  <a:lnTo>
                    <a:pt x="702" y="45"/>
                  </a:lnTo>
                  <a:lnTo>
                    <a:pt x="683" y="48"/>
                  </a:lnTo>
                  <a:lnTo>
                    <a:pt x="664" y="53"/>
                  </a:lnTo>
                  <a:lnTo>
                    <a:pt x="643" y="56"/>
                  </a:lnTo>
                  <a:lnTo>
                    <a:pt x="624" y="59"/>
                  </a:lnTo>
                  <a:lnTo>
                    <a:pt x="606" y="64"/>
                  </a:lnTo>
                  <a:lnTo>
                    <a:pt x="587" y="67"/>
                  </a:lnTo>
                  <a:lnTo>
                    <a:pt x="566" y="69"/>
                  </a:lnTo>
                  <a:lnTo>
                    <a:pt x="547" y="75"/>
                  </a:lnTo>
                  <a:lnTo>
                    <a:pt x="528" y="77"/>
                  </a:lnTo>
                  <a:lnTo>
                    <a:pt x="507" y="80"/>
                  </a:lnTo>
                  <a:lnTo>
                    <a:pt x="488" y="85"/>
                  </a:lnTo>
                  <a:lnTo>
                    <a:pt x="470" y="88"/>
                  </a:lnTo>
                  <a:lnTo>
                    <a:pt x="448" y="91"/>
                  </a:lnTo>
                  <a:lnTo>
                    <a:pt x="430" y="93"/>
                  </a:lnTo>
                  <a:lnTo>
                    <a:pt x="411" y="99"/>
                  </a:lnTo>
                  <a:lnTo>
                    <a:pt x="390" y="101"/>
                  </a:lnTo>
                  <a:lnTo>
                    <a:pt x="371" y="104"/>
                  </a:lnTo>
                  <a:lnTo>
                    <a:pt x="352" y="107"/>
                  </a:lnTo>
                  <a:lnTo>
                    <a:pt x="331" y="109"/>
                  </a:lnTo>
                  <a:lnTo>
                    <a:pt x="312" y="115"/>
                  </a:lnTo>
                  <a:lnTo>
                    <a:pt x="293" y="117"/>
                  </a:lnTo>
                  <a:lnTo>
                    <a:pt x="272" y="120"/>
                  </a:lnTo>
                  <a:lnTo>
                    <a:pt x="272" y="120"/>
                  </a:lnTo>
                  <a:lnTo>
                    <a:pt x="269" y="120"/>
                  </a:lnTo>
                  <a:lnTo>
                    <a:pt x="269" y="120"/>
                  </a:lnTo>
                  <a:lnTo>
                    <a:pt x="269" y="117"/>
                  </a:lnTo>
                  <a:lnTo>
                    <a:pt x="264" y="128"/>
                  </a:lnTo>
                  <a:lnTo>
                    <a:pt x="264" y="131"/>
                  </a:lnTo>
                  <a:lnTo>
                    <a:pt x="264" y="131"/>
                  </a:lnTo>
                  <a:lnTo>
                    <a:pt x="267" y="133"/>
                  </a:lnTo>
                  <a:lnTo>
                    <a:pt x="267" y="136"/>
                  </a:lnTo>
                  <a:lnTo>
                    <a:pt x="267" y="141"/>
                  </a:lnTo>
                  <a:lnTo>
                    <a:pt x="264" y="147"/>
                  </a:lnTo>
                  <a:lnTo>
                    <a:pt x="264" y="149"/>
                  </a:lnTo>
                  <a:lnTo>
                    <a:pt x="264" y="149"/>
                  </a:lnTo>
                  <a:lnTo>
                    <a:pt x="264" y="149"/>
                  </a:lnTo>
                  <a:lnTo>
                    <a:pt x="267" y="152"/>
                  </a:lnTo>
                  <a:lnTo>
                    <a:pt x="267" y="155"/>
                  </a:lnTo>
                  <a:lnTo>
                    <a:pt x="267" y="155"/>
                  </a:lnTo>
                  <a:lnTo>
                    <a:pt x="269" y="155"/>
                  </a:lnTo>
                  <a:lnTo>
                    <a:pt x="269" y="157"/>
                  </a:lnTo>
                  <a:lnTo>
                    <a:pt x="267" y="157"/>
                  </a:lnTo>
                  <a:lnTo>
                    <a:pt x="264" y="157"/>
                  </a:lnTo>
                  <a:lnTo>
                    <a:pt x="259" y="155"/>
                  </a:lnTo>
                  <a:lnTo>
                    <a:pt x="256" y="155"/>
                  </a:lnTo>
                  <a:lnTo>
                    <a:pt x="256" y="155"/>
                  </a:lnTo>
                  <a:lnTo>
                    <a:pt x="248" y="163"/>
                  </a:lnTo>
                  <a:lnTo>
                    <a:pt x="245" y="165"/>
                  </a:lnTo>
                  <a:lnTo>
                    <a:pt x="245" y="168"/>
                  </a:lnTo>
                  <a:lnTo>
                    <a:pt x="237" y="189"/>
                  </a:lnTo>
                  <a:lnTo>
                    <a:pt x="237" y="192"/>
                  </a:lnTo>
                  <a:lnTo>
                    <a:pt x="237" y="192"/>
                  </a:lnTo>
                  <a:lnTo>
                    <a:pt x="235" y="192"/>
                  </a:lnTo>
                  <a:lnTo>
                    <a:pt x="235" y="195"/>
                  </a:lnTo>
                  <a:lnTo>
                    <a:pt x="232" y="198"/>
                  </a:lnTo>
                  <a:lnTo>
                    <a:pt x="232" y="198"/>
                  </a:lnTo>
                  <a:lnTo>
                    <a:pt x="232" y="198"/>
                  </a:lnTo>
                  <a:lnTo>
                    <a:pt x="229" y="198"/>
                  </a:lnTo>
                  <a:lnTo>
                    <a:pt x="229" y="198"/>
                  </a:lnTo>
                  <a:lnTo>
                    <a:pt x="227" y="198"/>
                  </a:lnTo>
                  <a:lnTo>
                    <a:pt x="227" y="198"/>
                  </a:lnTo>
                  <a:lnTo>
                    <a:pt x="227" y="195"/>
                  </a:lnTo>
                  <a:lnTo>
                    <a:pt x="227" y="195"/>
                  </a:lnTo>
                  <a:lnTo>
                    <a:pt x="227" y="195"/>
                  </a:lnTo>
                  <a:lnTo>
                    <a:pt x="227" y="195"/>
                  </a:lnTo>
                  <a:lnTo>
                    <a:pt x="224" y="195"/>
                  </a:lnTo>
                  <a:lnTo>
                    <a:pt x="224" y="192"/>
                  </a:lnTo>
                  <a:lnTo>
                    <a:pt x="224" y="192"/>
                  </a:lnTo>
                  <a:lnTo>
                    <a:pt x="224" y="192"/>
                  </a:lnTo>
                  <a:lnTo>
                    <a:pt x="224" y="192"/>
                  </a:lnTo>
                  <a:lnTo>
                    <a:pt x="224" y="192"/>
                  </a:lnTo>
                  <a:lnTo>
                    <a:pt x="221" y="192"/>
                  </a:lnTo>
                  <a:lnTo>
                    <a:pt x="221" y="192"/>
                  </a:lnTo>
                  <a:lnTo>
                    <a:pt x="219" y="192"/>
                  </a:lnTo>
                  <a:lnTo>
                    <a:pt x="219" y="192"/>
                  </a:lnTo>
                  <a:lnTo>
                    <a:pt x="219" y="192"/>
                  </a:lnTo>
                  <a:lnTo>
                    <a:pt x="219" y="189"/>
                  </a:lnTo>
                  <a:lnTo>
                    <a:pt x="216" y="192"/>
                  </a:lnTo>
                  <a:lnTo>
                    <a:pt x="216" y="192"/>
                  </a:lnTo>
                  <a:lnTo>
                    <a:pt x="216" y="192"/>
                  </a:lnTo>
                  <a:lnTo>
                    <a:pt x="213" y="195"/>
                  </a:lnTo>
                  <a:lnTo>
                    <a:pt x="211" y="195"/>
                  </a:lnTo>
                  <a:lnTo>
                    <a:pt x="208" y="195"/>
                  </a:lnTo>
                  <a:lnTo>
                    <a:pt x="208" y="195"/>
                  </a:lnTo>
                  <a:lnTo>
                    <a:pt x="205" y="198"/>
                  </a:lnTo>
                  <a:lnTo>
                    <a:pt x="203" y="200"/>
                  </a:lnTo>
                  <a:lnTo>
                    <a:pt x="200" y="200"/>
                  </a:lnTo>
                  <a:lnTo>
                    <a:pt x="200" y="200"/>
                  </a:lnTo>
                  <a:lnTo>
                    <a:pt x="197" y="203"/>
                  </a:lnTo>
                  <a:lnTo>
                    <a:pt x="195" y="208"/>
                  </a:lnTo>
                  <a:lnTo>
                    <a:pt x="192" y="211"/>
                  </a:lnTo>
                  <a:lnTo>
                    <a:pt x="192" y="214"/>
                  </a:lnTo>
                  <a:lnTo>
                    <a:pt x="192" y="214"/>
                  </a:lnTo>
                  <a:lnTo>
                    <a:pt x="189" y="216"/>
                  </a:lnTo>
                  <a:lnTo>
                    <a:pt x="189" y="219"/>
                  </a:lnTo>
                  <a:lnTo>
                    <a:pt x="189" y="219"/>
                  </a:lnTo>
                  <a:lnTo>
                    <a:pt x="189" y="219"/>
                  </a:lnTo>
                  <a:lnTo>
                    <a:pt x="189" y="219"/>
                  </a:lnTo>
                  <a:lnTo>
                    <a:pt x="184" y="224"/>
                  </a:lnTo>
                  <a:lnTo>
                    <a:pt x="181" y="224"/>
                  </a:lnTo>
                  <a:lnTo>
                    <a:pt x="181" y="224"/>
                  </a:lnTo>
                  <a:lnTo>
                    <a:pt x="181" y="224"/>
                  </a:lnTo>
                  <a:lnTo>
                    <a:pt x="181" y="224"/>
                  </a:lnTo>
                  <a:lnTo>
                    <a:pt x="179" y="224"/>
                  </a:lnTo>
                  <a:lnTo>
                    <a:pt x="179" y="224"/>
                  </a:lnTo>
                  <a:lnTo>
                    <a:pt x="179" y="224"/>
                  </a:lnTo>
                  <a:lnTo>
                    <a:pt x="179" y="224"/>
                  </a:lnTo>
                  <a:lnTo>
                    <a:pt x="179" y="222"/>
                  </a:lnTo>
                  <a:lnTo>
                    <a:pt x="176" y="222"/>
                  </a:lnTo>
                  <a:lnTo>
                    <a:pt x="176" y="222"/>
                  </a:lnTo>
                  <a:lnTo>
                    <a:pt x="176" y="219"/>
                  </a:lnTo>
                  <a:lnTo>
                    <a:pt x="176" y="219"/>
                  </a:lnTo>
                  <a:lnTo>
                    <a:pt x="176" y="216"/>
                  </a:lnTo>
                  <a:lnTo>
                    <a:pt x="176" y="216"/>
                  </a:lnTo>
                  <a:lnTo>
                    <a:pt x="176" y="216"/>
                  </a:lnTo>
                  <a:lnTo>
                    <a:pt x="176" y="216"/>
                  </a:lnTo>
                  <a:lnTo>
                    <a:pt x="173" y="214"/>
                  </a:lnTo>
                  <a:lnTo>
                    <a:pt x="173" y="214"/>
                  </a:lnTo>
                  <a:lnTo>
                    <a:pt x="173" y="214"/>
                  </a:lnTo>
                  <a:lnTo>
                    <a:pt x="171" y="214"/>
                  </a:lnTo>
                  <a:lnTo>
                    <a:pt x="168" y="216"/>
                  </a:lnTo>
                  <a:lnTo>
                    <a:pt x="165" y="219"/>
                  </a:lnTo>
                  <a:lnTo>
                    <a:pt x="157" y="224"/>
                  </a:lnTo>
                  <a:lnTo>
                    <a:pt x="157" y="224"/>
                  </a:lnTo>
                  <a:lnTo>
                    <a:pt x="157" y="224"/>
                  </a:lnTo>
                  <a:lnTo>
                    <a:pt x="157" y="224"/>
                  </a:lnTo>
                  <a:lnTo>
                    <a:pt x="157" y="227"/>
                  </a:lnTo>
                  <a:lnTo>
                    <a:pt x="157" y="227"/>
                  </a:lnTo>
                  <a:lnTo>
                    <a:pt x="157" y="227"/>
                  </a:lnTo>
                  <a:lnTo>
                    <a:pt x="155" y="230"/>
                  </a:lnTo>
                  <a:lnTo>
                    <a:pt x="155" y="230"/>
                  </a:lnTo>
                  <a:lnTo>
                    <a:pt x="155" y="232"/>
                  </a:lnTo>
                  <a:lnTo>
                    <a:pt x="155" y="232"/>
                  </a:lnTo>
                  <a:lnTo>
                    <a:pt x="155" y="232"/>
                  </a:lnTo>
                  <a:lnTo>
                    <a:pt x="155" y="232"/>
                  </a:lnTo>
                  <a:lnTo>
                    <a:pt x="152" y="232"/>
                  </a:lnTo>
                  <a:lnTo>
                    <a:pt x="152" y="232"/>
                  </a:lnTo>
                  <a:lnTo>
                    <a:pt x="149" y="232"/>
                  </a:lnTo>
                  <a:lnTo>
                    <a:pt x="149" y="232"/>
                  </a:lnTo>
                  <a:lnTo>
                    <a:pt x="147" y="232"/>
                  </a:lnTo>
                  <a:lnTo>
                    <a:pt x="147" y="232"/>
                  </a:lnTo>
                  <a:lnTo>
                    <a:pt x="144" y="232"/>
                  </a:lnTo>
                  <a:lnTo>
                    <a:pt x="144" y="232"/>
                  </a:lnTo>
                  <a:lnTo>
                    <a:pt x="144" y="232"/>
                  </a:lnTo>
                  <a:lnTo>
                    <a:pt x="141" y="235"/>
                  </a:lnTo>
                  <a:lnTo>
                    <a:pt x="141" y="235"/>
                  </a:lnTo>
                  <a:lnTo>
                    <a:pt x="141" y="235"/>
                  </a:lnTo>
                  <a:lnTo>
                    <a:pt x="141" y="235"/>
                  </a:lnTo>
                  <a:lnTo>
                    <a:pt x="141" y="238"/>
                  </a:lnTo>
                  <a:lnTo>
                    <a:pt x="141" y="238"/>
                  </a:lnTo>
                  <a:lnTo>
                    <a:pt x="144" y="238"/>
                  </a:lnTo>
                  <a:lnTo>
                    <a:pt x="144" y="240"/>
                  </a:lnTo>
                  <a:lnTo>
                    <a:pt x="144" y="240"/>
                  </a:lnTo>
                  <a:lnTo>
                    <a:pt x="144" y="243"/>
                  </a:lnTo>
                  <a:lnTo>
                    <a:pt x="144" y="243"/>
                  </a:lnTo>
                  <a:lnTo>
                    <a:pt x="144" y="246"/>
                  </a:lnTo>
                  <a:lnTo>
                    <a:pt x="144" y="246"/>
                  </a:lnTo>
                  <a:lnTo>
                    <a:pt x="144" y="246"/>
                  </a:lnTo>
                  <a:lnTo>
                    <a:pt x="141" y="248"/>
                  </a:lnTo>
                  <a:lnTo>
                    <a:pt x="141" y="254"/>
                  </a:lnTo>
                  <a:lnTo>
                    <a:pt x="139" y="256"/>
                  </a:lnTo>
                  <a:lnTo>
                    <a:pt x="136" y="256"/>
                  </a:lnTo>
                  <a:lnTo>
                    <a:pt x="136" y="256"/>
                  </a:lnTo>
                  <a:lnTo>
                    <a:pt x="133" y="256"/>
                  </a:lnTo>
                  <a:lnTo>
                    <a:pt x="131" y="256"/>
                  </a:lnTo>
                  <a:lnTo>
                    <a:pt x="128" y="256"/>
                  </a:lnTo>
                  <a:lnTo>
                    <a:pt x="128" y="256"/>
                  </a:lnTo>
                  <a:lnTo>
                    <a:pt x="128" y="259"/>
                  </a:lnTo>
                  <a:lnTo>
                    <a:pt x="123" y="262"/>
                  </a:lnTo>
                  <a:lnTo>
                    <a:pt x="117" y="264"/>
                  </a:lnTo>
                  <a:lnTo>
                    <a:pt x="117" y="264"/>
                  </a:lnTo>
                  <a:lnTo>
                    <a:pt x="117" y="264"/>
                  </a:lnTo>
                  <a:lnTo>
                    <a:pt x="115" y="267"/>
                  </a:lnTo>
                  <a:lnTo>
                    <a:pt x="112" y="270"/>
                  </a:lnTo>
                  <a:lnTo>
                    <a:pt x="109" y="270"/>
                  </a:lnTo>
                  <a:lnTo>
                    <a:pt x="109" y="270"/>
                  </a:lnTo>
                  <a:lnTo>
                    <a:pt x="109" y="272"/>
                  </a:lnTo>
                  <a:lnTo>
                    <a:pt x="109" y="272"/>
                  </a:lnTo>
                  <a:lnTo>
                    <a:pt x="107" y="275"/>
                  </a:lnTo>
                  <a:lnTo>
                    <a:pt x="104" y="278"/>
                  </a:lnTo>
                  <a:lnTo>
                    <a:pt x="104" y="278"/>
                  </a:lnTo>
                  <a:lnTo>
                    <a:pt x="104" y="278"/>
                  </a:lnTo>
                  <a:lnTo>
                    <a:pt x="101" y="278"/>
                  </a:lnTo>
                  <a:lnTo>
                    <a:pt x="101" y="278"/>
                  </a:lnTo>
                  <a:lnTo>
                    <a:pt x="101" y="280"/>
                  </a:lnTo>
                  <a:lnTo>
                    <a:pt x="99" y="280"/>
                  </a:lnTo>
                  <a:lnTo>
                    <a:pt x="99" y="283"/>
                  </a:lnTo>
                  <a:lnTo>
                    <a:pt x="96" y="283"/>
                  </a:lnTo>
                  <a:lnTo>
                    <a:pt x="96" y="286"/>
                  </a:lnTo>
                  <a:lnTo>
                    <a:pt x="91" y="288"/>
                  </a:lnTo>
                  <a:lnTo>
                    <a:pt x="88" y="288"/>
                  </a:lnTo>
                  <a:lnTo>
                    <a:pt x="88" y="291"/>
                  </a:lnTo>
                  <a:lnTo>
                    <a:pt x="88" y="291"/>
                  </a:lnTo>
                  <a:lnTo>
                    <a:pt x="85" y="294"/>
                  </a:lnTo>
                  <a:lnTo>
                    <a:pt x="85" y="296"/>
                  </a:lnTo>
                  <a:lnTo>
                    <a:pt x="83" y="296"/>
                  </a:lnTo>
                  <a:lnTo>
                    <a:pt x="77" y="299"/>
                  </a:lnTo>
                  <a:lnTo>
                    <a:pt x="75" y="299"/>
                  </a:lnTo>
                  <a:lnTo>
                    <a:pt x="75" y="299"/>
                  </a:lnTo>
                  <a:lnTo>
                    <a:pt x="75" y="299"/>
                  </a:lnTo>
                  <a:lnTo>
                    <a:pt x="75" y="296"/>
                  </a:lnTo>
                  <a:lnTo>
                    <a:pt x="72" y="296"/>
                  </a:lnTo>
                  <a:lnTo>
                    <a:pt x="72" y="296"/>
                  </a:lnTo>
                  <a:lnTo>
                    <a:pt x="72" y="296"/>
                  </a:lnTo>
                  <a:lnTo>
                    <a:pt x="69" y="299"/>
                  </a:lnTo>
                  <a:lnTo>
                    <a:pt x="67" y="299"/>
                  </a:lnTo>
                  <a:lnTo>
                    <a:pt x="67" y="299"/>
                  </a:lnTo>
                  <a:lnTo>
                    <a:pt x="67" y="299"/>
                  </a:lnTo>
                  <a:lnTo>
                    <a:pt x="67" y="299"/>
                  </a:lnTo>
                  <a:lnTo>
                    <a:pt x="64" y="299"/>
                  </a:lnTo>
                  <a:lnTo>
                    <a:pt x="64" y="299"/>
                  </a:lnTo>
                  <a:lnTo>
                    <a:pt x="64" y="299"/>
                  </a:lnTo>
                  <a:lnTo>
                    <a:pt x="61" y="299"/>
                  </a:lnTo>
                  <a:lnTo>
                    <a:pt x="61" y="299"/>
                  </a:lnTo>
                  <a:lnTo>
                    <a:pt x="59" y="299"/>
                  </a:lnTo>
                  <a:lnTo>
                    <a:pt x="56" y="299"/>
                  </a:lnTo>
                  <a:lnTo>
                    <a:pt x="56" y="302"/>
                  </a:lnTo>
                  <a:lnTo>
                    <a:pt x="53" y="302"/>
                  </a:lnTo>
                  <a:lnTo>
                    <a:pt x="51" y="304"/>
                  </a:lnTo>
                  <a:lnTo>
                    <a:pt x="48" y="307"/>
                  </a:lnTo>
                  <a:lnTo>
                    <a:pt x="48" y="307"/>
                  </a:lnTo>
                  <a:lnTo>
                    <a:pt x="48" y="307"/>
                  </a:lnTo>
                  <a:lnTo>
                    <a:pt x="43" y="310"/>
                  </a:lnTo>
                  <a:lnTo>
                    <a:pt x="43" y="310"/>
                  </a:lnTo>
                  <a:lnTo>
                    <a:pt x="40" y="310"/>
                  </a:lnTo>
                  <a:lnTo>
                    <a:pt x="40" y="310"/>
                  </a:lnTo>
                  <a:lnTo>
                    <a:pt x="40" y="315"/>
                  </a:lnTo>
                  <a:lnTo>
                    <a:pt x="37" y="315"/>
                  </a:lnTo>
                  <a:lnTo>
                    <a:pt x="37" y="318"/>
                  </a:lnTo>
                  <a:lnTo>
                    <a:pt x="37" y="318"/>
                  </a:lnTo>
                  <a:lnTo>
                    <a:pt x="32" y="320"/>
                  </a:lnTo>
                  <a:lnTo>
                    <a:pt x="32" y="320"/>
                  </a:lnTo>
                  <a:lnTo>
                    <a:pt x="32" y="320"/>
                  </a:lnTo>
                  <a:lnTo>
                    <a:pt x="29" y="323"/>
                  </a:lnTo>
                  <a:lnTo>
                    <a:pt x="29" y="326"/>
                  </a:lnTo>
                  <a:lnTo>
                    <a:pt x="29" y="326"/>
                  </a:lnTo>
                  <a:lnTo>
                    <a:pt x="29" y="326"/>
                  </a:lnTo>
                  <a:lnTo>
                    <a:pt x="29" y="326"/>
                  </a:lnTo>
                  <a:lnTo>
                    <a:pt x="29" y="328"/>
                  </a:lnTo>
                  <a:lnTo>
                    <a:pt x="29" y="328"/>
                  </a:lnTo>
                  <a:lnTo>
                    <a:pt x="29" y="331"/>
                  </a:lnTo>
                  <a:lnTo>
                    <a:pt x="29" y="331"/>
                  </a:lnTo>
                  <a:lnTo>
                    <a:pt x="29" y="331"/>
                  </a:lnTo>
                  <a:lnTo>
                    <a:pt x="27" y="334"/>
                  </a:lnTo>
                  <a:lnTo>
                    <a:pt x="27" y="336"/>
                  </a:lnTo>
                  <a:lnTo>
                    <a:pt x="27" y="336"/>
                  </a:lnTo>
                  <a:lnTo>
                    <a:pt x="27" y="336"/>
                  </a:lnTo>
                  <a:lnTo>
                    <a:pt x="27" y="342"/>
                  </a:lnTo>
                  <a:lnTo>
                    <a:pt x="27" y="344"/>
                  </a:lnTo>
                  <a:lnTo>
                    <a:pt x="27" y="344"/>
                  </a:lnTo>
                  <a:lnTo>
                    <a:pt x="24" y="347"/>
                  </a:lnTo>
                  <a:lnTo>
                    <a:pt x="24" y="347"/>
                  </a:lnTo>
                  <a:lnTo>
                    <a:pt x="21" y="350"/>
                  </a:lnTo>
                  <a:lnTo>
                    <a:pt x="21" y="350"/>
                  </a:lnTo>
                  <a:lnTo>
                    <a:pt x="19" y="350"/>
                  </a:lnTo>
                  <a:lnTo>
                    <a:pt x="13" y="350"/>
                  </a:lnTo>
                  <a:lnTo>
                    <a:pt x="11" y="352"/>
                  </a:lnTo>
                  <a:lnTo>
                    <a:pt x="11" y="352"/>
                  </a:lnTo>
                  <a:lnTo>
                    <a:pt x="11" y="350"/>
                  </a:lnTo>
                  <a:lnTo>
                    <a:pt x="11" y="350"/>
                  </a:lnTo>
                  <a:lnTo>
                    <a:pt x="8" y="350"/>
                  </a:lnTo>
                  <a:lnTo>
                    <a:pt x="8" y="350"/>
                  </a:lnTo>
                  <a:lnTo>
                    <a:pt x="8" y="350"/>
                  </a:lnTo>
                  <a:lnTo>
                    <a:pt x="5" y="350"/>
                  </a:lnTo>
                  <a:lnTo>
                    <a:pt x="5" y="352"/>
                  </a:lnTo>
                  <a:lnTo>
                    <a:pt x="3" y="352"/>
                  </a:lnTo>
                  <a:lnTo>
                    <a:pt x="3" y="355"/>
                  </a:lnTo>
                  <a:lnTo>
                    <a:pt x="0" y="355"/>
                  </a:lnTo>
                  <a:lnTo>
                    <a:pt x="0" y="358"/>
                  </a:lnTo>
                  <a:lnTo>
                    <a:pt x="0" y="358"/>
                  </a:lnTo>
                  <a:lnTo>
                    <a:pt x="0" y="360"/>
                  </a:lnTo>
                  <a:lnTo>
                    <a:pt x="0" y="363"/>
                  </a:lnTo>
                  <a:lnTo>
                    <a:pt x="0" y="368"/>
                  </a:lnTo>
                  <a:lnTo>
                    <a:pt x="0" y="377"/>
                  </a:lnTo>
                  <a:lnTo>
                    <a:pt x="0" y="385"/>
                  </a:lnTo>
                  <a:lnTo>
                    <a:pt x="3" y="390"/>
                  </a:lnTo>
                  <a:lnTo>
                    <a:pt x="11" y="390"/>
                  </a:lnTo>
                  <a:lnTo>
                    <a:pt x="19" y="387"/>
                  </a:lnTo>
                  <a:lnTo>
                    <a:pt x="27" y="387"/>
                  </a:lnTo>
                  <a:lnTo>
                    <a:pt x="37" y="385"/>
                  </a:lnTo>
                  <a:lnTo>
                    <a:pt x="45" y="385"/>
                  </a:lnTo>
                  <a:lnTo>
                    <a:pt x="61" y="382"/>
                  </a:lnTo>
                  <a:lnTo>
                    <a:pt x="72" y="379"/>
                  </a:lnTo>
                  <a:lnTo>
                    <a:pt x="80" y="379"/>
                  </a:lnTo>
                  <a:lnTo>
                    <a:pt x="88" y="377"/>
                  </a:lnTo>
                  <a:lnTo>
                    <a:pt x="96" y="374"/>
                  </a:lnTo>
                  <a:lnTo>
                    <a:pt x="104" y="374"/>
                  </a:lnTo>
                  <a:lnTo>
                    <a:pt x="115" y="371"/>
                  </a:lnTo>
                  <a:lnTo>
                    <a:pt x="123" y="371"/>
                  </a:lnTo>
                  <a:lnTo>
                    <a:pt x="131" y="368"/>
                  </a:lnTo>
                  <a:lnTo>
                    <a:pt x="139" y="368"/>
                  </a:lnTo>
                  <a:lnTo>
                    <a:pt x="141" y="368"/>
                  </a:lnTo>
                  <a:lnTo>
                    <a:pt x="173" y="352"/>
                  </a:lnTo>
                  <a:lnTo>
                    <a:pt x="176" y="350"/>
                  </a:lnTo>
                  <a:lnTo>
                    <a:pt x="179" y="350"/>
                  </a:lnTo>
                  <a:lnTo>
                    <a:pt x="179" y="352"/>
                  </a:lnTo>
                  <a:lnTo>
                    <a:pt x="179" y="352"/>
                  </a:lnTo>
                  <a:lnTo>
                    <a:pt x="179" y="352"/>
                  </a:lnTo>
                  <a:lnTo>
                    <a:pt x="181" y="350"/>
                  </a:lnTo>
                  <a:lnTo>
                    <a:pt x="181" y="350"/>
                  </a:lnTo>
                  <a:lnTo>
                    <a:pt x="184" y="347"/>
                  </a:lnTo>
                  <a:lnTo>
                    <a:pt x="184" y="347"/>
                  </a:lnTo>
                  <a:lnTo>
                    <a:pt x="187" y="344"/>
                  </a:lnTo>
                  <a:lnTo>
                    <a:pt x="187" y="344"/>
                  </a:lnTo>
                  <a:lnTo>
                    <a:pt x="187" y="344"/>
                  </a:lnTo>
                  <a:lnTo>
                    <a:pt x="187" y="342"/>
                  </a:lnTo>
                  <a:lnTo>
                    <a:pt x="187" y="342"/>
                  </a:lnTo>
                  <a:lnTo>
                    <a:pt x="189" y="342"/>
                  </a:lnTo>
                  <a:lnTo>
                    <a:pt x="189" y="342"/>
                  </a:lnTo>
                  <a:lnTo>
                    <a:pt x="192" y="342"/>
                  </a:lnTo>
                  <a:lnTo>
                    <a:pt x="195" y="339"/>
                  </a:lnTo>
                  <a:lnTo>
                    <a:pt x="200" y="336"/>
                  </a:lnTo>
                  <a:lnTo>
                    <a:pt x="200" y="336"/>
                  </a:lnTo>
                  <a:lnTo>
                    <a:pt x="205" y="334"/>
                  </a:lnTo>
                  <a:lnTo>
                    <a:pt x="205" y="334"/>
                  </a:lnTo>
                  <a:lnTo>
                    <a:pt x="205" y="334"/>
                  </a:lnTo>
                  <a:lnTo>
                    <a:pt x="208" y="334"/>
                  </a:lnTo>
                  <a:lnTo>
                    <a:pt x="208" y="334"/>
                  </a:lnTo>
                  <a:lnTo>
                    <a:pt x="208" y="331"/>
                  </a:lnTo>
                  <a:lnTo>
                    <a:pt x="213" y="331"/>
                  </a:lnTo>
                  <a:lnTo>
                    <a:pt x="213" y="331"/>
                  </a:lnTo>
                  <a:lnTo>
                    <a:pt x="213" y="331"/>
                  </a:lnTo>
                  <a:lnTo>
                    <a:pt x="213" y="328"/>
                  </a:lnTo>
                  <a:lnTo>
                    <a:pt x="213" y="328"/>
                  </a:lnTo>
                  <a:lnTo>
                    <a:pt x="216" y="326"/>
                  </a:lnTo>
                  <a:lnTo>
                    <a:pt x="216" y="326"/>
                  </a:lnTo>
                  <a:lnTo>
                    <a:pt x="219" y="326"/>
                  </a:lnTo>
                  <a:lnTo>
                    <a:pt x="219" y="326"/>
                  </a:lnTo>
                  <a:lnTo>
                    <a:pt x="219" y="326"/>
                  </a:lnTo>
                  <a:lnTo>
                    <a:pt x="219" y="326"/>
                  </a:lnTo>
                  <a:lnTo>
                    <a:pt x="219" y="326"/>
                  </a:lnTo>
                  <a:lnTo>
                    <a:pt x="219" y="326"/>
                  </a:lnTo>
                  <a:lnTo>
                    <a:pt x="221" y="326"/>
                  </a:lnTo>
                  <a:lnTo>
                    <a:pt x="221" y="326"/>
                  </a:lnTo>
                  <a:lnTo>
                    <a:pt x="229" y="326"/>
                  </a:lnTo>
                  <a:lnTo>
                    <a:pt x="237" y="323"/>
                  </a:lnTo>
                  <a:lnTo>
                    <a:pt x="237" y="323"/>
                  </a:lnTo>
                  <a:lnTo>
                    <a:pt x="243" y="323"/>
                  </a:lnTo>
                  <a:lnTo>
                    <a:pt x="248" y="323"/>
                  </a:lnTo>
                  <a:lnTo>
                    <a:pt x="253" y="323"/>
                  </a:lnTo>
                  <a:lnTo>
                    <a:pt x="261" y="320"/>
                  </a:lnTo>
                  <a:lnTo>
                    <a:pt x="269" y="320"/>
                  </a:lnTo>
                  <a:lnTo>
                    <a:pt x="280" y="318"/>
                  </a:lnTo>
                  <a:lnTo>
                    <a:pt x="291" y="318"/>
                  </a:lnTo>
                  <a:lnTo>
                    <a:pt x="299" y="318"/>
                  </a:lnTo>
                  <a:lnTo>
                    <a:pt x="309" y="315"/>
                  </a:lnTo>
                  <a:lnTo>
                    <a:pt x="320" y="315"/>
                  </a:lnTo>
                  <a:lnTo>
                    <a:pt x="331" y="312"/>
                  </a:lnTo>
                  <a:lnTo>
                    <a:pt x="339" y="312"/>
                  </a:lnTo>
                  <a:lnTo>
                    <a:pt x="349" y="312"/>
                  </a:lnTo>
                  <a:lnTo>
                    <a:pt x="355" y="310"/>
                  </a:lnTo>
                  <a:lnTo>
                    <a:pt x="363" y="310"/>
                  </a:lnTo>
                  <a:lnTo>
                    <a:pt x="368" y="310"/>
                  </a:lnTo>
                  <a:lnTo>
                    <a:pt x="371" y="310"/>
                  </a:lnTo>
                  <a:lnTo>
                    <a:pt x="371" y="310"/>
                  </a:lnTo>
                  <a:lnTo>
                    <a:pt x="371" y="310"/>
                  </a:lnTo>
                  <a:lnTo>
                    <a:pt x="373" y="310"/>
                  </a:lnTo>
                  <a:lnTo>
                    <a:pt x="373" y="310"/>
                  </a:lnTo>
                  <a:lnTo>
                    <a:pt x="373" y="310"/>
                  </a:lnTo>
                  <a:lnTo>
                    <a:pt x="373" y="312"/>
                  </a:lnTo>
                  <a:lnTo>
                    <a:pt x="373" y="312"/>
                  </a:lnTo>
                  <a:lnTo>
                    <a:pt x="373" y="312"/>
                  </a:lnTo>
                  <a:lnTo>
                    <a:pt x="373" y="312"/>
                  </a:lnTo>
                  <a:lnTo>
                    <a:pt x="373" y="318"/>
                  </a:lnTo>
                  <a:lnTo>
                    <a:pt x="373" y="318"/>
                  </a:lnTo>
                  <a:lnTo>
                    <a:pt x="373" y="318"/>
                  </a:lnTo>
                  <a:lnTo>
                    <a:pt x="373" y="318"/>
                  </a:lnTo>
                  <a:lnTo>
                    <a:pt x="373" y="318"/>
                  </a:lnTo>
                  <a:lnTo>
                    <a:pt x="373" y="320"/>
                  </a:lnTo>
                  <a:lnTo>
                    <a:pt x="373" y="320"/>
                  </a:lnTo>
                  <a:lnTo>
                    <a:pt x="373" y="320"/>
                  </a:lnTo>
                  <a:lnTo>
                    <a:pt x="376" y="320"/>
                  </a:lnTo>
                  <a:lnTo>
                    <a:pt x="376" y="320"/>
                  </a:lnTo>
                  <a:lnTo>
                    <a:pt x="376" y="320"/>
                  </a:lnTo>
                  <a:lnTo>
                    <a:pt x="384" y="312"/>
                  </a:lnTo>
                  <a:lnTo>
                    <a:pt x="384" y="312"/>
                  </a:lnTo>
                  <a:lnTo>
                    <a:pt x="387" y="312"/>
                  </a:lnTo>
                  <a:lnTo>
                    <a:pt x="387" y="312"/>
                  </a:lnTo>
                  <a:lnTo>
                    <a:pt x="387" y="312"/>
                  </a:lnTo>
                  <a:lnTo>
                    <a:pt x="392" y="318"/>
                  </a:lnTo>
                  <a:lnTo>
                    <a:pt x="400" y="323"/>
                  </a:lnTo>
                  <a:lnTo>
                    <a:pt x="406" y="331"/>
                  </a:lnTo>
                  <a:lnTo>
                    <a:pt x="406" y="331"/>
                  </a:lnTo>
                  <a:lnTo>
                    <a:pt x="406" y="331"/>
                  </a:lnTo>
                  <a:lnTo>
                    <a:pt x="408" y="347"/>
                  </a:lnTo>
                  <a:lnTo>
                    <a:pt x="408" y="347"/>
                  </a:lnTo>
                  <a:lnTo>
                    <a:pt x="408" y="347"/>
                  </a:lnTo>
                  <a:lnTo>
                    <a:pt x="408" y="347"/>
                  </a:lnTo>
                  <a:lnTo>
                    <a:pt x="411" y="347"/>
                  </a:lnTo>
                  <a:lnTo>
                    <a:pt x="416" y="347"/>
                  </a:lnTo>
                  <a:lnTo>
                    <a:pt x="416" y="347"/>
                  </a:lnTo>
                  <a:lnTo>
                    <a:pt x="419" y="347"/>
                  </a:lnTo>
                  <a:lnTo>
                    <a:pt x="424" y="347"/>
                  </a:lnTo>
                  <a:lnTo>
                    <a:pt x="432" y="344"/>
                  </a:lnTo>
                  <a:lnTo>
                    <a:pt x="440" y="344"/>
                  </a:lnTo>
                  <a:lnTo>
                    <a:pt x="451" y="342"/>
                  </a:lnTo>
                  <a:lnTo>
                    <a:pt x="462" y="339"/>
                  </a:lnTo>
                  <a:lnTo>
                    <a:pt x="472" y="339"/>
                  </a:lnTo>
                  <a:lnTo>
                    <a:pt x="483" y="336"/>
                  </a:lnTo>
                  <a:lnTo>
                    <a:pt x="494" y="336"/>
                  </a:lnTo>
                  <a:lnTo>
                    <a:pt x="502" y="334"/>
                  </a:lnTo>
                  <a:lnTo>
                    <a:pt x="512" y="334"/>
                  </a:lnTo>
                  <a:lnTo>
                    <a:pt x="518" y="331"/>
                  </a:lnTo>
                  <a:lnTo>
                    <a:pt x="523" y="331"/>
                  </a:lnTo>
                  <a:lnTo>
                    <a:pt x="528" y="331"/>
                  </a:lnTo>
                  <a:lnTo>
                    <a:pt x="528" y="328"/>
                  </a:lnTo>
                  <a:lnTo>
                    <a:pt x="534" y="328"/>
                  </a:lnTo>
                  <a:lnTo>
                    <a:pt x="536" y="328"/>
                  </a:lnTo>
                  <a:lnTo>
                    <a:pt x="539" y="328"/>
                  </a:lnTo>
                  <a:lnTo>
                    <a:pt x="544" y="331"/>
                  </a:lnTo>
                  <a:lnTo>
                    <a:pt x="552" y="339"/>
                  </a:lnTo>
                  <a:lnTo>
                    <a:pt x="560" y="344"/>
                  </a:lnTo>
                  <a:lnTo>
                    <a:pt x="571" y="350"/>
                  </a:lnTo>
                  <a:lnTo>
                    <a:pt x="587" y="363"/>
                  </a:lnTo>
                  <a:lnTo>
                    <a:pt x="606" y="377"/>
                  </a:lnTo>
                  <a:lnTo>
                    <a:pt x="614" y="382"/>
                  </a:lnTo>
                  <a:lnTo>
                    <a:pt x="624" y="387"/>
                  </a:lnTo>
                  <a:lnTo>
                    <a:pt x="632" y="395"/>
                  </a:lnTo>
                  <a:lnTo>
                    <a:pt x="640" y="401"/>
                  </a:lnTo>
                  <a:lnTo>
                    <a:pt x="651" y="406"/>
                  </a:lnTo>
                  <a:lnTo>
                    <a:pt x="659" y="414"/>
                  </a:lnTo>
                  <a:lnTo>
                    <a:pt x="670" y="419"/>
                  </a:lnTo>
                  <a:lnTo>
                    <a:pt x="678" y="425"/>
                  </a:lnTo>
                  <a:lnTo>
                    <a:pt x="686" y="433"/>
                  </a:lnTo>
                  <a:lnTo>
                    <a:pt x="688" y="430"/>
                  </a:lnTo>
                  <a:lnTo>
                    <a:pt x="691" y="430"/>
                  </a:lnTo>
                  <a:lnTo>
                    <a:pt x="688" y="433"/>
                  </a:lnTo>
                  <a:lnTo>
                    <a:pt x="688" y="433"/>
                  </a:lnTo>
                  <a:lnTo>
                    <a:pt x="699" y="427"/>
                  </a:lnTo>
                  <a:lnTo>
                    <a:pt x="704" y="425"/>
                  </a:lnTo>
                  <a:lnTo>
                    <a:pt x="707" y="422"/>
                  </a:lnTo>
                  <a:lnTo>
                    <a:pt x="707" y="417"/>
                  </a:lnTo>
                  <a:lnTo>
                    <a:pt x="710" y="417"/>
                  </a:lnTo>
                  <a:lnTo>
                    <a:pt x="710" y="419"/>
                  </a:lnTo>
                  <a:lnTo>
                    <a:pt x="710" y="422"/>
                  </a:lnTo>
                  <a:lnTo>
                    <a:pt x="710" y="422"/>
                  </a:lnTo>
                  <a:lnTo>
                    <a:pt x="712" y="422"/>
                  </a:lnTo>
                  <a:lnTo>
                    <a:pt x="723" y="419"/>
                  </a:lnTo>
                  <a:lnTo>
                    <a:pt x="726" y="419"/>
                  </a:lnTo>
                  <a:lnTo>
                    <a:pt x="726" y="419"/>
                  </a:lnTo>
                  <a:lnTo>
                    <a:pt x="734" y="417"/>
                  </a:lnTo>
                  <a:lnTo>
                    <a:pt x="736" y="417"/>
                  </a:lnTo>
                  <a:lnTo>
                    <a:pt x="747" y="419"/>
                  </a:lnTo>
                  <a:lnTo>
                    <a:pt x="747" y="419"/>
                  </a:lnTo>
                  <a:lnTo>
                    <a:pt x="750" y="417"/>
                  </a:lnTo>
                  <a:lnTo>
                    <a:pt x="750" y="417"/>
                  </a:lnTo>
                  <a:lnTo>
                    <a:pt x="752" y="409"/>
                  </a:lnTo>
                  <a:lnTo>
                    <a:pt x="755" y="403"/>
                  </a:lnTo>
                  <a:lnTo>
                    <a:pt x="755" y="401"/>
                  </a:lnTo>
                  <a:lnTo>
                    <a:pt x="752" y="395"/>
                  </a:lnTo>
                  <a:lnTo>
                    <a:pt x="752" y="395"/>
                  </a:lnTo>
                  <a:lnTo>
                    <a:pt x="755" y="393"/>
                  </a:lnTo>
                  <a:lnTo>
                    <a:pt x="752" y="390"/>
                  </a:lnTo>
                  <a:lnTo>
                    <a:pt x="750" y="379"/>
                  </a:lnTo>
                  <a:lnTo>
                    <a:pt x="747" y="377"/>
                  </a:lnTo>
                  <a:lnTo>
                    <a:pt x="750" y="374"/>
                  </a:lnTo>
                  <a:lnTo>
                    <a:pt x="752" y="382"/>
                  </a:lnTo>
                  <a:lnTo>
                    <a:pt x="755" y="385"/>
                  </a:lnTo>
                  <a:lnTo>
                    <a:pt x="755" y="390"/>
                  </a:lnTo>
                  <a:lnTo>
                    <a:pt x="758" y="401"/>
                  </a:lnTo>
                  <a:lnTo>
                    <a:pt x="758" y="406"/>
                  </a:lnTo>
                  <a:lnTo>
                    <a:pt x="758" y="406"/>
                  </a:lnTo>
                  <a:lnTo>
                    <a:pt x="758" y="406"/>
                  </a:lnTo>
                  <a:lnTo>
                    <a:pt x="758" y="409"/>
                  </a:lnTo>
                  <a:lnTo>
                    <a:pt x="758" y="411"/>
                  </a:lnTo>
                  <a:lnTo>
                    <a:pt x="760" y="406"/>
                  </a:lnTo>
                  <a:lnTo>
                    <a:pt x="760" y="398"/>
                  </a:lnTo>
                  <a:lnTo>
                    <a:pt x="760" y="382"/>
                  </a:lnTo>
                  <a:lnTo>
                    <a:pt x="760" y="379"/>
                  </a:lnTo>
                  <a:lnTo>
                    <a:pt x="763" y="374"/>
                  </a:lnTo>
                  <a:lnTo>
                    <a:pt x="763" y="371"/>
                  </a:lnTo>
                  <a:lnTo>
                    <a:pt x="763" y="368"/>
                  </a:lnTo>
                  <a:lnTo>
                    <a:pt x="766" y="363"/>
                  </a:lnTo>
                  <a:lnTo>
                    <a:pt x="771" y="352"/>
                  </a:lnTo>
                  <a:lnTo>
                    <a:pt x="776" y="342"/>
                  </a:lnTo>
                  <a:lnTo>
                    <a:pt x="790" y="328"/>
                  </a:lnTo>
                  <a:lnTo>
                    <a:pt x="798" y="320"/>
                  </a:lnTo>
                  <a:lnTo>
                    <a:pt x="803" y="318"/>
                  </a:lnTo>
                  <a:lnTo>
                    <a:pt x="803" y="315"/>
                  </a:lnTo>
                  <a:lnTo>
                    <a:pt x="806" y="315"/>
                  </a:lnTo>
                  <a:lnTo>
                    <a:pt x="806" y="315"/>
                  </a:lnTo>
                  <a:lnTo>
                    <a:pt x="803" y="315"/>
                  </a:lnTo>
                  <a:lnTo>
                    <a:pt x="803" y="312"/>
                  </a:lnTo>
                  <a:lnTo>
                    <a:pt x="806" y="312"/>
                  </a:lnTo>
                  <a:lnTo>
                    <a:pt x="803" y="310"/>
                  </a:lnTo>
                  <a:lnTo>
                    <a:pt x="800" y="310"/>
                  </a:lnTo>
                  <a:lnTo>
                    <a:pt x="800" y="310"/>
                  </a:lnTo>
                  <a:lnTo>
                    <a:pt x="798" y="310"/>
                  </a:lnTo>
                  <a:lnTo>
                    <a:pt x="798" y="307"/>
                  </a:lnTo>
                  <a:lnTo>
                    <a:pt x="795" y="307"/>
                  </a:lnTo>
                  <a:lnTo>
                    <a:pt x="795" y="307"/>
                  </a:lnTo>
                  <a:lnTo>
                    <a:pt x="795" y="304"/>
                  </a:lnTo>
                  <a:lnTo>
                    <a:pt x="795" y="304"/>
                  </a:lnTo>
                  <a:lnTo>
                    <a:pt x="798" y="304"/>
                  </a:lnTo>
                  <a:lnTo>
                    <a:pt x="798" y="304"/>
                  </a:lnTo>
                  <a:lnTo>
                    <a:pt x="798" y="304"/>
                  </a:lnTo>
                  <a:lnTo>
                    <a:pt x="800" y="302"/>
                  </a:lnTo>
                  <a:lnTo>
                    <a:pt x="800" y="302"/>
                  </a:lnTo>
                  <a:lnTo>
                    <a:pt x="800" y="296"/>
                  </a:lnTo>
                  <a:lnTo>
                    <a:pt x="800" y="296"/>
                  </a:lnTo>
                  <a:lnTo>
                    <a:pt x="798" y="294"/>
                  </a:lnTo>
                  <a:lnTo>
                    <a:pt x="798" y="294"/>
                  </a:lnTo>
                  <a:lnTo>
                    <a:pt x="795" y="294"/>
                  </a:lnTo>
                  <a:lnTo>
                    <a:pt x="795" y="294"/>
                  </a:lnTo>
                  <a:lnTo>
                    <a:pt x="792" y="286"/>
                  </a:lnTo>
                  <a:lnTo>
                    <a:pt x="795" y="288"/>
                  </a:lnTo>
                  <a:lnTo>
                    <a:pt x="795" y="288"/>
                  </a:lnTo>
                  <a:lnTo>
                    <a:pt x="795" y="286"/>
                  </a:lnTo>
                  <a:lnTo>
                    <a:pt x="798" y="286"/>
                  </a:lnTo>
                  <a:lnTo>
                    <a:pt x="798" y="288"/>
                  </a:lnTo>
                  <a:lnTo>
                    <a:pt x="800" y="288"/>
                  </a:lnTo>
                  <a:lnTo>
                    <a:pt x="800" y="288"/>
                  </a:lnTo>
                  <a:lnTo>
                    <a:pt x="798" y="288"/>
                  </a:lnTo>
                  <a:lnTo>
                    <a:pt x="798" y="291"/>
                  </a:lnTo>
                  <a:lnTo>
                    <a:pt x="800" y="291"/>
                  </a:lnTo>
                  <a:lnTo>
                    <a:pt x="806" y="296"/>
                  </a:lnTo>
                  <a:lnTo>
                    <a:pt x="806" y="296"/>
                  </a:lnTo>
                  <a:lnTo>
                    <a:pt x="806" y="299"/>
                  </a:lnTo>
                  <a:lnTo>
                    <a:pt x="803" y="304"/>
                  </a:lnTo>
                  <a:lnTo>
                    <a:pt x="800" y="307"/>
                  </a:lnTo>
                  <a:lnTo>
                    <a:pt x="806" y="307"/>
                  </a:lnTo>
                  <a:lnTo>
                    <a:pt x="806" y="307"/>
                  </a:lnTo>
                  <a:lnTo>
                    <a:pt x="806" y="307"/>
                  </a:lnTo>
                  <a:lnTo>
                    <a:pt x="808" y="310"/>
                  </a:lnTo>
                  <a:lnTo>
                    <a:pt x="811" y="310"/>
                  </a:lnTo>
                  <a:lnTo>
                    <a:pt x="814" y="307"/>
                  </a:lnTo>
                  <a:lnTo>
                    <a:pt x="814" y="304"/>
                  </a:lnTo>
                  <a:lnTo>
                    <a:pt x="816" y="304"/>
                  </a:lnTo>
                  <a:lnTo>
                    <a:pt x="822" y="294"/>
                  </a:lnTo>
                  <a:lnTo>
                    <a:pt x="824" y="291"/>
                  </a:lnTo>
                  <a:lnTo>
                    <a:pt x="824" y="291"/>
                  </a:lnTo>
                  <a:lnTo>
                    <a:pt x="824" y="288"/>
                  </a:lnTo>
                  <a:lnTo>
                    <a:pt x="824" y="288"/>
                  </a:lnTo>
                  <a:lnTo>
                    <a:pt x="824" y="288"/>
                  </a:lnTo>
                  <a:lnTo>
                    <a:pt x="824" y="288"/>
                  </a:lnTo>
                  <a:lnTo>
                    <a:pt x="827" y="288"/>
                  </a:lnTo>
                  <a:lnTo>
                    <a:pt x="827" y="288"/>
                  </a:lnTo>
                  <a:lnTo>
                    <a:pt x="827" y="288"/>
                  </a:lnTo>
                  <a:lnTo>
                    <a:pt x="830" y="286"/>
                  </a:lnTo>
                  <a:lnTo>
                    <a:pt x="830" y="283"/>
                  </a:lnTo>
                  <a:lnTo>
                    <a:pt x="830" y="283"/>
                  </a:lnTo>
                  <a:lnTo>
                    <a:pt x="827" y="280"/>
                  </a:lnTo>
                  <a:lnTo>
                    <a:pt x="827" y="280"/>
                  </a:lnTo>
                  <a:lnTo>
                    <a:pt x="827" y="278"/>
                  </a:lnTo>
                  <a:lnTo>
                    <a:pt x="830" y="278"/>
                  </a:lnTo>
                  <a:lnTo>
                    <a:pt x="830" y="278"/>
                  </a:lnTo>
                  <a:lnTo>
                    <a:pt x="830" y="280"/>
                  </a:lnTo>
                  <a:lnTo>
                    <a:pt x="832" y="283"/>
                  </a:lnTo>
                  <a:lnTo>
                    <a:pt x="832" y="286"/>
                  </a:lnTo>
                  <a:lnTo>
                    <a:pt x="832" y="288"/>
                  </a:lnTo>
                  <a:lnTo>
                    <a:pt x="832" y="288"/>
                  </a:lnTo>
                  <a:lnTo>
                    <a:pt x="835" y="288"/>
                  </a:lnTo>
                  <a:lnTo>
                    <a:pt x="835" y="286"/>
                  </a:lnTo>
                  <a:lnTo>
                    <a:pt x="851" y="278"/>
                  </a:lnTo>
                  <a:lnTo>
                    <a:pt x="854" y="275"/>
                  </a:lnTo>
                  <a:lnTo>
                    <a:pt x="875" y="272"/>
                  </a:lnTo>
                  <a:lnTo>
                    <a:pt x="875" y="270"/>
                  </a:lnTo>
                  <a:lnTo>
                    <a:pt x="872" y="267"/>
                  </a:lnTo>
                  <a:lnTo>
                    <a:pt x="872" y="267"/>
                  </a:lnTo>
                  <a:lnTo>
                    <a:pt x="870" y="270"/>
                  </a:lnTo>
                  <a:lnTo>
                    <a:pt x="870" y="270"/>
                  </a:lnTo>
                  <a:lnTo>
                    <a:pt x="867" y="270"/>
                  </a:lnTo>
                  <a:lnTo>
                    <a:pt x="870" y="267"/>
                  </a:lnTo>
                  <a:lnTo>
                    <a:pt x="870" y="264"/>
                  </a:lnTo>
                  <a:lnTo>
                    <a:pt x="872" y="262"/>
                  </a:lnTo>
                  <a:lnTo>
                    <a:pt x="875" y="262"/>
                  </a:lnTo>
                  <a:lnTo>
                    <a:pt x="878" y="262"/>
                  </a:lnTo>
                  <a:lnTo>
                    <a:pt x="878" y="264"/>
                  </a:lnTo>
                  <a:lnTo>
                    <a:pt x="880" y="270"/>
                  </a:lnTo>
                  <a:lnTo>
                    <a:pt x="880" y="272"/>
                  </a:lnTo>
                  <a:lnTo>
                    <a:pt x="886" y="272"/>
                  </a:lnTo>
                  <a:lnTo>
                    <a:pt x="886" y="270"/>
                  </a:lnTo>
                  <a:lnTo>
                    <a:pt x="883" y="256"/>
                  </a:lnTo>
                  <a:lnTo>
                    <a:pt x="883" y="256"/>
                  </a:lnTo>
                  <a:lnTo>
                    <a:pt x="886" y="259"/>
                  </a:lnTo>
                  <a:lnTo>
                    <a:pt x="888" y="262"/>
                  </a:lnTo>
                  <a:lnTo>
                    <a:pt x="888" y="264"/>
                  </a:lnTo>
                  <a:lnTo>
                    <a:pt x="888" y="264"/>
                  </a:lnTo>
                  <a:lnTo>
                    <a:pt x="891" y="267"/>
                  </a:lnTo>
                  <a:lnTo>
                    <a:pt x="894" y="267"/>
                  </a:lnTo>
                  <a:lnTo>
                    <a:pt x="896" y="267"/>
                  </a:lnTo>
                  <a:lnTo>
                    <a:pt x="896" y="267"/>
                  </a:lnTo>
                  <a:lnTo>
                    <a:pt x="899" y="264"/>
                  </a:lnTo>
                  <a:lnTo>
                    <a:pt x="899" y="264"/>
                  </a:lnTo>
                  <a:lnTo>
                    <a:pt x="899" y="262"/>
                  </a:lnTo>
                  <a:lnTo>
                    <a:pt x="896" y="262"/>
                  </a:lnTo>
                  <a:lnTo>
                    <a:pt x="896" y="262"/>
                  </a:lnTo>
                  <a:lnTo>
                    <a:pt x="899" y="259"/>
                  </a:lnTo>
                  <a:lnTo>
                    <a:pt x="899" y="259"/>
                  </a:lnTo>
                  <a:lnTo>
                    <a:pt x="899" y="259"/>
                  </a:lnTo>
                  <a:lnTo>
                    <a:pt x="899" y="259"/>
                  </a:lnTo>
                  <a:lnTo>
                    <a:pt x="902" y="254"/>
                  </a:lnTo>
                  <a:lnTo>
                    <a:pt x="904" y="251"/>
                  </a:lnTo>
                  <a:lnTo>
                    <a:pt x="904" y="248"/>
                  </a:lnTo>
                  <a:lnTo>
                    <a:pt x="904" y="248"/>
                  </a:lnTo>
                  <a:lnTo>
                    <a:pt x="904" y="246"/>
                  </a:lnTo>
                  <a:lnTo>
                    <a:pt x="904" y="243"/>
                  </a:lnTo>
                  <a:lnTo>
                    <a:pt x="904" y="243"/>
                  </a:lnTo>
                  <a:lnTo>
                    <a:pt x="904" y="243"/>
                  </a:lnTo>
                  <a:lnTo>
                    <a:pt x="907" y="243"/>
                  </a:lnTo>
                  <a:lnTo>
                    <a:pt x="907" y="246"/>
                  </a:lnTo>
                  <a:lnTo>
                    <a:pt x="907" y="246"/>
                  </a:lnTo>
                  <a:lnTo>
                    <a:pt x="910" y="243"/>
                  </a:lnTo>
                  <a:lnTo>
                    <a:pt x="912" y="240"/>
                  </a:lnTo>
                  <a:lnTo>
                    <a:pt x="912" y="240"/>
                  </a:lnTo>
                  <a:lnTo>
                    <a:pt x="912" y="238"/>
                  </a:lnTo>
                  <a:lnTo>
                    <a:pt x="910" y="238"/>
                  </a:lnTo>
                  <a:lnTo>
                    <a:pt x="910" y="235"/>
                  </a:lnTo>
                  <a:lnTo>
                    <a:pt x="910" y="235"/>
                  </a:lnTo>
                  <a:lnTo>
                    <a:pt x="912" y="232"/>
                  </a:lnTo>
                  <a:lnTo>
                    <a:pt x="912" y="232"/>
                  </a:lnTo>
                  <a:lnTo>
                    <a:pt x="915" y="232"/>
                  </a:lnTo>
                  <a:lnTo>
                    <a:pt x="915" y="232"/>
                  </a:lnTo>
                  <a:lnTo>
                    <a:pt x="918" y="230"/>
                  </a:lnTo>
                  <a:lnTo>
                    <a:pt x="918" y="230"/>
                  </a:lnTo>
                  <a:lnTo>
                    <a:pt x="918" y="227"/>
                  </a:lnTo>
                  <a:lnTo>
                    <a:pt x="915" y="227"/>
                  </a:lnTo>
                  <a:lnTo>
                    <a:pt x="912" y="224"/>
                  </a:lnTo>
                  <a:lnTo>
                    <a:pt x="910" y="222"/>
                  </a:lnTo>
                  <a:lnTo>
                    <a:pt x="907" y="222"/>
                  </a:lnTo>
                  <a:lnTo>
                    <a:pt x="907" y="224"/>
                  </a:lnTo>
                  <a:lnTo>
                    <a:pt x="910" y="227"/>
                  </a:lnTo>
                  <a:lnTo>
                    <a:pt x="912" y="230"/>
                  </a:lnTo>
                  <a:lnTo>
                    <a:pt x="910" y="230"/>
                  </a:lnTo>
                  <a:lnTo>
                    <a:pt x="907" y="230"/>
                  </a:lnTo>
                  <a:lnTo>
                    <a:pt x="907" y="232"/>
                  </a:lnTo>
                  <a:lnTo>
                    <a:pt x="904" y="235"/>
                  </a:lnTo>
                  <a:lnTo>
                    <a:pt x="904" y="235"/>
                  </a:lnTo>
                  <a:lnTo>
                    <a:pt x="899" y="235"/>
                  </a:lnTo>
                  <a:lnTo>
                    <a:pt x="896" y="238"/>
                  </a:lnTo>
                  <a:lnTo>
                    <a:pt x="896" y="238"/>
                  </a:lnTo>
                  <a:lnTo>
                    <a:pt x="896" y="235"/>
                  </a:lnTo>
                  <a:lnTo>
                    <a:pt x="896" y="235"/>
                  </a:lnTo>
                  <a:lnTo>
                    <a:pt x="896" y="235"/>
                  </a:lnTo>
                  <a:lnTo>
                    <a:pt x="896" y="232"/>
                  </a:lnTo>
                  <a:lnTo>
                    <a:pt x="896" y="232"/>
                  </a:lnTo>
                  <a:lnTo>
                    <a:pt x="896" y="232"/>
                  </a:lnTo>
                  <a:lnTo>
                    <a:pt x="899" y="230"/>
                  </a:lnTo>
                  <a:lnTo>
                    <a:pt x="902" y="230"/>
                  </a:lnTo>
                  <a:lnTo>
                    <a:pt x="899" y="227"/>
                  </a:lnTo>
                  <a:lnTo>
                    <a:pt x="896" y="224"/>
                  </a:lnTo>
                  <a:lnTo>
                    <a:pt x="896" y="224"/>
                  </a:lnTo>
                  <a:lnTo>
                    <a:pt x="896" y="222"/>
                  </a:lnTo>
                  <a:lnTo>
                    <a:pt x="896" y="222"/>
                  </a:lnTo>
                  <a:lnTo>
                    <a:pt x="896" y="222"/>
                  </a:lnTo>
                  <a:lnTo>
                    <a:pt x="894" y="219"/>
                  </a:lnTo>
                  <a:lnTo>
                    <a:pt x="894" y="219"/>
                  </a:lnTo>
                  <a:lnTo>
                    <a:pt x="894" y="219"/>
                  </a:lnTo>
                  <a:lnTo>
                    <a:pt x="894" y="222"/>
                  </a:lnTo>
                  <a:lnTo>
                    <a:pt x="891" y="224"/>
                  </a:lnTo>
                  <a:lnTo>
                    <a:pt x="891" y="224"/>
                  </a:lnTo>
                  <a:lnTo>
                    <a:pt x="891" y="227"/>
                  </a:lnTo>
                  <a:lnTo>
                    <a:pt x="894" y="230"/>
                  </a:lnTo>
                  <a:lnTo>
                    <a:pt x="894" y="230"/>
                  </a:lnTo>
                  <a:lnTo>
                    <a:pt x="894" y="232"/>
                  </a:lnTo>
                  <a:lnTo>
                    <a:pt x="891" y="230"/>
                  </a:lnTo>
                  <a:lnTo>
                    <a:pt x="888" y="230"/>
                  </a:lnTo>
                  <a:lnTo>
                    <a:pt x="886" y="230"/>
                  </a:lnTo>
                  <a:lnTo>
                    <a:pt x="886" y="230"/>
                  </a:lnTo>
                  <a:lnTo>
                    <a:pt x="883" y="232"/>
                  </a:lnTo>
                  <a:lnTo>
                    <a:pt x="883" y="235"/>
                  </a:lnTo>
                  <a:lnTo>
                    <a:pt x="888" y="238"/>
                  </a:lnTo>
                  <a:lnTo>
                    <a:pt x="888" y="240"/>
                  </a:lnTo>
                  <a:lnTo>
                    <a:pt x="886" y="240"/>
                  </a:lnTo>
                  <a:lnTo>
                    <a:pt x="883" y="238"/>
                  </a:lnTo>
                  <a:lnTo>
                    <a:pt x="880" y="238"/>
                  </a:lnTo>
                  <a:lnTo>
                    <a:pt x="880" y="238"/>
                  </a:lnTo>
                  <a:lnTo>
                    <a:pt x="880" y="235"/>
                  </a:lnTo>
                  <a:lnTo>
                    <a:pt x="878" y="235"/>
                  </a:lnTo>
                  <a:lnTo>
                    <a:pt x="878" y="235"/>
                  </a:lnTo>
                  <a:lnTo>
                    <a:pt x="878" y="235"/>
                  </a:lnTo>
                  <a:lnTo>
                    <a:pt x="875" y="235"/>
                  </a:lnTo>
                  <a:lnTo>
                    <a:pt x="872" y="238"/>
                  </a:lnTo>
                  <a:lnTo>
                    <a:pt x="872" y="240"/>
                  </a:lnTo>
                  <a:lnTo>
                    <a:pt x="870" y="243"/>
                  </a:lnTo>
                  <a:lnTo>
                    <a:pt x="870" y="243"/>
                  </a:lnTo>
                  <a:lnTo>
                    <a:pt x="867" y="246"/>
                  </a:lnTo>
                  <a:lnTo>
                    <a:pt x="864" y="248"/>
                  </a:lnTo>
                  <a:lnTo>
                    <a:pt x="864" y="248"/>
                  </a:lnTo>
                  <a:lnTo>
                    <a:pt x="864" y="248"/>
                  </a:lnTo>
                  <a:lnTo>
                    <a:pt x="864" y="248"/>
                  </a:lnTo>
                  <a:lnTo>
                    <a:pt x="862" y="246"/>
                  </a:lnTo>
                  <a:lnTo>
                    <a:pt x="859" y="246"/>
                  </a:lnTo>
                  <a:lnTo>
                    <a:pt x="851" y="243"/>
                  </a:lnTo>
                  <a:lnTo>
                    <a:pt x="846" y="243"/>
                  </a:lnTo>
                  <a:lnTo>
                    <a:pt x="843" y="243"/>
                  </a:lnTo>
                  <a:lnTo>
                    <a:pt x="838" y="238"/>
                  </a:lnTo>
                  <a:lnTo>
                    <a:pt x="832" y="232"/>
                  </a:lnTo>
                  <a:lnTo>
                    <a:pt x="830" y="230"/>
                  </a:lnTo>
                  <a:lnTo>
                    <a:pt x="827" y="230"/>
                  </a:lnTo>
                  <a:lnTo>
                    <a:pt x="827" y="230"/>
                  </a:lnTo>
                  <a:lnTo>
                    <a:pt x="822" y="222"/>
                  </a:lnTo>
                  <a:lnTo>
                    <a:pt x="824" y="222"/>
                  </a:lnTo>
                  <a:lnTo>
                    <a:pt x="832" y="230"/>
                  </a:lnTo>
                  <a:lnTo>
                    <a:pt x="838" y="230"/>
                  </a:lnTo>
                  <a:lnTo>
                    <a:pt x="838" y="230"/>
                  </a:lnTo>
                  <a:lnTo>
                    <a:pt x="846" y="235"/>
                  </a:lnTo>
                  <a:lnTo>
                    <a:pt x="848" y="238"/>
                  </a:lnTo>
                  <a:lnTo>
                    <a:pt x="854" y="238"/>
                  </a:lnTo>
                  <a:lnTo>
                    <a:pt x="856" y="238"/>
                  </a:lnTo>
                  <a:lnTo>
                    <a:pt x="862" y="238"/>
                  </a:lnTo>
                  <a:lnTo>
                    <a:pt x="864" y="235"/>
                  </a:lnTo>
                  <a:lnTo>
                    <a:pt x="867" y="232"/>
                  </a:lnTo>
                  <a:lnTo>
                    <a:pt x="870" y="230"/>
                  </a:lnTo>
                  <a:lnTo>
                    <a:pt x="872" y="224"/>
                  </a:lnTo>
                  <a:lnTo>
                    <a:pt x="875" y="222"/>
                  </a:lnTo>
                  <a:lnTo>
                    <a:pt x="875" y="219"/>
                  </a:lnTo>
                  <a:lnTo>
                    <a:pt x="878" y="216"/>
                  </a:lnTo>
                  <a:lnTo>
                    <a:pt x="880" y="214"/>
                  </a:lnTo>
                  <a:lnTo>
                    <a:pt x="880" y="211"/>
                  </a:lnTo>
                  <a:lnTo>
                    <a:pt x="878" y="206"/>
                  </a:lnTo>
                  <a:lnTo>
                    <a:pt x="875" y="208"/>
                  </a:lnTo>
                  <a:lnTo>
                    <a:pt x="875" y="208"/>
                  </a:lnTo>
                  <a:lnTo>
                    <a:pt x="878" y="208"/>
                  </a:lnTo>
                  <a:lnTo>
                    <a:pt x="878" y="208"/>
                  </a:lnTo>
                  <a:lnTo>
                    <a:pt x="878" y="208"/>
                  </a:lnTo>
                  <a:lnTo>
                    <a:pt x="878" y="211"/>
                  </a:lnTo>
                  <a:lnTo>
                    <a:pt x="875" y="211"/>
                  </a:lnTo>
                  <a:lnTo>
                    <a:pt x="875" y="211"/>
                  </a:lnTo>
                  <a:lnTo>
                    <a:pt x="872" y="211"/>
                  </a:lnTo>
                  <a:lnTo>
                    <a:pt x="867" y="211"/>
                  </a:lnTo>
                  <a:lnTo>
                    <a:pt x="867" y="211"/>
                  </a:lnTo>
                  <a:lnTo>
                    <a:pt x="867" y="208"/>
                  </a:lnTo>
                  <a:lnTo>
                    <a:pt x="870" y="208"/>
                  </a:lnTo>
                  <a:lnTo>
                    <a:pt x="870" y="206"/>
                  </a:lnTo>
                  <a:lnTo>
                    <a:pt x="872" y="206"/>
                  </a:lnTo>
                  <a:lnTo>
                    <a:pt x="872" y="206"/>
                  </a:lnTo>
                  <a:lnTo>
                    <a:pt x="872" y="203"/>
                  </a:lnTo>
                  <a:lnTo>
                    <a:pt x="875" y="203"/>
                  </a:lnTo>
                  <a:lnTo>
                    <a:pt x="878" y="203"/>
                  </a:lnTo>
                  <a:lnTo>
                    <a:pt x="880" y="203"/>
                  </a:lnTo>
                  <a:lnTo>
                    <a:pt x="880" y="203"/>
                  </a:lnTo>
                  <a:lnTo>
                    <a:pt x="883" y="200"/>
                  </a:lnTo>
                  <a:lnTo>
                    <a:pt x="880" y="200"/>
                  </a:lnTo>
                  <a:lnTo>
                    <a:pt x="880" y="200"/>
                  </a:lnTo>
                  <a:lnTo>
                    <a:pt x="878" y="198"/>
                  </a:lnTo>
                  <a:lnTo>
                    <a:pt x="878" y="198"/>
                  </a:lnTo>
                  <a:lnTo>
                    <a:pt x="883" y="198"/>
                  </a:lnTo>
                  <a:lnTo>
                    <a:pt x="886" y="198"/>
                  </a:lnTo>
                  <a:lnTo>
                    <a:pt x="886" y="195"/>
                  </a:lnTo>
                  <a:lnTo>
                    <a:pt x="886" y="195"/>
                  </a:lnTo>
                  <a:lnTo>
                    <a:pt x="886" y="192"/>
                  </a:lnTo>
                  <a:lnTo>
                    <a:pt x="886" y="189"/>
                  </a:lnTo>
                  <a:lnTo>
                    <a:pt x="883" y="189"/>
                  </a:lnTo>
                  <a:lnTo>
                    <a:pt x="883" y="187"/>
                  </a:lnTo>
                  <a:lnTo>
                    <a:pt x="883" y="187"/>
                  </a:lnTo>
                  <a:lnTo>
                    <a:pt x="880" y="187"/>
                  </a:lnTo>
                  <a:lnTo>
                    <a:pt x="867" y="187"/>
                  </a:lnTo>
                  <a:lnTo>
                    <a:pt x="859" y="184"/>
                  </a:lnTo>
                  <a:lnTo>
                    <a:pt x="851" y="181"/>
                  </a:lnTo>
                  <a:lnTo>
                    <a:pt x="843" y="181"/>
                  </a:lnTo>
                  <a:lnTo>
                    <a:pt x="840" y="181"/>
                  </a:lnTo>
                  <a:lnTo>
                    <a:pt x="838" y="179"/>
                  </a:lnTo>
                  <a:lnTo>
                    <a:pt x="832" y="179"/>
                  </a:lnTo>
                  <a:lnTo>
                    <a:pt x="827" y="179"/>
                  </a:lnTo>
                  <a:lnTo>
                    <a:pt x="824" y="181"/>
                  </a:lnTo>
                  <a:lnTo>
                    <a:pt x="822" y="176"/>
                  </a:lnTo>
                  <a:lnTo>
                    <a:pt x="822" y="176"/>
                  </a:lnTo>
                  <a:lnTo>
                    <a:pt x="819" y="173"/>
                  </a:lnTo>
                  <a:lnTo>
                    <a:pt x="816" y="173"/>
                  </a:lnTo>
                  <a:lnTo>
                    <a:pt x="816" y="173"/>
                  </a:lnTo>
                  <a:lnTo>
                    <a:pt x="814" y="168"/>
                  </a:lnTo>
                  <a:lnTo>
                    <a:pt x="819" y="171"/>
                  </a:lnTo>
                  <a:lnTo>
                    <a:pt x="822" y="173"/>
                  </a:lnTo>
                  <a:lnTo>
                    <a:pt x="827" y="173"/>
                  </a:lnTo>
                  <a:lnTo>
                    <a:pt x="832" y="176"/>
                  </a:lnTo>
                  <a:lnTo>
                    <a:pt x="835" y="176"/>
                  </a:lnTo>
                  <a:lnTo>
                    <a:pt x="840" y="173"/>
                  </a:lnTo>
                  <a:lnTo>
                    <a:pt x="843" y="176"/>
                  </a:lnTo>
                  <a:lnTo>
                    <a:pt x="846" y="176"/>
                  </a:lnTo>
                  <a:lnTo>
                    <a:pt x="848" y="179"/>
                  </a:lnTo>
                  <a:lnTo>
                    <a:pt x="856" y="176"/>
                  </a:lnTo>
                  <a:lnTo>
                    <a:pt x="859" y="176"/>
                  </a:lnTo>
                  <a:lnTo>
                    <a:pt x="859" y="173"/>
                  </a:lnTo>
                  <a:lnTo>
                    <a:pt x="859" y="173"/>
                  </a:lnTo>
                  <a:lnTo>
                    <a:pt x="859" y="173"/>
                  </a:lnTo>
                  <a:lnTo>
                    <a:pt x="862" y="173"/>
                  </a:lnTo>
                  <a:lnTo>
                    <a:pt x="862" y="176"/>
                  </a:lnTo>
                  <a:lnTo>
                    <a:pt x="864" y="176"/>
                  </a:lnTo>
                  <a:lnTo>
                    <a:pt x="867" y="176"/>
                  </a:lnTo>
                  <a:lnTo>
                    <a:pt x="870" y="176"/>
                  </a:lnTo>
                  <a:lnTo>
                    <a:pt x="870" y="173"/>
                  </a:lnTo>
                  <a:lnTo>
                    <a:pt x="870" y="173"/>
                  </a:lnTo>
                  <a:lnTo>
                    <a:pt x="867" y="173"/>
                  </a:lnTo>
                  <a:lnTo>
                    <a:pt x="867" y="173"/>
                  </a:lnTo>
                  <a:lnTo>
                    <a:pt x="867" y="173"/>
                  </a:lnTo>
                  <a:lnTo>
                    <a:pt x="867" y="173"/>
                  </a:lnTo>
                  <a:lnTo>
                    <a:pt x="867" y="171"/>
                  </a:lnTo>
                  <a:lnTo>
                    <a:pt x="867" y="171"/>
                  </a:lnTo>
                  <a:lnTo>
                    <a:pt x="867" y="171"/>
                  </a:lnTo>
                  <a:lnTo>
                    <a:pt x="867" y="171"/>
                  </a:lnTo>
                  <a:lnTo>
                    <a:pt x="864" y="171"/>
                  </a:lnTo>
                  <a:lnTo>
                    <a:pt x="864" y="168"/>
                  </a:lnTo>
                  <a:lnTo>
                    <a:pt x="864" y="168"/>
                  </a:lnTo>
                  <a:lnTo>
                    <a:pt x="864" y="165"/>
                  </a:lnTo>
                  <a:lnTo>
                    <a:pt x="864" y="163"/>
                  </a:lnTo>
                  <a:lnTo>
                    <a:pt x="862" y="163"/>
                  </a:lnTo>
                  <a:lnTo>
                    <a:pt x="862" y="160"/>
                  </a:lnTo>
                  <a:lnTo>
                    <a:pt x="859" y="160"/>
                  </a:lnTo>
                  <a:lnTo>
                    <a:pt x="862" y="157"/>
                  </a:lnTo>
                  <a:lnTo>
                    <a:pt x="864" y="155"/>
                  </a:lnTo>
                  <a:lnTo>
                    <a:pt x="867" y="155"/>
                  </a:lnTo>
                  <a:lnTo>
                    <a:pt x="872" y="155"/>
                  </a:lnTo>
                  <a:lnTo>
                    <a:pt x="875" y="155"/>
                  </a:lnTo>
                  <a:lnTo>
                    <a:pt x="878" y="155"/>
                  </a:lnTo>
                  <a:lnTo>
                    <a:pt x="878" y="157"/>
                  </a:lnTo>
                  <a:lnTo>
                    <a:pt x="878" y="160"/>
                  </a:lnTo>
                  <a:lnTo>
                    <a:pt x="870" y="160"/>
                  </a:lnTo>
                  <a:lnTo>
                    <a:pt x="867" y="160"/>
                  </a:lnTo>
                  <a:lnTo>
                    <a:pt x="867" y="163"/>
                  </a:lnTo>
                  <a:lnTo>
                    <a:pt x="870" y="165"/>
                  </a:lnTo>
                  <a:lnTo>
                    <a:pt x="872" y="165"/>
                  </a:lnTo>
                  <a:lnTo>
                    <a:pt x="872" y="165"/>
                  </a:lnTo>
                  <a:lnTo>
                    <a:pt x="870" y="168"/>
                  </a:lnTo>
                  <a:lnTo>
                    <a:pt x="872" y="168"/>
                  </a:lnTo>
                  <a:lnTo>
                    <a:pt x="878" y="171"/>
                  </a:lnTo>
                  <a:lnTo>
                    <a:pt x="878" y="171"/>
                  </a:lnTo>
                  <a:lnTo>
                    <a:pt x="878" y="171"/>
                  </a:lnTo>
                  <a:lnTo>
                    <a:pt x="878" y="171"/>
                  </a:lnTo>
                  <a:lnTo>
                    <a:pt x="875" y="173"/>
                  </a:lnTo>
                  <a:lnTo>
                    <a:pt x="878" y="173"/>
                  </a:lnTo>
                  <a:lnTo>
                    <a:pt x="880" y="176"/>
                  </a:lnTo>
                  <a:lnTo>
                    <a:pt x="883" y="176"/>
                  </a:lnTo>
                  <a:lnTo>
                    <a:pt x="883" y="176"/>
                  </a:lnTo>
                  <a:lnTo>
                    <a:pt x="883" y="176"/>
                  </a:lnTo>
                  <a:lnTo>
                    <a:pt x="883" y="173"/>
                  </a:lnTo>
                  <a:lnTo>
                    <a:pt x="880" y="173"/>
                  </a:lnTo>
                  <a:lnTo>
                    <a:pt x="880" y="173"/>
                  </a:lnTo>
                  <a:lnTo>
                    <a:pt x="883" y="171"/>
                  </a:lnTo>
                  <a:lnTo>
                    <a:pt x="883" y="171"/>
                  </a:lnTo>
                  <a:lnTo>
                    <a:pt x="886" y="173"/>
                  </a:lnTo>
                  <a:lnTo>
                    <a:pt x="886" y="168"/>
                  </a:lnTo>
                  <a:lnTo>
                    <a:pt x="886" y="165"/>
                  </a:lnTo>
                  <a:lnTo>
                    <a:pt x="886" y="163"/>
                  </a:lnTo>
                  <a:lnTo>
                    <a:pt x="888" y="163"/>
                  </a:lnTo>
                  <a:lnTo>
                    <a:pt x="891" y="165"/>
                  </a:lnTo>
                  <a:lnTo>
                    <a:pt x="891" y="171"/>
                  </a:lnTo>
                  <a:lnTo>
                    <a:pt x="891" y="173"/>
                  </a:lnTo>
                  <a:lnTo>
                    <a:pt x="894" y="173"/>
                  </a:lnTo>
                  <a:lnTo>
                    <a:pt x="894" y="173"/>
                  </a:lnTo>
                  <a:lnTo>
                    <a:pt x="888" y="176"/>
                  </a:lnTo>
                  <a:lnTo>
                    <a:pt x="888" y="176"/>
                  </a:lnTo>
                  <a:lnTo>
                    <a:pt x="891" y="176"/>
                  </a:lnTo>
                  <a:lnTo>
                    <a:pt x="891" y="176"/>
                  </a:lnTo>
                  <a:lnTo>
                    <a:pt x="891" y="176"/>
                  </a:lnTo>
                  <a:lnTo>
                    <a:pt x="894" y="179"/>
                  </a:lnTo>
                  <a:lnTo>
                    <a:pt x="894" y="179"/>
                  </a:lnTo>
                  <a:lnTo>
                    <a:pt x="896" y="179"/>
                  </a:lnTo>
                  <a:lnTo>
                    <a:pt x="896" y="176"/>
                  </a:lnTo>
                  <a:lnTo>
                    <a:pt x="896" y="173"/>
                  </a:lnTo>
                  <a:lnTo>
                    <a:pt x="894" y="173"/>
                  </a:lnTo>
                  <a:lnTo>
                    <a:pt x="894" y="173"/>
                  </a:lnTo>
                  <a:lnTo>
                    <a:pt x="894" y="171"/>
                  </a:lnTo>
                  <a:lnTo>
                    <a:pt x="894" y="168"/>
                  </a:lnTo>
                  <a:lnTo>
                    <a:pt x="896" y="171"/>
                  </a:lnTo>
                  <a:lnTo>
                    <a:pt x="899" y="171"/>
                  </a:lnTo>
                  <a:lnTo>
                    <a:pt x="902" y="173"/>
                  </a:lnTo>
                  <a:lnTo>
                    <a:pt x="904" y="176"/>
                  </a:lnTo>
                  <a:lnTo>
                    <a:pt x="907" y="176"/>
                  </a:lnTo>
                  <a:lnTo>
                    <a:pt x="907" y="173"/>
                  </a:lnTo>
                  <a:lnTo>
                    <a:pt x="907" y="173"/>
                  </a:lnTo>
                  <a:lnTo>
                    <a:pt x="907" y="171"/>
                  </a:lnTo>
                  <a:lnTo>
                    <a:pt x="907" y="171"/>
                  </a:lnTo>
                  <a:lnTo>
                    <a:pt x="910" y="173"/>
                  </a:lnTo>
                  <a:lnTo>
                    <a:pt x="912" y="173"/>
                  </a:lnTo>
                  <a:lnTo>
                    <a:pt x="920" y="173"/>
                  </a:lnTo>
                  <a:lnTo>
                    <a:pt x="920" y="173"/>
                  </a:lnTo>
                  <a:lnTo>
                    <a:pt x="920" y="171"/>
                  </a:lnTo>
                  <a:lnTo>
                    <a:pt x="923" y="168"/>
                  </a:lnTo>
                  <a:lnTo>
                    <a:pt x="926" y="165"/>
                  </a:lnTo>
                  <a:lnTo>
                    <a:pt x="928" y="165"/>
                  </a:lnTo>
                  <a:lnTo>
                    <a:pt x="928" y="165"/>
                  </a:lnTo>
                  <a:lnTo>
                    <a:pt x="926" y="163"/>
                  </a:lnTo>
                  <a:lnTo>
                    <a:pt x="926" y="160"/>
                  </a:lnTo>
                  <a:lnTo>
                    <a:pt x="928" y="157"/>
                  </a:lnTo>
                  <a:lnTo>
                    <a:pt x="931" y="157"/>
                  </a:lnTo>
                  <a:lnTo>
                    <a:pt x="928" y="160"/>
                  </a:lnTo>
                  <a:lnTo>
                    <a:pt x="931" y="160"/>
                  </a:lnTo>
                  <a:lnTo>
                    <a:pt x="931" y="160"/>
                  </a:lnTo>
                  <a:lnTo>
                    <a:pt x="931" y="160"/>
                  </a:lnTo>
                  <a:lnTo>
                    <a:pt x="931" y="157"/>
                  </a:lnTo>
                  <a:lnTo>
                    <a:pt x="931" y="155"/>
                  </a:lnTo>
                  <a:lnTo>
                    <a:pt x="934" y="155"/>
                  </a:lnTo>
                  <a:lnTo>
                    <a:pt x="934" y="152"/>
                  </a:lnTo>
                  <a:lnTo>
                    <a:pt x="931" y="152"/>
                  </a:lnTo>
                  <a:lnTo>
                    <a:pt x="934" y="149"/>
                  </a:lnTo>
                  <a:lnTo>
                    <a:pt x="934" y="149"/>
                  </a:lnTo>
                  <a:lnTo>
                    <a:pt x="937" y="149"/>
                  </a:lnTo>
                  <a:lnTo>
                    <a:pt x="937" y="147"/>
                  </a:lnTo>
                  <a:lnTo>
                    <a:pt x="934" y="147"/>
                  </a:lnTo>
                  <a:lnTo>
                    <a:pt x="934" y="147"/>
                  </a:lnTo>
                  <a:lnTo>
                    <a:pt x="934" y="144"/>
                  </a:lnTo>
                  <a:lnTo>
                    <a:pt x="934" y="144"/>
                  </a:lnTo>
                  <a:lnTo>
                    <a:pt x="937" y="144"/>
                  </a:lnTo>
                  <a:lnTo>
                    <a:pt x="937" y="144"/>
                  </a:lnTo>
                  <a:lnTo>
                    <a:pt x="942" y="136"/>
                  </a:lnTo>
                  <a:lnTo>
                    <a:pt x="942" y="133"/>
                  </a:lnTo>
                  <a:lnTo>
                    <a:pt x="942" y="131"/>
                  </a:lnTo>
                  <a:lnTo>
                    <a:pt x="939" y="128"/>
                  </a:lnTo>
                  <a:lnTo>
                    <a:pt x="942" y="125"/>
                  </a:lnTo>
                  <a:lnTo>
                    <a:pt x="942" y="131"/>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32" name="Freeform 29">
              <a:extLst>
                <a:ext uri="{FF2B5EF4-FFF2-40B4-BE49-F238E27FC236}">
                  <a16:creationId xmlns="" xmlns:a16="http://schemas.microsoft.com/office/drawing/2014/main" id="{57059A4D-5A58-4CF9-851A-AF03C192E676}"/>
                </a:ext>
              </a:extLst>
            </p:cNvPr>
            <p:cNvSpPr>
              <a:spLocks/>
            </p:cNvSpPr>
            <p:nvPr/>
          </p:nvSpPr>
          <p:spPr bwMode="auto">
            <a:xfrm>
              <a:off x="2058" y="168"/>
              <a:ext cx="1192" cy="666"/>
            </a:xfrm>
            <a:custGeom>
              <a:avLst/>
              <a:gdLst>
                <a:gd name="T0" fmla="*/ 1139 w 1192"/>
                <a:gd name="T1" fmla="*/ 644 h 666"/>
                <a:gd name="T2" fmla="*/ 971 w 1192"/>
                <a:gd name="T3" fmla="*/ 636 h 666"/>
                <a:gd name="T4" fmla="*/ 803 w 1192"/>
                <a:gd name="T5" fmla="*/ 625 h 666"/>
                <a:gd name="T6" fmla="*/ 635 w 1192"/>
                <a:gd name="T7" fmla="*/ 612 h 666"/>
                <a:gd name="T8" fmla="*/ 469 w 1192"/>
                <a:gd name="T9" fmla="*/ 599 h 666"/>
                <a:gd name="T10" fmla="*/ 445 w 1192"/>
                <a:gd name="T11" fmla="*/ 647 h 666"/>
                <a:gd name="T12" fmla="*/ 429 w 1192"/>
                <a:gd name="T13" fmla="*/ 649 h 666"/>
                <a:gd name="T14" fmla="*/ 416 w 1192"/>
                <a:gd name="T15" fmla="*/ 625 h 666"/>
                <a:gd name="T16" fmla="*/ 405 w 1192"/>
                <a:gd name="T17" fmla="*/ 633 h 666"/>
                <a:gd name="T18" fmla="*/ 400 w 1192"/>
                <a:gd name="T19" fmla="*/ 647 h 666"/>
                <a:gd name="T20" fmla="*/ 400 w 1192"/>
                <a:gd name="T21" fmla="*/ 652 h 666"/>
                <a:gd name="T22" fmla="*/ 365 w 1192"/>
                <a:gd name="T23" fmla="*/ 652 h 666"/>
                <a:gd name="T24" fmla="*/ 338 w 1192"/>
                <a:gd name="T25" fmla="*/ 647 h 666"/>
                <a:gd name="T26" fmla="*/ 317 w 1192"/>
                <a:gd name="T27" fmla="*/ 644 h 666"/>
                <a:gd name="T28" fmla="*/ 304 w 1192"/>
                <a:gd name="T29" fmla="*/ 652 h 666"/>
                <a:gd name="T30" fmla="*/ 269 w 1192"/>
                <a:gd name="T31" fmla="*/ 647 h 666"/>
                <a:gd name="T32" fmla="*/ 256 w 1192"/>
                <a:gd name="T33" fmla="*/ 658 h 666"/>
                <a:gd name="T34" fmla="*/ 242 w 1192"/>
                <a:gd name="T35" fmla="*/ 641 h 666"/>
                <a:gd name="T36" fmla="*/ 240 w 1192"/>
                <a:gd name="T37" fmla="*/ 625 h 666"/>
                <a:gd name="T38" fmla="*/ 240 w 1192"/>
                <a:gd name="T39" fmla="*/ 615 h 666"/>
                <a:gd name="T40" fmla="*/ 229 w 1192"/>
                <a:gd name="T41" fmla="*/ 596 h 666"/>
                <a:gd name="T42" fmla="*/ 213 w 1192"/>
                <a:gd name="T43" fmla="*/ 593 h 666"/>
                <a:gd name="T44" fmla="*/ 205 w 1192"/>
                <a:gd name="T45" fmla="*/ 575 h 666"/>
                <a:gd name="T46" fmla="*/ 202 w 1192"/>
                <a:gd name="T47" fmla="*/ 551 h 666"/>
                <a:gd name="T48" fmla="*/ 194 w 1192"/>
                <a:gd name="T49" fmla="*/ 537 h 666"/>
                <a:gd name="T50" fmla="*/ 184 w 1192"/>
                <a:gd name="T51" fmla="*/ 521 h 666"/>
                <a:gd name="T52" fmla="*/ 184 w 1192"/>
                <a:gd name="T53" fmla="*/ 503 h 666"/>
                <a:gd name="T54" fmla="*/ 181 w 1192"/>
                <a:gd name="T55" fmla="*/ 487 h 666"/>
                <a:gd name="T56" fmla="*/ 165 w 1192"/>
                <a:gd name="T57" fmla="*/ 468 h 666"/>
                <a:gd name="T58" fmla="*/ 157 w 1192"/>
                <a:gd name="T59" fmla="*/ 473 h 666"/>
                <a:gd name="T60" fmla="*/ 149 w 1192"/>
                <a:gd name="T61" fmla="*/ 484 h 666"/>
                <a:gd name="T62" fmla="*/ 133 w 1192"/>
                <a:gd name="T63" fmla="*/ 492 h 666"/>
                <a:gd name="T64" fmla="*/ 117 w 1192"/>
                <a:gd name="T65" fmla="*/ 484 h 666"/>
                <a:gd name="T66" fmla="*/ 106 w 1192"/>
                <a:gd name="T67" fmla="*/ 470 h 666"/>
                <a:gd name="T68" fmla="*/ 109 w 1192"/>
                <a:gd name="T69" fmla="*/ 454 h 666"/>
                <a:gd name="T70" fmla="*/ 114 w 1192"/>
                <a:gd name="T71" fmla="*/ 441 h 666"/>
                <a:gd name="T72" fmla="*/ 125 w 1192"/>
                <a:gd name="T73" fmla="*/ 430 h 666"/>
                <a:gd name="T74" fmla="*/ 120 w 1192"/>
                <a:gd name="T75" fmla="*/ 417 h 666"/>
                <a:gd name="T76" fmla="*/ 120 w 1192"/>
                <a:gd name="T77" fmla="*/ 398 h 666"/>
                <a:gd name="T78" fmla="*/ 128 w 1192"/>
                <a:gd name="T79" fmla="*/ 390 h 666"/>
                <a:gd name="T80" fmla="*/ 133 w 1192"/>
                <a:gd name="T81" fmla="*/ 374 h 666"/>
                <a:gd name="T82" fmla="*/ 138 w 1192"/>
                <a:gd name="T83" fmla="*/ 358 h 666"/>
                <a:gd name="T84" fmla="*/ 141 w 1192"/>
                <a:gd name="T85" fmla="*/ 350 h 666"/>
                <a:gd name="T86" fmla="*/ 146 w 1192"/>
                <a:gd name="T87" fmla="*/ 334 h 666"/>
                <a:gd name="T88" fmla="*/ 128 w 1192"/>
                <a:gd name="T89" fmla="*/ 332 h 666"/>
                <a:gd name="T90" fmla="*/ 117 w 1192"/>
                <a:gd name="T91" fmla="*/ 324 h 666"/>
                <a:gd name="T92" fmla="*/ 104 w 1192"/>
                <a:gd name="T93" fmla="*/ 321 h 666"/>
                <a:gd name="T94" fmla="*/ 93 w 1192"/>
                <a:gd name="T95" fmla="*/ 305 h 666"/>
                <a:gd name="T96" fmla="*/ 88 w 1192"/>
                <a:gd name="T97" fmla="*/ 286 h 666"/>
                <a:gd name="T98" fmla="*/ 66 w 1192"/>
                <a:gd name="T99" fmla="*/ 257 h 666"/>
                <a:gd name="T100" fmla="*/ 56 w 1192"/>
                <a:gd name="T101" fmla="*/ 241 h 666"/>
                <a:gd name="T102" fmla="*/ 21 w 1192"/>
                <a:gd name="T103" fmla="*/ 211 h 666"/>
                <a:gd name="T104" fmla="*/ 29 w 1192"/>
                <a:gd name="T105" fmla="*/ 206 h 666"/>
                <a:gd name="T106" fmla="*/ 26 w 1192"/>
                <a:gd name="T107" fmla="*/ 193 h 666"/>
                <a:gd name="T108" fmla="*/ 21 w 1192"/>
                <a:gd name="T109" fmla="*/ 169 h 666"/>
                <a:gd name="T110" fmla="*/ 8 w 1192"/>
                <a:gd name="T111" fmla="*/ 147 h 666"/>
                <a:gd name="T112" fmla="*/ 13 w 1192"/>
                <a:gd name="T113" fmla="*/ 32 h 666"/>
                <a:gd name="T114" fmla="*/ 274 w 1192"/>
                <a:gd name="T115" fmla="*/ 35 h 666"/>
                <a:gd name="T116" fmla="*/ 595 w 1192"/>
                <a:gd name="T117" fmla="*/ 70 h 666"/>
                <a:gd name="T118" fmla="*/ 896 w 1192"/>
                <a:gd name="T119" fmla="*/ 94 h 666"/>
                <a:gd name="T120" fmla="*/ 1192 w 1192"/>
                <a:gd name="T121" fmla="*/ 134 h 666"/>
                <a:gd name="T122" fmla="*/ 1179 w 1192"/>
                <a:gd name="T123" fmla="*/ 519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92" h="666">
                  <a:moveTo>
                    <a:pt x="1179" y="519"/>
                  </a:moveTo>
                  <a:lnTo>
                    <a:pt x="1179" y="532"/>
                  </a:lnTo>
                  <a:lnTo>
                    <a:pt x="1179" y="548"/>
                  </a:lnTo>
                  <a:lnTo>
                    <a:pt x="1179" y="561"/>
                  </a:lnTo>
                  <a:lnTo>
                    <a:pt x="1179" y="577"/>
                  </a:lnTo>
                  <a:lnTo>
                    <a:pt x="1176" y="591"/>
                  </a:lnTo>
                  <a:lnTo>
                    <a:pt x="1176" y="607"/>
                  </a:lnTo>
                  <a:lnTo>
                    <a:pt x="1176" y="620"/>
                  </a:lnTo>
                  <a:lnTo>
                    <a:pt x="1176" y="636"/>
                  </a:lnTo>
                  <a:lnTo>
                    <a:pt x="1176" y="644"/>
                  </a:lnTo>
                  <a:lnTo>
                    <a:pt x="1176" y="647"/>
                  </a:lnTo>
                  <a:lnTo>
                    <a:pt x="1171" y="644"/>
                  </a:lnTo>
                  <a:lnTo>
                    <a:pt x="1160" y="644"/>
                  </a:lnTo>
                  <a:lnTo>
                    <a:pt x="1150" y="644"/>
                  </a:lnTo>
                  <a:lnTo>
                    <a:pt x="1139" y="644"/>
                  </a:lnTo>
                  <a:lnTo>
                    <a:pt x="1128" y="644"/>
                  </a:lnTo>
                  <a:lnTo>
                    <a:pt x="1115" y="644"/>
                  </a:lnTo>
                  <a:lnTo>
                    <a:pt x="1104" y="641"/>
                  </a:lnTo>
                  <a:lnTo>
                    <a:pt x="1094" y="641"/>
                  </a:lnTo>
                  <a:lnTo>
                    <a:pt x="1083" y="641"/>
                  </a:lnTo>
                  <a:lnTo>
                    <a:pt x="1072" y="641"/>
                  </a:lnTo>
                  <a:lnTo>
                    <a:pt x="1062" y="641"/>
                  </a:lnTo>
                  <a:lnTo>
                    <a:pt x="1048" y="641"/>
                  </a:lnTo>
                  <a:lnTo>
                    <a:pt x="1037" y="639"/>
                  </a:lnTo>
                  <a:lnTo>
                    <a:pt x="1027" y="639"/>
                  </a:lnTo>
                  <a:lnTo>
                    <a:pt x="1016" y="639"/>
                  </a:lnTo>
                  <a:lnTo>
                    <a:pt x="1005" y="639"/>
                  </a:lnTo>
                  <a:lnTo>
                    <a:pt x="992" y="639"/>
                  </a:lnTo>
                  <a:lnTo>
                    <a:pt x="981" y="636"/>
                  </a:lnTo>
                  <a:lnTo>
                    <a:pt x="971" y="636"/>
                  </a:lnTo>
                  <a:lnTo>
                    <a:pt x="960" y="636"/>
                  </a:lnTo>
                  <a:lnTo>
                    <a:pt x="949" y="636"/>
                  </a:lnTo>
                  <a:lnTo>
                    <a:pt x="936" y="633"/>
                  </a:lnTo>
                  <a:lnTo>
                    <a:pt x="925" y="633"/>
                  </a:lnTo>
                  <a:lnTo>
                    <a:pt x="915" y="633"/>
                  </a:lnTo>
                  <a:lnTo>
                    <a:pt x="904" y="633"/>
                  </a:lnTo>
                  <a:lnTo>
                    <a:pt x="893" y="631"/>
                  </a:lnTo>
                  <a:lnTo>
                    <a:pt x="880" y="631"/>
                  </a:lnTo>
                  <a:lnTo>
                    <a:pt x="869" y="631"/>
                  </a:lnTo>
                  <a:lnTo>
                    <a:pt x="859" y="631"/>
                  </a:lnTo>
                  <a:lnTo>
                    <a:pt x="848" y="628"/>
                  </a:lnTo>
                  <a:lnTo>
                    <a:pt x="837" y="628"/>
                  </a:lnTo>
                  <a:lnTo>
                    <a:pt x="824" y="628"/>
                  </a:lnTo>
                  <a:lnTo>
                    <a:pt x="813" y="625"/>
                  </a:lnTo>
                  <a:lnTo>
                    <a:pt x="803" y="625"/>
                  </a:lnTo>
                  <a:lnTo>
                    <a:pt x="792" y="625"/>
                  </a:lnTo>
                  <a:lnTo>
                    <a:pt x="781" y="625"/>
                  </a:lnTo>
                  <a:lnTo>
                    <a:pt x="771" y="623"/>
                  </a:lnTo>
                  <a:lnTo>
                    <a:pt x="757" y="623"/>
                  </a:lnTo>
                  <a:lnTo>
                    <a:pt x="747" y="623"/>
                  </a:lnTo>
                  <a:lnTo>
                    <a:pt x="736" y="620"/>
                  </a:lnTo>
                  <a:lnTo>
                    <a:pt x="725" y="620"/>
                  </a:lnTo>
                  <a:lnTo>
                    <a:pt x="715" y="620"/>
                  </a:lnTo>
                  <a:lnTo>
                    <a:pt x="701" y="617"/>
                  </a:lnTo>
                  <a:lnTo>
                    <a:pt x="691" y="617"/>
                  </a:lnTo>
                  <a:lnTo>
                    <a:pt x="680" y="617"/>
                  </a:lnTo>
                  <a:lnTo>
                    <a:pt x="669" y="615"/>
                  </a:lnTo>
                  <a:lnTo>
                    <a:pt x="659" y="615"/>
                  </a:lnTo>
                  <a:lnTo>
                    <a:pt x="645" y="615"/>
                  </a:lnTo>
                  <a:lnTo>
                    <a:pt x="635" y="612"/>
                  </a:lnTo>
                  <a:lnTo>
                    <a:pt x="624" y="612"/>
                  </a:lnTo>
                  <a:lnTo>
                    <a:pt x="613" y="612"/>
                  </a:lnTo>
                  <a:lnTo>
                    <a:pt x="603" y="609"/>
                  </a:lnTo>
                  <a:lnTo>
                    <a:pt x="592" y="609"/>
                  </a:lnTo>
                  <a:lnTo>
                    <a:pt x="579" y="609"/>
                  </a:lnTo>
                  <a:lnTo>
                    <a:pt x="568" y="607"/>
                  </a:lnTo>
                  <a:lnTo>
                    <a:pt x="557" y="607"/>
                  </a:lnTo>
                  <a:lnTo>
                    <a:pt x="547" y="604"/>
                  </a:lnTo>
                  <a:lnTo>
                    <a:pt x="536" y="604"/>
                  </a:lnTo>
                  <a:lnTo>
                    <a:pt x="523" y="604"/>
                  </a:lnTo>
                  <a:lnTo>
                    <a:pt x="512" y="601"/>
                  </a:lnTo>
                  <a:lnTo>
                    <a:pt x="501" y="601"/>
                  </a:lnTo>
                  <a:lnTo>
                    <a:pt x="490" y="599"/>
                  </a:lnTo>
                  <a:lnTo>
                    <a:pt x="480" y="599"/>
                  </a:lnTo>
                  <a:lnTo>
                    <a:pt x="469" y="599"/>
                  </a:lnTo>
                  <a:lnTo>
                    <a:pt x="456" y="596"/>
                  </a:lnTo>
                  <a:lnTo>
                    <a:pt x="450" y="596"/>
                  </a:lnTo>
                  <a:lnTo>
                    <a:pt x="450" y="599"/>
                  </a:lnTo>
                  <a:lnTo>
                    <a:pt x="450" y="601"/>
                  </a:lnTo>
                  <a:lnTo>
                    <a:pt x="450" y="607"/>
                  </a:lnTo>
                  <a:lnTo>
                    <a:pt x="450" y="612"/>
                  </a:lnTo>
                  <a:lnTo>
                    <a:pt x="450" y="615"/>
                  </a:lnTo>
                  <a:lnTo>
                    <a:pt x="450" y="620"/>
                  </a:lnTo>
                  <a:lnTo>
                    <a:pt x="448" y="623"/>
                  </a:lnTo>
                  <a:lnTo>
                    <a:pt x="448" y="628"/>
                  </a:lnTo>
                  <a:lnTo>
                    <a:pt x="448" y="631"/>
                  </a:lnTo>
                  <a:lnTo>
                    <a:pt x="448" y="636"/>
                  </a:lnTo>
                  <a:lnTo>
                    <a:pt x="448" y="639"/>
                  </a:lnTo>
                  <a:lnTo>
                    <a:pt x="448" y="644"/>
                  </a:lnTo>
                  <a:lnTo>
                    <a:pt x="445" y="647"/>
                  </a:lnTo>
                  <a:lnTo>
                    <a:pt x="445" y="652"/>
                  </a:lnTo>
                  <a:lnTo>
                    <a:pt x="445" y="658"/>
                  </a:lnTo>
                  <a:lnTo>
                    <a:pt x="445" y="660"/>
                  </a:lnTo>
                  <a:lnTo>
                    <a:pt x="445" y="666"/>
                  </a:lnTo>
                  <a:lnTo>
                    <a:pt x="440" y="663"/>
                  </a:lnTo>
                  <a:lnTo>
                    <a:pt x="440" y="660"/>
                  </a:lnTo>
                  <a:lnTo>
                    <a:pt x="437" y="658"/>
                  </a:lnTo>
                  <a:lnTo>
                    <a:pt x="434" y="655"/>
                  </a:lnTo>
                  <a:lnTo>
                    <a:pt x="434" y="652"/>
                  </a:lnTo>
                  <a:lnTo>
                    <a:pt x="432" y="652"/>
                  </a:lnTo>
                  <a:lnTo>
                    <a:pt x="432" y="652"/>
                  </a:lnTo>
                  <a:lnTo>
                    <a:pt x="429" y="649"/>
                  </a:lnTo>
                  <a:lnTo>
                    <a:pt x="429" y="649"/>
                  </a:lnTo>
                  <a:lnTo>
                    <a:pt x="429" y="649"/>
                  </a:lnTo>
                  <a:lnTo>
                    <a:pt x="429" y="649"/>
                  </a:lnTo>
                  <a:lnTo>
                    <a:pt x="429" y="647"/>
                  </a:lnTo>
                  <a:lnTo>
                    <a:pt x="429" y="647"/>
                  </a:lnTo>
                  <a:lnTo>
                    <a:pt x="429" y="644"/>
                  </a:lnTo>
                  <a:lnTo>
                    <a:pt x="429" y="644"/>
                  </a:lnTo>
                  <a:lnTo>
                    <a:pt x="429" y="644"/>
                  </a:lnTo>
                  <a:lnTo>
                    <a:pt x="429" y="641"/>
                  </a:lnTo>
                  <a:lnTo>
                    <a:pt x="429" y="641"/>
                  </a:lnTo>
                  <a:lnTo>
                    <a:pt x="426" y="641"/>
                  </a:lnTo>
                  <a:lnTo>
                    <a:pt x="426" y="641"/>
                  </a:lnTo>
                  <a:lnTo>
                    <a:pt x="426" y="639"/>
                  </a:lnTo>
                  <a:lnTo>
                    <a:pt x="421" y="633"/>
                  </a:lnTo>
                  <a:lnTo>
                    <a:pt x="421" y="631"/>
                  </a:lnTo>
                  <a:lnTo>
                    <a:pt x="421" y="628"/>
                  </a:lnTo>
                  <a:lnTo>
                    <a:pt x="418" y="625"/>
                  </a:lnTo>
                  <a:lnTo>
                    <a:pt x="416" y="625"/>
                  </a:lnTo>
                  <a:lnTo>
                    <a:pt x="416" y="625"/>
                  </a:lnTo>
                  <a:lnTo>
                    <a:pt x="416" y="625"/>
                  </a:lnTo>
                  <a:lnTo>
                    <a:pt x="413" y="628"/>
                  </a:lnTo>
                  <a:lnTo>
                    <a:pt x="413" y="628"/>
                  </a:lnTo>
                  <a:lnTo>
                    <a:pt x="410" y="628"/>
                  </a:lnTo>
                  <a:lnTo>
                    <a:pt x="408" y="628"/>
                  </a:lnTo>
                  <a:lnTo>
                    <a:pt x="408" y="628"/>
                  </a:lnTo>
                  <a:lnTo>
                    <a:pt x="408" y="631"/>
                  </a:lnTo>
                  <a:lnTo>
                    <a:pt x="405" y="631"/>
                  </a:lnTo>
                  <a:lnTo>
                    <a:pt x="405" y="631"/>
                  </a:lnTo>
                  <a:lnTo>
                    <a:pt x="405" y="631"/>
                  </a:lnTo>
                  <a:lnTo>
                    <a:pt x="405" y="633"/>
                  </a:lnTo>
                  <a:lnTo>
                    <a:pt x="405" y="633"/>
                  </a:lnTo>
                  <a:lnTo>
                    <a:pt x="405" y="633"/>
                  </a:lnTo>
                  <a:lnTo>
                    <a:pt x="405" y="633"/>
                  </a:lnTo>
                  <a:lnTo>
                    <a:pt x="405" y="636"/>
                  </a:lnTo>
                  <a:lnTo>
                    <a:pt x="405" y="636"/>
                  </a:lnTo>
                  <a:lnTo>
                    <a:pt x="405" y="636"/>
                  </a:lnTo>
                  <a:lnTo>
                    <a:pt x="405" y="636"/>
                  </a:lnTo>
                  <a:lnTo>
                    <a:pt x="405" y="639"/>
                  </a:lnTo>
                  <a:lnTo>
                    <a:pt x="405" y="639"/>
                  </a:lnTo>
                  <a:lnTo>
                    <a:pt x="402" y="639"/>
                  </a:lnTo>
                  <a:lnTo>
                    <a:pt x="402" y="639"/>
                  </a:lnTo>
                  <a:lnTo>
                    <a:pt x="402" y="639"/>
                  </a:lnTo>
                  <a:lnTo>
                    <a:pt x="400" y="641"/>
                  </a:lnTo>
                  <a:lnTo>
                    <a:pt x="400" y="641"/>
                  </a:lnTo>
                  <a:lnTo>
                    <a:pt x="400" y="644"/>
                  </a:lnTo>
                  <a:lnTo>
                    <a:pt x="400" y="644"/>
                  </a:lnTo>
                  <a:lnTo>
                    <a:pt x="400" y="644"/>
                  </a:lnTo>
                  <a:lnTo>
                    <a:pt x="400" y="647"/>
                  </a:lnTo>
                  <a:lnTo>
                    <a:pt x="400" y="647"/>
                  </a:lnTo>
                  <a:lnTo>
                    <a:pt x="400" y="647"/>
                  </a:lnTo>
                  <a:lnTo>
                    <a:pt x="400" y="649"/>
                  </a:lnTo>
                  <a:lnTo>
                    <a:pt x="400" y="649"/>
                  </a:lnTo>
                  <a:lnTo>
                    <a:pt x="400" y="649"/>
                  </a:lnTo>
                  <a:lnTo>
                    <a:pt x="400" y="649"/>
                  </a:lnTo>
                  <a:lnTo>
                    <a:pt x="400" y="649"/>
                  </a:lnTo>
                  <a:lnTo>
                    <a:pt x="402" y="652"/>
                  </a:lnTo>
                  <a:lnTo>
                    <a:pt x="405" y="652"/>
                  </a:lnTo>
                  <a:lnTo>
                    <a:pt x="405" y="652"/>
                  </a:lnTo>
                  <a:lnTo>
                    <a:pt x="405" y="652"/>
                  </a:lnTo>
                  <a:lnTo>
                    <a:pt x="402" y="652"/>
                  </a:lnTo>
                  <a:lnTo>
                    <a:pt x="402" y="652"/>
                  </a:lnTo>
                  <a:lnTo>
                    <a:pt x="400" y="652"/>
                  </a:lnTo>
                  <a:lnTo>
                    <a:pt x="400" y="652"/>
                  </a:lnTo>
                  <a:lnTo>
                    <a:pt x="400" y="652"/>
                  </a:lnTo>
                  <a:lnTo>
                    <a:pt x="397" y="652"/>
                  </a:lnTo>
                  <a:lnTo>
                    <a:pt x="394" y="649"/>
                  </a:lnTo>
                  <a:lnTo>
                    <a:pt x="394" y="649"/>
                  </a:lnTo>
                  <a:lnTo>
                    <a:pt x="381" y="649"/>
                  </a:lnTo>
                  <a:lnTo>
                    <a:pt x="381" y="649"/>
                  </a:lnTo>
                  <a:lnTo>
                    <a:pt x="376" y="652"/>
                  </a:lnTo>
                  <a:lnTo>
                    <a:pt x="376" y="652"/>
                  </a:lnTo>
                  <a:lnTo>
                    <a:pt x="373" y="652"/>
                  </a:lnTo>
                  <a:lnTo>
                    <a:pt x="370" y="652"/>
                  </a:lnTo>
                  <a:lnTo>
                    <a:pt x="370" y="652"/>
                  </a:lnTo>
                  <a:lnTo>
                    <a:pt x="368" y="652"/>
                  </a:lnTo>
                  <a:lnTo>
                    <a:pt x="368" y="652"/>
                  </a:lnTo>
                  <a:lnTo>
                    <a:pt x="368" y="652"/>
                  </a:lnTo>
                  <a:lnTo>
                    <a:pt x="365" y="652"/>
                  </a:lnTo>
                  <a:lnTo>
                    <a:pt x="365" y="652"/>
                  </a:lnTo>
                  <a:lnTo>
                    <a:pt x="365" y="649"/>
                  </a:lnTo>
                  <a:lnTo>
                    <a:pt x="365" y="649"/>
                  </a:lnTo>
                  <a:lnTo>
                    <a:pt x="365" y="649"/>
                  </a:lnTo>
                  <a:lnTo>
                    <a:pt x="362" y="647"/>
                  </a:lnTo>
                  <a:lnTo>
                    <a:pt x="362" y="647"/>
                  </a:lnTo>
                  <a:lnTo>
                    <a:pt x="357" y="647"/>
                  </a:lnTo>
                  <a:lnTo>
                    <a:pt x="357" y="647"/>
                  </a:lnTo>
                  <a:lnTo>
                    <a:pt x="354" y="647"/>
                  </a:lnTo>
                  <a:lnTo>
                    <a:pt x="354" y="647"/>
                  </a:lnTo>
                  <a:lnTo>
                    <a:pt x="354" y="647"/>
                  </a:lnTo>
                  <a:lnTo>
                    <a:pt x="352" y="647"/>
                  </a:lnTo>
                  <a:lnTo>
                    <a:pt x="352" y="647"/>
                  </a:lnTo>
                  <a:lnTo>
                    <a:pt x="349" y="647"/>
                  </a:lnTo>
                  <a:lnTo>
                    <a:pt x="338" y="647"/>
                  </a:lnTo>
                  <a:lnTo>
                    <a:pt x="338" y="647"/>
                  </a:lnTo>
                  <a:lnTo>
                    <a:pt x="336" y="647"/>
                  </a:lnTo>
                  <a:lnTo>
                    <a:pt x="333" y="644"/>
                  </a:lnTo>
                  <a:lnTo>
                    <a:pt x="330" y="644"/>
                  </a:lnTo>
                  <a:lnTo>
                    <a:pt x="328" y="644"/>
                  </a:lnTo>
                  <a:lnTo>
                    <a:pt x="328" y="644"/>
                  </a:lnTo>
                  <a:lnTo>
                    <a:pt x="328" y="644"/>
                  </a:lnTo>
                  <a:lnTo>
                    <a:pt x="325" y="641"/>
                  </a:lnTo>
                  <a:lnTo>
                    <a:pt x="325" y="641"/>
                  </a:lnTo>
                  <a:lnTo>
                    <a:pt x="322" y="641"/>
                  </a:lnTo>
                  <a:lnTo>
                    <a:pt x="322" y="641"/>
                  </a:lnTo>
                  <a:lnTo>
                    <a:pt x="322" y="644"/>
                  </a:lnTo>
                  <a:lnTo>
                    <a:pt x="320" y="644"/>
                  </a:lnTo>
                  <a:lnTo>
                    <a:pt x="320" y="644"/>
                  </a:lnTo>
                  <a:lnTo>
                    <a:pt x="317" y="644"/>
                  </a:lnTo>
                  <a:lnTo>
                    <a:pt x="317" y="644"/>
                  </a:lnTo>
                  <a:lnTo>
                    <a:pt x="314" y="644"/>
                  </a:lnTo>
                  <a:lnTo>
                    <a:pt x="314" y="644"/>
                  </a:lnTo>
                  <a:lnTo>
                    <a:pt x="314" y="647"/>
                  </a:lnTo>
                  <a:lnTo>
                    <a:pt x="312" y="647"/>
                  </a:lnTo>
                  <a:lnTo>
                    <a:pt x="312" y="649"/>
                  </a:lnTo>
                  <a:lnTo>
                    <a:pt x="309" y="655"/>
                  </a:lnTo>
                  <a:lnTo>
                    <a:pt x="309" y="655"/>
                  </a:lnTo>
                  <a:lnTo>
                    <a:pt x="309" y="655"/>
                  </a:lnTo>
                  <a:lnTo>
                    <a:pt x="306" y="655"/>
                  </a:lnTo>
                  <a:lnTo>
                    <a:pt x="306" y="655"/>
                  </a:lnTo>
                  <a:lnTo>
                    <a:pt x="304" y="655"/>
                  </a:lnTo>
                  <a:lnTo>
                    <a:pt x="304" y="655"/>
                  </a:lnTo>
                  <a:lnTo>
                    <a:pt x="304" y="655"/>
                  </a:lnTo>
                  <a:lnTo>
                    <a:pt x="304" y="652"/>
                  </a:lnTo>
                  <a:lnTo>
                    <a:pt x="301" y="652"/>
                  </a:lnTo>
                  <a:lnTo>
                    <a:pt x="301" y="652"/>
                  </a:lnTo>
                  <a:lnTo>
                    <a:pt x="298" y="652"/>
                  </a:lnTo>
                  <a:lnTo>
                    <a:pt x="296" y="652"/>
                  </a:lnTo>
                  <a:lnTo>
                    <a:pt x="296" y="652"/>
                  </a:lnTo>
                  <a:lnTo>
                    <a:pt x="293" y="649"/>
                  </a:lnTo>
                  <a:lnTo>
                    <a:pt x="293" y="649"/>
                  </a:lnTo>
                  <a:lnTo>
                    <a:pt x="293" y="649"/>
                  </a:lnTo>
                  <a:lnTo>
                    <a:pt x="280" y="647"/>
                  </a:lnTo>
                  <a:lnTo>
                    <a:pt x="277" y="644"/>
                  </a:lnTo>
                  <a:lnTo>
                    <a:pt x="277" y="644"/>
                  </a:lnTo>
                  <a:lnTo>
                    <a:pt x="274" y="644"/>
                  </a:lnTo>
                  <a:lnTo>
                    <a:pt x="274" y="647"/>
                  </a:lnTo>
                  <a:lnTo>
                    <a:pt x="272" y="647"/>
                  </a:lnTo>
                  <a:lnTo>
                    <a:pt x="269" y="647"/>
                  </a:lnTo>
                  <a:lnTo>
                    <a:pt x="269" y="647"/>
                  </a:lnTo>
                  <a:lnTo>
                    <a:pt x="264" y="652"/>
                  </a:lnTo>
                  <a:lnTo>
                    <a:pt x="261" y="652"/>
                  </a:lnTo>
                  <a:lnTo>
                    <a:pt x="261" y="652"/>
                  </a:lnTo>
                  <a:lnTo>
                    <a:pt x="261" y="655"/>
                  </a:lnTo>
                  <a:lnTo>
                    <a:pt x="261" y="655"/>
                  </a:lnTo>
                  <a:lnTo>
                    <a:pt x="261" y="655"/>
                  </a:lnTo>
                  <a:lnTo>
                    <a:pt x="261" y="655"/>
                  </a:lnTo>
                  <a:lnTo>
                    <a:pt x="261" y="660"/>
                  </a:lnTo>
                  <a:lnTo>
                    <a:pt x="261" y="660"/>
                  </a:lnTo>
                  <a:lnTo>
                    <a:pt x="261" y="660"/>
                  </a:lnTo>
                  <a:lnTo>
                    <a:pt x="261" y="660"/>
                  </a:lnTo>
                  <a:lnTo>
                    <a:pt x="258" y="660"/>
                  </a:lnTo>
                  <a:lnTo>
                    <a:pt x="258" y="660"/>
                  </a:lnTo>
                  <a:lnTo>
                    <a:pt x="256" y="658"/>
                  </a:lnTo>
                  <a:lnTo>
                    <a:pt x="256" y="658"/>
                  </a:lnTo>
                  <a:lnTo>
                    <a:pt x="256" y="655"/>
                  </a:lnTo>
                  <a:lnTo>
                    <a:pt x="250" y="655"/>
                  </a:lnTo>
                  <a:lnTo>
                    <a:pt x="250" y="652"/>
                  </a:lnTo>
                  <a:lnTo>
                    <a:pt x="250" y="652"/>
                  </a:lnTo>
                  <a:lnTo>
                    <a:pt x="248" y="649"/>
                  </a:lnTo>
                  <a:lnTo>
                    <a:pt x="248" y="649"/>
                  </a:lnTo>
                  <a:lnTo>
                    <a:pt x="248" y="649"/>
                  </a:lnTo>
                  <a:lnTo>
                    <a:pt x="245" y="649"/>
                  </a:lnTo>
                  <a:lnTo>
                    <a:pt x="245" y="647"/>
                  </a:lnTo>
                  <a:lnTo>
                    <a:pt x="245" y="647"/>
                  </a:lnTo>
                  <a:lnTo>
                    <a:pt x="245" y="644"/>
                  </a:lnTo>
                  <a:lnTo>
                    <a:pt x="245" y="644"/>
                  </a:lnTo>
                  <a:lnTo>
                    <a:pt x="242" y="644"/>
                  </a:lnTo>
                  <a:lnTo>
                    <a:pt x="242" y="641"/>
                  </a:lnTo>
                  <a:lnTo>
                    <a:pt x="242" y="641"/>
                  </a:lnTo>
                  <a:lnTo>
                    <a:pt x="245" y="641"/>
                  </a:lnTo>
                  <a:lnTo>
                    <a:pt x="245" y="639"/>
                  </a:lnTo>
                  <a:lnTo>
                    <a:pt x="245" y="639"/>
                  </a:lnTo>
                  <a:lnTo>
                    <a:pt x="245" y="636"/>
                  </a:lnTo>
                  <a:lnTo>
                    <a:pt x="245" y="636"/>
                  </a:lnTo>
                  <a:lnTo>
                    <a:pt x="242" y="636"/>
                  </a:lnTo>
                  <a:lnTo>
                    <a:pt x="242" y="633"/>
                  </a:lnTo>
                  <a:lnTo>
                    <a:pt x="242" y="633"/>
                  </a:lnTo>
                  <a:lnTo>
                    <a:pt x="242" y="633"/>
                  </a:lnTo>
                  <a:lnTo>
                    <a:pt x="242" y="631"/>
                  </a:lnTo>
                  <a:lnTo>
                    <a:pt x="242" y="631"/>
                  </a:lnTo>
                  <a:lnTo>
                    <a:pt x="240" y="628"/>
                  </a:lnTo>
                  <a:lnTo>
                    <a:pt x="240" y="628"/>
                  </a:lnTo>
                  <a:lnTo>
                    <a:pt x="240" y="625"/>
                  </a:lnTo>
                  <a:lnTo>
                    <a:pt x="240" y="625"/>
                  </a:lnTo>
                  <a:lnTo>
                    <a:pt x="240" y="625"/>
                  </a:lnTo>
                  <a:lnTo>
                    <a:pt x="240" y="625"/>
                  </a:lnTo>
                  <a:lnTo>
                    <a:pt x="242" y="625"/>
                  </a:lnTo>
                  <a:lnTo>
                    <a:pt x="242" y="623"/>
                  </a:lnTo>
                  <a:lnTo>
                    <a:pt x="242" y="623"/>
                  </a:lnTo>
                  <a:lnTo>
                    <a:pt x="242" y="623"/>
                  </a:lnTo>
                  <a:lnTo>
                    <a:pt x="242" y="623"/>
                  </a:lnTo>
                  <a:lnTo>
                    <a:pt x="242" y="620"/>
                  </a:lnTo>
                  <a:lnTo>
                    <a:pt x="242" y="620"/>
                  </a:lnTo>
                  <a:lnTo>
                    <a:pt x="240" y="617"/>
                  </a:lnTo>
                  <a:lnTo>
                    <a:pt x="240" y="617"/>
                  </a:lnTo>
                  <a:lnTo>
                    <a:pt x="240" y="615"/>
                  </a:lnTo>
                  <a:lnTo>
                    <a:pt x="240" y="615"/>
                  </a:lnTo>
                  <a:lnTo>
                    <a:pt x="240" y="615"/>
                  </a:lnTo>
                  <a:lnTo>
                    <a:pt x="240" y="612"/>
                  </a:lnTo>
                  <a:lnTo>
                    <a:pt x="237" y="612"/>
                  </a:lnTo>
                  <a:lnTo>
                    <a:pt x="237" y="612"/>
                  </a:lnTo>
                  <a:lnTo>
                    <a:pt x="237" y="612"/>
                  </a:lnTo>
                  <a:lnTo>
                    <a:pt x="237" y="609"/>
                  </a:lnTo>
                  <a:lnTo>
                    <a:pt x="237" y="609"/>
                  </a:lnTo>
                  <a:lnTo>
                    <a:pt x="237" y="609"/>
                  </a:lnTo>
                  <a:lnTo>
                    <a:pt x="237" y="609"/>
                  </a:lnTo>
                  <a:lnTo>
                    <a:pt x="237" y="607"/>
                  </a:lnTo>
                  <a:lnTo>
                    <a:pt x="234" y="607"/>
                  </a:lnTo>
                  <a:lnTo>
                    <a:pt x="234" y="604"/>
                  </a:lnTo>
                  <a:lnTo>
                    <a:pt x="234" y="604"/>
                  </a:lnTo>
                  <a:lnTo>
                    <a:pt x="232" y="601"/>
                  </a:lnTo>
                  <a:lnTo>
                    <a:pt x="229" y="599"/>
                  </a:lnTo>
                  <a:lnTo>
                    <a:pt x="229" y="596"/>
                  </a:lnTo>
                  <a:lnTo>
                    <a:pt x="226" y="596"/>
                  </a:lnTo>
                  <a:lnTo>
                    <a:pt x="224" y="596"/>
                  </a:lnTo>
                  <a:lnTo>
                    <a:pt x="224" y="596"/>
                  </a:lnTo>
                  <a:lnTo>
                    <a:pt x="221" y="596"/>
                  </a:lnTo>
                  <a:lnTo>
                    <a:pt x="221" y="596"/>
                  </a:lnTo>
                  <a:lnTo>
                    <a:pt x="218" y="599"/>
                  </a:lnTo>
                  <a:lnTo>
                    <a:pt x="218" y="599"/>
                  </a:lnTo>
                  <a:lnTo>
                    <a:pt x="218" y="599"/>
                  </a:lnTo>
                  <a:lnTo>
                    <a:pt x="216" y="599"/>
                  </a:lnTo>
                  <a:lnTo>
                    <a:pt x="216" y="599"/>
                  </a:lnTo>
                  <a:lnTo>
                    <a:pt x="213" y="599"/>
                  </a:lnTo>
                  <a:lnTo>
                    <a:pt x="213" y="596"/>
                  </a:lnTo>
                  <a:lnTo>
                    <a:pt x="213" y="593"/>
                  </a:lnTo>
                  <a:lnTo>
                    <a:pt x="213" y="593"/>
                  </a:lnTo>
                  <a:lnTo>
                    <a:pt x="213" y="593"/>
                  </a:lnTo>
                  <a:lnTo>
                    <a:pt x="208" y="591"/>
                  </a:lnTo>
                  <a:lnTo>
                    <a:pt x="205" y="588"/>
                  </a:lnTo>
                  <a:lnTo>
                    <a:pt x="205" y="588"/>
                  </a:lnTo>
                  <a:lnTo>
                    <a:pt x="205" y="585"/>
                  </a:lnTo>
                  <a:lnTo>
                    <a:pt x="205" y="583"/>
                  </a:lnTo>
                  <a:lnTo>
                    <a:pt x="205" y="580"/>
                  </a:lnTo>
                  <a:lnTo>
                    <a:pt x="202" y="580"/>
                  </a:lnTo>
                  <a:lnTo>
                    <a:pt x="202" y="580"/>
                  </a:lnTo>
                  <a:lnTo>
                    <a:pt x="202" y="577"/>
                  </a:lnTo>
                  <a:lnTo>
                    <a:pt x="202" y="577"/>
                  </a:lnTo>
                  <a:lnTo>
                    <a:pt x="202" y="577"/>
                  </a:lnTo>
                  <a:lnTo>
                    <a:pt x="202" y="577"/>
                  </a:lnTo>
                  <a:lnTo>
                    <a:pt x="202" y="577"/>
                  </a:lnTo>
                  <a:lnTo>
                    <a:pt x="205" y="575"/>
                  </a:lnTo>
                  <a:lnTo>
                    <a:pt x="205" y="575"/>
                  </a:lnTo>
                  <a:lnTo>
                    <a:pt x="205" y="575"/>
                  </a:lnTo>
                  <a:lnTo>
                    <a:pt x="208" y="575"/>
                  </a:lnTo>
                  <a:lnTo>
                    <a:pt x="208" y="572"/>
                  </a:lnTo>
                  <a:lnTo>
                    <a:pt x="208" y="569"/>
                  </a:lnTo>
                  <a:lnTo>
                    <a:pt x="208" y="569"/>
                  </a:lnTo>
                  <a:lnTo>
                    <a:pt x="208" y="569"/>
                  </a:lnTo>
                  <a:lnTo>
                    <a:pt x="208" y="567"/>
                  </a:lnTo>
                  <a:lnTo>
                    <a:pt x="208" y="567"/>
                  </a:lnTo>
                  <a:lnTo>
                    <a:pt x="208" y="561"/>
                  </a:lnTo>
                  <a:lnTo>
                    <a:pt x="205" y="561"/>
                  </a:lnTo>
                  <a:lnTo>
                    <a:pt x="202" y="556"/>
                  </a:lnTo>
                  <a:lnTo>
                    <a:pt x="202" y="556"/>
                  </a:lnTo>
                  <a:lnTo>
                    <a:pt x="202" y="553"/>
                  </a:lnTo>
                  <a:lnTo>
                    <a:pt x="202" y="551"/>
                  </a:lnTo>
                  <a:lnTo>
                    <a:pt x="202" y="551"/>
                  </a:lnTo>
                  <a:lnTo>
                    <a:pt x="200" y="551"/>
                  </a:lnTo>
                  <a:lnTo>
                    <a:pt x="197" y="551"/>
                  </a:lnTo>
                  <a:lnTo>
                    <a:pt x="197" y="551"/>
                  </a:lnTo>
                  <a:lnTo>
                    <a:pt x="197" y="548"/>
                  </a:lnTo>
                  <a:lnTo>
                    <a:pt x="197" y="548"/>
                  </a:lnTo>
                  <a:lnTo>
                    <a:pt x="197" y="548"/>
                  </a:lnTo>
                  <a:lnTo>
                    <a:pt x="197" y="545"/>
                  </a:lnTo>
                  <a:lnTo>
                    <a:pt x="197" y="545"/>
                  </a:lnTo>
                  <a:lnTo>
                    <a:pt x="197" y="545"/>
                  </a:lnTo>
                  <a:lnTo>
                    <a:pt x="197" y="543"/>
                  </a:lnTo>
                  <a:lnTo>
                    <a:pt x="197" y="543"/>
                  </a:lnTo>
                  <a:lnTo>
                    <a:pt x="194" y="543"/>
                  </a:lnTo>
                  <a:lnTo>
                    <a:pt x="194" y="540"/>
                  </a:lnTo>
                  <a:lnTo>
                    <a:pt x="194" y="540"/>
                  </a:lnTo>
                  <a:lnTo>
                    <a:pt x="194" y="537"/>
                  </a:lnTo>
                  <a:lnTo>
                    <a:pt x="192" y="537"/>
                  </a:lnTo>
                  <a:lnTo>
                    <a:pt x="192" y="535"/>
                  </a:lnTo>
                  <a:lnTo>
                    <a:pt x="189" y="532"/>
                  </a:lnTo>
                  <a:lnTo>
                    <a:pt x="189" y="532"/>
                  </a:lnTo>
                  <a:lnTo>
                    <a:pt x="189" y="532"/>
                  </a:lnTo>
                  <a:lnTo>
                    <a:pt x="189" y="529"/>
                  </a:lnTo>
                  <a:lnTo>
                    <a:pt x="189" y="529"/>
                  </a:lnTo>
                  <a:lnTo>
                    <a:pt x="189" y="527"/>
                  </a:lnTo>
                  <a:lnTo>
                    <a:pt x="186" y="527"/>
                  </a:lnTo>
                  <a:lnTo>
                    <a:pt x="186" y="524"/>
                  </a:lnTo>
                  <a:lnTo>
                    <a:pt x="184" y="524"/>
                  </a:lnTo>
                  <a:lnTo>
                    <a:pt x="184" y="524"/>
                  </a:lnTo>
                  <a:lnTo>
                    <a:pt x="184" y="524"/>
                  </a:lnTo>
                  <a:lnTo>
                    <a:pt x="184" y="521"/>
                  </a:lnTo>
                  <a:lnTo>
                    <a:pt x="184" y="521"/>
                  </a:lnTo>
                  <a:lnTo>
                    <a:pt x="184" y="519"/>
                  </a:lnTo>
                  <a:lnTo>
                    <a:pt x="186" y="516"/>
                  </a:lnTo>
                  <a:lnTo>
                    <a:pt x="186" y="513"/>
                  </a:lnTo>
                  <a:lnTo>
                    <a:pt x="186" y="513"/>
                  </a:lnTo>
                  <a:lnTo>
                    <a:pt x="184" y="513"/>
                  </a:lnTo>
                  <a:lnTo>
                    <a:pt x="181" y="511"/>
                  </a:lnTo>
                  <a:lnTo>
                    <a:pt x="181" y="508"/>
                  </a:lnTo>
                  <a:lnTo>
                    <a:pt x="181" y="508"/>
                  </a:lnTo>
                  <a:lnTo>
                    <a:pt x="181" y="505"/>
                  </a:lnTo>
                  <a:lnTo>
                    <a:pt x="181" y="505"/>
                  </a:lnTo>
                  <a:lnTo>
                    <a:pt x="181" y="505"/>
                  </a:lnTo>
                  <a:lnTo>
                    <a:pt x="181" y="505"/>
                  </a:lnTo>
                  <a:lnTo>
                    <a:pt x="181" y="503"/>
                  </a:lnTo>
                  <a:lnTo>
                    <a:pt x="184" y="503"/>
                  </a:lnTo>
                  <a:lnTo>
                    <a:pt x="184" y="503"/>
                  </a:lnTo>
                  <a:lnTo>
                    <a:pt x="184" y="500"/>
                  </a:lnTo>
                  <a:lnTo>
                    <a:pt x="184" y="497"/>
                  </a:lnTo>
                  <a:lnTo>
                    <a:pt x="184" y="497"/>
                  </a:lnTo>
                  <a:lnTo>
                    <a:pt x="184" y="497"/>
                  </a:lnTo>
                  <a:lnTo>
                    <a:pt x="184" y="497"/>
                  </a:lnTo>
                  <a:lnTo>
                    <a:pt x="184" y="495"/>
                  </a:lnTo>
                  <a:lnTo>
                    <a:pt x="178" y="495"/>
                  </a:lnTo>
                  <a:lnTo>
                    <a:pt x="178" y="492"/>
                  </a:lnTo>
                  <a:lnTo>
                    <a:pt x="178" y="492"/>
                  </a:lnTo>
                  <a:lnTo>
                    <a:pt x="178" y="492"/>
                  </a:lnTo>
                  <a:lnTo>
                    <a:pt x="178" y="489"/>
                  </a:lnTo>
                  <a:lnTo>
                    <a:pt x="181" y="489"/>
                  </a:lnTo>
                  <a:lnTo>
                    <a:pt x="181" y="487"/>
                  </a:lnTo>
                  <a:lnTo>
                    <a:pt x="181" y="487"/>
                  </a:lnTo>
                  <a:lnTo>
                    <a:pt x="181" y="487"/>
                  </a:lnTo>
                  <a:lnTo>
                    <a:pt x="181" y="484"/>
                  </a:lnTo>
                  <a:lnTo>
                    <a:pt x="181" y="484"/>
                  </a:lnTo>
                  <a:lnTo>
                    <a:pt x="181" y="484"/>
                  </a:lnTo>
                  <a:lnTo>
                    <a:pt x="181" y="481"/>
                  </a:lnTo>
                  <a:lnTo>
                    <a:pt x="181" y="481"/>
                  </a:lnTo>
                  <a:lnTo>
                    <a:pt x="178" y="481"/>
                  </a:lnTo>
                  <a:lnTo>
                    <a:pt x="173" y="478"/>
                  </a:lnTo>
                  <a:lnTo>
                    <a:pt x="173" y="478"/>
                  </a:lnTo>
                  <a:lnTo>
                    <a:pt x="173" y="476"/>
                  </a:lnTo>
                  <a:lnTo>
                    <a:pt x="173" y="476"/>
                  </a:lnTo>
                  <a:lnTo>
                    <a:pt x="173" y="476"/>
                  </a:lnTo>
                  <a:lnTo>
                    <a:pt x="173" y="473"/>
                  </a:lnTo>
                  <a:lnTo>
                    <a:pt x="170" y="470"/>
                  </a:lnTo>
                  <a:lnTo>
                    <a:pt x="165" y="468"/>
                  </a:lnTo>
                  <a:lnTo>
                    <a:pt x="165" y="468"/>
                  </a:lnTo>
                  <a:lnTo>
                    <a:pt x="162" y="468"/>
                  </a:lnTo>
                  <a:lnTo>
                    <a:pt x="162" y="468"/>
                  </a:lnTo>
                  <a:lnTo>
                    <a:pt x="162" y="468"/>
                  </a:lnTo>
                  <a:lnTo>
                    <a:pt x="162" y="468"/>
                  </a:lnTo>
                  <a:lnTo>
                    <a:pt x="162" y="468"/>
                  </a:lnTo>
                  <a:lnTo>
                    <a:pt x="162" y="470"/>
                  </a:lnTo>
                  <a:lnTo>
                    <a:pt x="162" y="470"/>
                  </a:lnTo>
                  <a:lnTo>
                    <a:pt x="162" y="470"/>
                  </a:lnTo>
                  <a:lnTo>
                    <a:pt x="162" y="470"/>
                  </a:lnTo>
                  <a:lnTo>
                    <a:pt x="162" y="473"/>
                  </a:lnTo>
                  <a:lnTo>
                    <a:pt x="162" y="473"/>
                  </a:lnTo>
                  <a:lnTo>
                    <a:pt x="162" y="473"/>
                  </a:lnTo>
                  <a:lnTo>
                    <a:pt x="162" y="473"/>
                  </a:lnTo>
                  <a:lnTo>
                    <a:pt x="160" y="473"/>
                  </a:lnTo>
                  <a:lnTo>
                    <a:pt x="157" y="473"/>
                  </a:lnTo>
                  <a:lnTo>
                    <a:pt x="157" y="476"/>
                  </a:lnTo>
                  <a:lnTo>
                    <a:pt x="157" y="476"/>
                  </a:lnTo>
                  <a:lnTo>
                    <a:pt x="157" y="476"/>
                  </a:lnTo>
                  <a:lnTo>
                    <a:pt x="154" y="476"/>
                  </a:lnTo>
                  <a:lnTo>
                    <a:pt x="154" y="476"/>
                  </a:lnTo>
                  <a:lnTo>
                    <a:pt x="154" y="478"/>
                  </a:lnTo>
                  <a:lnTo>
                    <a:pt x="154" y="478"/>
                  </a:lnTo>
                  <a:lnTo>
                    <a:pt x="154" y="478"/>
                  </a:lnTo>
                  <a:lnTo>
                    <a:pt x="152" y="478"/>
                  </a:lnTo>
                  <a:lnTo>
                    <a:pt x="152" y="481"/>
                  </a:lnTo>
                  <a:lnTo>
                    <a:pt x="152" y="481"/>
                  </a:lnTo>
                  <a:lnTo>
                    <a:pt x="149" y="481"/>
                  </a:lnTo>
                  <a:lnTo>
                    <a:pt x="149" y="481"/>
                  </a:lnTo>
                  <a:lnTo>
                    <a:pt x="149" y="484"/>
                  </a:lnTo>
                  <a:lnTo>
                    <a:pt x="149" y="484"/>
                  </a:lnTo>
                  <a:lnTo>
                    <a:pt x="149" y="484"/>
                  </a:lnTo>
                  <a:lnTo>
                    <a:pt x="144" y="484"/>
                  </a:lnTo>
                  <a:lnTo>
                    <a:pt x="141" y="487"/>
                  </a:lnTo>
                  <a:lnTo>
                    <a:pt x="141" y="487"/>
                  </a:lnTo>
                  <a:lnTo>
                    <a:pt x="141" y="487"/>
                  </a:lnTo>
                  <a:lnTo>
                    <a:pt x="138" y="487"/>
                  </a:lnTo>
                  <a:lnTo>
                    <a:pt x="138" y="487"/>
                  </a:lnTo>
                  <a:lnTo>
                    <a:pt x="136" y="487"/>
                  </a:lnTo>
                  <a:lnTo>
                    <a:pt x="136" y="487"/>
                  </a:lnTo>
                  <a:lnTo>
                    <a:pt x="136" y="487"/>
                  </a:lnTo>
                  <a:lnTo>
                    <a:pt x="136" y="487"/>
                  </a:lnTo>
                  <a:lnTo>
                    <a:pt x="136" y="487"/>
                  </a:lnTo>
                  <a:lnTo>
                    <a:pt x="133" y="489"/>
                  </a:lnTo>
                  <a:lnTo>
                    <a:pt x="133" y="492"/>
                  </a:lnTo>
                  <a:lnTo>
                    <a:pt x="133" y="492"/>
                  </a:lnTo>
                  <a:lnTo>
                    <a:pt x="133" y="492"/>
                  </a:lnTo>
                  <a:lnTo>
                    <a:pt x="130" y="492"/>
                  </a:lnTo>
                  <a:lnTo>
                    <a:pt x="128" y="492"/>
                  </a:lnTo>
                  <a:lnTo>
                    <a:pt x="128" y="492"/>
                  </a:lnTo>
                  <a:lnTo>
                    <a:pt x="128" y="492"/>
                  </a:lnTo>
                  <a:lnTo>
                    <a:pt x="125" y="492"/>
                  </a:lnTo>
                  <a:lnTo>
                    <a:pt x="125" y="492"/>
                  </a:lnTo>
                  <a:lnTo>
                    <a:pt x="122" y="492"/>
                  </a:lnTo>
                  <a:lnTo>
                    <a:pt x="122" y="492"/>
                  </a:lnTo>
                  <a:lnTo>
                    <a:pt x="122" y="489"/>
                  </a:lnTo>
                  <a:lnTo>
                    <a:pt x="120" y="487"/>
                  </a:lnTo>
                  <a:lnTo>
                    <a:pt x="117" y="487"/>
                  </a:lnTo>
                  <a:lnTo>
                    <a:pt x="117" y="487"/>
                  </a:lnTo>
                  <a:lnTo>
                    <a:pt x="117" y="484"/>
                  </a:lnTo>
                  <a:lnTo>
                    <a:pt x="117" y="484"/>
                  </a:lnTo>
                  <a:lnTo>
                    <a:pt x="117" y="484"/>
                  </a:lnTo>
                  <a:lnTo>
                    <a:pt x="114" y="481"/>
                  </a:lnTo>
                  <a:lnTo>
                    <a:pt x="112" y="481"/>
                  </a:lnTo>
                  <a:lnTo>
                    <a:pt x="109" y="478"/>
                  </a:lnTo>
                  <a:lnTo>
                    <a:pt x="106" y="478"/>
                  </a:lnTo>
                  <a:lnTo>
                    <a:pt x="104" y="478"/>
                  </a:lnTo>
                  <a:lnTo>
                    <a:pt x="104" y="478"/>
                  </a:lnTo>
                  <a:lnTo>
                    <a:pt x="104" y="476"/>
                  </a:lnTo>
                  <a:lnTo>
                    <a:pt x="106" y="476"/>
                  </a:lnTo>
                  <a:lnTo>
                    <a:pt x="106" y="476"/>
                  </a:lnTo>
                  <a:lnTo>
                    <a:pt x="106" y="473"/>
                  </a:lnTo>
                  <a:lnTo>
                    <a:pt x="106" y="473"/>
                  </a:lnTo>
                  <a:lnTo>
                    <a:pt x="106" y="473"/>
                  </a:lnTo>
                  <a:lnTo>
                    <a:pt x="106" y="470"/>
                  </a:lnTo>
                  <a:lnTo>
                    <a:pt x="106" y="470"/>
                  </a:lnTo>
                  <a:lnTo>
                    <a:pt x="106" y="470"/>
                  </a:lnTo>
                  <a:lnTo>
                    <a:pt x="106" y="468"/>
                  </a:lnTo>
                  <a:lnTo>
                    <a:pt x="109" y="468"/>
                  </a:lnTo>
                  <a:lnTo>
                    <a:pt x="112" y="465"/>
                  </a:lnTo>
                  <a:lnTo>
                    <a:pt x="112" y="465"/>
                  </a:lnTo>
                  <a:lnTo>
                    <a:pt x="112" y="465"/>
                  </a:lnTo>
                  <a:lnTo>
                    <a:pt x="112" y="465"/>
                  </a:lnTo>
                  <a:lnTo>
                    <a:pt x="112" y="465"/>
                  </a:lnTo>
                  <a:lnTo>
                    <a:pt x="112" y="462"/>
                  </a:lnTo>
                  <a:lnTo>
                    <a:pt x="112" y="462"/>
                  </a:lnTo>
                  <a:lnTo>
                    <a:pt x="112" y="462"/>
                  </a:lnTo>
                  <a:lnTo>
                    <a:pt x="112" y="460"/>
                  </a:lnTo>
                  <a:lnTo>
                    <a:pt x="112" y="460"/>
                  </a:lnTo>
                  <a:lnTo>
                    <a:pt x="112" y="457"/>
                  </a:lnTo>
                  <a:lnTo>
                    <a:pt x="109" y="454"/>
                  </a:lnTo>
                  <a:lnTo>
                    <a:pt x="109" y="454"/>
                  </a:lnTo>
                  <a:lnTo>
                    <a:pt x="109" y="454"/>
                  </a:lnTo>
                  <a:lnTo>
                    <a:pt x="109" y="452"/>
                  </a:lnTo>
                  <a:lnTo>
                    <a:pt x="109" y="452"/>
                  </a:lnTo>
                  <a:lnTo>
                    <a:pt x="106" y="449"/>
                  </a:lnTo>
                  <a:lnTo>
                    <a:pt x="109" y="449"/>
                  </a:lnTo>
                  <a:lnTo>
                    <a:pt x="109" y="449"/>
                  </a:lnTo>
                  <a:lnTo>
                    <a:pt x="109" y="446"/>
                  </a:lnTo>
                  <a:lnTo>
                    <a:pt x="109" y="446"/>
                  </a:lnTo>
                  <a:lnTo>
                    <a:pt x="112" y="446"/>
                  </a:lnTo>
                  <a:lnTo>
                    <a:pt x="112" y="446"/>
                  </a:lnTo>
                  <a:lnTo>
                    <a:pt x="112" y="444"/>
                  </a:lnTo>
                  <a:lnTo>
                    <a:pt x="114" y="444"/>
                  </a:lnTo>
                  <a:lnTo>
                    <a:pt x="114" y="441"/>
                  </a:lnTo>
                  <a:lnTo>
                    <a:pt x="114" y="441"/>
                  </a:lnTo>
                  <a:lnTo>
                    <a:pt x="114" y="441"/>
                  </a:lnTo>
                  <a:lnTo>
                    <a:pt x="114" y="441"/>
                  </a:lnTo>
                  <a:lnTo>
                    <a:pt x="117" y="441"/>
                  </a:lnTo>
                  <a:lnTo>
                    <a:pt x="117" y="441"/>
                  </a:lnTo>
                  <a:lnTo>
                    <a:pt x="120" y="441"/>
                  </a:lnTo>
                  <a:lnTo>
                    <a:pt x="122" y="441"/>
                  </a:lnTo>
                  <a:lnTo>
                    <a:pt x="122" y="441"/>
                  </a:lnTo>
                  <a:lnTo>
                    <a:pt x="122" y="441"/>
                  </a:lnTo>
                  <a:lnTo>
                    <a:pt x="125" y="438"/>
                  </a:lnTo>
                  <a:lnTo>
                    <a:pt x="125" y="438"/>
                  </a:lnTo>
                  <a:lnTo>
                    <a:pt x="125" y="436"/>
                  </a:lnTo>
                  <a:lnTo>
                    <a:pt x="125" y="436"/>
                  </a:lnTo>
                  <a:lnTo>
                    <a:pt x="125" y="433"/>
                  </a:lnTo>
                  <a:lnTo>
                    <a:pt x="125" y="430"/>
                  </a:lnTo>
                  <a:lnTo>
                    <a:pt x="125" y="430"/>
                  </a:lnTo>
                  <a:lnTo>
                    <a:pt x="125" y="430"/>
                  </a:lnTo>
                  <a:lnTo>
                    <a:pt x="125" y="430"/>
                  </a:lnTo>
                  <a:lnTo>
                    <a:pt x="125" y="428"/>
                  </a:lnTo>
                  <a:lnTo>
                    <a:pt x="125" y="428"/>
                  </a:lnTo>
                  <a:lnTo>
                    <a:pt x="125" y="425"/>
                  </a:lnTo>
                  <a:lnTo>
                    <a:pt x="128" y="425"/>
                  </a:lnTo>
                  <a:lnTo>
                    <a:pt x="128" y="425"/>
                  </a:lnTo>
                  <a:lnTo>
                    <a:pt x="125" y="422"/>
                  </a:lnTo>
                  <a:lnTo>
                    <a:pt x="125" y="422"/>
                  </a:lnTo>
                  <a:lnTo>
                    <a:pt x="122" y="422"/>
                  </a:lnTo>
                  <a:lnTo>
                    <a:pt x="120" y="420"/>
                  </a:lnTo>
                  <a:lnTo>
                    <a:pt x="120" y="420"/>
                  </a:lnTo>
                  <a:lnTo>
                    <a:pt x="120" y="420"/>
                  </a:lnTo>
                  <a:lnTo>
                    <a:pt x="120" y="417"/>
                  </a:lnTo>
                  <a:lnTo>
                    <a:pt x="120" y="417"/>
                  </a:lnTo>
                  <a:lnTo>
                    <a:pt x="120" y="417"/>
                  </a:lnTo>
                  <a:lnTo>
                    <a:pt x="120" y="414"/>
                  </a:lnTo>
                  <a:lnTo>
                    <a:pt x="120" y="414"/>
                  </a:lnTo>
                  <a:lnTo>
                    <a:pt x="120" y="414"/>
                  </a:lnTo>
                  <a:lnTo>
                    <a:pt x="120" y="412"/>
                  </a:lnTo>
                  <a:lnTo>
                    <a:pt x="120" y="412"/>
                  </a:lnTo>
                  <a:lnTo>
                    <a:pt x="122" y="409"/>
                  </a:lnTo>
                  <a:lnTo>
                    <a:pt x="122" y="409"/>
                  </a:lnTo>
                  <a:lnTo>
                    <a:pt x="122" y="409"/>
                  </a:lnTo>
                  <a:lnTo>
                    <a:pt x="122" y="406"/>
                  </a:lnTo>
                  <a:lnTo>
                    <a:pt x="122" y="406"/>
                  </a:lnTo>
                  <a:lnTo>
                    <a:pt x="122" y="406"/>
                  </a:lnTo>
                  <a:lnTo>
                    <a:pt x="122" y="404"/>
                  </a:lnTo>
                  <a:lnTo>
                    <a:pt x="120" y="401"/>
                  </a:lnTo>
                  <a:lnTo>
                    <a:pt x="120" y="398"/>
                  </a:lnTo>
                  <a:lnTo>
                    <a:pt x="120" y="398"/>
                  </a:lnTo>
                  <a:lnTo>
                    <a:pt x="120" y="398"/>
                  </a:lnTo>
                  <a:lnTo>
                    <a:pt x="120" y="398"/>
                  </a:lnTo>
                  <a:lnTo>
                    <a:pt x="120" y="398"/>
                  </a:lnTo>
                  <a:lnTo>
                    <a:pt x="120" y="396"/>
                  </a:lnTo>
                  <a:lnTo>
                    <a:pt x="122" y="396"/>
                  </a:lnTo>
                  <a:lnTo>
                    <a:pt x="125" y="396"/>
                  </a:lnTo>
                  <a:lnTo>
                    <a:pt x="125" y="396"/>
                  </a:lnTo>
                  <a:lnTo>
                    <a:pt x="125" y="396"/>
                  </a:lnTo>
                  <a:lnTo>
                    <a:pt x="128" y="396"/>
                  </a:lnTo>
                  <a:lnTo>
                    <a:pt x="128" y="396"/>
                  </a:lnTo>
                  <a:lnTo>
                    <a:pt x="128" y="396"/>
                  </a:lnTo>
                  <a:lnTo>
                    <a:pt x="128" y="393"/>
                  </a:lnTo>
                  <a:lnTo>
                    <a:pt x="128" y="393"/>
                  </a:lnTo>
                  <a:lnTo>
                    <a:pt x="128" y="390"/>
                  </a:lnTo>
                  <a:lnTo>
                    <a:pt x="128" y="390"/>
                  </a:lnTo>
                  <a:lnTo>
                    <a:pt x="128" y="388"/>
                  </a:lnTo>
                  <a:lnTo>
                    <a:pt x="128" y="388"/>
                  </a:lnTo>
                  <a:lnTo>
                    <a:pt x="125" y="385"/>
                  </a:lnTo>
                  <a:lnTo>
                    <a:pt x="125" y="385"/>
                  </a:lnTo>
                  <a:lnTo>
                    <a:pt x="125" y="385"/>
                  </a:lnTo>
                  <a:lnTo>
                    <a:pt x="128" y="385"/>
                  </a:lnTo>
                  <a:lnTo>
                    <a:pt x="128" y="382"/>
                  </a:lnTo>
                  <a:lnTo>
                    <a:pt x="128" y="382"/>
                  </a:lnTo>
                  <a:lnTo>
                    <a:pt x="128" y="382"/>
                  </a:lnTo>
                  <a:lnTo>
                    <a:pt x="128" y="382"/>
                  </a:lnTo>
                  <a:lnTo>
                    <a:pt x="128" y="380"/>
                  </a:lnTo>
                  <a:lnTo>
                    <a:pt x="128" y="380"/>
                  </a:lnTo>
                  <a:lnTo>
                    <a:pt x="130" y="377"/>
                  </a:lnTo>
                  <a:lnTo>
                    <a:pt x="133" y="374"/>
                  </a:lnTo>
                  <a:lnTo>
                    <a:pt x="133" y="374"/>
                  </a:lnTo>
                  <a:lnTo>
                    <a:pt x="133" y="374"/>
                  </a:lnTo>
                  <a:lnTo>
                    <a:pt x="133" y="374"/>
                  </a:lnTo>
                  <a:lnTo>
                    <a:pt x="133" y="372"/>
                  </a:lnTo>
                  <a:lnTo>
                    <a:pt x="133" y="369"/>
                  </a:lnTo>
                  <a:lnTo>
                    <a:pt x="133" y="369"/>
                  </a:lnTo>
                  <a:lnTo>
                    <a:pt x="133" y="366"/>
                  </a:lnTo>
                  <a:lnTo>
                    <a:pt x="138" y="364"/>
                  </a:lnTo>
                  <a:lnTo>
                    <a:pt x="138" y="361"/>
                  </a:lnTo>
                  <a:lnTo>
                    <a:pt x="138" y="361"/>
                  </a:lnTo>
                  <a:lnTo>
                    <a:pt x="138" y="361"/>
                  </a:lnTo>
                  <a:lnTo>
                    <a:pt x="138" y="358"/>
                  </a:lnTo>
                  <a:lnTo>
                    <a:pt x="138" y="358"/>
                  </a:lnTo>
                  <a:lnTo>
                    <a:pt x="138" y="358"/>
                  </a:lnTo>
                  <a:lnTo>
                    <a:pt x="138" y="358"/>
                  </a:lnTo>
                  <a:lnTo>
                    <a:pt x="136" y="356"/>
                  </a:lnTo>
                  <a:lnTo>
                    <a:pt x="136" y="356"/>
                  </a:lnTo>
                  <a:lnTo>
                    <a:pt x="136" y="356"/>
                  </a:lnTo>
                  <a:lnTo>
                    <a:pt x="136" y="356"/>
                  </a:lnTo>
                  <a:lnTo>
                    <a:pt x="136" y="353"/>
                  </a:lnTo>
                  <a:lnTo>
                    <a:pt x="136" y="353"/>
                  </a:lnTo>
                  <a:lnTo>
                    <a:pt x="136" y="353"/>
                  </a:lnTo>
                  <a:lnTo>
                    <a:pt x="141" y="353"/>
                  </a:lnTo>
                  <a:lnTo>
                    <a:pt x="141" y="353"/>
                  </a:lnTo>
                  <a:lnTo>
                    <a:pt x="141" y="353"/>
                  </a:lnTo>
                  <a:lnTo>
                    <a:pt x="141" y="353"/>
                  </a:lnTo>
                  <a:lnTo>
                    <a:pt x="141" y="350"/>
                  </a:lnTo>
                  <a:lnTo>
                    <a:pt x="144" y="350"/>
                  </a:lnTo>
                  <a:lnTo>
                    <a:pt x="141" y="350"/>
                  </a:lnTo>
                  <a:lnTo>
                    <a:pt x="141" y="350"/>
                  </a:lnTo>
                  <a:lnTo>
                    <a:pt x="141" y="348"/>
                  </a:lnTo>
                  <a:lnTo>
                    <a:pt x="141" y="348"/>
                  </a:lnTo>
                  <a:lnTo>
                    <a:pt x="141" y="348"/>
                  </a:lnTo>
                  <a:lnTo>
                    <a:pt x="141" y="348"/>
                  </a:lnTo>
                  <a:lnTo>
                    <a:pt x="144" y="345"/>
                  </a:lnTo>
                  <a:lnTo>
                    <a:pt x="144" y="345"/>
                  </a:lnTo>
                  <a:lnTo>
                    <a:pt x="144" y="345"/>
                  </a:lnTo>
                  <a:lnTo>
                    <a:pt x="144" y="342"/>
                  </a:lnTo>
                  <a:lnTo>
                    <a:pt x="144" y="342"/>
                  </a:lnTo>
                  <a:lnTo>
                    <a:pt x="144" y="342"/>
                  </a:lnTo>
                  <a:lnTo>
                    <a:pt x="144" y="342"/>
                  </a:lnTo>
                  <a:lnTo>
                    <a:pt x="144" y="340"/>
                  </a:lnTo>
                  <a:lnTo>
                    <a:pt x="146" y="340"/>
                  </a:lnTo>
                  <a:lnTo>
                    <a:pt x="146" y="337"/>
                  </a:lnTo>
                  <a:lnTo>
                    <a:pt x="146" y="334"/>
                  </a:lnTo>
                  <a:lnTo>
                    <a:pt x="146" y="334"/>
                  </a:lnTo>
                  <a:lnTo>
                    <a:pt x="146" y="334"/>
                  </a:lnTo>
                  <a:lnTo>
                    <a:pt x="146" y="332"/>
                  </a:lnTo>
                  <a:lnTo>
                    <a:pt x="146" y="332"/>
                  </a:lnTo>
                  <a:lnTo>
                    <a:pt x="144" y="332"/>
                  </a:lnTo>
                  <a:lnTo>
                    <a:pt x="144" y="332"/>
                  </a:lnTo>
                  <a:lnTo>
                    <a:pt x="144" y="332"/>
                  </a:lnTo>
                  <a:lnTo>
                    <a:pt x="136" y="332"/>
                  </a:lnTo>
                  <a:lnTo>
                    <a:pt x="136" y="332"/>
                  </a:lnTo>
                  <a:lnTo>
                    <a:pt x="133" y="334"/>
                  </a:lnTo>
                  <a:lnTo>
                    <a:pt x="133" y="334"/>
                  </a:lnTo>
                  <a:lnTo>
                    <a:pt x="130" y="334"/>
                  </a:lnTo>
                  <a:lnTo>
                    <a:pt x="130" y="334"/>
                  </a:lnTo>
                  <a:lnTo>
                    <a:pt x="130" y="334"/>
                  </a:lnTo>
                  <a:lnTo>
                    <a:pt x="128" y="332"/>
                  </a:lnTo>
                  <a:lnTo>
                    <a:pt x="128" y="332"/>
                  </a:lnTo>
                  <a:lnTo>
                    <a:pt x="128" y="332"/>
                  </a:lnTo>
                  <a:lnTo>
                    <a:pt x="125" y="334"/>
                  </a:lnTo>
                  <a:lnTo>
                    <a:pt x="122" y="334"/>
                  </a:lnTo>
                  <a:lnTo>
                    <a:pt x="122" y="334"/>
                  </a:lnTo>
                  <a:lnTo>
                    <a:pt x="120" y="332"/>
                  </a:lnTo>
                  <a:lnTo>
                    <a:pt x="120" y="332"/>
                  </a:lnTo>
                  <a:lnTo>
                    <a:pt x="117" y="329"/>
                  </a:lnTo>
                  <a:lnTo>
                    <a:pt x="114" y="329"/>
                  </a:lnTo>
                  <a:lnTo>
                    <a:pt x="114" y="329"/>
                  </a:lnTo>
                  <a:lnTo>
                    <a:pt x="114" y="326"/>
                  </a:lnTo>
                  <a:lnTo>
                    <a:pt x="114" y="326"/>
                  </a:lnTo>
                  <a:lnTo>
                    <a:pt x="114" y="326"/>
                  </a:lnTo>
                  <a:lnTo>
                    <a:pt x="114" y="326"/>
                  </a:lnTo>
                  <a:lnTo>
                    <a:pt x="117" y="324"/>
                  </a:lnTo>
                  <a:lnTo>
                    <a:pt x="117" y="324"/>
                  </a:lnTo>
                  <a:lnTo>
                    <a:pt x="117" y="321"/>
                  </a:lnTo>
                  <a:lnTo>
                    <a:pt x="117" y="321"/>
                  </a:lnTo>
                  <a:lnTo>
                    <a:pt x="117" y="321"/>
                  </a:lnTo>
                  <a:lnTo>
                    <a:pt x="114" y="318"/>
                  </a:lnTo>
                  <a:lnTo>
                    <a:pt x="112" y="318"/>
                  </a:lnTo>
                  <a:lnTo>
                    <a:pt x="112" y="318"/>
                  </a:lnTo>
                  <a:lnTo>
                    <a:pt x="112" y="318"/>
                  </a:lnTo>
                  <a:lnTo>
                    <a:pt x="112" y="318"/>
                  </a:lnTo>
                  <a:lnTo>
                    <a:pt x="109" y="318"/>
                  </a:lnTo>
                  <a:lnTo>
                    <a:pt x="109" y="318"/>
                  </a:lnTo>
                  <a:lnTo>
                    <a:pt x="106" y="321"/>
                  </a:lnTo>
                  <a:lnTo>
                    <a:pt x="104" y="321"/>
                  </a:lnTo>
                  <a:lnTo>
                    <a:pt x="104" y="321"/>
                  </a:lnTo>
                  <a:lnTo>
                    <a:pt x="104" y="321"/>
                  </a:lnTo>
                  <a:lnTo>
                    <a:pt x="104" y="321"/>
                  </a:lnTo>
                  <a:lnTo>
                    <a:pt x="104" y="318"/>
                  </a:lnTo>
                  <a:lnTo>
                    <a:pt x="104" y="318"/>
                  </a:lnTo>
                  <a:lnTo>
                    <a:pt x="104" y="316"/>
                  </a:lnTo>
                  <a:lnTo>
                    <a:pt x="104" y="316"/>
                  </a:lnTo>
                  <a:lnTo>
                    <a:pt x="104" y="313"/>
                  </a:lnTo>
                  <a:lnTo>
                    <a:pt x="104" y="313"/>
                  </a:lnTo>
                  <a:lnTo>
                    <a:pt x="104" y="313"/>
                  </a:lnTo>
                  <a:lnTo>
                    <a:pt x="104" y="313"/>
                  </a:lnTo>
                  <a:lnTo>
                    <a:pt x="101" y="310"/>
                  </a:lnTo>
                  <a:lnTo>
                    <a:pt x="98" y="310"/>
                  </a:lnTo>
                  <a:lnTo>
                    <a:pt x="98" y="308"/>
                  </a:lnTo>
                  <a:lnTo>
                    <a:pt x="96" y="308"/>
                  </a:lnTo>
                  <a:lnTo>
                    <a:pt x="96" y="305"/>
                  </a:lnTo>
                  <a:lnTo>
                    <a:pt x="93" y="305"/>
                  </a:lnTo>
                  <a:lnTo>
                    <a:pt x="90" y="302"/>
                  </a:lnTo>
                  <a:lnTo>
                    <a:pt x="90" y="302"/>
                  </a:lnTo>
                  <a:lnTo>
                    <a:pt x="90" y="299"/>
                  </a:lnTo>
                  <a:lnTo>
                    <a:pt x="90" y="299"/>
                  </a:lnTo>
                  <a:lnTo>
                    <a:pt x="90" y="297"/>
                  </a:lnTo>
                  <a:lnTo>
                    <a:pt x="90" y="294"/>
                  </a:lnTo>
                  <a:lnTo>
                    <a:pt x="90" y="294"/>
                  </a:lnTo>
                  <a:lnTo>
                    <a:pt x="90" y="294"/>
                  </a:lnTo>
                  <a:lnTo>
                    <a:pt x="90" y="291"/>
                  </a:lnTo>
                  <a:lnTo>
                    <a:pt x="90" y="291"/>
                  </a:lnTo>
                  <a:lnTo>
                    <a:pt x="90" y="291"/>
                  </a:lnTo>
                  <a:lnTo>
                    <a:pt x="90" y="291"/>
                  </a:lnTo>
                  <a:lnTo>
                    <a:pt x="88" y="289"/>
                  </a:lnTo>
                  <a:lnTo>
                    <a:pt x="88" y="289"/>
                  </a:lnTo>
                  <a:lnTo>
                    <a:pt x="88" y="286"/>
                  </a:lnTo>
                  <a:lnTo>
                    <a:pt x="85" y="283"/>
                  </a:lnTo>
                  <a:lnTo>
                    <a:pt x="85" y="283"/>
                  </a:lnTo>
                  <a:lnTo>
                    <a:pt x="85" y="281"/>
                  </a:lnTo>
                  <a:lnTo>
                    <a:pt x="82" y="281"/>
                  </a:lnTo>
                  <a:lnTo>
                    <a:pt x="80" y="281"/>
                  </a:lnTo>
                  <a:lnTo>
                    <a:pt x="80" y="281"/>
                  </a:lnTo>
                  <a:lnTo>
                    <a:pt x="80" y="278"/>
                  </a:lnTo>
                  <a:lnTo>
                    <a:pt x="80" y="278"/>
                  </a:lnTo>
                  <a:lnTo>
                    <a:pt x="80" y="278"/>
                  </a:lnTo>
                  <a:lnTo>
                    <a:pt x="80" y="275"/>
                  </a:lnTo>
                  <a:lnTo>
                    <a:pt x="80" y="275"/>
                  </a:lnTo>
                  <a:lnTo>
                    <a:pt x="72" y="265"/>
                  </a:lnTo>
                  <a:lnTo>
                    <a:pt x="69" y="262"/>
                  </a:lnTo>
                  <a:lnTo>
                    <a:pt x="69" y="257"/>
                  </a:lnTo>
                  <a:lnTo>
                    <a:pt x="66" y="257"/>
                  </a:lnTo>
                  <a:lnTo>
                    <a:pt x="64" y="254"/>
                  </a:lnTo>
                  <a:lnTo>
                    <a:pt x="64" y="254"/>
                  </a:lnTo>
                  <a:lnTo>
                    <a:pt x="64" y="251"/>
                  </a:lnTo>
                  <a:lnTo>
                    <a:pt x="64" y="251"/>
                  </a:lnTo>
                  <a:lnTo>
                    <a:pt x="61" y="251"/>
                  </a:lnTo>
                  <a:lnTo>
                    <a:pt x="61" y="251"/>
                  </a:lnTo>
                  <a:lnTo>
                    <a:pt x="61" y="249"/>
                  </a:lnTo>
                  <a:lnTo>
                    <a:pt x="61" y="249"/>
                  </a:lnTo>
                  <a:lnTo>
                    <a:pt x="61" y="246"/>
                  </a:lnTo>
                  <a:lnTo>
                    <a:pt x="61" y="246"/>
                  </a:lnTo>
                  <a:lnTo>
                    <a:pt x="58" y="246"/>
                  </a:lnTo>
                  <a:lnTo>
                    <a:pt x="58" y="246"/>
                  </a:lnTo>
                  <a:lnTo>
                    <a:pt x="58" y="243"/>
                  </a:lnTo>
                  <a:lnTo>
                    <a:pt x="58" y="243"/>
                  </a:lnTo>
                  <a:lnTo>
                    <a:pt x="56" y="241"/>
                  </a:lnTo>
                  <a:lnTo>
                    <a:pt x="56" y="241"/>
                  </a:lnTo>
                  <a:lnTo>
                    <a:pt x="56" y="238"/>
                  </a:lnTo>
                  <a:lnTo>
                    <a:pt x="48" y="235"/>
                  </a:lnTo>
                  <a:lnTo>
                    <a:pt x="42" y="233"/>
                  </a:lnTo>
                  <a:lnTo>
                    <a:pt x="40" y="233"/>
                  </a:lnTo>
                  <a:lnTo>
                    <a:pt x="40" y="233"/>
                  </a:lnTo>
                  <a:lnTo>
                    <a:pt x="40" y="230"/>
                  </a:lnTo>
                  <a:lnTo>
                    <a:pt x="40" y="230"/>
                  </a:lnTo>
                  <a:lnTo>
                    <a:pt x="37" y="227"/>
                  </a:lnTo>
                  <a:lnTo>
                    <a:pt x="37" y="225"/>
                  </a:lnTo>
                  <a:lnTo>
                    <a:pt x="34" y="219"/>
                  </a:lnTo>
                  <a:lnTo>
                    <a:pt x="34" y="219"/>
                  </a:lnTo>
                  <a:lnTo>
                    <a:pt x="26" y="214"/>
                  </a:lnTo>
                  <a:lnTo>
                    <a:pt x="24" y="211"/>
                  </a:lnTo>
                  <a:lnTo>
                    <a:pt x="21" y="211"/>
                  </a:lnTo>
                  <a:lnTo>
                    <a:pt x="21" y="211"/>
                  </a:lnTo>
                  <a:lnTo>
                    <a:pt x="21" y="209"/>
                  </a:lnTo>
                  <a:lnTo>
                    <a:pt x="21" y="209"/>
                  </a:lnTo>
                  <a:lnTo>
                    <a:pt x="21" y="209"/>
                  </a:lnTo>
                  <a:lnTo>
                    <a:pt x="21" y="209"/>
                  </a:lnTo>
                  <a:lnTo>
                    <a:pt x="21" y="209"/>
                  </a:lnTo>
                  <a:lnTo>
                    <a:pt x="24" y="209"/>
                  </a:lnTo>
                  <a:lnTo>
                    <a:pt x="26" y="209"/>
                  </a:lnTo>
                  <a:lnTo>
                    <a:pt x="29" y="209"/>
                  </a:lnTo>
                  <a:lnTo>
                    <a:pt x="29" y="209"/>
                  </a:lnTo>
                  <a:lnTo>
                    <a:pt x="29" y="209"/>
                  </a:lnTo>
                  <a:lnTo>
                    <a:pt x="29" y="209"/>
                  </a:lnTo>
                  <a:lnTo>
                    <a:pt x="29" y="206"/>
                  </a:lnTo>
                  <a:lnTo>
                    <a:pt x="29" y="206"/>
                  </a:lnTo>
                  <a:lnTo>
                    <a:pt x="29" y="206"/>
                  </a:lnTo>
                  <a:lnTo>
                    <a:pt x="26" y="203"/>
                  </a:lnTo>
                  <a:lnTo>
                    <a:pt x="26" y="203"/>
                  </a:lnTo>
                  <a:lnTo>
                    <a:pt x="26" y="203"/>
                  </a:lnTo>
                  <a:lnTo>
                    <a:pt x="26" y="201"/>
                  </a:lnTo>
                  <a:lnTo>
                    <a:pt x="26" y="198"/>
                  </a:lnTo>
                  <a:lnTo>
                    <a:pt x="26" y="198"/>
                  </a:lnTo>
                  <a:lnTo>
                    <a:pt x="24" y="195"/>
                  </a:lnTo>
                  <a:lnTo>
                    <a:pt x="21" y="195"/>
                  </a:lnTo>
                  <a:lnTo>
                    <a:pt x="21" y="195"/>
                  </a:lnTo>
                  <a:lnTo>
                    <a:pt x="24" y="195"/>
                  </a:lnTo>
                  <a:lnTo>
                    <a:pt x="24" y="193"/>
                  </a:lnTo>
                  <a:lnTo>
                    <a:pt x="26" y="193"/>
                  </a:lnTo>
                  <a:lnTo>
                    <a:pt x="26" y="193"/>
                  </a:lnTo>
                  <a:lnTo>
                    <a:pt x="26" y="193"/>
                  </a:lnTo>
                  <a:lnTo>
                    <a:pt x="26" y="193"/>
                  </a:lnTo>
                  <a:lnTo>
                    <a:pt x="29" y="190"/>
                  </a:lnTo>
                  <a:lnTo>
                    <a:pt x="29" y="190"/>
                  </a:lnTo>
                  <a:lnTo>
                    <a:pt x="29" y="187"/>
                  </a:lnTo>
                  <a:lnTo>
                    <a:pt x="29" y="187"/>
                  </a:lnTo>
                  <a:lnTo>
                    <a:pt x="26" y="182"/>
                  </a:lnTo>
                  <a:lnTo>
                    <a:pt x="26" y="182"/>
                  </a:lnTo>
                  <a:lnTo>
                    <a:pt x="26" y="179"/>
                  </a:lnTo>
                  <a:lnTo>
                    <a:pt x="26" y="177"/>
                  </a:lnTo>
                  <a:lnTo>
                    <a:pt x="26" y="177"/>
                  </a:lnTo>
                  <a:lnTo>
                    <a:pt x="26" y="174"/>
                  </a:lnTo>
                  <a:lnTo>
                    <a:pt x="26" y="174"/>
                  </a:lnTo>
                  <a:lnTo>
                    <a:pt x="24" y="171"/>
                  </a:lnTo>
                  <a:lnTo>
                    <a:pt x="21" y="171"/>
                  </a:lnTo>
                  <a:lnTo>
                    <a:pt x="21" y="171"/>
                  </a:lnTo>
                  <a:lnTo>
                    <a:pt x="21" y="169"/>
                  </a:lnTo>
                  <a:lnTo>
                    <a:pt x="21" y="169"/>
                  </a:lnTo>
                  <a:lnTo>
                    <a:pt x="21" y="169"/>
                  </a:lnTo>
                  <a:lnTo>
                    <a:pt x="18" y="166"/>
                  </a:lnTo>
                  <a:lnTo>
                    <a:pt x="18" y="166"/>
                  </a:lnTo>
                  <a:lnTo>
                    <a:pt x="18" y="163"/>
                  </a:lnTo>
                  <a:lnTo>
                    <a:pt x="16" y="158"/>
                  </a:lnTo>
                  <a:lnTo>
                    <a:pt x="16" y="155"/>
                  </a:lnTo>
                  <a:lnTo>
                    <a:pt x="16" y="155"/>
                  </a:lnTo>
                  <a:lnTo>
                    <a:pt x="16" y="155"/>
                  </a:lnTo>
                  <a:lnTo>
                    <a:pt x="13" y="153"/>
                  </a:lnTo>
                  <a:lnTo>
                    <a:pt x="13" y="153"/>
                  </a:lnTo>
                  <a:lnTo>
                    <a:pt x="10" y="150"/>
                  </a:lnTo>
                  <a:lnTo>
                    <a:pt x="10" y="150"/>
                  </a:lnTo>
                  <a:lnTo>
                    <a:pt x="10" y="147"/>
                  </a:lnTo>
                  <a:lnTo>
                    <a:pt x="8" y="147"/>
                  </a:lnTo>
                  <a:lnTo>
                    <a:pt x="8" y="147"/>
                  </a:lnTo>
                  <a:lnTo>
                    <a:pt x="8" y="145"/>
                  </a:lnTo>
                  <a:lnTo>
                    <a:pt x="5" y="142"/>
                  </a:lnTo>
                  <a:lnTo>
                    <a:pt x="5" y="139"/>
                  </a:lnTo>
                  <a:lnTo>
                    <a:pt x="2" y="137"/>
                  </a:lnTo>
                  <a:lnTo>
                    <a:pt x="0" y="134"/>
                  </a:lnTo>
                  <a:lnTo>
                    <a:pt x="0" y="131"/>
                  </a:lnTo>
                  <a:lnTo>
                    <a:pt x="0" y="131"/>
                  </a:lnTo>
                  <a:lnTo>
                    <a:pt x="0" y="126"/>
                  </a:lnTo>
                  <a:lnTo>
                    <a:pt x="2" y="110"/>
                  </a:lnTo>
                  <a:lnTo>
                    <a:pt x="5" y="94"/>
                  </a:lnTo>
                  <a:lnTo>
                    <a:pt x="8" y="78"/>
                  </a:lnTo>
                  <a:lnTo>
                    <a:pt x="10" y="62"/>
                  </a:lnTo>
                  <a:lnTo>
                    <a:pt x="13" y="48"/>
                  </a:lnTo>
                  <a:lnTo>
                    <a:pt x="13" y="32"/>
                  </a:lnTo>
                  <a:lnTo>
                    <a:pt x="16" y="16"/>
                  </a:lnTo>
                  <a:lnTo>
                    <a:pt x="18" y="0"/>
                  </a:lnTo>
                  <a:lnTo>
                    <a:pt x="40" y="3"/>
                  </a:lnTo>
                  <a:lnTo>
                    <a:pt x="61" y="6"/>
                  </a:lnTo>
                  <a:lnTo>
                    <a:pt x="82" y="11"/>
                  </a:lnTo>
                  <a:lnTo>
                    <a:pt x="104" y="14"/>
                  </a:lnTo>
                  <a:lnTo>
                    <a:pt x="125" y="16"/>
                  </a:lnTo>
                  <a:lnTo>
                    <a:pt x="146" y="19"/>
                  </a:lnTo>
                  <a:lnTo>
                    <a:pt x="168" y="22"/>
                  </a:lnTo>
                  <a:lnTo>
                    <a:pt x="189" y="24"/>
                  </a:lnTo>
                  <a:lnTo>
                    <a:pt x="210" y="27"/>
                  </a:lnTo>
                  <a:lnTo>
                    <a:pt x="210" y="27"/>
                  </a:lnTo>
                  <a:lnTo>
                    <a:pt x="232" y="30"/>
                  </a:lnTo>
                  <a:lnTo>
                    <a:pt x="253" y="32"/>
                  </a:lnTo>
                  <a:lnTo>
                    <a:pt x="274" y="35"/>
                  </a:lnTo>
                  <a:lnTo>
                    <a:pt x="296" y="38"/>
                  </a:lnTo>
                  <a:lnTo>
                    <a:pt x="317" y="40"/>
                  </a:lnTo>
                  <a:lnTo>
                    <a:pt x="338" y="43"/>
                  </a:lnTo>
                  <a:lnTo>
                    <a:pt x="360" y="46"/>
                  </a:lnTo>
                  <a:lnTo>
                    <a:pt x="381" y="48"/>
                  </a:lnTo>
                  <a:lnTo>
                    <a:pt x="402" y="51"/>
                  </a:lnTo>
                  <a:lnTo>
                    <a:pt x="424" y="51"/>
                  </a:lnTo>
                  <a:lnTo>
                    <a:pt x="445" y="54"/>
                  </a:lnTo>
                  <a:lnTo>
                    <a:pt x="466" y="56"/>
                  </a:lnTo>
                  <a:lnTo>
                    <a:pt x="488" y="59"/>
                  </a:lnTo>
                  <a:lnTo>
                    <a:pt x="509" y="62"/>
                  </a:lnTo>
                  <a:lnTo>
                    <a:pt x="531" y="64"/>
                  </a:lnTo>
                  <a:lnTo>
                    <a:pt x="552" y="64"/>
                  </a:lnTo>
                  <a:lnTo>
                    <a:pt x="573" y="67"/>
                  </a:lnTo>
                  <a:lnTo>
                    <a:pt x="595" y="70"/>
                  </a:lnTo>
                  <a:lnTo>
                    <a:pt x="608" y="70"/>
                  </a:lnTo>
                  <a:lnTo>
                    <a:pt x="616" y="72"/>
                  </a:lnTo>
                  <a:lnTo>
                    <a:pt x="640" y="72"/>
                  </a:lnTo>
                  <a:lnTo>
                    <a:pt x="661" y="75"/>
                  </a:lnTo>
                  <a:lnTo>
                    <a:pt x="683" y="78"/>
                  </a:lnTo>
                  <a:lnTo>
                    <a:pt x="704" y="78"/>
                  </a:lnTo>
                  <a:lnTo>
                    <a:pt x="725" y="80"/>
                  </a:lnTo>
                  <a:lnTo>
                    <a:pt x="747" y="83"/>
                  </a:lnTo>
                  <a:lnTo>
                    <a:pt x="768" y="83"/>
                  </a:lnTo>
                  <a:lnTo>
                    <a:pt x="789" y="86"/>
                  </a:lnTo>
                  <a:lnTo>
                    <a:pt x="811" y="86"/>
                  </a:lnTo>
                  <a:lnTo>
                    <a:pt x="832" y="88"/>
                  </a:lnTo>
                  <a:lnTo>
                    <a:pt x="853" y="91"/>
                  </a:lnTo>
                  <a:lnTo>
                    <a:pt x="875" y="91"/>
                  </a:lnTo>
                  <a:lnTo>
                    <a:pt x="896" y="94"/>
                  </a:lnTo>
                  <a:lnTo>
                    <a:pt x="917" y="94"/>
                  </a:lnTo>
                  <a:lnTo>
                    <a:pt x="939" y="96"/>
                  </a:lnTo>
                  <a:lnTo>
                    <a:pt x="960" y="96"/>
                  </a:lnTo>
                  <a:lnTo>
                    <a:pt x="984" y="99"/>
                  </a:lnTo>
                  <a:lnTo>
                    <a:pt x="1005" y="99"/>
                  </a:lnTo>
                  <a:lnTo>
                    <a:pt x="1027" y="99"/>
                  </a:lnTo>
                  <a:lnTo>
                    <a:pt x="1048" y="102"/>
                  </a:lnTo>
                  <a:lnTo>
                    <a:pt x="1070" y="102"/>
                  </a:lnTo>
                  <a:lnTo>
                    <a:pt x="1091" y="104"/>
                  </a:lnTo>
                  <a:lnTo>
                    <a:pt x="1112" y="104"/>
                  </a:lnTo>
                  <a:lnTo>
                    <a:pt x="1134" y="104"/>
                  </a:lnTo>
                  <a:lnTo>
                    <a:pt x="1155" y="107"/>
                  </a:lnTo>
                  <a:lnTo>
                    <a:pt x="1176" y="107"/>
                  </a:lnTo>
                  <a:lnTo>
                    <a:pt x="1192" y="107"/>
                  </a:lnTo>
                  <a:lnTo>
                    <a:pt x="1192" y="134"/>
                  </a:lnTo>
                  <a:lnTo>
                    <a:pt x="1190" y="158"/>
                  </a:lnTo>
                  <a:lnTo>
                    <a:pt x="1190" y="185"/>
                  </a:lnTo>
                  <a:lnTo>
                    <a:pt x="1190" y="209"/>
                  </a:lnTo>
                  <a:lnTo>
                    <a:pt x="1187" y="235"/>
                  </a:lnTo>
                  <a:lnTo>
                    <a:pt x="1187" y="259"/>
                  </a:lnTo>
                  <a:lnTo>
                    <a:pt x="1187" y="286"/>
                  </a:lnTo>
                  <a:lnTo>
                    <a:pt x="1187" y="310"/>
                  </a:lnTo>
                  <a:lnTo>
                    <a:pt x="1184" y="337"/>
                  </a:lnTo>
                  <a:lnTo>
                    <a:pt x="1184" y="364"/>
                  </a:lnTo>
                  <a:lnTo>
                    <a:pt x="1184" y="388"/>
                  </a:lnTo>
                  <a:lnTo>
                    <a:pt x="1182" y="414"/>
                  </a:lnTo>
                  <a:lnTo>
                    <a:pt x="1182" y="441"/>
                  </a:lnTo>
                  <a:lnTo>
                    <a:pt x="1182" y="465"/>
                  </a:lnTo>
                  <a:lnTo>
                    <a:pt x="1179" y="492"/>
                  </a:lnTo>
                  <a:lnTo>
                    <a:pt x="1179" y="519"/>
                  </a:lnTo>
                  <a:lnTo>
                    <a:pt x="1179" y="519"/>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33" name="Freeform 30">
              <a:extLst>
                <a:ext uri="{FF2B5EF4-FFF2-40B4-BE49-F238E27FC236}">
                  <a16:creationId xmlns="" xmlns:a16="http://schemas.microsoft.com/office/drawing/2014/main" id="{AC11B041-2F34-4BFD-A383-4343E13875F4}"/>
                </a:ext>
              </a:extLst>
            </p:cNvPr>
            <p:cNvSpPr>
              <a:spLocks noEditPoints="1"/>
            </p:cNvSpPr>
            <p:nvPr/>
          </p:nvSpPr>
          <p:spPr bwMode="auto">
            <a:xfrm>
              <a:off x="4648" y="2137"/>
              <a:ext cx="403" cy="698"/>
            </a:xfrm>
            <a:custGeom>
              <a:avLst/>
              <a:gdLst>
                <a:gd name="T0" fmla="*/ 321 w 403"/>
                <a:gd name="T1" fmla="*/ 682 h 698"/>
                <a:gd name="T2" fmla="*/ 323 w 403"/>
                <a:gd name="T3" fmla="*/ 684 h 698"/>
                <a:gd name="T4" fmla="*/ 323 w 403"/>
                <a:gd name="T5" fmla="*/ 676 h 698"/>
                <a:gd name="T6" fmla="*/ 337 w 403"/>
                <a:gd name="T7" fmla="*/ 682 h 698"/>
                <a:gd name="T8" fmla="*/ 403 w 403"/>
                <a:gd name="T9" fmla="*/ 674 h 698"/>
                <a:gd name="T10" fmla="*/ 390 w 403"/>
                <a:gd name="T11" fmla="*/ 569 h 698"/>
                <a:gd name="T12" fmla="*/ 374 w 403"/>
                <a:gd name="T13" fmla="*/ 452 h 698"/>
                <a:gd name="T14" fmla="*/ 371 w 403"/>
                <a:gd name="T15" fmla="*/ 388 h 698"/>
                <a:gd name="T16" fmla="*/ 371 w 403"/>
                <a:gd name="T17" fmla="*/ 249 h 698"/>
                <a:gd name="T18" fmla="*/ 371 w 403"/>
                <a:gd name="T19" fmla="*/ 86 h 698"/>
                <a:gd name="T20" fmla="*/ 371 w 403"/>
                <a:gd name="T21" fmla="*/ 14 h 698"/>
                <a:gd name="T22" fmla="*/ 326 w 403"/>
                <a:gd name="T23" fmla="*/ 6 h 698"/>
                <a:gd name="T24" fmla="*/ 206 w 403"/>
                <a:gd name="T25" fmla="*/ 16 h 698"/>
                <a:gd name="T26" fmla="*/ 121 w 403"/>
                <a:gd name="T27" fmla="*/ 30 h 698"/>
                <a:gd name="T28" fmla="*/ 102 w 403"/>
                <a:gd name="T29" fmla="*/ 59 h 698"/>
                <a:gd name="T30" fmla="*/ 88 w 403"/>
                <a:gd name="T31" fmla="*/ 72 h 698"/>
                <a:gd name="T32" fmla="*/ 80 w 403"/>
                <a:gd name="T33" fmla="*/ 115 h 698"/>
                <a:gd name="T34" fmla="*/ 72 w 403"/>
                <a:gd name="T35" fmla="*/ 123 h 698"/>
                <a:gd name="T36" fmla="*/ 64 w 403"/>
                <a:gd name="T37" fmla="*/ 129 h 698"/>
                <a:gd name="T38" fmla="*/ 51 w 403"/>
                <a:gd name="T39" fmla="*/ 153 h 698"/>
                <a:gd name="T40" fmla="*/ 43 w 403"/>
                <a:gd name="T41" fmla="*/ 171 h 698"/>
                <a:gd name="T42" fmla="*/ 43 w 403"/>
                <a:gd name="T43" fmla="*/ 185 h 698"/>
                <a:gd name="T44" fmla="*/ 38 w 403"/>
                <a:gd name="T45" fmla="*/ 203 h 698"/>
                <a:gd name="T46" fmla="*/ 24 w 403"/>
                <a:gd name="T47" fmla="*/ 219 h 698"/>
                <a:gd name="T48" fmla="*/ 27 w 403"/>
                <a:gd name="T49" fmla="*/ 233 h 698"/>
                <a:gd name="T50" fmla="*/ 38 w 403"/>
                <a:gd name="T51" fmla="*/ 249 h 698"/>
                <a:gd name="T52" fmla="*/ 40 w 403"/>
                <a:gd name="T53" fmla="*/ 273 h 698"/>
                <a:gd name="T54" fmla="*/ 40 w 403"/>
                <a:gd name="T55" fmla="*/ 294 h 698"/>
                <a:gd name="T56" fmla="*/ 46 w 403"/>
                <a:gd name="T57" fmla="*/ 318 h 698"/>
                <a:gd name="T58" fmla="*/ 46 w 403"/>
                <a:gd name="T59" fmla="*/ 334 h 698"/>
                <a:gd name="T60" fmla="*/ 51 w 403"/>
                <a:gd name="T61" fmla="*/ 356 h 698"/>
                <a:gd name="T62" fmla="*/ 46 w 403"/>
                <a:gd name="T63" fmla="*/ 369 h 698"/>
                <a:gd name="T64" fmla="*/ 51 w 403"/>
                <a:gd name="T65" fmla="*/ 385 h 698"/>
                <a:gd name="T66" fmla="*/ 70 w 403"/>
                <a:gd name="T67" fmla="*/ 404 h 698"/>
                <a:gd name="T68" fmla="*/ 67 w 403"/>
                <a:gd name="T69" fmla="*/ 425 h 698"/>
                <a:gd name="T70" fmla="*/ 62 w 403"/>
                <a:gd name="T71" fmla="*/ 446 h 698"/>
                <a:gd name="T72" fmla="*/ 43 w 403"/>
                <a:gd name="T73" fmla="*/ 471 h 698"/>
                <a:gd name="T74" fmla="*/ 24 w 403"/>
                <a:gd name="T75" fmla="*/ 492 h 698"/>
                <a:gd name="T76" fmla="*/ 14 w 403"/>
                <a:gd name="T77" fmla="*/ 527 h 698"/>
                <a:gd name="T78" fmla="*/ 16 w 403"/>
                <a:gd name="T79" fmla="*/ 545 h 698"/>
                <a:gd name="T80" fmla="*/ 0 w 403"/>
                <a:gd name="T81" fmla="*/ 564 h 698"/>
                <a:gd name="T82" fmla="*/ 6 w 403"/>
                <a:gd name="T83" fmla="*/ 575 h 698"/>
                <a:gd name="T84" fmla="*/ 8 w 403"/>
                <a:gd name="T85" fmla="*/ 599 h 698"/>
                <a:gd name="T86" fmla="*/ 118 w 403"/>
                <a:gd name="T87" fmla="*/ 591 h 698"/>
                <a:gd name="T88" fmla="*/ 225 w 403"/>
                <a:gd name="T89" fmla="*/ 580 h 698"/>
                <a:gd name="T90" fmla="*/ 227 w 403"/>
                <a:gd name="T91" fmla="*/ 609 h 698"/>
                <a:gd name="T92" fmla="*/ 230 w 403"/>
                <a:gd name="T93" fmla="*/ 631 h 698"/>
                <a:gd name="T94" fmla="*/ 249 w 403"/>
                <a:gd name="T95" fmla="*/ 655 h 698"/>
                <a:gd name="T96" fmla="*/ 254 w 403"/>
                <a:gd name="T97" fmla="*/ 676 h 698"/>
                <a:gd name="T98" fmla="*/ 270 w 403"/>
                <a:gd name="T99" fmla="*/ 690 h 698"/>
                <a:gd name="T100" fmla="*/ 278 w 403"/>
                <a:gd name="T101" fmla="*/ 690 h 698"/>
                <a:gd name="T102" fmla="*/ 281 w 403"/>
                <a:gd name="T103" fmla="*/ 679 h 698"/>
                <a:gd name="T104" fmla="*/ 289 w 403"/>
                <a:gd name="T105" fmla="*/ 666 h 698"/>
                <a:gd name="T106" fmla="*/ 299 w 403"/>
                <a:gd name="T107" fmla="*/ 668 h 698"/>
                <a:gd name="T108" fmla="*/ 329 w 403"/>
                <a:gd name="T109" fmla="*/ 658 h 698"/>
                <a:gd name="T110" fmla="*/ 334 w 403"/>
                <a:gd name="T111" fmla="*/ 650 h 698"/>
                <a:gd name="T112" fmla="*/ 379 w 403"/>
                <a:gd name="T113" fmla="*/ 650 h 698"/>
                <a:gd name="T114" fmla="*/ 390 w 403"/>
                <a:gd name="T115" fmla="*/ 658 h 698"/>
                <a:gd name="T116" fmla="*/ 403 w 403"/>
                <a:gd name="T117" fmla="*/ 652 h 698"/>
                <a:gd name="T118" fmla="*/ 369 w 403"/>
                <a:gd name="T119" fmla="*/ 671 h 698"/>
                <a:gd name="T120" fmla="*/ 379 w 403"/>
                <a:gd name="T121" fmla="*/ 674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3" h="698">
                  <a:moveTo>
                    <a:pt x="323" y="676"/>
                  </a:moveTo>
                  <a:lnTo>
                    <a:pt x="323" y="679"/>
                  </a:lnTo>
                  <a:lnTo>
                    <a:pt x="321" y="679"/>
                  </a:lnTo>
                  <a:lnTo>
                    <a:pt x="315" y="679"/>
                  </a:lnTo>
                  <a:lnTo>
                    <a:pt x="315" y="682"/>
                  </a:lnTo>
                  <a:lnTo>
                    <a:pt x="318" y="679"/>
                  </a:lnTo>
                  <a:lnTo>
                    <a:pt x="321" y="679"/>
                  </a:lnTo>
                  <a:lnTo>
                    <a:pt x="321" y="682"/>
                  </a:lnTo>
                  <a:lnTo>
                    <a:pt x="321" y="682"/>
                  </a:lnTo>
                  <a:lnTo>
                    <a:pt x="323" y="682"/>
                  </a:lnTo>
                  <a:lnTo>
                    <a:pt x="323" y="682"/>
                  </a:lnTo>
                  <a:lnTo>
                    <a:pt x="321" y="684"/>
                  </a:lnTo>
                  <a:lnTo>
                    <a:pt x="321" y="684"/>
                  </a:lnTo>
                  <a:lnTo>
                    <a:pt x="321" y="684"/>
                  </a:lnTo>
                  <a:lnTo>
                    <a:pt x="323" y="684"/>
                  </a:lnTo>
                  <a:lnTo>
                    <a:pt x="323" y="684"/>
                  </a:lnTo>
                  <a:lnTo>
                    <a:pt x="323" y="684"/>
                  </a:lnTo>
                  <a:lnTo>
                    <a:pt x="326" y="679"/>
                  </a:lnTo>
                  <a:lnTo>
                    <a:pt x="326" y="679"/>
                  </a:lnTo>
                  <a:lnTo>
                    <a:pt x="326" y="676"/>
                  </a:lnTo>
                  <a:lnTo>
                    <a:pt x="326" y="676"/>
                  </a:lnTo>
                  <a:lnTo>
                    <a:pt x="326" y="676"/>
                  </a:lnTo>
                  <a:lnTo>
                    <a:pt x="326" y="676"/>
                  </a:lnTo>
                  <a:lnTo>
                    <a:pt x="323" y="676"/>
                  </a:lnTo>
                  <a:close/>
                  <a:moveTo>
                    <a:pt x="281" y="695"/>
                  </a:moveTo>
                  <a:lnTo>
                    <a:pt x="281" y="698"/>
                  </a:lnTo>
                  <a:lnTo>
                    <a:pt x="283" y="698"/>
                  </a:lnTo>
                  <a:lnTo>
                    <a:pt x="283" y="695"/>
                  </a:lnTo>
                  <a:lnTo>
                    <a:pt x="283" y="695"/>
                  </a:lnTo>
                  <a:lnTo>
                    <a:pt x="281" y="695"/>
                  </a:lnTo>
                  <a:close/>
                  <a:moveTo>
                    <a:pt x="337" y="682"/>
                  </a:moveTo>
                  <a:lnTo>
                    <a:pt x="337" y="682"/>
                  </a:lnTo>
                  <a:lnTo>
                    <a:pt x="339" y="679"/>
                  </a:lnTo>
                  <a:lnTo>
                    <a:pt x="342" y="679"/>
                  </a:lnTo>
                  <a:lnTo>
                    <a:pt x="339" y="679"/>
                  </a:lnTo>
                  <a:lnTo>
                    <a:pt x="337" y="682"/>
                  </a:lnTo>
                  <a:close/>
                  <a:moveTo>
                    <a:pt x="393" y="674"/>
                  </a:moveTo>
                  <a:lnTo>
                    <a:pt x="398" y="674"/>
                  </a:lnTo>
                  <a:lnTo>
                    <a:pt x="401" y="674"/>
                  </a:lnTo>
                  <a:lnTo>
                    <a:pt x="403" y="674"/>
                  </a:lnTo>
                  <a:lnTo>
                    <a:pt x="393" y="674"/>
                  </a:lnTo>
                  <a:lnTo>
                    <a:pt x="393" y="674"/>
                  </a:lnTo>
                  <a:close/>
                  <a:moveTo>
                    <a:pt x="403" y="650"/>
                  </a:moveTo>
                  <a:lnTo>
                    <a:pt x="398" y="623"/>
                  </a:lnTo>
                  <a:lnTo>
                    <a:pt x="398" y="609"/>
                  </a:lnTo>
                  <a:lnTo>
                    <a:pt x="395" y="596"/>
                  </a:lnTo>
                  <a:lnTo>
                    <a:pt x="393" y="583"/>
                  </a:lnTo>
                  <a:lnTo>
                    <a:pt x="390" y="569"/>
                  </a:lnTo>
                  <a:lnTo>
                    <a:pt x="387" y="559"/>
                  </a:lnTo>
                  <a:lnTo>
                    <a:pt x="387" y="545"/>
                  </a:lnTo>
                  <a:lnTo>
                    <a:pt x="382" y="519"/>
                  </a:lnTo>
                  <a:lnTo>
                    <a:pt x="382" y="505"/>
                  </a:lnTo>
                  <a:lnTo>
                    <a:pt x="379" y="492"/>
                  </a:lnTo>
                  <a:lnTo>
                    <a:pt x="377" y="479"/>
                  </a:lnTo>
                  <a:lnTo>
                    <a:pt x="374" y="465"/>
                  </a:lnTo>
                  <a:lnTo>
                    <a:pt x="374" y="452"/>
                  </a:lnTo>
                  <a:lnTo>
                    <a:pt x="371" y="441"/>
                  </a:lnTo>
                  <a:lnTo>
                    <a:pt x="371" y="438"/>
                  </a:lnTo>
                  <a:lnTo>
                    <a:pt x="371" y="436"/>
                  </a:lnTo>
                  <a:lnTo>
                    <a:pt x="371" y="430"/>
                  </a:lnTo>
                  <a:lnTo>
                    <a:pt x="371" y="422"/>
                  </a:lnTo>
                  <a:lnTo>
                    <a:pt x="371" y="412"/>
                  </a:lnTo>
                  <a:lnTo>
                    <a:pt x="371" y="401"/>
                  </a:lnTo>
                  <a:lnTo>
                    <a:pt x="371" y="388"/>
                  </a:lnTo>
                  <a:lnTo>
                    <a:pt x="371" y="374"/>
                  </a:lnTo>
                  <a:lnTo>
                    <a:pt x="371" y="358"/>
                  </a:lnTo>
                  <a:lnTo>
                    <a:pt x="371" y="342"/>
                  </a:lnTo>
                  <a:lnTo>
                    <a:pt x="371" y="326"/>
                  </a:lnTo>
                  <a:lnTo>
                    <a:pt x="371" y="308"/>
                  </a:lnTo>
                  <a:lnTo>
                    <a:pt x="371" y="289"/>
                  </a:lnTo>
                  <a:lnTo>
                    <a:pt x="371" y="270"/>
                  </a:lnTo>
                  <a:lnTo>
                    <a:pt x="371" y="249"/>
                  </a:lnTo>
                  <a:lnTo>
                    <a:pt x="371" y="211"/>
                  </a:lnTo>
                  <a:lnTo>
                    <a:pt x="371" y="190"/>
                  </a:lnTo>
                  <a:lnTo>
                    <a:pt x="371" y="171"/>
                  </a:lnTo>
                  <a:lnTo>
                    <a:pt x="371" y="153"/>
                  </a:lnTo>
                  <a:lnTo>
                    <a:pt x="371" y="134"/>
                  </a:lnTo>
                  <a:lnTo>
                    <a:pt x="371" y="118"/>
                  </a:lnTo>
                  <a:lnTo>
                    <a:pt x="371" y="102"/>
                  </a:lnTo>
                  <a:lnTo>
                    <a:pt x="371" y="86"/>
                  </a:lnTo>
                  <a:lnTo>
                    <a:pt x="371" y="72"/>
                  </a:lnTo>
                  <a:lnTo>
                    <a:pt x="371" y="59"/>
                  </a:lnTo>
                  <a:lnTo>
                    <a:pt x="371" y="48"/>
                  </a:lnTo>
                  <a:lnTo>
                    <a:pt x="371" y="38"/>
                  </a:lnTo>
                  <a:lnTo>
                    <a:pt x="371" y="24"/>
                  </a:lnTo>
                  <a:lnTo>
                    <a:pt x="371" y="22"/>
                  </a:lnTo>
                  <a:lnTo>
                    <a:pt x="371" y="14"/>
                  </a:lnTo>
                  <a:lnTo>
                    <a:pt x="371" y="14"/>
                  </a:lnTo>
                  <a:lnTo>
                    <a:pt x="371" y="14"/>
                  </a:lnTo>
                  <a:lnTo>
                    <a:pt x="366" y="11"/>
                  </a:lnTo>
                  <a:lnTo>
                    <a:pt x="363" y="6"/>
                  </a:lnTo>
                  <a:lnTo>
                    <a:pt x="361" y="0"/>
                  </a:lnTo>
                  <a:lnTo>
                    <a:pt x="361" y="0"/>
                  </a:lnTo>
                  <a:lnTo>
                    <a:pt x="355" y="0"/>
                  </a:lnTo>
                  <a:lnTo>
                    <a:pt x="339" y="3"/>
                  </a:lnTo>
                  <a:lnTo>
                    <a:pt x="326" y="6"/>
                  </a:lnTo>
                  <a:lnTo>
                    <a:pt x="310" y="6"/>
                  </a:lnTo>
                  <a:lnTo>
                    <a:pt x="297" y="8"/>
                  </a:lnTo>
                  <a:lnTo>
                    <a:pt x="281" y="8"/>
                  </a:lnTo>
                  <a:lnTo>
                    <a:pt x="265" y="11"/>
                  </a:lnTo>
                  <a:lnTo>
                    <a:pt x="251" y="11"/>
                  </a:lnTo>
                  <a:lnTo>
                    <a:pt x="235" y="14"/>
                  </a:lnTo>
                  <a:lnTo>
                    <a:pt x="222" y="16"/>
                  </a:lnTo>
                  <a:lnTo>
                    <a:pt x="206" y="16"/>
                  </a:lnTo>
                  <a:lnTo>
                    <a:pt x="190" y="19"/>
                  </a:lnTo>
                  <a:lnTo>
                    <a:pt x="177" y="19"/>
                  </a:lnTo>
                  <a:lnTo>
                    <a:pt x="161" y="22"/>
                  </a:lnTo>
                  <a:lnTo>
                    <a:pt x="147" y="22"/>
                  </a:lnTo>
                  <a:lnTo>
                    <a:pt x="131" y="24"/>
                  </a:lnTo>
                  <a:lnTo>
                    <a:pt x="115" y="24"/>
                  </a:lnTo>
                  <a:lnTo>
                    <a:pt x="118" y="24"/>
                  </a:lnTo>
                  <a:lnTo>
                    <a:pt x="121" y="30"/>
                  </a:lnTo>
                  <a:lnTo>
                    <a:pt x="121" y="35"/>
                  </a:lnTo>
                  <a:lnTo>
                    <a:pt x="118" y="40"/>
                  </a:lnTo>
                  <a:lnTo>
                    <a:pt x="113" y="43"/>
                  </a:lnTo>
                  <a:lnTo>
                    <a:pt x="99" y="51"/>
                  </a:lnTo>
                  <a:lnTo>
                    <a:pt x="99" y="51"/>
                  </a:lnTo>
                  <a:lnTo>
                    <a:pt x="99" y="54"/>
                  </a:lnTo>
                  <a:lnTo>
                    <a:pt x="102" y="56"/>
                  </a:lnTo>
                  <a:lnTo>
                    <a:pt x="102" y="59"/>
                  </a:lnTo>
                  <a:lnTo>
                    <a:pt x="99" y="62"/>
                  </a:lnTo>
                  <a:lnTo>
                    <a:pt x="99" y="64"/>
                  </a:lnTo>
                  <a:lnTo>
                    <a:pt x="96" y="64"/>
                  </a:lnTo>
                  <a:lnTo>
                    <a:pt x="94" y="64"/>
                  </a:lnTo>
                  <a:lnTo>
                    <a:pt x="91" y="62"/>
                  </a:lnTo>
                  <a:lnTo>
                    <a:pt x="91" y="64"/>
                  </a:lnTo>
                  <a:lnTo>
                    <a:pt x="88" y="67"/>
                  </a:lnTo>
                  <a:lnTo>
                    <a:pt x="88" y="72"/>
                  </a:lnTo>
                  <a:lnTo>
                    <a:pt x="88" y="78"/>
                  </a:lnTo>
                  <a:lnTo>
                    <a:pt x="91" y="86"/>
                  </a:lnTo>
                  <a:lnTo>
                    <a:pt x="91" y="99"/>
                  </a:lnTo>
                  <a:lnTo>
                    <a:pt x="91" y="104"/>
                  </a:lnTo>
                  <a:lnTo>
                    <a:pt x="91" y="107"/>
                  </a:lnTo>
                  <a:lnTo>
                    <a:pt x="86" y="113"/>
                  </a:lnTo>
                  <a:lnTo>
                    <a:pt x="83" y="115"/>
                  </a:lnTo>
                  <a:lnTo>
                    <a:pt x="80" y="115"/>
                  </a:lnTo>
                  <a:lnTo>
                    <a:pt x="75" y="118"/>
                  </a:lnTo>
                  <a:lnTo>
                    <a:pt x="72" y="118"/>
                  </a:lnTo>
                  <a:lnTo>
                    <a:pt x="72" y="118"/>
                  </a:lnTo>
                  <a:lnTo>
                    <a:pt x="70" y="115"/>
                  </a:lnTo>
                  <a:lnTo>
                    <a:pt x="70" y="118"/>
                  </a:lnTo>
                  <a:lnTo>
                    <a:pt x="70" y="118"/>
                  </a:lnTo>
                  <a:lnTo>
                    <a:pt x="72" y="121"/>
                  </a:lnTo>
                  <a:lnTo>
                    <a:pt x="72" y="123"/>
                  </a:lnTo>
                  <a:lnTo>
                    <a:pt x="72" y="123"/>
                  </a:lnTo>
                  <a:lnTo>
                    <a:pt x="72" y="126"/>
                  </a:lnTo>
                  <a:lnTo>
                    <a:pt x="72" y="129"/>
                  </a:lnTo>
                  <a:lnTo>
                    <a:pt x="70" y="129"/>
                  </a:lnTo>
                  <a:lnTo>
                    <a:pt x="70" y="131"/>
                  </a:lnTo>
                  <a:lnTo>
                    <a:pt x="70" y="131"/>
                  </a:lnTo>
                  <a:lnTo>
                    <a:pt x="67" y="129"/>
                  </a:lnTo>
                  <a:lnTo>
                    <a:pt x="64" y="129"/>
                  </a:lnTo>
                  <a:lnTo>
                    <a:pt x="64" y="129"/>
                  </a:lnTo>
                  <a:lnTo>
                    <a:pt x="64" y="131"/>
                  </a:lnTo>
                  <a:lnTo>
                    <a:pt x="62" y="142"/>
                  </a:lnTo>
                  <a:lnTo>
                    <a:pt x="59" y="142"/>
                  </a:lnTo>
                  <a:lnTo>
                    <a:pt x="59" y="145"/>
                  </a:lnTo>
                  <a:lnTo>
                    <a:pt x="51" y="147"/>
                  </a:lnTo>
                  <a:lnTo>
                    <a:pt x="51" y="150"/>
                  </a:lnTo>
                  <a:lnTo>
                    <a:pt x="51" y="153"/>
                  </a:lnTo>
                  <a:lnTo>
                    <a:pt x="59" y="155"/>
                  </a:lnTo>
                  <a:lnTo>
                    <a:pt x="62" y="161"/>
                  </a:lnTo>
                  <a:lnTo>
                    <a:pt x="59" y="163"/>
                  </a:lnTo>
                  <a:lnTo>
                    <a:pt x="56" y="166"/>
                  </a:lnTo>
                  <a:lnTo>
                    <a:pt x="56" y="166"/>
                  </a:lnTo>
                  <a:lnTo>
                    <a:pt x="54" y="166"/>
                  </a:lnTo>
                  <a:lnTo>
                    <a:pt x="51" y="166"/>
                  </a:lnTo>
                  <a:lnTo>
                    <a:pt x="43" y="171"/>
                  </a:lnTo>
                  <a:lnTo>
                    <a:pt x="38" y="174"/>
                  </a:lnTo>
                  <a:lnTo>
                    <a:pt x="38" y="174"/>
                  </a:lnTo>
                  <a:lnTo>
                    <a:pt x="38" y="177"/>
                  </a:lnTo>
                  <a:lnTo>
                    <a:pt x="38" y="177"/>
                  </a:lnTo>
                  <a:lnTo>
                    <a:pt x="40" y="177"/>
                  </a:lnTo>
                  <a:lnTo>
                    <a:pt x="43" y="179"/>
                  </a:lnTo>
                  <a:lnTo>
                    <a:pt x="43" y="182"/>
                  </a:lnTo>
                  <a:lnTo>
                    <a:pt x="43" y="185"/>
                  </a:lnTo>
                  <a:lnTo>
                    <a:pt x="40" y="187"/>
                  </a:lnTo>
                  <a:lnTo>
                    <a:pt x="43" y="193"/>
                  </a:lnTo>
                  <a:lnTo>
                    <a:pt x="43" y="195"/>
                  </a:lnTo>
                  <a:lnTo>
                    <a:pt x="43" y="198"/>
                  </a:lnTo>
                  <a:lnTo>
                    <a:pt x="43" y="201"/>
                  </a:lnTo>
                  <a:lnTo>
                    <a:pt x="43" y="201"/>
                  </a:lnTo>
                  <a:lnTo>
                    <a:pt x="38" y="203"/>
                  </a:lnTo>
                  <a:lnTo>
                    <a:pt x="38" y="203"/>
                  </a:lnTo>
                  <a:lnTo>
                    <a:pt x="38" y="203"/>
                  </a:lnTo>
                  <a:lnTo>
                    <a:pt x="35" y="206"/>
                  </a:lnTo>
                  <a:lnTo>
                    <a:pt x="32" y="206"/>
                  </a:lnTo>
                  <a:lnTo>
                    <a:pt x="32" y="209"/>
                  </a:lnTo>
                  <a:lnTo>
                    <a:pt x="30" y="214"/>
                  </a:lnTo>
                  <a:lnTo>
                    <a:pt x="27" y="217"/>
                  </a:lnTo>
                  <a:lnTo>
                    <a:pt x="24" y="217"/>
                  </a:lnTo>
                  <a:lnTo>
                    <a:pt x="24" y="219"/>
                  </a:lnTo>
                  <a:lnTo>
                    <a:pt x="27" y="222"/>
                  </a:lnTo>
                  <a:lnTo>
                    <a:pt x="32" y="222"/>
                  </a:lnTo>
                  <a:lnTo>
                    <a:pt x="35" y="225"/>
                  </a:lnTo>
                  <a:lnTo>
                    <a:pt x="35" y="227"/>
                  </a:lnTo>
                  <a:lnTo>
                    <a:pt x="35" y="230"/>
                  </a:lnTo>
                  <a:lnTo>
                    <a:pt x="32" y="233"/>
                  </a:lnTo>
                  <a:lnTo>
                    <a:pt x="30" y="233"/>
                  </a:lnTo>
                  <a:lnTo>
                    <a:pt x="27" y="233"/>
                  </a:lnTo>
                  <a:lnTo>
                    <a:pt x="24" y="235"/>
                  </a:lnTo>
                  <a:lnTo>
                    <a:pt x="24" y="238"/>
                  </a:lnTo>
                  <a:lnTo>
                    <a:pt x="27" y="238"/>
                  </a:lnTo>
                  <a:lnTo>
                    <a:pt x="30" y="241"/>
                  </a:lnTo>
                  <a:lnTo>
                    <a:pt x="32" y="241"/>
                  </a:lnTo>
                  <a:lnTo>
                    <a:pt x="35" y="243"/>
                  </a:lnTo>
                  <a:lnTo>
                    <a:pt x="38" y="246"/>
                  </a:lnTo>
                  <a:lnTo>
                    <a:pt x="38" y="249"/>
                  </a:lnTo>
                  <a:lnTo>
                    <a:pt x="40" y="251"/>
                  </a:lnTo>
                  <a:lnTo>
                    <a:pt x="40" y="257"/>
                  </a:lnTo>
                  <a:lnTo>
                    <a:pt x="38" y="259"/>
                  </a:lnTo>
                  <a:lnTo>
                    <a:pt x="35" y="265"/>
                  </a:lnTo>
                  <a:lnTo>
                    <a:pt x="35" y="267"/>
                  </a:lnTo>
                  <a:lnTo>
                    <a:pt x="35" y="270"/>
                  </a:lnTo>
                  <a:lnTo>
                    <a:pt x="38" y="270"/>
                  </a:lnTo>
                  <a:lnTo>
                    <a:pt x="40" y="273"/>
                  </a:lnTo>
                  <a:lnTo>
                    <a:pt x="43" y="273"/>
                  </a:lnTo>
                  <a:lnTo>
                    <a:pt x="43" y="275"/>
                  </a:lnTo>
                  <a:lnTo>
                    <a:pt x="43" y="283"/>
                  </a:lnTo>
                  <a:lnTo>
                    <a:pt x="46" y="286"/>
                  </a:lnTo>
                  <a:lnTo>
                    <a:pt x="46" y="289"/>
                  </a:lnTo>
                  <a:lnTo>
                    <a:pt x="46" y="292"/>
                  </a:lnTo>
                  <a:lnTo>
                    <a:pt x="43" y="294"/>
                  </a:lnTo>
                  <a:lnTo>
                    <a:pt x="40" y="294"/>
                  </a:lnTo>
                  <a:lnTo>
                    <a:pt x="40" y="294"/>
                  </a:lnTo>
                  <a:lnTo>
                    <a:pt x="38" y="297"/>
                  </a:lnTo>
                  <a:lnTo>
                    <a:pt x="40" y="310"/>
                  </a:lnTo>
                  <a:lnTo>
                    <a:pt x="40" y="316"/>
                  </a:lnTo>
                  <a:lnTo>
                    <a:pt x="40" y="318"/>
                  </a:lnTo>
                  <a:lnTo>
                    <a:pt x="43" y="318"/>
                  </a:lnTo>
                  <a:lnTo>
                    <a:pt x="43" y="318"/>
                  </a:lnTo>
                  <a:lnTo>
                    <a:pt x="46" y="318"/>
                  </a:lnTo>
                  <a:lnTo>
                    <a:pt x="48" y="318"/>
                  </a:lnTo>
                  <a:lnTo>
                    <a:pt x="48" y="321"/>
                  </a:lnTo>
                  <a:lnTo>
                    <a:pt x="51" y="324"/>
                  </a:lnTo>
                  <a:lnTo>
                    <a:pt x="51" y="326"/>
                  </a:lnTo>
                  <a:lnTo>
                    <a:pt x="48" y="329"/>
                  </a:lnTo>
                  <a:lnTo>
                    <a:pt x="48" y="332"/>
                  </a:lnTo>
                  <a:lnTo>
                    <a:pt x="46" y="332"/>
                  </a:lnTo>
                  <a:lnTo>
                    <a:pt x="46" y="334"/>
                  </a:lnTo>
                  <a:lnTo>
                    <a:pt x="43" y="340"/>
                  </a:lnTo>
                  <a:lnTo>
                    <a:pt x="43" y="345"/>
                  </a:lnTo>
                  <a:lnTo>
                    <a:pt x="43" y="348"/>
                  </a:lnTo>
                  <a:lnTo>
                    <a:pt x="46" y="348"/>
                  </a:lnTo>
                  <a:lnTo>
                    <a:pt x="51" y="350"/>
                  </a:lnTo>
                  <a:lnTo>
                    <a:pt x="54" y="350"/>
                  </a:lnTo>
                  <a:lnTo>
                    <a:pt x="54" y="353"/>
                  </a:lnTo>
                  <a:lnTo>
                    <a:pt x="51" y="356"/>
                  </a:lnTo>
                  <a:lnTo>
                    <a:pt x="51" y="356"/>
                  </a:lnTo>
                  <a:lnTo>
                    <a:pt x="46" y="358"/>
                  </a:lnTo>
                  <a:lnTo>
                    <a:pt x="43" y="358"/>
                  </a:lnTo>
                  <a:lnTo>
                    <a:pt x="43" y="361"/>
                  </a:lnTo>
                  <a:lnTo>
                    <a:pt x="43" y="364"/>
                  </a:lnTo>
                  <a:lnTo>
                    <a:pt x="43" y="366"/>
                  </a:lnTo>
                  <a:lnTo>
                    <a:pt x="46" y="369"/>
                  </a:lnTo>
                  <a:lnTo>
                    <a:pt x="46" y="369"/>
                  </a:lnTo>
                  <a:lnTo>
                    <a:pt x="48" y="372"/>
                  </a:lnTo>
                  <a:lnTo>
                    <a:pt x="51" y="372"/>
                  </a:lnTo>
                  <a:lnTo>
                    <a:pt x="51" y="374"/>
                  </a:lnTo>
                  <a:lnTo>
                    <a:pt x="54" y="374"/>
                  </a:lnTo>
                  <a:lnTo>
                    <a:pt x="51" y="377"/>
                  </a:lnTo>
                  <a:lnTo>
                    <a:pt x="51" y="380"/>
                  </a:lnTo>
                  <a:lnTo>
                    <a:pt x="51" y="380"/>
                  </a:lnTo>
                  <a:lnTo>
                    <a:pt x="51" y="385"/>
                  </a:lnTo>
                  <a:lnTo>
                    <a:pt x="54" y="388"/>
                  </a:lnTo>
                  <a:lnTo>
                    <a:pt x="54" y="390"/>
                  </a:lnTo>
                  <a:lnTo>
                    <a:pt x="59" y="393"/>
                  </a:lnTo>
                  <a:lnTo>
                    <a:pt x="62" y="393"/>
                  </a:lnTo>
                  <a:lnTo>
                    <a:pt x="64" y="396"/>
                  </a:lnTo>
                  <a:lnTo>
                    <a:pt x="67" y="401"/>
                  </a:lnTo>
                  <a:lnTo>
                    <a:pt x="67" y="401"/>
                  </a:lnTo>
                  <a:lnTo>
                    <a:pt x="70" y="404"/>
                  </a:lnTo>
                  <a:lnTo>
                    <a:pt x="72" y="404"/>
                  </a:lnTo>
                  <a:lnTo>
                    <a:pt x="75" y="404"/>
                  </a:lnTo>
                  <a:lnTo>
                    <a:pt x="78" y="406"/>
                  </a:lnTo>
                  <a:lnTo>
                    <a:pt x="78" y="409"/>
                  </a:lnTo>
                  <a:lnTo>
                    <a:pt x="75" y="409"/>
                  </a:lnTo>
                  <a:lnTo>
                    <a:pt x="75" y="409"/>
                  </a:lnTo>
                  <a:lnTo>
                    <a:pt x="72" y="414"/>
                  </a:lnTo>
                  <a:lnTo>
                    <a:pt x="67" y="425"/>
                  </a:lnTo>
                  <a:lnTo>
                    <a:pt x="64" y="433"/>
                  </a:lnTo>
                  <a:lnTo>
                    <a:pt x="59" y="433"/>
                  </a:lnTo>
                  <a:lnTo>
                    <a:pt x="56" y="433"/>
                  </a:lnTo>
                  <a:lnTo>
                    <a:pt x="56" y="436"/>
                  </a:lnTo>
                  <a:lnTo>
                    <a:pt x="56" y="436"/>
                  </a:lnTo>
                  <a:lnTo>
                    <a:pt x="56" y="436"/>
                  </a:lnTo>
                  <a:lnTo>
                    <a:pt x="62" y="441"/>
                  </a:lnTo>
                  <a:lnTo>
                    <a:pt x="62" y="446"/>
                  </a:lnTo>
                  <a:lnTo>
                    <a:pt x="59" y="452"/>
                  </a:lnTo>
                  <a:lnTo>
                    <a:pt x="56" y="454"/>
                  </a:lnTo>
                  <a:lnTo>
                    <a:pt x="51" y="457"/>
                  </a:lnTo>
                  <a:lnTo>
                    <a:pt x="51" y="457"/>
                  </a:lnTo>
                  <a:lnTo>
                    <a:pt x="51" y="457"/>
                  </a:lnTo>
                  <a:lnTo>
                    <a:pt x="48" y="463"/>
                  </a:lnTo>
                  <a:lnTo>
                    <a:pt x="48" y="463"/>
                  </a:lnTo>
                  <a:lnTo>
                    <a:pt x="43" y="471"/>
                  </a:lnTo>
                  <a:lnTo>
                    <a:pt x="40" y="471"/>
                  </a:lnTo>
                  <a:lnTo>
                    <a:pt x="38" y="473"/>
                  </a:lnTo>
                  <a:lnTo>
                    <a:pt x="35" y="473"/>
                  </a:lnTo>
                  <a:lnTo>
                    <a:pt x="32" y="476"/>
                  </a:lnTo>
                  <a:lnTo>
                    <a:pt x="30" y="479"/>
                  </a:lnTo>
                  <a:lnTo>
                    <a:pt x="30" y="481"/>
                  </a:lnTo>
                  <a:lnTo>
                    <a:pt x="27" y="487"/>
                  </a:lnTo>
                  <a:lnTo>
                    <a:pt x="24" y="492"/>
                  </a:lnTo>
                  <a:lnTo>
                    <a:pt x="24" y="495"/>
                  </a:lnTo>
                  <a:lnTo>
                    <a:pt x="24" y="497"/>
                  </a:lnTo>
                  <a:lnTo>
                    <a:pt x="24" y="511"/>
                  </a:lnTo>
                  <a:lnTo>
                    <a:pt x="24" y="513"/>
                  </a:lnTo>
                  <a:lnTo>
                    <a:pt x="24" y="516"/>
                  </a:lnTo>
                  <a:lnTo>
                    <a:pt x="24" y="516"/>
                  </a:lnTo>
                  <a:lnTo>
                    <a:pt x="16" y="524"/>
                  </a:lnTo>
                  <a:lnTo>
                    <a:pt x="14" y="527"/>
                  </a:lnTo>
                  <a:lnTo>
                    <a:pt x="14" y="535"/>
                  </a:lnTo>
                  <a:lnTo>
                    <a:pt x="14" y="535"/>
                  </a:lnTo>
                  <a:lnTo>
                    <a:pt x="16" y="535"/>
                  </a:lnTo>
                  <a:lnTo>
                    <a:pt x="16" y="540"/>
                  </a:lnTo>
                  <a:lnTo>
                    <a:pt x="19" y="540"/>
                  </a:lnTo>
                  <a:lnTo>
                    <a:pt x="19" y="543"/>
                  </a:lnTo>
                  <a:lnTo>
                    <a:pt x="16" y="543"/>
                  </a:lnTo>
                  <a:lnTo>
                    <a:pt x="16" y="545"/>
                  </a:lnTo>
                  <a:lnTo>
                    <a:pt x="16" y="553"/>
                  </a:lnTo>
                  <a:lnTo>
                    <a:pt x="16" y="556"/>
                  </a:lnTo>
                  <a:lnTo>
                    <a:pt x="14" y="559"/>
                  </a:lnTo>
                  <a:lnTo>
                    <a:pt x="11" y="559"/>
                  </a:lnTo>
                  <a:lnTo>
                    <a:pt x="6" y="559"/>
                  </a:lnTo>
                  <a:lnTo>
                    <a:pt x="3" y="559"/>
                  </a:lnTo>
                  <a:lnTo>
                    <a:pt x="0" y="561"/>
                  </a:lnTo>
                  <a:lnTo>
                    <a:pt x="0" y="564"/>
                  </a:lnTo>
                  <a:lnTo>
                    <a:pt x="3" y="567"/>
                  </a:lnTo>
                  <a:lnTo>
                    <a:pt x="6" y="567"/>
                  </a:lnTo>
                  <a:lnTo>
                    <a:pt x="6" y="569"/>
                  </a:lnTo>
                  <a:lnTo>
                    <a:pt x="6" y="569"/>
                  </a:lnTo>
                  <a:lnTo>
                    <a:pt x="6" y="572"/>
                  </a:lnTo>
                  <a:lnTo>
                    <a:pt x="6" y="572"/>
                  </a:lnTo>
                  <a:lnTo>
                    <a:pt x="6" y="572"/>
                  </a:lnTo>
                  <a:lnTo>
                    <a:pt x="6" y="575"/>
                  </a:lnTo>
                  <a:lnTo>
                    <a:pt x="6" y="577"/>
                  </a:lnTo>
                  <a:lnTo>
                    <a:pt x="6" y="577"/>
                  </a:lnTo>
                  <a:lnTo>
                    <a:pt x="6" y="583"/>
                  </a:lnTo>
                  <a:lnTo>
                    <a:pt x="11" y="585"/>
                  </a:lnTo>
                  <a:lnTo>
                    <a:pt x="11" y="591"/>
                  </a:lnTo>
                  <a:lnTo>
                    <a:pt x="3" y="599"/>
                  </a:lnTo>
                  <a:lnTo>
                    <a:pt x="3" y="599"/>
                  </a:lnTo>
                  <a:lnTo>
                    <a:pt x="8" y="599"/>
                  </a:lnTo>
                  <a:lnTo>
                    <a:pt x="11" y="599"/>
                  </a:lnTo>
                  <a:lnTo>
                    <a:pt x="19" y="599"/>
                  </a:lnTo>
                  <a:lnTo>
                    <a:pt x="30" y="596"/>
                  </a:lnTo>
                  <a:lnTo>
                    <a:pt x="43" y="596"/>
                  </a:lnTo>
                  <a:lnTo>
                    <a:pt x="59" y="593"/>
                  </a:lnTo>
                  <a:lnTo>
                    <a:pt x="78" y="593"/>
                  </a:lnTo>
                  <a:lnTo>
                    <a:pt x="96" y="591"/>
                  </a:lnTo>
                  <a:lnTo>
                    <a:pt x="118" y="591"/>
                  </a:lnTo>
                  <a:lnTo>
                    <a:pt x="137" y="588"/>
                  </a:lnTo>
                  <a:lnTo>
                    <a:pt x="155" y="585"/>
                  </a:lnTo>
                  <a:lnTo>
                    <a:pt x="174" y="585"/>
                  </a:lnTo>
                  <a:lnTo>
                    <a:pt x="190" y="583"/>
                  </a:lnTo>
                  <a:lnTo>
                    <a:pt x="203" y="583"/>
                  </a:lnTo>
                  <a:lnTo>
                    <a:pt x="214" y="580"/>
                  </a:lnTo>
                  <a:lnTo>
                    <a:pt x="222" y="580"/>
                  </a:lnTo>
                  <a:lnTo>
                    <a:pt x="225" y="580"/>
                  </a:lnTo>
                  <a:lnTo>
                    <a:pt x="230" y="580"/>
                  </a:lnTo>
                  <a:lnTo>
                    <a:pt x="233" y="580"/>
                  </a:lnTo>
                  <a:lnTo>
                    <a:pt x="235" y="580"/>
                  </a:lnTo>
                  <a:lnTo>
                    <a:pt x="235" y="585"/>
                  </a:lnTo>
                  <a:lnTo>
                    <a:pt x="233" y="591"/>
                  </a:lnTo>
                  <a:lnTo>
                    <a:pt x="230" y="596"/>
                  </a:lnTo>
                  <a:lnTo>
                    <a:pt x="230" y="604"/>
                  </a:lnTo>
                  <a:lnTo>
                    <a:pt x="227" y="609"/>
                  </a:lnTo>
                  <a:lnTo>
                    <a:pt x="227" y="612"/>
                  </a:lnTo>
                  <a:lnTo>
                    <a:pt x="227" y="615"/>
                  </a:lnTo>
                  <a:lnTo>
                    <a:pt x="225" y="620"/>
                  </a:lnTo>
                  <a:lnTo>
                    <a:pt x="225" y="623"/>
                  </a:lnTo>
                  <a:lnTo>
                    <a:pt x="225" y="625"/>
                  </a:lnTo>
                  <a:lnTo>
                    <a:pt x="227" y="628"/>
                  </a:lnTo>
                  <a:lnTo>
                    <a:pt x="227" y="628"/>
                  </a:lnTo>
                  <a:lnTo>
                    <a:pt x="230" y="631"/>
                  </a:lnTo>
                  <a:lnTo>
                    <a:pt x="227" y="633"/>
                  </a:lnTo>
                  <a:lnTo>
                    <a:pt x="233" y="642"/>
                  </a:lnTo>
                  <a:lnTo>
                    <a:pt x="233" y="642"/>
                  </a:lnTo>
                  <a:lnTo>
                    <a:pt x="238" y="644"/>
                  </a:lnTo>
                  <a:lnTo>
                    <a:pt x="241" y="644"/>
                  </a:lnTo>
                  <a:lnTo>
                    <a:pt x="241" y="650"/>
                  </a:lnTo>
                  <a:lnTo>
                    <a:pt x="246" y="652"/>
                  </a:lnTo>
                  <a:lnTo>
                    <a:pt x="249" y="655"/>
                  </a:lnTo>
                  <a:lnTo>
                    <a:pt x="249" y="655"/>
                  </a:lnTo>
                  <a:lnTo>
                    <a:pt x="249" y="658"/>
                  </a:lnTo>
                  <a:lnTo>
                    <a:pt x="249" y="660"/>
                  </a:lnTo>
                  <a:lnTo>
                    <a:pt x="249" y="660"/>
                  </a:lnTo>
                  <a:lnTo>
                    <a:pt x="249" y="663"/>
                  </a:lnTo>
                  <a:lnTo>
                    <a:pt x="254" y="668"/>
                  </a:lnTo>
                  <a:lnTo>
                    <a:pt x="254" y="671"/>
                  </a:lnTo>
                  <a:lnTo>
                    <a:pt x="254" y="676"/>
                  </a:lnTo>
                  <a:lnTo>
                    <a:pt x="257" y="679"/>
                  </a:lnTo>
                  <a:lnTo>
                    <a:pt x="262" y="687"/>
                  </a:lnTo>
                  <a:lnTo>
                    <a:pt x="265" y="690"/>
                  </a:lnTo>
                  <a:lnTo>
                    <a:pt x="265" y="690"/>
                  </a:lnTo>
                  <a:lnTo>
                    <a:pt x="267" y="690"/>
                  </a:lnTo>
                  <a:lnTo>
                    <a:pt x="270" y="690"/>
                  </a:lnTo>
                  <a:lnTo>
                    <a:pt x="270" y="690"/>
                  </a:lnTo>
                  <a:lnTo>
                    <a:pt x="270" y="690"/>
                  </a:lnTo>
                  <a:lnTo>
                    <a:pt x="270" y="690"/>
                  </a:lnTo>
                  <a:lnTo>
                    <a:pt x="273" y="690"/>
                  </a:lnTo>
                  <a:lnTo>
                    <a:pt x="273" y="690"/>
                  </a:lnTo>
                  <a:lnTo>
                    <a:pt x="275" y="690"/>
                  </a:lnTo>
                  <a:lnTo>
                    <a:pt x="275" y="687"/>
                  </a:lnTo>
                  <a:lnTo>
                    <a:pt x="278" y="690"/>
                  </a:lnTo>
                  <a:lnTo>
                    <a:pt x="278" y="690"/>
                  </a:lnTo>
                  <a:lnTo>
                    <a:pt x="278" y="690"/>
                  </a:lnTo>
                  <a:lnTo>
                    <a:pt x="278" y="690"/>
                  </a:lnTo>
                  <a:lnTo>
                    <a:pt x="281" y="690"/>
                  </a:lnTo>
                  <a:lnTo>
                    <a:pt x="281" y="690"/>
                  </a:lnTo>
                  <a:lnTo>
                    <a:pt x="281" y="687"/>
                  </a:lnTo>
                  <a:lnTo>
                    <a:pt x="281" y="684"/>
                  </a:lnTo>
                  <a:lnTo>
                    <a:pt x="283" y="682"/>
                  </a:lnTo>
                  <a:lnTo>
                    <a:pt x="283" y="682"/>
                  </a:lnTo>
                  <a:lnTo>
                    <a:pt x="281" y="679"/>
                  </a:lnTo>
                  <a:lnTo>
                    <a:pt x="291" y="671"/>
                  </a:lnTo>
                  <a:lnTo>
                    <a:pt x="294" y="671"/>
                  </a:lnTo>
                  <a:lnTo>
                    <a:pt x="294" y="668"/>
                  </a:lnTo>
                  <a:lnTo>
                    <a:pt x="294" y="666"/>
                  </a:lnTo>
                  <a:lnTo>
                    <a:pt x="291" y="666"/>
                  </a:lnTo>
                  <a:lnTo>
                    <a:pt x="289" y="666"/>
                  </a:lnTo>
                  <a:lnTo>
                    <a:pt x="289" y="666"/>
                  </a:lnTo>
                  <a:lnTo>
                    <a:pt x="289" y="666"/>
                  </a:lnTo>
                  <a:lnTo>
                    <a:pt x="289" y="663"/>
                  </a:lnTo>
                  <a:lnTo>
                    <a:pt x="291" y="663"/>
                  </a:lnTo>
                  <a:lnTo>
                    <a:pt x="291" y="660"/>
                  </a:lnTo>
                  <a:lnTo>
                    <a:pt x="294" y="660"/>
                  </a:lnTo>
                  <a:lnTo>
                    <a:pt x="299" y="663"/>
                  </a:lnTo>
                  <a:lnTo>
                    <a:pt x="302" y="666"/>
                  </a:lnTo>
                  <a:lnTo>
                    <a:pt x="299" y="666"/>
                  </a:lnTo>
                  <a:lnTo>
                    <a:pt x="299" y="668"/>
                  </a:lnTo>
                  <a:lnTo>
                    <a:pt x="299" y="668"/>
                  </a:lnTo>
                  <a:lnTo>
                    <a:pt x="302" y="668"/>
                  </a:lnTo>
                  <a:lnTo>
                    <a:pt x="302" y="668"/>
                  </a:lnTo>
                  <a:lnTo>
                    <a:pt x="310" y="666"/>
                  </a:lnTo>
                  <a:lnTo>
                    <a:pt x="318" y="663"/>
                  </a:lnTo>
                  <a:lnTo>
                    <a:pt x="326" y="660"/>
                  </a:lnTo>
                  <a:lnTo>
                    <a:pt x="329" y="658"/>
                  </a:lnTo>
                  <a:lnTo>
                    <a:pt x="329" y="658"/>
                  </a:lnTo>
                  <a:lnTo>
                    <a:pt x="334" y="655"/>
                  </a:lnTo>
                  <a:lnTo>
                    <a:pt x="334" y="655"/>
                  </a:lnTo>
                  <a:lnTo>
                    <a:pt x="342" y="655"/>
                  </a:lnTo>
                  <a:lnTo>
                    <a:pt x="345" y="655"/>
                  </a:lnTo>
                  <a:lnTo>
                    <a:pt x="347" y="652"/>
                  </a:lnTo>
                  <a:lnTo>
                    <a:pt x="331" y="652"/>
                  </a:lnTo>
                  <a:lnTo>
                    <a:pt x="331" y="650"/>
                  </a:lnTo>
                  <a:lnTo>
                    <a:pt x="334" y="650"/>
                  </a:lnTo>
                  <a:lnTo>
                    <a:pt x="337" y="650"/>
                  </a:lnTo>
                  <a:lnTo>
                    <a:pt x="339" y="647"/>
                  </a:lnTo>
                  <a:lnTo>
                    <a:pt x="350" y="650"/>
                  </a:lnTo>
                  <a:lnTo>
                    <a:pt x="363" y="658"/>
                  </a:lnTo>
                  <a:lnTo>
                    <a:pt x="366" y="658"/>
                  </a:lnTo>
                  <a:lnTo>
                    <a:pt x="371" y="658"/>
                  </a:lnTo>
                  <a:lnTo>
                    <a:pt x="377" y="655"/>
                  </a:lnTo>
                  <a:lnTo>
                    <a:pt x="379" y="650"/>
                  </a:lnTo>
                  <a:lnTo>
                    <a:pt x="379" y="650"/>
                  </a:lnTo>
                  <a:lnTo>
                    <a:pt x="379" y="652"/>
                  </a:lnTo>
                  <a:lnTo>
                    <a:pt x="382" y="652"/>
                  </a:lnTo>
                  <a:lnTo>
                    <a:pt x="385" y="655"/>
                  </a:lnTo>
                  <a:lnTo>
                    <a:pt x="385" y="658"/>
                  </a:lnTo>
                  <a:lnTo>
                    <a:pt x="387" y="658"/>
                  </a:lnTo>
                  <a:lnTo>
                    <a:pt x="387" y="658"/>
                  </a:lnTo>
                  <a:lnTo>
                    <a:pt x="390" y="658"/>
                  </a:lnTo>
                  <a:lnTo>
                    <a:pt x="393" y="658"/>
                  </a:lnTo>
                  <a:lnTo>
                    <a:pt x="395" y="658"/>
                  </a:lnTo>
                  <a:lnTo>
                    <a:pt x="398" y="658"/>
                  </a:lnTo>
                  <a:lnTo>
                    <a:pt x="398" y="658"/>
                  </a:lnTo>
                  <a:lnTo>
                    <a:pt x="398" y="655"/>
                  </a:lnTo>
                  <a:lnTo>
                    <a:pt x="401" y="655"/>
                  </a:lnTo>
                  <a:lnTo>
                    <a:pt x="401" y="655"/>
                  </a:lnTo>
                  <a:lnTo>
                    <a:pt x="403" y="652"/>
                  </a:lnTo>
                  <a:lnTo>
                    <a:pt x="403" y="652"/>
                  </a:lnTo>
                  <a:lnTo>
                    <a:pt x="403" y="650"/>
                  </a:lnTo>
                  <a:lnTo>
                    <a:pt x="403" y="650"/>
                  </a:lnTo>
                  <a:lnTo>
                    <a:pt x="403" y="650"/>
                  </a:lnTo>
                  <a:close/>
                  <a:moveTo>
                    <a:pt x="379" y="674"/>
                  </a:moveTo>
                  <a:lnTo>
                    <a:pt x="377" y="674"/>
                  </a:lnTo>
                  <a:lnTo>
                    <a:pt x="374" y="671"/>
                  </a:lnTo>
                  <a:lnTo>
                    <a:pt x="369" y="671"/>
                  </a:lnTo>
                  <a:lnTo>
                    <a:pt x="366" y="671"/>
                  </a:lnTo>
                  <a:lnTo>
                    <a:pt x="363" y="674"/>
                  </a:lnTo>
                  <a:lnTo>
                    <a:pt x="363" y="674"/>
                  </a:lnTo>
                  <a:lnTo>
                    <a:pt x="387" y="674"/>
                  </a:lnTo>
                  <a:lnTo>
                    <a:pt x="387" y="674"/>
                  </a:lnTo>
                  <a:lnTo>
                    <a:pt x="390" y="674"/>
                  </a:lnTo>
                  <a:lnTo>
                    <a:pt x="387" y="674"/>
                  </a:lnTo>
                  <a:lnTo>
                    <a:pt x="379" y="674"/>
                  </a:lnTo>
                  <a:close/>
                  <a:moveTo>
                    <a:pt x="347" y="676"/>
                  </a:moveTo>
                  <a:lnTo>
                    <a:pt x="345" y="676"/>
                  </a:lnTo>
                  <a:lnTo>
                    <a:pt x="345" y="679"/>
                  </a:lnTo>
                  <a:lnTo>
                    <a:pt x="345" y="676"/>
                  </a:lnTo>
                  <a:lnTo>
                    <a:pt x="347" y="676"/>
                  </a:lnTo>
                  <a:lnTo>
                    <a:pt x="347" y="676"/>
                  </a:lnTo>
                  <a:lnTo>
                    <a:pt x="347" y="676"/>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34" name="Freeform 31">
              <a:extLst>
                <a:ext uri="{FF2B5EF4-FFF2-40B4-BE49-F238E27FC236}">
                  <a16:creationId xmlns="" xmlns:a16="http://schemas.microsoft.com/office/drawing/2014/main" id="{FB53A1F0-6005-4943-B7FA-256AF21AF8D7}"/>
                </a:ext>
              </a:extLst>
            </p:cNvPr>
            <p:cNvSpPr>
              <a:spLocks/>
            </p:cNvSpPr>
            <p:nvPr/>
          </p:nvSpPr>
          <p:spPr bwMode="auto">
            <a:xfrm>
              <a:off x="4104" y="1389"/>
              <a:ext cx="771" cy="636"/>
            </a:xfrm>
            <a:custGeom>
              <a:avLst/>
              <a:gdLst>
                <a:gd name="T0" fmla="*/ 470 w 771"/>
                <a:gd name="T1" fmla="*/ 86 h 636"/>
                <a:gd name="T2" fmla="*/ 475 w 771"/>
                <a:gd name="T3" fmla="*/ 104 h 636"/>
                <a:gd name="T4" fmla="*/ 488 w 771"/>
                <a:gd name="T5" fmla="*/ 126 h 636"/>
                <a:gd name="T6" fmla="*/ 555 w 771"/>
                <a:gd name="T7" fmla="*/ 179 h 636"/>
                <a:gd name="T8" fmla="*/ 566 w 771"/>
                <a:gd name="T9" fmla="*/ 203 h 636"/>
                <a:gd name="T10" fmla="*/ 574 w 771"/>
                <a:gd name="T11" fmla="*/ 227 h 636"/>
                <a:gd name="T12" fmla="*/ 608 w 771"/>
                <a:gd name="T13" fmla="*/ 222 h 636"/>
                <a:gd name="T14" fmla="*/ 627 w 771"/>
                <a:gd name="T15" fmla="*/ 249 h 636"/>
                <a:gd name="T16" fmla="*/ 611 w 771"/>
                <a:gd name="T17" fmla="*/ 313 h 636"/>
                <a:gd name="T18" fmla="*/ 627 w 771"/>
                <a:gd name="T19" fmla="*/ 334 h 636"/>
                <a:gd name="T20" fmla="*/ 657 w 771"/>
                <a:gd name="T21" fmla="*/ 356 h 636"/>
                <a:gd name="T22" fmla="*/ 694 w 771"/>
                <a:gd name="T23" fmla="*/ 374 h 636"/>
                <a:gd name="T24" fmla="*/ 715 w 771"/>
                <a:gd name="T25" fmla="*/ 401 h 636"/>
                <a:gd name="T26" fmla="*/ 723 w 771"/>
                <a:gd name="T27" fmla="*/ 438 h 636"/>
                <a:gd name="T28" fmla="*/ 729 w 771"/>
                <a:gd name="T29" fmla="*/ 457 h 636"/>
                <a:gd name="T30" fmla="*/ 753 w 771"/>
                <a:gd name="T31" fmla="*/ 481 h 636"/>
                <a:gd name="T32" fmla="*/ 753 w 771"/>
                <a:gd name="T33" fmla="*/ 470 h 636"/>
                <a:gd name="T34" fmla="*/ 761 w 771"/>
                <a:gd name="T35" fmla="*/ 484 h 636"/>
                <a:gd name="T36" fmla="*/ 771 w 771"/>
                <a:gd name="T37" fmla="*/ 497 h 636"/>
                <a:gd name="T38" fmla="*/ 766 w 771"/>
                <a:gd name="T39" fmla="*/ 529 h 636"/>
                <a:gd name="T40" fmla="*/ 745 w 771"/>
                <a:gd name="T41" fmla="*/ 535 h 636"/>
                <a:gd name="T42" fmla="*/ 737 w 771"/>
                <a:gd name="T43" fmla="*/ 561 h 636"/>
                <a:gd name="T44" fmla="*/ 723 w 771"/>
                <a:gd name="T45" fmla="*/ 553 h 636"/>
                <a:gd name="T46" fmla="*/ 731 w 771"/>
                <a:gd name="T47" fmla="*/ 575 h 636"/>
                <a:gd name="T48" fmla="*/ 729 w 771"/>
                <a:gd name="T49" fmla="*/ 585 h 636"/>
                <a:gd name="T50" fmla="*/ 723 w 771"/>
                <a:gd name="T51" fmla="*/ 609 h 636"/>
                <a:gd name="T52" fmla="*/ 713 w 771"/>
                <a:gd name="T53" fmla="*/ 628 h 636"/>
                <a:gd name="T54" fmla="*/ 640 w 771"/>
                <a:gd name="T55" fmla="*/ 633 h 636"/>
                <a:gd name="T56" fmla="*/ 649 w 771"/>
                <a:gd name="T57" fmla="*/ 615 h 636"/>
                <a:gd name="T58" fmla="*/ 654 w 771"/>
                <a:gd name="T59" fmla="*/ 609 h 636"/>
                <a:gd name="T60" fmla="*/ 665 w 771"/>
                <a:gd name="T61" fmla="*/ 601 h 636"/>
                <a:gd name="T62" fmla="*/ 670 w 771"/>
                <a:gd name="T63" fmla="*/ 593 h 636"/>
                <a:gd name="T64" fmla="*/ 670 w 771"/>
                <a:gd name="T65" fmla="*/ 585 h 636"/>
                <a:gd name="T66" fmla="*/ 670 w 771"/>
                <a:gd name="T67" fmla="*/ 575 h 636"/>
                <a:gd name="T68" fmla="*/ 662 w 771"/>
                <a:gd name="T69" fmla="*/ 567 h 636"/>
                <a:gd name="T70" fmla="*/ 651 w 771"/>
                <a:gd name="T71" fmla="*/ 561 h 636"/>
                <a:gd name="T72" fmla="*/ 371 w 771"/>
                <a:gd name="T73" fmla="*/ 583 h 636"/>
                <a:gd name="T74" fmla="*/ 152 w 771"/>
                <a:gd name="T75" fmla="*/ 561 h 636"/>
                <a:gd name="T76" fmla="*/ 144 w 771"/>
                <a:gd name="T77" fmla="*/ 401 h 636"/>
                <a:gd name="T78" fmla="*/ 136 w 771"/>
                <a:gd name="T79" fmla="*/ 241 h 636"/>
                <a:gd name="T80" fmla="*/ 134 w 771"/>
                <a:gd name="T81" fmla="*/ 225 h 636"/>
                <a:gd name="T82" fmla="*/ 120 w 771"/>
                <a:gd name="T83" fmla="*/ 222 h 636"/>
                <a:gd name="T84" fmla="*/ 102 w 771"/>
                <a:gd name="T85" fmla="*/ 198 h 636"/>
                <a:gd name="T86" fmla="*/ 88 w 771"/>
                <a:gd name="T87" fmla="*/ 185 h 636"/>
                <a:gd name="T88" fmla="*/ 83 w 771"/>
                <a:gd name="T89" fmla="*/ 169 h 636"/>
                <a:gd name="T90" fmla="*/ 91 w 771"/>
                <a:gd name="T91" fmla="*/ 153 h 636"/>
                <a:gd name="T92" fmla="*/ 102 w 771"/>
                <a:gd name="T93" fmla="*/ 142 h 636"/>
                <a:gd name="T94" fmla="*/ 93 w 771"/>
                <a:gd name="T95" fmla="*/ 126 h 636"/>
                <a:gd name="T96" fmla="*/ 77 w 771"/>
                <a:gd name="T97" fmla="*/ 128 h 636"/>
                <a:gd name="T98" fmla="*/ 64 w 771"/>
                <a:gd name="T99" fmla="*/ 120 h 636"/>
                <a:gd name="T100" fmla="*/ 43 w 771"/>
                <a:gd name="T101" fmla="*/ 107 h 636"/>
                <a:gd name="T102" fmla="*/ 37 w 771"/>
                <a:gd name="T103" fmla="*/ 88 h 636"/>
                <a:gd name="T104" fmla="*/ 24 w 771"/>
                <a:gd name="T105" fmla="*/ 72 h 636"/>
                <a:gd name="T106" fmla="*/ 16 w 771"/>
                <a:gd name="T107" fmla="*/ 64 h 636"/>
                <a:gd name="T108" fmla="*/ 11 w 771"/>
                <a:gd name="T109" fmla="*/ 48 h 636"/>
                <a:gd name="T110" fmla="*/ 0 w 771"/>
                <a:gd name="T111" fmla="*/ 32 h 636"/>
                <a:gd name="T112" fmla="*/ 0 w 771"/>
                <a:gd name="T113" fmla="*/ 30 h 636"/>
                <a:gd name="T114" fmla="*/ 27 w 771"/>
                <a:gd name="T115" fmla="*/ 27 h 636"/>
                <a:gd name="T116" fmla="*/ 264 w 771"/>
                <a:gd name="T117" fmla="*/ 14 h 636"/>
                <a:gd name="T118" fmla="*/ 438 w 771"/>
                <a:gd name="T119" fmla="*/ 3 h 636"/>
                <a:gd name="T120" fmla="*/ 446 w 771"/>
                <a:gd name="T121" fmla="*/ 11 h 636"/>
                <a:gd name="T122" fmla="*/ 454 w 771"/>
                <a:gd name="T123" fmla="*/ 19 h 636"/>
                <a:gd name="T124" fmla="*/ 459 w 771"/>
                <a:gd name="T125" fmla="*/ 24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1" h="636">
                  <a:moveTo>
                    <a:pt x="472" y="32"/>
                  </a:moveTo>
                  <a:lnTo>
                    <a:pt x="472" y="32"/>
                  </a:lnTo>
                  <a:lnTo>
                    <a:pt x="467" y="35"/>
                  </a:lnTo>
                  <a:lnTo>
                    <a:pt x="467" y="43"/>
                  </a:lnTo>
                  <a:lnTo>
                    <a:pt x="464" y="51"/>
                  </a:lnTo>
                  <a:lnTo>
                    <a:pt x="464" y="56"/>
                  </a:lnTo>
                  <a:lnTo>
                    <a:pt x="464" y="62"/>
                  </a:lnTo>
                  <a:lnTo>
                    <a:pt x="470" y="86"/>
                  </a:lnTo>
                  <a:lnTo>
                    <a:pt x="470" y="86"/>
                  </a:lnTo>
                  <a:lnTo>
                    <a:pt x="472" y="88"/>
                  </a:lnTo>
                  <a:lnTo>
                    <a:pt x="475" y="91"/>
                  </a:lnTo>
                  <a:lnTo>
                    <a:pt x="475" y="91"/>
                  </a:lnTo>
                  <a:lnTo>
                    <a:pt x="475" y="94"/>
                  </a:lnTo>
                  <a:lnTo>
                    <a:pt x="475" y="94"/>
                  </a:lnTo>
                  <a:lnTo>
                    <a:pt x="475" y="96"/>
                  </a:lnTo>
                  <a:lnTo>
                    <a:pt x="475" y="99"/>
                  </a:lnTo>
                  <a:lnTo>
                    <a:pt x="475" y="102"/>
                  </a:lnTo>
                  <a:lnTo>
                    <a:pt x="475" y="104"/>
                  </a:lnTo>
                  <a:lnTo>
                    <a:pt x="478" y="104"/>
                  </a:lnTo>
                  <a:lnTo>
                    <a:pt x="478" y="107"/>
                  </a:lnTo>
                  <a:lnTo>
                    <a:pt x="478" y="110"/>
                  </a:lnTo>
                  <a:lnTo>
                    <a:pt x="483" y="110"/>
                  </a:lnTo>
                  <a:lnTo>
                    <a:pt x="483" y="112"/>
                  </a:lnTo>
                  <a:lnTo>
                    <a:pt x="483" y="115"/>
                  </a:lnTo>
                  <a:lnTo>
                    <a:pt x="483" y="118"/>
                  </a:lnTo>
                  <a:lnTo>
                    <a:pt x="486" y="120"/>
                  </a:lnTo>
                  <a:lnTo>
                    <a:pt x="488" y="126"/>
                  </a:lnTo>
                  <a:lnTo>
                    <a:pt x="518" y="147"/>
                  </a:lnTo>
                  <a:lnTo>
                    <a:pt x="520" y="150"/>
                  </a:lnTo>
                  <a:lnTo>
                    <a:pt x="520" y="153"/>
                  </a:lnTo>
                  <a:lnTo>
                    <a:pt x="520" y="155"/>
                  </a:lnTo>
                  <a:lnTo>
                    <a:pt x="523" y="158"/>
                  </a:lnTo>
                  <a:lnTo>
                    <a:pt x="523" y="158"/>
                  </a:lnTo>
                  <a:lnTo>
                    <a:pt x="550" y="174"/>
                  </a:lnTo>
                  <a:lnTo>
                    <a:pt x="552" y="177"/>
                  </a:lnTo>
                  <a:lnTo>
                    <a:pt x="555" y="179"/>
                  </a:lnTo>
                  <a:lnTo>
                    <a:pt x="560" y="185"/>
                  </a:lnTo>
                  <a:lnTo>
                    <a:pt x="560" y="187"/>
                  </a:lnTo>
                  <a:lnTo>
                    <a:pt x="563" y="190"/>
                  </a:lnTo>
                  <a:lnTo>
                    <a:pt x="563" y="193"/>
                  </a:lnTo>
                  <a:lnTo>
                    <a:pt x="563" y="195"/>
                  </a:lnTo>
                  <a:lnTo>
                    <a:pt x="563" y="198"/>
                  </a:lnTo>
                  <a:lnTo>
                    <a:pt x="563" y="201"/>
                  </a:lnTo>
                  <a:lnTo>
                    <a:pt x="566" y="203"/>
                  </a:lnTo>
                  <a:lnTo>
                    <a:pt x="566" y="203"/>
                  </a:lnTo>
                  <a:lnTo>
                    <a:pt x="566" y="206"/>
                  </a:lnTo>
                  <a:lnTo>
                    <a:pt x="566" y="206"/>
                  </a:lnTo>
                  <a:lnTo>
                    <a:pt x="566" y="209"/>
                  </a:lnTo>
                  <a:lnTo>
                    <a:pt x="566" y="211"/>
                  </a:lnTo>
                  <a:lnTo>
                    <a:pt x="566" y="211"/>
                  </a:lnTo>
                  <a:lnTo>
                    <a:pt x="568" y="214"/>
                  </a:lnTo>
                  <a:lnTo>
                    <a:pt x="568" y="217"/>
                  </a:lnTo>
                  <a:lnTo>
                    <a:pt x="568" y="219"/>
                  </a:lnTo>
                  <a:lnTo>
                    <a:pt x="574" y="227"/>
                  </a:lnTo>
                  <a:lnTo>
                    <a:pt x="576" y="233"/>
                  </a:lnTo>
                  <a:lnTo>
                    <a:pt x="582" y="233"/>
                  </a:lnTo>
                  <a:lnTo>
                    <a:pt x="587" y="230"/>
                  </a:lnTo>
                  <a:lnTo>
                    <a:pt x="592" y="222"/>
                  </a:lnTo>
                  <a:lnTo>
                    <a:pt x="598" y="219"/>
                  </a:lnTo>
                  <a:lnTo>
                    <a:pt x="600" y="219"/>
                  </a:lnTo>
                  <a:lnTo>
                    <a:pt x="603" y="222"/>
                  </a:lnTo>
                  <a:lnTo>
                    <a:pt x="606" y="222"/>
                  </a:lnTo>
                  <a:lnTo>
                    <a:pt x="608" y="222"/>
                  </a:lnTo>
                  <a:lnTo>
                    <a:pt x="614" y="225"/>
                  </a:lnTo>
                  <a:lnTo>
                    <a:pt x="627" y="230"/>
                  </a:lnTo>
                  <a:lnTo>
                    <a:pt x="630" y="233"/>
                  </a:lnTo>
                  <a:lnTo>
                    <a:pt x="632" y="235"/>
                  </a:lnTo>
                  <a:lnTo>
                    <a:pt x="632" y="238"/>
                  </a:lnTo>
                  <a:lnTo>
                    <a:pt x="630" y="243"/>
                  </a:lnTo>
                  <a:lnTo>
                    <a:pt x="630" y="246"/>
                  </a:lnTo>
                  <a:lnTo>
                    <a:pt x="627" y="246"/>
                  </a:lnTo>
                  <a:lnTo>
                    <a:pt x="627" y="249"/>
                  </a:lnTo>
                  <a:lnTo>
                    <a:pt x="627" y="251"/>
                  </a:lnTo>
                  <a:lnTo>
                    <a:pt x="627" y="257"/>
                  </a:lnTo>
                  <a:lnTo>
                    <a:pt x="627" y="265"/>
                  </a:lnTo>
                  <a:lnTo>
                    <a:pt x="627" y="267"/>
                  </a:lnTo>
                  <a:lnTo>
                    <a:pt x="622" y="278"/>
                  </a:lnTo>
                  <a:lnTo>
                    <a:pt x="616" y="294"/>
                  </a:lnTo>
                  <a:lnTo>
                    <a:pt x="614" y="302"/>
                  </a:lnTo>
                  <a:lnTo>
                    <a:pt x="611" y="307"/>
                  </a:lnTo>
                  <a:lnTo>
                    <a:pt x="611" y="313"/>
                  </a:lnTo>
                  <a:lnTo>
                    <a:pt x="614" y="318"/>
                  </a:lnTo>
                  <a:lnTo>
                    <a:pt x="614" y="321"/>
                  </a:lnTo>
                  <a:lnTo>
                    <a:pt x="614" y="324"/>
                  </a:lnTo>
                  <a:lnTo>
                    <a:pt x="616" y="324"/>
                  </a:lnTo>
                  <a:lnTo>
                    <a:pt x="616" y="326"/>
                  </a:lnTo>
                  <a:lnTo>
                    <a:pt x="622" y="329"/>
                  </a:lnTo>
                  <a:lnTo>
                    <a:pt x="624" y="332"/>
                  </a:lnTo>
                  <a:lnTo>
                    <a:pt x="627" y="334"/>
                  </a:lnTo>
                  <a:lnTo>
                    <a:pt x="627" y="334"/>
                  </a:lnTo>
                  <a:lnTo>
                    <a:pt x="630" y="337"/>
                  </a:lnTo>
                  <a:lnTo>
                    <a:pt x="630" y="340"/>
                  </a:lnTo>
                  <a:lnTo>
                    <a:pt x="635" y="340"/>
                  </a:lnTo>
                  <a:lnTo>
                    <a:pt x="638" y="342"/>
                  </a:lnTo>
                  <a:lnTo>
                    <a:pt x="640" y="348"/>
                  </a:lnTo>
                  <a:lnTo>
                    <a:pt x="646" y="350"/>
                  </a:lnTo>
                  <a:lnTo>
                    <a:pt x="649" y="350"/>
                  </a:lnTo>
                  <a:lnTo>
                    <a:pt x="657" y="356"/>
                  </a:lnTo>
                  <a:lnTo>
                    <a:pt x="657" y="356"/>
                  </a:lnTo>
                  <a:lnTo>
                    <a:pt x="662" y="356"/>
                  </a:lnTo>
                  <a:lnTo>
                    <a:pt x="662" y="356"/>
                  </a:lnTo>
                  <a:lnTo>
                    <a:pt x="667" y="356"/>
                  </a:lnTo>
                  <a:lnTo>
                    <a:pt x="670" y="358"/>
                  </a:lnTo>
                  <a:lnTo>
                    <a:pt x="678" y="364"/>
                  </a:lnTo>
                  <a:lnTo>
                    <a:pt x="681" y="366"/>
                  </a:lnTo>
                  <a:lnTo>
                    <a:pt x="689" y="369"/>
                  </a:lnTo>
                  <a:lnTo>
                    <a:pt x="691" y="372"/>
                  </a:lnTo>
                  <a:lnTo>
                    <a:pt x="694" y="374"/>
                  </a:lnTo>
                  <a:lnTo>
                    <a:pt x="697" y="382"/>
                  </a:lnTo>
                  <a:lnTo>
                    <a:pt x="699" y="385"/>
                  </a:lnTo>
                  <a:lnTo>
                    <a:pt x="713" y="388"/>
                  </a:lnTo>
                  <a:lnTo>
                    <a:pt x="715" y="390"/>
                  </a:lnTo>
                  <a:lnTo>
                    <a:pt x="715" y="393"/>
                  </a:lnTo>
                  <a:lnTo>
                    <a:pt x="715" y="393"/>
                  </a:lnTo>
                  <a:lnTo>
                    <a:pt x="715" y="396"/>
                  </a:lnTo>
                  <a:lnTo>
                    <a:pt x="715" y="398"/>
                  </a:lnTo>
                  <a:lnTo>
                    <a:pt x="715" y="401"/>
                  </a:lnTo>
                  <a:lnTo>
                    <a:pt x="715" y="404"/>
                  </a:lnTo>
                  <a:lnTo>
                    <a:pt x="715" y="406"/>
                  </a:lnTo>
                  <a:lnTo>
                    <a:pt x="715" y="409"/>
                  </a:lnTo>
                  <a:lnTo>
                    <a:pt x="721" y="414"/>
                  </a:lnTo>
                  <a:lnTo>
                    <a:pt x="723" y="417"/>
                  </a:lnTo>
                  <a:lnTo>
                    <a:pt x="726" y="422"/>
                  </a:lnTo>
                  <a:lnTo>
                    <a:pt x="729" y="428"/>
                  </a:lnTo>
                  <a:lnTo>
                    <a:pt x="726" y="433"/>
                  </a:lnTo>
                  <a:lnTo>
                    <a:pt x="723" y="438"/>
                  </a:lnTo>
                  <a:lnTo>
                    <a:pt x="721" y="441"/>
                  </a:lnTo>
                  <a:lnTo>
                    <a:pt x="721" y="446"/>
                  </a:lnTo>
                  <a:lnTo>
                    <a:pt x="721" y="449"/>
                  </a:lnTo>
                  <a:lnTo>
                    <a:pt x="723" y="449"/>
                  </a:lnTo>
                  <a:lnTo>
                    <a:pt x="723" y="449"/>
                  </a:lnTo>
                  <a:lnTo>
                    <a:pt x="726" y="449"/>
                  </a:lnTo>
                  <a:lnTo>
                    <a:pt x="726" y="452"/>
                  </a:lnTo>
                  <a:lnTo>
                    <a:pt x="726" y="454"/>
                  </a:lnTo>
                  <a:lnTo>
                    <a:pt x="729" y="457"/>
                  </a:lnTo>
                  <a:lnTo>
                    <a:pt x="731" y="460"/>
                  </a:lnTo>
                  <a:lnTo>
                    <a:pt x="737" y="468"/>
                  </a:lnTo>
                  <a:lnTo>
                    <a:pt x="737" y="470"/>
                  </a:lnTo>
                  <a:lnTo>
                    <a:pt x="737" y="476"/>
                  </a:lnTo>
                  <a:lnTo>
                    <a:pt x="739" y="476"/>
                  </a:lnTo>
                  <a:lnTo>
                    <a:pt x="745" y="481"/>
                  </a:lnTo>
                  <a:lnTo>
                    <a:pt x="750" y="481"/>
                  </a:lnTo>
                  <a:lnTo>
                    <a:pt x="753" y="481"/>
                  </a:lnTo>
                  <a:lnTo>
                    <a:pt x="753" y="481"/>
                  </a:lnTo>
                  <a:lnTo>
                    <a:pt x="753" y="478"/>
                  </a:lnTo>
                  <a:lnTo>
                    <a:pt x="750" y="478"/>
                  </a:lnTo>
                  <a:lnTo>
                    <a:pt x="750" y="476"/>
                  </a:lnTo>
                  <a:lnTo>
                    <a:pt x="747" y="476"/>
                  </a:lnTo>
                  <a:lnTo>
                    <a:pt x="747" y="473"/>
                  </a:lnTo>
                  <a:lnTo>
                    <a:pt x="747" y="470"/>
                  </a:lnTo>
                  <a:lnTo>
                    <a:pt x="750" y="470"/>
                  </a:lnTo>
                  <a:lnTo>
                    <a:pt x="753" y="470"/>
                  </a:lnTo>
                  <a:lnTo>
                    <a:pt x="753" y="470"/>
                  </a:lnTo>
                  <a:lnTo>
                    <a:pt x="753" y="473"/>
                  </a:lnTo>
                  <a:lnTo>
                    <a:pt x="755" y="476"/>
                  </a:lnTo>
                  <a:lnTo>
                    <a:pt x="755" y="476"/>
                  </a:lnTo>
                  <a:lnTo>
                    <a:pt x="758" y="478"/>
                  </a:lnTo>
                  <a:lnTo>
                    <a:pt x="758" y="478"/>
                  </a:lnTo>
                  <a:lnTo>
                    <a:pt x="761" y="481"/>
                  </a:lnTo>
                  <a:lnTo>
                    <a:pt x="761" y="481"/>
                  </a:lnTo>
                  <a:lnTo>
                    <a:pt x="761" y="484"/>
                  </a:lnTo>
                  <a:lnTo>
                    <a:pt x="761" y="484"/>
                  </a:lnTo>
                  <a:lnTo>
                    <a:pt x="763" y="484"/>
                  </a:lnTo>
                  <a:lnTo>
                    <a:pt x="763" y="484"/>
                  </a:lnTo>
                  <a:lnTo>
                    <a:pt x="766" y="484"/>
                  </a:lnTo>
                  <a:lnTo>
                    <a:pt x="766" y="484"/>
                  </a:lnTo>
                  <a:lnTo>
                    <a:pt x="769" y="484"/>
                  </a:lnTo>
                  <a:lnTo>
                    <a:pt x="769" y="486"/>
                  </a:lnTo>
                  <a:lnTo>
                    <a:pt x="769" y="492"/>
                  </a:lnTo>
                  <a:lnTo>
                    <a:pt x="771" y="497"/>
                  </a:lnTo>
                  <a:lnTo>
                    <a:pt x="771" y="497"/>
                  </a:lnTo>
                  <a:lnTo>
                    <a:pt x="769" y="500"/>
                  </a:lnTo>
                  <a:lnTo>
                    <a:pt x="769" y="500"/>
                  </a:lnTo>
                  <a:lnTo>
                    <a:pt x="769" y="503"/>
                  </a:lnTo>
                  <a:lnTo>
                    <a:pt x="769" y="503"/>
                  </a:lnTo>
                  <a:lnTo>
                    <a:pt x="769" y="505"/>
                  </a:lnTo>
                  <a:lnTo>
                    <a:pt x="771" y="511"/>
                  </a:lnTo>
                  <a:lnTo>
                    <a:pt x="771" y="513"/>
                  </a:lnTo>
                  <a:lnTo>
                    <a:pt x="771" y="519"/>
                  </a:lnTo>
                  <a:lnTo>
                    <a:pt x="766" y="529"/>
                  </a:lnTo>
                  <a:lnTo>
                    <a:pt x="766" y="537"/>
                  </a:lnTo>
                  <a:lnTo>
                    <a:pt x="763" y="540"/>
                  </a:lnTo>
                  <a:lnTo>
                    <a:pt x="761" y="543"/>
                  </a:lnTo>
                  <a:lnTo>
                    <a:pt x="755" y="540"/>
                  </a:lnTo>
                  <a:lnTo>
                    <a:pt x="753" y="540"/>
                  </a:lnTo>
                  <a:lnTo>
                    <a:pt x="750" y="535"/>
                  </a:lnTo>
                  <a:lnTo>
                    <a:pt x="747" y="535"/>
                  </a:lnTo>
                  <a:lnTo>
                    <a:pt x="745" y="535"/>
                  </a:lnTo>
                  <a:lnTo>
                    <a:pt x="745" y="535"/>
                  </a:lnTo>
                  <a:lnTo>
                    <a:pt x="745" y="537"/>
                  </a:lnTo>
                  <a:lnTo>
                    <a:pt x="742" y="543"/>
                  </a:lnTo>
                  <a:lnTo>
                    <a:pt x="742" y="545"/>
                  </a:lnTo>
                  <a:lnTo>
                    <a:pt x="742" y="553"/>
                  </a:lnTo>
                  <a:lnTo>
                    <a:pt x="742" y="553"/>
                  </a:lnTo>
                  <a:lnTo>
                    <a:pt x="742" y="556"/>
                  </a:lnTo>
                  <a:lnTo>
                    <a:pt x="739" y="559"/>
                  </a:lnTo>
                  <a:lnTo>
                    <a:pt x="737" y="559"/>
                  </a:lnTo>
                  <a:lnTo>
                    <a:pt x="737" y="561"/>
                  </a:lnTo>
                  <a:lnTo>
                    <a:pt x="734" y="561"/>
                  </a:lnTo>
                  <a:lnTo>
                    <a:pt x="731" y="559"/>
                  </a:lnTo>
                  <a:lnTo>
                    <a:pt x="734" y="556"/>
                  </a:lnTo>
                  <a:lnTo>
                    <a:pt x="734" y="553"/>
                  </a:lnTo>
                  <a:lnTo>
                    <a:pt x="734" y="553"/>
                  </a:lnTo>
                  <a:lnTo>
                    <a:pt x="731" y="548"/>
                  </a:lnTo>
                  <a:lnTo>
                    <a:pt x="729" y="545"/>
                  </a:lnTo>
                  <a:lnTo>
                    <a:pt x="723" y="548"/>
                  </a:lnTo>
                  <a:lnTo>
                    <a:pt x="723" y="553"/>
                  </a:lnTo>
                  <a:lnTo>
                    <a:pt x="726" y="553"/>
                  </a:lnTo>
                  <a:lnTo>
                    <a:pt x="726" y="556"/>
                  </a:lnTo>
                  <a:lnTo>
                    <a:pt x="726" y="556"/>
                  </a:lnTo>
                  <a:lnTo>
                    <a:pt x="729" y="559"/>
                  </a:lnTo>
                  <a:lnTo>
                    <a:pt x="726" y="561"/>
                  </a:lnTo>
                  <a:lnTo>
                    <a:pt x="729" y="561"/>
                  </a:lnTo>
                  <a:lnTo>
                    <a:pt x="731" y="569"/>
                  </a:lnTo>
                  <a:lnTo>
                    <a:pt x="731" y="572"/>
                  </a:lnTo>
                  <a:lnTo>
                    <a:pt x="731" y="575"/>
                  </a:lnTo>
                  <a:lnTo>
                    <a:pt x="729" y="575"/>
                  </a:lnTo>
                  <a:lnTo>
                    <a:pt x="726" y="577"/>
                  </a:lnTo>
                  <a:lnTo>
                    <a:pt x="723" y="577"/>
                  </a:lnTo>
                  <a:lnTo>
                    <a:pt x="721" y="577"/>
                  </a:lnTo>
                  <a:lnTo>
                    <a:pt x="721" y="580"/>
                  </a:lnTo>
                  <a:lnTo>
                    <a:pt x="723" y="583"/>
                  </a:lnTo>
                  <a:lnTo>
                    <a:pt x="726" y="585"/>
                  </a:lnTo>
                  <a:lnTo>
                    <a:pt x="729" y="585"/>
                  </a:lnTo>
                  <a:lnTo>
                    <a:pt x="729" y="585"/>
                  </a:lnTo>
                  <a:lnTo>
                    <a:pt x="729" y="588"/>
                  </a:lnTo>
                  <a:lnTo>
                    <a:pt x="729" y="588"/>
                  </a:lnTo>
                  <a:lnTo>
                    <a:pt x="726" y="591"/>
                  </a:lnTo>
                  <a:lnTo>
                    <a:pt x="715" y="591"/>
                  </a:lnTo>
                  <a:lnTo>
                    <a:pt x="715" y="591"/>
                  </a:lnTo>
                  <a:lnTo>
                    <a:pt x="721" y="601"/>
                  </a:lnTo>
                  <a:lnTo>
                    <a:pt x="726" y="607"/>
                  </a:lnTo>
                  <a:lnTo>
                    <a:pt x="723" y="609"/>
                  </a:lnTo>
                  <a:lnTo>
                    <a:pt x="723" y="609"/>
                  </a:lnTo>
                  <a:lnTo>
                    <a:pt x="721" y="609"/>
                  </a:lnTo>
                  <a:lnTo>
                    <a:pt x="718" y="612"/>
                  </a:lnTo>
                  <a:lnTo>
                    <a:pt x="718" y="612"/>
                  </a:lnTo>
                  <a:lnTo>
                    <a:pt x="718" y="615"/>
                  </a:lnTo>
                  <a:lnTo>
                    <a:pt x="715" y="623"/>
                  </a:lnTo>
                  <a:lnTo>
                    <a:pt x="715" y="625"/>
                  </a:lnTo>
                  <a:lnTo>
                    <a:pt x="713" y="625"/>
                  </a:lnTo>
                  <a:lnTo>
                    <a:pt x="713" y="625"/>
                  </a:lnTo>
                  <a:lnTo>
                    <a:pt x="713" y="628"/>
                  </a:lnTo>
                  <a:lnTo>
                    <a:pt x="713" y="628"/>
                  </a:lnTo>
                  <a:lnTo>
                    <a:pt x="697" y="628"/>
                  </a:lnTo>
                  <a:lnTo>
                    <a:pt x="681" y="631"/>
                  </a:lnTo>
                  <a:lnTo>
                    <a:pt x="665" y="633"/>
                  </a:lnTo>
                  <a:lnTo>
                    <a:pt x="649" y="633"/>
                  </a:lnTo>
                  <a:lnTo>
                    <a:pt x="640" y="636"/>
                  </a:lnTo>
                  <a:lnTo>
                    <a:pt x="640" y="636"/>
                  </a:lnTo>
                  <a:lnTo>
                    <a:pt x="640" y="633"/>
                  </a:lnTo>
                  <a:lnTo>
                    <a:pt x="640" y="633"/>
                  </a:lnTo>
                  <a:lnTo>
                    <a:pt x="640" y="633"/>
                  </a:lnTo>
                  <a:lnTo>
                    <a:pt x="643" y="625"/>
                  </a:lnTo>
                  <a:lnTo>
                    <a:pt x="643" y="623"/>
                  </a:lnTo>
                  <a:lnTo>
                    <a:pt x="646" y="620"/>
                  </a:lnTo>
                  <a:lnTo>
                    <a:pt x="646" y="617"/>
                  </a:lnTo>
                  <a:lnTo>
                    <a:pt x="649" y="617"/>
                  </a:lnTo>
                  <a:lnTo>
                    <a:pt x="649" y="617"/>
                  </a:lnTo>
                  <a:lnTo>
                    <a:pt x="649" y="615"/>
                  </a:lnTo>
                  <a:lnTo>
                    <a:pt x="649" y="615"/>
                  </a:lnTo>
                  <a:lnTo>
                    <a:pt x="651" y="615"/>
                  </a:lnTo>
                  <a:lnTo>
                    <a:pt x="651" y="615"/>
                  </a:lnTo>
                  <a:lnTo>
                    <a:pt x="651" y="615"/>
                  </a:lnTo>
                  <a:lnTo>
                    <a:pt x="654" y="615"/>
                  </a:lnTo>
                  <a:lnTo>
                    <a:pt x="654" y="612"/>
                  </a:lnTo>
                  <a:lnTo>
                    <a:pt x="654" y="612"/>
                  </a:lnTo>
                  <a:lnTo>
                    <a:pt x="654" y="612"/>
                  </a:lnTo>
                  <a:lnTo>
                    <a:pt x="654" y="612"/>
                  </a:lnTo>
                  <a:lnTo>
                    <a:pt x="654" y="609"/>
                  </a:lnTo>
                  <a:lnTo>
                    <a:pt x="654" y="609"/>
                  </a:lnTo>
                  <a:lnTo>
                    <a:pt x="654" y="607"/>
                  </a:lnTo>
                  <a:lnTo>
                    <a:pt x="654" y="607"/>
                  </a:lnTo>
                  <a:lnTo>
                    <a:pt x="654" y="607"/>
                  </a:lnTo>
                  <a:lnTo>
                    <a:pt x="657" y="607"/>
                  </a:lnTo>
                  <a:lnTo>
                    <a:pt x="657" y="607"/>
                  </a:lnTo>
                  <a:lnTo>
                    <a:pt x="659" y="604"/>
                  </a:lnTo>
                  <a:lnTo>
                    <a:pt x="659" y="604"/>
                  </a:lnTo>
                  <a:lnTo>
                    <a:pt x="665" y="601"/>
                  </a:lnTo>
                  <a:lnTo>
                    <a:pt x="665" y="601"/>
                  </a:lnTo>
                  <a:lnTo>
                    <a:pt x="665" y="601"/>
                  </a:lnTo>
                  <a:lnTo>
                    <a:pt x="665" y="599"/>
                  </a:lnTo>
                  <a:lnTo>
                    <a:pt x="665" y="599"/>
                  </a:lnTo>
                  <a:lnTo>
                    <a:pt x="665" y="596"/>
                  </a:lnTo>
                  <a:lnTo>
                    <a:pt x="665" y="596"/>
                  </a:lnTo>
                  <a:lnTo>
                    <a:pt x="665" y="596"/>
                  </a:lnTo>
                  <a:lnTo>
                    <a:pt x="667" y="593"/>
                  </a:lnTo>
                  <a:lnTo>
                    <a:pt x="670" y="593"/>
                  </a:lnTo>
                  <a:lnTo>
                    <a:pt x="670" y="593"/>
                  </a:lnTo>
                  <a:lnTo>
                    <a:pt x="670" y="593"/>
                  </a:lnTo>
                  <a:lnTo>
                    <a:pt x="670" y="593"/>
                  </a:lnTo>
                  <a:lnTo>
                    <a:pt x="670" y="591"/>
                  </a:lnTo>
                  <a:lnTo>
                    <a:pt x="670" y="591"/>
                  </a:lnTo>
                  <a:lnTo>
                    <a:pt x="673" y="591"/>
                  </a:lnTo>
                  <a:lnTo>
                    <a:pt x="673" y="591"/>
                  </a:lnTo>
                  <a:lnTo>
                    <a:pt x="673" y="588"/>
                  </a:lnTo>
                  <a:lnTo>
                    <a:pt x="670" y="585"/>
                  </a:lnTo>
                  <a:lnTo>
                    <a:pt x="670" y="583"/>
                  </a:lnTo>
                  <a:lnTo>
                    <a:pt x="670" y="580"/>
                  </a:lnTo>
                  <a:lnTo>
                    <a:pt x="670" y="580"/>
                  </a:lnTo>
                  <a:lnTo>
                    <a:pt x="670" y="580"/>
                  </a:lnTo>
                  <a:lnTo>
                    <a:pt x="670" y="577"/>
                  </a:lnTo>
                  <a:lnTo>
                    <a:pt x="670" y="577"/>
                  </a:lnTo>
                  <a:lnTo>
                    <a:pt x="670" y="577"/>
                  </a:lnTo>
                  <a:lnTo>
                    <a:pt x="670" y="577"/>
                  </a:lnTo>
                  <a:lnTo>
                    <a:pt x="670" y="575"/>
                  </a:lnTo>
                  <a:lnTo>
                    <a:pt x="667" y="575"/>
                  </a:lnTo>
                  <a:lnTo>
                    <a:pt x="665" y="575"/>
                  </a:lnTo>
                  <a:lnTo>
                    <a:pt x="665" y="572"/>
                  </a:lnTo>
                  <a:lnTo>
                    <a:pt x="665" y="572"/>
                  </a:lnTo>
                  <a:lnTo>
                    <a:pt x="665" y="572"/>
                  </a:lnTo>
                  <a:lnTo>
                    <a:pt x="662" y="572"/>
                  </a:lnTo>
                  <a:lnTo>
                    <a:pt x="662" y="569"/>
                  </a:lnTo>
                  <a:lnTo>
                    <a:pt x="662" y="569"/>
                  </a:lnTo>
                  <a:lnTo>
                    <a:pt x="662" y="567"/>
                  </a:lnTo>
                  <a:lnTo>
                    <a:pt x="662" y="567"/>
                  </a:lnTo>
                  <a:lnTo>
                    <a:pt x="662" y="567"/>
                  </a:lnTo>
                  <a:lnTo>
                    <a:pt x="662" y="567"/>
                  </a:lnTo>
                  <a:lnTo>
                    <a:pt x="659" y="567"/>
                  </a:lnTo>
                  <a:lnTo>
                    <a:pt x="659" y="564"/>
                  </a:lnTo>
                  <a:lnTo>
                    <a:pt x="659" y="561"/>
                  </a:lnTo>
                  <a:lnTo>
                    <a:pt x="659" y="561"/>
                  </a:lnTo>
                  <a:lnTo>
                    <a:pt x="659" y="561"/>
                  </a:lnTo>
                  <a:lnTo>
                    <a:pt x="651" y="561"/>
                  </a:lnTo>
                  <a:lnTo>
                    <a:pt x="619" y="564"/>
                  </a:lnTo>
                  <a:lnTo>
                    <a:pt x="587" y="567"/>
                  </a:lnTo>
                  <a:lnTo>
                    <a:pt x="558" y="569"/>
                  </a:lnTo>
                  <a:lnTo>
                    <a:pt x="526" y="572"/>
                  </a:lnTo>
                  <a:lnTo>
                    <a:pt x="494" y="575"/>
                  </a:lnTo>
                  <a:lnTo>
                    <a:pt x="464" y="577"/>
                  </a:lnTo>
                  <a:lnTo>
                    <a:pt x="432" y="580"/>
                  </a:lnTo>
                  <a:lnTo>
                    <a:pt x="403" y="583"/>
                  </a:lnTo>
                  <a:lnTo>
                    <a:pt x="371" y="583"/>
                  </a:lnTo>
                  <a:lnTo>
                    <a:pt x="339" y="585"/>
                  </a:lnTo>
                  <a:lnTo>
                    <a:pt x="310" y="588"/>
                  </a:lnTo>
                  <a:lnTo>
                    <a:pt x="278" y="591"/>
                  </a:lnTo>
                  <a:lnTo>
                    <a:pt x="246" y="591"/>
                  </a:lnTo>
                  <a:lnTo>
                    <a:pt x="216" y="593"/>
                  </a:lnTo>
                  <a:lnTo>
                    <a:pt x="184" y="593"/>
                  </a:lnTo>
                  <a:lnTo>
                    <a:pt x="152" y="596"/>
                  </a:lnTo>
                  <a:lnTo>
                    <a:pt x="152" y="580"/>
                  </a:lnTo>
                  <a:lnTo>
                    <a:pt x="152" y="561"/>
                  </a:lnTo>
                  <a:lnTo>
                    <a:pt x="150" y="543"/>
                  </a:lnTo>
                  <a:lnTo>
                    <a:pt x="150" y="527"/>
                  </a:lnTo>
                  <a:lnTo>
                    <a:pt x="150" y="508"/>
                  </a:lnTo>
                  <a:lnTo>
                    <a:pt x="147" y="489"/>
                  </a:lnTo>
                  <a:lnTo>
                    <a:pt x="147" y="473"/>
                  </a:lnTo>
                  <a:lnTo>
                    <a:pt x="147" y="454"/>
                  </a:lnTo>
                  <a:lnTo>
                    <a:pt x="144" y="436"/>
                  </a:lnTo>
                  <a:lnTo>
                    <a:pt x="144" y="420"/>
                  </a:lnTo>
                  <a:lnTo>
                    <a:pt x="144" y="401"/>
                  </a:lnTo>
                  <a:lnTo>
                    <a:pt x="142" y="382"/>
                  </a:lnTo>
                  <a:lnTo>
                    <a:pt x="142" y="366"/>
                  </a:lnTo>
                  <a:lnTo>
                    <a:pt x="142" y="348"/>
                  </a:lnTo>
                  <a:lnTo>
                    <a:pt x="139" y="329"/>
                  </a:lnTo>
                  <a:lnTo>
                    <a:pt x="139" y="313"/>
                  </a:lnTo>
                  <a:lnTo>
                    <a:pt x="139" y="294"/>
                  </a:lnTo>
                  <a:lnTo>
                    <a:pt x="136" y="275"/>
                  </a:lnTo>
                  <a:lnTo>
                    <a:pt x="136" y="259"/>
                  </a:lnTo>
                  <a:lnTo>
                    <a:pt x="136" y="241"/>
                  </a:lnTo>
                  <a:lnTo>
                    <a:pt x="136" y="230"/>
                  </a:lnTo>
                  <a:lnTo>
                    <a:pt x="136" y="230"/>
                  </a:lnTo>
                  <a:lnTo>
                    <a:pt x="134" y="230"/>
                  </a:lnTo>
                  <a:lnTo>
                    <a:pt x="134" y="230"/>
                  </a:lnTo>
                  <a:lnTo>
                    <a:pt x="134" y="227"/>
                  </a:lnTo>
                  <a:lnTo>
                    <a:pt x="134" y="227"/>
                  </a:lnTo>
                  <a:lnTo>
                    <a:pt x="136" y="227"/>
                  </a:lnTo>
                  <a:lnTo>
                    <a:pt x="136" y="225"/>
                  </a:lnTo>
                  <a:lnTo>
                    <a:pt x="134" y="225"/>
                  </a:lnTo>
                  <a:lnTo>
                    <a:pt x="131" y="225"/>
                  </a:lnTo>
                  <a:lnTo>
                    <a:pt x="131" y="225"/>
                  </a:lnTo>
                  <a:lnTo>
                    <a:pt x="131" y="222"/>
                  </a:lnTo>
                  <a:lnTo>
                    <a:pt x="131" y="222"/>
                  </a:lnTo>
                  <a:lnTo>
                    <a:pt x="128" y="222"/>
                  </a:lnTo>
                  <a:lnTo>
                    <a:pt x="128" y="222"/>
                  </a:lnTo>
                  <a:lnTo>
                    <a:pt x="126" y="222"/>
                  </a:lnTo>
                  <a:lnTo>
                    <a:pt x="123" y="222"/>
                  </a:lnTo>
                  <a:lnTo>
                    <a:pt x="120" y="222"/>
                  </a:lnTo>
                  <a:lnTo>
                    <a:pt x="115" y="219"/>
                  </a:lnTo>
                  <a:lnTo>
                    <a:pt x="112" y="219"/>
                  </a:lnTo>
                  <a:lnTo>
                    <a:pt x="112" y="217"/>
                  </a:lnTo>
                  <a:lnTo>
                    <a:pt x="110" y="214"/>
                  </a:lnTo>
                  <a:lnTo>
                    <a:pt x="110" y="211"/>
                  </a:lnTo>
                  <a:lnTo>
                    <a:pt x="110" y="211"/>
                  </a:lnTo>
                  <a:lnTo>
                    <a:pt x="104" y="209"/>
                  </a:lnTo>
                  <a:lnTo>
                    <a:pt x="102" y="203"/>
                  </a:lnTo>
                  <a:lnTo>
                    <a:pt x="102" y="198"/>
                  </a:lnTo>
                  <a:lnTo>
                    <a:pt x="102" y="195"/>
                  </a:lnTo>
                  <a:lnTo>
                    <a:pt x="99" y="193"/>
                  </a:lnTo>
                  <a:lnTo>
                    <a:pt x="96" y="193"/>
                  </a:lnTo>
                  <a:lnTo>
                    <a:pt x="96" y="190"/>
                  </a:lnTo>
                  <a:lnTo>
                    <a:pt x="96" y="190"/>
                  </a:lnTo>
                  <a:lnTo>
                    <a:pt x="91" y="187"/>
                  </a:lnTo>
                  <a:lnTo>
                    <a:pt x="88" y="187"/>
                  </a:lnTo>
                  <a:lnTo>
                    <a:pt x="88" y="185"/>
                  </a:lnTo>
                  <a:lnTo>
                    <a:pt x="88" y="185"/>
                  </a:lnTo>
                  <a:lnTo>
                    <a:pt x="85" y="179"/>
                  </a:lnTo>
                  <a:lnTo>
                    <a:pt x="83" y="179"/>
                  </a:lnTo>
                  <a:lnTo>
                    <a:pt x="83" y="177"/>
                  </a:lnTo>
                  <a:lnTo>
                    <a:pt x="80" y="177"/>
                  </a:lnTo>
                  <a:lnTo>
                    <a:pt x="77" y="174"/>
                  </a:lnTo>
                  <a:lnTo>
                    <a:pt x="77" y="169"/>
                  </a:lnTo>
                  <a:lnTo>
                    <a:pt x="80" y="169"/>
                  </a:lnTo>
                  <a:lnTo>
                    <a:pt x="83" y="169"/>
                  </a:lnTo>
                  <a:lnTo>
                    <a:pt x="83" y="169"/>
                  </a:lnTo>
                  <a:lnTo>
                    <a:pt x="83" y="166"/>
                  </a:lnTo>
                  <a:lnTo>
                    <a:pt x="83" y="166"/>
                  </a:lnTo>
                  <a:lnTo>
                    <a:pt x="83" y="163"/>
                  </a:lnTo>
                  <a:lnTo>
                    <a:pt x="83" y="161"/>
                  </a:lnTo>
                  <a:lnTo>
                    <a:pt x="85" y="158"/>
                  </a:lnTo>
                  <a:lnTo>
                    <a:pt x="88" y="155"/>
                  </a:lnTo>
                  <a:lnTo>
                    <a:pt x="91" y="153"/>
                  </a:lnTo>
                  <a:lnTo>
                    <a:pt x="91" y="153"/>
                  </a:lnTo>
                  <a:lnTo>
                    <a:pt x="91" y="153"/>
                  </a:lnTo>
                  <a:lnTo>
                    <a:pt x="91" y="147"/>
                  </a:lnTo>
                  <a:lnTo>
                    <a:pt x="91" y="147"/>
                  </a:lnTo>
                  <a:lnTo>
                    <a:pt x="93" y="144"/>
                  </a:lnTo>
                  <a:lnTo>
                    <a:pt x="93" y="144"/>
                  </a:lnTo>
                  <a:lnTo>
                    <a:pt x="99" y="147"/>
                  </a:lnTo>
                  <a:lnTo>
                    <a:pt x="102" y="147"/>
                  </a:lnTo>
                  <a:lnTo>
                    <a:pt x="104" y="144"/>
                  </a:lnTo>
                  <a:lnTo>
                    <a:pt x="104" y="142"/>
                  </a:lnTo>
                  <a:lnTo>
                    <a:pt x="102" y="142"/>
                  </a:lnTo>
                  <a:lnTo>
                    <a:pt x="102" y="142"/>
                  </a:lnTo>
                  <a:lnTo>
                    <a:pt x="102" y="139"/>
                  </a:lnTo>
                  <a:lnTo>
                    <a:pt x="102" y="139"/>
                  </a:lnTo>
                  <a:lnTo>
                    <a:pt x="102" y="134"/>
                  </a:lnTo>
                  <a:lnTo>
                    <a:pt x="102" y="134"/>
                  </a:lnTo>
                  <a:lnTo>
                    <a:pt x="102" y="131"/>
                  </a:lnTo>
                  <a:lnTo>
                    <a:pt x="96" y="128"/>
                  </a:lnTo>
                  <a:lnTo>
                    <a:pt x="93" y="128"/>
                  </a:lnTo>
                  <a:lnTo>
                    <a:pt x="93" y="126"/>
                  </a:lnTo>
                  <a:lnTo>
                    <a:pt x="93" y="126"/>
                  </a:lnTo>
                  <a:lnTo>
                    <a:pt x="93" y="123"/>
                  </a:lnTo>
                  <a:lnTo>
                    <a:pt x="93" y="123"/>
                  </a:lnTo>
                  <a:lnTo>
                    <a:pt x="91" y="123"/>
                  </a:lnTo>
                  <a:lnTo>
                    <a:pt x="88" y="123"/>
                  </a:lnTo>
                  <a:lnTo>
                    <a:pt x="85" y="123"/>
                  </a:lnTo>
                  <a:lnTo>
                    <a:pt x="83" y="126"/>
                  </a:lnTo>
                  <a:lnTo>
                    <a:pt x="80" y="128"/>
                  </a:lnTo>
                  <a:lnTo>
                    <a:pt x="77" y="128"/>
                  </a:lnTo>
                  <a:lnTo>
                    <a:pt x="75" y="128"/>
                  </a:lnTo>
                  <a:lnTo>
                    <a:pt x="72" y="126"/>
                  </a:lnTo>
                  <a:lnTo>
                    <a:pt x="72" y="123"/>
                  </a:lnTo>
                  <a:lnTo>
                    <a:pt x="69" y="123"/>
                  </a:lnTo>
                  <a:lnTo>
                    <a:pt x="69" y="123"/>
                  </a:lnTo>
                  <a:lnTo>
                    <a:pt x="67" y="123"/>
                  </a:lnTo>
                  <a:lnTo>
                    <a:pt x="67" y="123"/>
                  </a:lnTo>
                  <a:lnTo>
                    <a:pt x="67" y="120"/>
                  </a:lnTo>
                  <a:lnTo>
                    <a:pt x="64" y="120"/>
                  </a:lnTo>
                  <a:lnTo>
                    <a:pt x="64" y="120"/>
                  </a:lnTo>
                  <a:lnTo>
                    <a:pt x="64" y="118"/>
                  </a:lnTo>
                  <a:lnTo>
                    <a:pt x="61" y="118"/>
                  </a:lnTo>
                  <a:lnTo>
                    <a:pt x="61" y="118"/>
                  </a:lnTo>
                  <a:lnTo>
                    <a:pt x="59" y="115"/>
                  </a:lnTo>
                  <a:lnTo>
                    <a:pt x="53" y="110"/>
                  </a:lnTo>
                  <a:lnTo>
                    <a:pt x="51" y="107"/>
                  </a:lnTo>
                  <a:lnTo>
                    <a:pt x="48" y="107"/>
                  </a:lnTo>
                  <a:lnTo>
                    <a:pt x="43" y="107"/>
                  </a:lnTo>
                  <a:lnTo>
                    <a:pt x="43" y="104"/>
                  </a:lnTo>
                  <a:lnTo>
                    <a:pt x="40" y="102"/>
                  </a:lnTo>
                  <a:lnTo>
                    <a:pt x="43" y="99"/>
                  </a:lnTo>
                  <a:lnTo>
                    <a:pt x="43" y="96"/>
                  </a:lnTo>
                  <a:lnTo>
                    <a:pt x="43" y="96"/>
                  </a:lnTo>
                  <a:lnTo>
                    <a:pt x="43" y="94"/>
                  </a:lnTo>
                  <a:lnTo>
                    <a:pt x="40" y="91"/>
                  </a:lnTo>
                  <a:lnTo>
                    <a:pt x="37" y="88"/>
                  </a:lnTo>
                  <a:lnTo>
                    <a:pt x="37" y="88"/>
                  </a:lnTo>
                  <a:lnTo>
                    <a:pt x="35" y="83"/>
                  </a:lnTo>
                  <a:lnTo>
                    <a:pt x="35" y="80"/>
                  </a:lnTo>
                  <a:lnTo>
                    <a:pt x="35" y="78"/>
                  </a:lnTo>
                  <a:lnTo>
                    <a:pt x="35" y="78"/>
                  </a:lnTo>
                  <a:lnTo>
                    <a:pt x="32" y="78"/>
                  </a:lnTo>
                  <a:lnTo>
                    <a:pt x="27" y="75"/>
                  </a:lnTo>
                  <a:lnTo>
                    <a:pt x="27" y="75"/>
                  </a:lnTo>
                  <a:lnTo>
                    <a:pt x="24" y="75"/>
                  </a:lnTo>
                  <a:lnTo>
                    <a:pt x="24" y="72"/>
                  </a:lnTo>
                  <a:lnTo>
                    <a:pt x="24" y="70"/>
                  </a:lnTo>
                  <a:lnTo>
                    <a:pt x="21" y="70"/>
                  </a:lnTo>
                  <a:lnTo>
                    <a:pt x="19" y="70"/>
                  </a:lnTo>
                  <a:lnTo>
                    <a:pt x="16" y="70"/>
                  </a:lnTo>
                  <a:lnTo>
                    <a:pt x="16" y="70"/>
                  </a:lnTo>
                  <a:lnTo>
                    <a:pt x="13" y="67"/>
                  </a:lnTo>
                  <a:lnTo>
                    <a:pt x="16" y="67"/>
                  </a:lnTo>
                  <a:lnTo>
                    <a:pt x="16" y="64"/>
                  </a:lnTo>
                  <a:lnTo>
                    <a:pt x="16" y="64"/>
                  </a:lnTo>
                  <a:lnTo>
                    <a:pt x="16" y="64"/>
                  </a:lnTo>
                  <a:lnTo>
                    <a:pt x="16" y="59"/>
                  </a:lnTo>
                  <a:lnTo>
                    <a:pt x="13" y="56"/>
                  </a:lnTo>
                  <a:lnTo>
                    <a:pt x="13" y="56"/>
                  </a:lnTo>
                  <a:lnTo>
                    <a:pt x="13" y="56"/>
                  </a:lnTo>
                  <a:lnTo>
                    <a:pt x="13" y="54"/>
                  </a:lnTo>
                  <a:lnTo>
                    <a:pt x="13" y="51"/>
                  </a:lnTo>
                  <a:lnTo>
                    <a:pt x="11" y="51"/>
                  </a:lnTo>
                  <a:lnTo>
                    <a:pt x="11" y="48"/>
                  </a:lnTo>
                  <a:lnTo>
                    <a:pt x="8" y="46"/>
                  </a:lnTo>
                  <a:lnTo>
                    <a:pt x="8" y="43"/>
                  </a:lnTo>
                  <a:lnTo>
                    <a:pt x="8" y="43"/>
                  </a:lnTo>
                  <a:lnTo>
                    <a:pt x="8" y="40"/>
                  </a:lnTo>
                  <a:lnTo>
                    <a:pt x="8" y="40"/>
                  </a:lnTo>
                  <a:lnTo>
                    <a:pt x="5" y="38"/>
                  </a:lnTo>
                  <a:lnTo>
                    <a:pt x="3" y="38"/>
                  </a:lnTo>
                  <a:lnTo>
                    <a:pt x="0" y="38"/>
                  </a:lnTo>
                  <a:lnTo>
                    <a:pt x="0" y="32"/>
                  </a:lnTo>
                  <a:lnTo>
                    <a:pt x="0" y="30"/>
                  </a:lnTo>
                  <a:lnTo>
                    <a:pt x="0" y="30"/>
                  </a:lnTo>
                  <a:lnTo>
                    <a:pt x="0" y="30"/>
                  </a:lnTo>
                  <a:lnTo>
                    <a:pt x="0" y="30"/>
                  </a:lnTo>
                  <a:lnTo>
                    <a:pt x="0" y="30"/>
                  </a:lnTo>
                  <a:lnTo>
                    <a:pt x="0" y="30"/>
                  </a:lnTo>
                  <a:lnTo>
                    <a:pt x="0" y="30"/>
                  </a:lnTo>
                  <a:lnTo>
                    <a:pt x="0" y="30"/>
                  </a:lnTo>
                  <a:lnTo>
                    <a:pt x="0" y="30"/>
                  </a:lnTo>
                  <a:lnTo>
                    <a:pt x="0" y="30"/>
                  </a:lnTo>
                  <a:lnTo>
                    <a:pt x="0" y="30"/>
                  </a:lnTo>
                  <a:lnTo>
                    <a:pt x="0" y="30"/>
                  </a:lnTo>
                  <a:lnTo>
                    <a:pt x="0" y="30"/>
                  </a:lnTo>
                  <a:lnTo>
                    <a:pt x="0" y="30"/>
                  </a:lnTo>
                  <a:lnTo>
                    <a:pt x="0" y="30"/>
                  </a:lnTo>
                  <a:lnTo>
                    <a:pt x="0" y="30"/>
                  </a:lnTo>
                  <a:lnTo>
                    <a:pt x="0" y="30"/>
                  </a:lnTo>
                  <a:lnTo>
                    <a:pt x="27" y="27"/>
                  </a:lnTo>
                  <a:lnTo>
                    <a:pt x="53" y="27"/>
                  </a:lnTo>
                  <a:lnTo>
                    <a:pt x="80" y="24"/>
                  </a:lnTo>
                  <a:lnTo>
                    <a:pt x="107" y="24"/>
                  </a:lnTo>
                  <a:lnTo>
                    <a:pt x="134" y="22"/>
                  </a:lnTo>
                  <a:lnTo>
                    <a:pt x="160" y="22"/>
                  </a:lnTo>
                  <a:lnTo>
                    <a:pt x="187" y="19"/>
                  </a:lnTo>
                  <a:lnTo>
                    <a:pt x="211" y="19"/>
                  </a:lnTo>
                  <a:lnTo>
                    <a:pt x="238" y="16"/>
                  </a:lnTo>
                  <a:lnTo>
                    <a:pt x="264" y="14"/>
                  </a:lnTo>
                  <a:lnTo>
                    <a:pt x="291" y="14"/>
                  </a:lnTo>
                  <a:lnTo>
                    <a:pt x="318" y="11"/>
                  </a:lnTo>
                  <a:lnTo>
                    <a:pt x="344" y="8"/>
                  </a:lnTo>
                  <a:lnTo>
                    <a:pt x="371" y="6"/>
                  </a:lnTo>
                  <a:lnTo>
                    <a:pt x="395" y="6"/>
                  </a:lnTo>
                  <a:lnTo>
                    <a:pt x="422" y="3"/>
                  </a:lnTo>
                  <a:lnTo>
                    <a:pt x="432" y="3"/>
                  </a:lnTo>
                  <a:lnTo>
                    <a:pt x="438" y="0"/>
                  </a:lnTo>
                  <a:lnTo>
                    <a:pt x="438" y="3"/>
                  </a:lnTo>
                  <a:lnTo>
                    <a:pt x="438" y="3"/>
                  </a:lnTo>
                  <a:lnTo>
                    <a:pt x="440" y="6"/>
                  </a:lnTo>
                  <a:lnTo>
                    <a:pt x="440" y="6"/>
                  </a:lnTo>
                  <a:lnTo>
                    <a:pt x="440" y="8"/>
                  </a:lnTo>
                  <a:lnTo>
                    <a:pt x="443" y="8"/>
                  </a:lnTo>
                  <a:lnTo>
                    <a:pt x="443" y="11"/>
                  </a:lnTo>
                  <a:lnTo>
                    <a:pt x="443" y="11"/>
                  </a:lnTo>
                  <a:lnTo>
                    <a:pt x="446" y="11"/>
                  </a:lnTo>
                  <a:lnTo>
                    <a:pt x="446" y="11"/>
                  </a:lnTo>
                  <a:lnTo>
                    <a:pt x="448" y="14"/>
                  </a:lnTo>
                  <a:lnTo>
                    <a:pt x="451" y="14"/>
                  </a:lnTo>
                  <a:lnTo>
                    <a:pt x="451" y="16"/>
                  </a:lnTo>
                  <a:lnTo>
                    <a:pt x="451" y="16"/>
                  </a:lnTo>
                  <a:lnTo>
                    <a:pt x="451" y="16"/>
                  </a:lnTo>
                  <a:lnTo>
                    <a:pt x="451" y="16"/>
                  </a:lnTo>
                  <a:lnTo>
                    <a:pt x="454" y="16"/>
                  </a:lnTo>
                  <a:lnTo>
                    <a:pt x="454" y="16"/>
                  </a:lnTo>
                  <a:lnTo>
                    <a:pt x="454" y="19"/>
                  </a:lnTo>
                  <a:lnTo>
                    <a:pt x="454" y="19"/>
                  </a:lnTo>
                  <a:lnTo>
                    <a:pt x="454" y="19"/>
                  </a:lnTo>
                  <a:lnTo>
                    <a:pt x="456" y="19"/>
                  </a:lnTo>
                  <a:lnTo>
                    <a:pt x="459" y="22"/>
                  </a:lnTo>
                  <a:lnTo>
                    <a:pt x="459" y="22"/>
                  </a:lnTo>
                  <a:lnTo>
                    <a:pt x="459" y="22"/>
                  </a:lnTo>
                  <a:lnTo>
                    <a:pt x="459" y="24"/>
                  </a:lnTo>
                  <a:lnTo>
                    <a:pt x="459" y="24"/>
                  </a:lnTo>
                  <a:lnTo>
                    <a:pt x="459" y="24"/>
                  </a:lnTo>
                  <a:lnTo>
                    <a:pt x="462" y="27"/>
                  </a:lnTo>
                  <a:lnTo>
                    <a:pt x="464" y="30"/>
                  </a:lnTo>
                  <a:lnTo>
                    <a:pt x="467" y="32"/>
                  </a:lnTo>
                  <a:lnTo>
                    <a:pt x="470" y="32"/>
                  </a:lnTo>
                  <a:lnTo>
                    <a:pt x="472" y="32"/>
                  </a:lnTo>
                  <a:lnTo>
                    <a:pt x="472" y="32"/>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35" name="Freeform 32">
              <a:extLst>
                <a:ext uri="{FF2B5EF4-FFF2-40B4-BE49-F238E27FC236}">
                  <a16:creationId xmlns="" xmlns:a16="http://schemas.microsoft.com/office/drawing/2014/main" id="{3C9B8B99-CB2E-4BF1-B890-FCB704F9B9D4}"/>
                </a:ext>
              </a:extLst>
            </p:cNvPr>
            <p:cNvSpPr>
              <a:spLocks/>
            </p:cNvSpPr>
            <p:nvPr/>
          </p:nvSpPr>
          <p:spPr bwMode="auto">
            <a:xfrm>
              <a:off x="3917" y="222"/>
              <a:ext cx="761" cy="799"/>
            </a:xfrm>
            <a:custGeom>
              <a:avLst/>
              <a:gdLst>
                <a:gd name="T0" fmla="*/ 731 w 761"/>
                <a:gd name="T1" fmla="*/ 149 h 799"/>
                <a:gd name="T2" fmla="*/ 673 w 761"/>
                <a:gd name="T3" fmla="*/ 141 h 799"/>
                <a:gd name="T4" fmla="*/ 651 w 761"/>
                <a:gd name="T5" fmla="*/ 144 h 799"/>
                <a:gd name="T6" fmla="*/ 635 w 761"/>
                <a:gd name="T7" fmla="*/ 128 h 799"/>
                <a:gd name="T8" fmla="*/ 593 w 761"/>
                <a:gd name="T9" fmla="*/ 149 h 799"/>
                <a:gd name="T10" fmla="*/ 563 w 761"/>
                <a:gd name="T11" fmla="*/ 149 h 799"/>
                <a:gd name="T12" fmla="*/ 534 w 761"/>
                <a:gd name="T13" fmla="*/ 139 h 799"/>
                <a:gd name="T14" fmla="*/ 494 w 761"/>
                <a:gd name="T15" fmla="*/ 120 h 799"/>
                <a:gd name="T16" fmla="*/ 483 w 761"/>
                <a:gd name="T17" fmla="*/ 136 h 799"/>
                <a:gd name="T18" fmla="*/ 454 w 761"/>
                <a:gd name="T19" fmla="*/ 112 h 799"/>
                <a:gd name="T20" fmla="*/ 446 w 761"/>
                <a:gd name="T21" fmla="*/ 96 h 799"/>
                <a:gd name="T22" fmla="*/ 374 w 761"/>
                <a:gd name="T23" fmla="*/ 99 h 799"/>
                <a:gd name="T24" fmla="*/ 331 w 761"/>
                <a:gd name="T25" fmla="*/ 91 h 799"/>
                <a:gd name="T26" fmla="*/ 291 w 761"/>
                <a:gd name="T27" fmla="*/ 83 h 799"/>
                <a:gd name="T28" fmla="*/ 248 w 761"/>
                <a:gd name="T29" fmla="*/ 66 h 799"/>
                <a:gd name="T30" fmla="*/ 235 w 761"/>
                <a:gd name="T31" fmla="*/ 10 h 799"/>
                <a:gd name="T32" fmla="*/ 203 w 761"/>
                <a:gd name="T33" fmla="*/ 48 h 799"/>
                <a:gd name="T34" fmla="*/ 51 w 761"/>
                <a:gd name="T35" fmla="*/ 56 h 799"/>
                <a:gd name="T36" fmla="*/ 3 w 761"/>
                <a:gd name="T37" fmla="*/ 69 h 799"/>
                <a:gd name="T38" fmla="*/ 11 w 761"/>
                <a:gd name="T39" fmla="*/ 112 h 799"/>
                <a:gd name="T40" fmla="*/ 14 w 761"/>
                <a:gd name="T41" fmla="*/ 149 h 799"/>
                <a:gd name="T42" fmla="*/ 24 w 761"/>
                <a:gd name="T43" fmla="*/ 203 h 799"/>
                <a:gd name="T44" fmla="*/ 30 w 761"/>
                <a:gd name="T45" fmla="*/ 216 h 799"/>
                <a:gd name="T46" fmla="*/ 43 w 761"/>
                <a:gd name="T47" fmla="*/ 243 h 799"/>
                <a:gd name="T48" fmla="*/ 43 w 761"/>
                <a:gd name="T49" fmla="*/ 264 h 799"/>
                <a:gd name="T50" fmla="*/ 46 w 761"/>
                <a:gd name="T51" fmla="*/ 302 h 799"/>
                <a:gd name="T52" fmla="*/ 51 w 761"/>
                <a:gd name="T53" fmla="*/ 328 h 799"/>
                <a:gd name="T54" fmla="*/ 54 w 761"/>
                <a:gd name="T55" fmla="*/ 334 h 799"/>
                <a:gd name="T56" fmla="*/ 54 w 761"/>
                <a:gd name="T57" fmla="*/ 358 h 799"/>
                <a:gd name="T58" fmla="*/ 59 w 761"/>
                <a:gd name="T59" fmla="*/ 390 h 799"/>
                <a:gd name="T60" fmla="*/ 72 w 761"/>
                <a:gd name="T61" fmla="*/ 414 h 799"/>
                <a:gd name="T62" fmla="*/ 78 w 761"/>
                <a:gd name="T63" fmla="*/ 438 h 799"/>
                <a:gd name="T64" fmla="*/ 78 w 761"/>
                <a:gd name="T65" fmla="*/ 470 h 799"/>
                <a:gd name="T66" fmla="*/ 59 w 761"/>
                <a:gd name="T67" fmla="*/ 499 h 799"/>
                <a:gd name="T68" fmla="*/ 64 w 761"/>
                <a:gd name="T69" fmla="*/ 531 h 799"/>
                <a:gd name="T70" fmla="*/ 91 w 761"/>
                <a:gd name="T71" fmla="*/ 553 h 799"/>
                <a:gd name="T72" fmla="*/ 99 w 761"/>
                <a:gd name="T73" fmla="*/ 769 h 799"/>
                <a:gd name="T74" fmla="*/ 406 w 761"/>
                <a:gd name="T75" fmla="*/ 785 h 799"/>
                <a:gd name="T76" fmla="*/ 646 w 761"/>
                <a:gd name="T77" fmla="*/ 761 h 799"/>
                <a:gd name="T78" fmla="*/ 643 w 761"/>
                <a:gd name="T79" fmla="*/ 732 h 799"/>
                <a:gd name="T80" fmla="*/ 635 w 761"/>
                <a:gd name="T81" fmla="*/ 713 h 799"/>
                <a:gd name="T82" fmla="*/ 622 w 761"/>
                <a:gd name="T83" fmla="*/ 700 h 799"/>
                <a:gd name="T84" fmla="*/ 595 w 761"/>
                <a:gd name="T85" fmla="*/ 694 h 799"/>
                <a:gd name="T86" fmla="*/ 526 w 761"/>
                <a:gd name="T87" fmla="*/ 644 h 799"/>
                <a:gd name="T88" fmla="*/ 489 w 761"/>
                <a:gd name="T89" fmla="*/ 622 h 799"/>
                <a:gd name="T90" fmla="*/ 475 w 761"/>
                <a:gd name="T91" fmla="*/ 585 h 799"/>
                <a:gd name="T92" fmla="*/ 473 w 761"/>
                <a:gd name="T93" fmla="*/ 555 h 799"/>
                <a:gd name="T94" fmla="*/ 475 w 761"/>
                <a:gd name="T95" fmla="*/ 529 h 799"/>
                <a:gd name="T96" fmla="*/ 470 w 761"/>
                <a:gd name="T97" fmla="*/ 499 h 799"/>
                <a:gd name="T98" fmla="*/ 465 w 761"/>
                <a:gd name="T99" fmla="*/ 465 h 799"/>
                <a:gd name="T100" fmla="*/ 486 w 761"/>
                <a:gd name="T101" fmla="*/ 441 h 799"/>
                <a:gd name="T102" fmla="*/ 499 w 761"/>
                <a:gd name="T103" fmla="*/ 433 h 799"/>
                <a:gd name="T104" fmla="*/ 510 w 761"/>
                <a:gd name="T105" fmla="*/ 419 h 799"/>
                <a:gd name="T106" fmla="*/ 507 w 761"/>
                <a:gd name="T107" fmla="*/ 347 h 799"/>
                <a:gd name="T108" fmla="*/ 515 w 761"/>
                <a:gd name="T109" fmla="*/ 342 h 799"/>
                <a:gd name="T110" fmla="*/ 521 w 761"/>
                <a:gd name="T111" fmla="*/ 334 h 799"/>
                <a:gd name="T112" fmla="*/ 558 w 761"/>
                <a:gd name="T113" fmla="*/ 299 h 799"/>
                <a:gd name="T114" fmla="*/ 574 w 761"/>
                <a:gd name="T115" fmla="*/ 283 h 799"/>
                <a:gd name="T116" fmla="*/ 715 w 761"/>
                <a:gd name="T117" fmla="*/ 173 h 799"/>
                <a:gd name="T118" fmla="*/ 761 w 761"/>
                <a:gd name="T119" fmla="*/ 144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1" h="799">
                  <a:moveTo>
                    <a:pt x="761" y="144"/>
                  </a:moveTo>
                  <a:lnTo>
                    <a:pt x="755" y="144"/>
                  </a:lnTo>
                  <a:lnTo>
                    <a:pt x="753" y="144"/>
                  </a:lnTo>
                  <a:lnTo>
                    <a:pt x="747" y="144"/>
                  </a:lnTo>
                  <a:lnTo>
                    <a:pt x="747" y="144"/>
                  </a:lnTo>
                  <a:lnTo>
                    <a:pt x="745" y="144"/>
                  </a:lnTo>
                  <a:lnTo>
                    <a:pt x="745" y="144"/>
                  </a:lnTo>
                  <a:lnTo>
                    <a:pt x="742" y="144"/>
                  </a:lnTo>
                  <a:lnTo>
                    <a:pt x="739" y="144"/>
                  </a:lnTo>
                  <a:lnTo>
                    <a:pt x="731" y="149"/>
                  </a:lnTo>
                  <a:lnTo>
                    <a:pt x="729" y="149"/>
                  </a:lnTo>
                  <a:lnTo>
                    <a:pt x="723" y="147"/>
                  </a:lnTo>
                  <a:lnTo>
                    <a:pt x="721" y="147"/>
                  </a:lnTo>
                  <a:lnTo>
                    <a:pt x="718" y="144"/>
                  </a:lnTo>
                  <a:lnTo>
                    <a:pt x="713" y="136"/>
                  </a:lnTo>
                  <a:lnTo>
                    <a:pt x="713" y="136"/>
                  </a:lnTo>
                  <a:lnTo>
                    <a:pt x="707" y="133"/>
                  </a:lnTo>
                  <a:lnTo>
                    <a:pt x="702" y="133"/>
                  </a:lnTo>
                  <a:lnTo>
                    <a:pt x="673" y="141"/>
                  </a:lnTo>
                  <a:lnTo>
                    <a:pt x="673" y="141"/>
                  </a:lnTo>
                  <a:lnTo>
                    <a:pt x="673" y="141"/>
                  </a:lnTo>
                  <a:lnTo>
                    <a:pt x="670" y="139"/>
                  </a:lnTo>
                  <a:lnTo>
                    <a:pt x="670" y="141"/>
                  </a:lnTo>
                  <a:lnTo>
                    <a:pt x="667" y="141"/>
                  </a:lnTo>
                  <a:lnTo>
                    <a:pt x="665" y="141"/>
                  </a:lnTo>
                  <a:lnTo>
                    <a:pt x="665" y="141"/>
                  </a:lnTo>
                  <a:lnTo>
                    <a:pt x="662" y="141"/>
                  </a:lnTo>
                  <a:lnTo>
                    <a:pt x="662" y="139"/>
                  </a:lnTo>
                  <a:lnTo>
                    <a:pt x="659" y="139"/>
                  </a:lnTo>
                  <a:lnTo>
                    <a:pt x="651" y="144"/>
                  </a:lnTo>
                  <a:lnTo>
                    <a:pt x="646" y="144"/>
                  </a:lnTo>
                  <a:lnTo>
                    <a:pt x="641" y="141"/>
                  </a:lnTo>
                  <a:lnTo>
                    <a:pt x="641" y="139"/>
                  </a:lnTo>
                  <a:lnTo>
                    <a:pt x="638" y="136"/>
                  </a:lnTo>
                  <a:lnTo>
                    <a:pt x="638" y="133"/>
                  </a:lnTo>
                  <a:lnTo>
                    <a:pt x="638" y="133"/>
                  </a:lnTo>
                  <a:lnTo>
                    <a:pt x="635" y="133"/>
                  </a:lnTo>
                  <a:lnTo>
                    <a:pt x="635" y="133"/>
                  </a:lnTo>
                  <a:lnTo>
                    <a:pt x="635" y="131"/>
                  </a:lnTo>
                  <a:lnTo>
                    <a:pt x="635" y="128"/>
                  </a:lnTo>
                  <a:lnTo>
                    <a:pt x="635" y="128"/>
                  </a:lnTo>
                  <a:lnTo>
                    <a:pt x="635" y="125"/>
                  </a:lnTo>
                  <a:lnTo>
                    <a:pt x="633" y="125"/>
                  </a:lnTo>
                  <a:lnTo>
                    <a:pt x="627" y="125"/>
                  </a:lnTo>
                  <a:lnTo>
                    <a:pt x="619" y="131"/>
                  </a:lnTo>
                  <a:lnTo>
                    <a:pt x="617" y="133"/>
                  </a:lnTo>
                  <a:lnTo>
                    <a:pt x="611" y="136"/>
                  </a:lnTo>
                  <a:lnTo>
                    <a:pt x="601" y="144"/>
                  </a:lnTo>
                  <a:lnTo>
                    <a:pt x="598" y="147"/>
                  </a:lnTo>
                  <a:lnTo>
                    <a:pt x="593" y="149"/>
                  </a:lnTo>
                  <a:lnTo>
                    <a:pt x="585" y="152"/>
                  </a:lnTo>
                  <a:lnTo>
                    <a:pt x="579" y="155"/>
                  </a:lnTo>
                  <a:lnTo>
                    <a:pt x="577" y="155"/>
                  </a:lnTo>
                  <a:lnTo>
                    <a:pt x="574" y="155"/>
                  </a:lnTo>
                  <a:lnTo>
                    <a:pt x="574" y="155"/>
                  </a:lnTo>
                  <a:lnTo>
                    <a:pt x="563" y="155"/>
                  </a:lnTo>
                  <a:lnTo>
                    <a:pt x="563" y="155"/>
                  </a:lnTo>
                  <a:lnTo>
                    <a:pt x="563" y="155"/>
                  </a:lnTo>
                  <a:lnTo>
                    <a:pt x="563" y="152"/>
                  </a:lnTo>
                  <a:lnTo>
                    <a:pt x="563" y="149"/>
                  </a:lnTo>
                  <a:lnTo>
                    <a:pt x="563" y="149"/>
                  </a:lnTo>
                  <a:lnTo>
                    <a:pt x="561" y="149"/>
                  </a:lnTo>
                  <a:lnTo>
                    <a:pt x="561" y="149"/>
                  </a:lnTo>
                  <a:lnTo>
                    <a:pt x="553" y="149"/>
                  </a:lnTo>
                  <a:lnTo>
                    <a:pt x="550" y="147"/>
                  </a:lnTo>
                  <a:lnTo>
                    <a:pt x="550" y="144"/>
                  </a:lnTo>
                  <a:lnTo>
                    <a:pt x="547" y="141"/>
                  </a:lnTo>
                  <a:lnTo>
                    <a:pt x="547" y="139"/>
                  </a:lnTo>
                  <a:lnTo>
                    <a:pt x="545" y="139"/>
                  </a:lnTo>
                  <a:lnTo>
                    <a:pt x="534" y="139"/>
                  </a:lnTo>
                  <a:lnTo>
                    <a:pt x="523" y="133"/>
                  </a:lnTo>
                  <a:lnTo>
                    <a:pt x="523" y="133"/>
                  </a:lnTo>
                  <a:lnTo>
                    <a:pt x="521" y="131"/>
                  </a:lnTo>
                  <a:lnTo>
                    <a:pt x="518" y="131"/>
                  </a:lnTo>
                  <a:lnTo>
                    <a:pt x="518" y="125"/>
                  </a:lnTo>
                  <a:lnTo>
                    <a:pt x="515" y="123"/>
                  </a:lnTo>
                  <a:lnTo>
                    <a:pt x="515" y="120"/>
                  </a:lnTo>
                  <a:lnTo>
                    <a:pt x="513" y="120"/>
                  </a:lnTo>
                  <a:lnTo>
                    <a:pt x="505" y="120"/>
                  </a:lnTo>
                  <a:lnTo>
                    <a:pt x="494" y="120"/>
                  </a:lnTo>
                  <a:lnTo>
                    <a:pt x="491" y="123"/>
                  </a:lnTo>
                  <a:lnTo>
                    <a:pt x="489" y="125"/>
                  </a:lnTo>
                  <a:lnTo>
                    <a:pt x="489" y="128"/>
                  </a:lnTo>
                  <a:lnTo>
                    <a:pt x="491" y="131"/>
                  </a:lnTo>
                  <a:lnTo>
                    <a:pt x="491" y="133"/>
                  </a:lnTo>
                  <a:lnTo>
                    <a:pt x="491" y="136"/>
                  </a:lnTo>
                  <a:lnTo>
                    <a:pt x="489" y="136"/>
                  </a:lnTo>
                  <a:lnTo>
                    <a:pt x="486" y="136"/>
                  </a:lnTo>
                  <a:lnTo>
                    <a:pt x="483" y="139"/>
                  </a:lnTo>
                  <a:lnTo>
                    <a:pt x="483" y="136"/>
                  </a:lnTo>
                  <a:lnTo>
                    <a:pt x="478" y="131"/>
                  </a:lnTo>
                  <a:lnTo>
                    <a:pt x="475" y="125"/>
                  </a:lnTo>
                  <a:lnTo>
                    <a:pt x="473" y="123"/>
                  </a:lnTo>
                  <a:lnTo>
                    <a:pt x="473" y="120"/>
                  </a:lnTo>
                  <a:lnTo>
                    <a:pt x="473" y="115"/>
                  </a:lnTo>
                  <a:lnTo>
                    <a:pt x="473" y="112"/>
                  </a:lnTo>
                  <a:lnTo>
                    <a:pt x="470" y="109"/>
                  </a:lnTo>
                  <a:lnTo>
                    <a:pt x="467" y="109"/>
                  </a:lnTo>
                  <a:lnTo>
                    <a:pt x="462" y="109"/>
                  </a:lnTo>
                  <a:lnTo>
                    <a:pt x="454" y="112"/>
                  </a:lnTo>
                  <a:lnTo>
                    <a:pt x="451" y="109"/>
                  </a:lnTo>
                  <a:lnTo>
                    <a:pt x="449" y="109"/>
                  </a:lnTo>
                  <a:lnTo>
                    <a:pt x="446" y="109"/>
                  </a:lnTo>
                  <a:lnTo>
                    <a:pt x="449" y="104"/>
                  </a:lnTo>
                  <a:lnTo>
                    <a:pt x="449" y="104"/>
                  </a:lnTo>
                  <a:lnTo>
                    <a:pt x="454" y="104"/>
                  </a:lnTo>
                  <a:lnTo>
                    <a:pt x="457" y="101"/>
                  </a:lnTo>
                  <a:lnTo>
                    <a:pt x="457" y="99"/>
                  </a:lnTo>
                  <a:lnTo>
                    <a:pt x="454" y="99"/>
                  </a:lnTo>
                  <a:lnTo>
                    <a:pt x="446" y="96"/>
                  </a:lnTo>
                  <a:lnTo>
                    <a:pt x="430" y="93"/>
                  </a:lnTo>
                  <a:lnTo>
                    <a:pt x="422" y="91"/>
                  </a:lnTo>
                  <a:lnTo>
                    <a:pt x="419" y="88"/>
                  </a:lnTo>
                  <a:lnTo>
                    <a:pt x="406" y="88"/>
                  </a:lnTo>
                  <a:lnTo>
                    <a:pt x="393" y="88"/>
                  </a:lnTo>
                  <a:lnTo>
                    <a:pt x="379" y="91"/>
                  </a:lnTo>
                  <a:lnTo>
                    <a:pt x="377" y="93"/>
                  </a:lnTo>
                  <a:lnTo>
                    <a:pt x="374" y="93"/>
                  </a:lnTo>
                  <a:lnTo>
                    <a:pt x="374" y="96"/>
                  </a:lnTo>
                  <a:lnTo>
                    <a:pt x="374" y="99"/>
                  </a:lnTo>
                  <a:lnTo>
                    <a:pt x="374" y="99"/>
                  </a:lnTo>
                  <a:lnTo>
                    <a:pt x="371" y="101"/>
                  </a:lnTo>
                  <a:lnTo>
                    <a:pt x="363" y="104"/>
                  </a:lnTo>
                  <a:lnTo>
                    <a:pt x="361" y="104"/>
                  </a:lnTo>
                  <a:lnTo>
                    <a:pt x="358" y="104"/>
                  </a:lnTo>
                  <a:lnTo>
                    <a:pt x="345" y="107"/>
                  </a:lnTo>
                  <a:lnTo>
                    <a:pt x="342" y="107"/>
                  </a:lnTo>
                  <a:lnTo>
                    <a:pt x="339" y="104"/>
                  </a:lnTo>
                  <a:lnTo>
                    <a:pt x="337" y="93"/>
                  </a:lnTo>
                  <a:lnTo>
                    <a:pt x="331" y="91"/>
                  </a:lnTo>
                  <a:lnTo>
                    <a:pt x="315" y="91"/>
                  </a:lnTo>
                  <a:lnTo>
                    <a:pt x="297" y="91"/>
                  </a:lnTo>
                  <a:lnTo>
                    <a:pt x="294" y="91"/>
                  </a:lnTo>
                  <a:lnTo>
                    <a:pt x="294" y="91"/>
                  </a:lnTo>
                  <a:lnTo>
                    <a:pt x="294" y="88"/>
                  </a:lnTo>
                  <a:lnTo>
                    <a:pt x="294" y="85"/>
                  </a:lnTo>
                  <a:lnTo>
                    <a:pt x="294" y="85"/>
                  </a:lnTo>
                  <a:lnTo>
                    <a:pt x="291" y="85"/>
                  </a:lnTo>
                  <a:lnTo>
                    <a:pt x="291" y="85"/>
                  </a:lnTo>
                  <a:lnTo>
                    <a:pt x="291" y="83"/>
                  </a:lnTo>
                  <a:lnTo>
                    <a:pt x="289" y="83"/>
                  </a:lnTo>
                  <a:lnTo>
                    <a:pt x="272" y="85"/>
                  </a:lnTo>
                  <a:lnTo>
                    <a:pt x="267" y="85"/>
                  </a:lnTo>
                  <a:lnTo>
                    <a:pt x="262" y="83"/>
                  </a:lnTo>
                  <a:lnTo>
                    <a:pt x="251" y="77"/>
                  </a:lnTo>
                  <a:lnTo>
                    <a:pt x="248" y="75"/>
                  </a:lnTo>
                  <a:lnTo>
                    <a:pt x="248" y="72"/>
                  </a:lnTo>
                  <a:lnTo>
                    <a:pt x="248" y="72"/>
                  </a:lnTo>
                  <a:lnTo>
                    <a:pt x="248" y="69"/>
                  </a:lnTo>
                  <a:lnTo>
                    <a:pt x="248" y="66"/>
                  </a:lnTo>
                  <a:lnTo>
                    <a:pt x="248" y="66"/>
                  </a:lnTo>
                  <a:lnTo>
                    <a:pt x="248" y="58"/>
                  </a:lnTo>
                  <a:lnTo>
                    <a:pt x="243" y="45"/>
                  </a:lnTo>
                  <a:lnTo>
                    <a:pt x="238" y="32"/>
                  </a:lnTo>
                  <a:lnTo>
                    <a:pt x="238" y="29"/>
                  </a:lnTo>
                  <a:lnTo>
                    <a:pt x="238" y="26"/>
                  </a:lnTo>
                  <a:lnTo>
                    <a:pt x="238" y="21"/>
                  </a:lnTo>
                  <a:lnTo>
                    <a:pt x="235" y="18"/>
                  </a:lnTo>
                  <a:lnTo>
                    <a:pt x="235" y="16"/>
                  </a:lnTo>
                  <a:lnTo>
                    <a:pt x="235" y="10"/>
                  </a:lnTo>
                  <a:lnTo>
                    <a:pt x="232" y="8"/>
                  </a:lnTo>
                  <a:lnTo>
                    <a:pt x="232" y="5"/>
                  </a:lnTo>
                  <a:lnTo>
                    <a:pt x="224" y="2"/>
                  </a:lnTo>
                  <a:lnTo>
                    <a:pt x="219" y="2"/>
                  </a:lnTo>
                  <a:lnTo>
                    <a:pt x="206" y="2"/>
                  </a:lnTo>
                  <a:lnTo>
                    <a:pt x="200" y="0"/>
                  </a:lnTo>
                  <a:lnTo>
                    <a:pt x="200" y="8"/>
                  </a:lnTo>
                  <a:lnTo>
                    <a:pt x="203" y="18"/>
                  </a:lnTo>
                  <a:lnTo>
                    <a:pt x="203" y="34"/>
                  </a:lnTo>
                  <a:lnTo>
                    <a:pt x="203" y="48"/>
                  </a:lnTo>
                  <a:lnTo>
                    <a:pt x="203" y="50"/>
                  </a:lnTo>
                  <a:lnTo>
                    <a:pt x="203" y="50"/>
                  </a:lnTo>
                  <a:lnTo>
                    <a:pt x="200" y="50"/>
                  </a:lnTo>
                  <a:lnTo>
                    <a:pt x="179" y="50"/>
                  </a:lnTo>
                  <a:lnTo>
                    <a:pt x="158" y="53"/>
                  </a:lnTo>
                  <a:lnTo>
                    <a:pt x="136" y="53"/>
                  </a:lnTo>
                  <a:lnTo>
                    <a:pt x="115" y="53"/>
                  </a:lnTo>
                  <a:lnTo>
                    <a:pt x="94" y="56"/>
                  </a:lnTo>
                  <a:lnTo>
                    <a:pt x="72" y="56"/>
                  </a:lnTo>
                  <a:lnTo>
                    <a:pt x="51" y="56"/>
                  </a:lnTo>
                  <a:lnTo>
                    <a:pt x="30" y="56"/>
                  </a:lnTo>
                  <a:lnTo>
                    <a:pt x="8" y="58"/>
                  </a:lnTo>
                  <a:lnTo>
                    <a:pt x="0" y="58"/>
                  </a:lnTo>
                  <a:lnTo>
                    <a:pt x="0" y="58"/>
                  </a:lnTo>
                  <a:lnTo>
                    <a:pt x="0" y="61"/>
                  </a:lnTo>
                  <a:lnTo>
                    <a:pt x="0" y="64"/>
                  </a:lnTo>
                  <a:lnTo>
                    <a:pt x="3" y="64"/>
                  </a:lnTo>
                  <a:lnTo>
                    <a:pt x="3" y="66"/>
                  </a:lnTo>
                  <a:lnTo>
                    <a:pt x="3" y="69"/>
                  </a:lnTo>
                  <a:lnTo>
                    <a:pt x="3" y="69"/>
                  </a:lnTo>
                  <a:lnTo>
                    <a:pt x="6" y="72"/>
                  </a:lnTo>
                  <a:lnTo>
                    <a:pt x="6" y="72"/>
                  </a:lnTo>
                  <a:lnTo>
                    <a:pt x="6" y="77"/>
                  </a:lnTo>
                  <a:lnTo>
                    <a:pt x="8" y="85"/>
                  </a:lnTo>
                  <a:lnTo>
                    <a:pt x="11" y="91"/>
                  </a:lnTo>
                  <a:lnTo>
                    <a:pt x="11" y="91"/>
                  </a:lnTo>
                  <a:lnTo>
                    <a:pt x="14" y="96"/>
                  </a:lnTo>
                  <a:lnTo>
                    <a:pt x="14" y="104"/>
                  </a:lnTo>
                  <a:lnTo>
                    <a:pt x="14" y="107"/>
                  </a:lnTo>
                  <a:lnTo>
                    <a:pt x="11" y="112"/>
                  </a:lnTo>
                  <a:lnTo>
                    <a:pt x="8" y="117"/>
                  </a:lnTo>
                  <a:lnTo>
                    <a:pt x="11" y="125"/>
                  </a:lnTo>
                  <a:lnTo>
                    <a:pt x="11" y="131"/>
                  </a:lnTo>
                  <a:lnTo>
                    <a:pt x="14" y="133"/>
                  </a:lnTo>
                  <a:lnTo>
                    <a:pt x="14" y="133"/>
                  </a:lnTo>
                  <a:lnTo>
                    <a:pt x="14" y="136"/>
                  </a:lnTo>
                  <a:lnTo>
                    <a:pt x="11" y="139"/>
                  </a:lnTo>
                  <a:lnTo>
                    <a:pt x="11" y="139"/>
                  </a:lnTo>
                  <a:lnTo>
                    <a:pt x="14" y="149"/>
                  </a:lnTo>
                  <a:lnTo>
                    <a:pt x="14" y="149"/>
                  </a:lnTo>
                  <a:lnTo>
                    <a:pt x="14" y="152"/>
                  </a:lnTo>
                  <a:lnTo>
                    <a:pt x="14" y="160"/>
                  </a:lnTo>
                  <a:lnTo>
                    <a:pt x="14" y="168"/>
                  </a:lnTo>
                  <a:lnTo>
                    <a:pt x="14" y="171"/>
                  </a:lnTo>
                  <a:lnTo>
                    <a:pt x="16" y="176"/>
                  </a:lnTo>
                  <a:lnTo>
                    <a:pt x="22" y="187"/>
                  </a:lnTo>
                  <a:lnTo>
                    <a:pt x="22" y="192"/>
                  </a:lnTo>
                  <a:lnTo>
                    <a:pt x="24" y="195"/>
                  </a:lnTo>
                  <a:lnTo>
                    <a:pt x="27" y="200"/>
                  </a:lnTo>
                  <a:lnTo>
                    <a:pt x="24" y="203"/>
                  </a:lnTo>
                  <a:lnTo>
                    <a:pt x="27" y="205"/>
                  </a:lnTo>
                  <a:lnTo>
                    <a:pt x="30" y="213"/>
                  </a:lnTo>
                  <a:lnTo>
                    <a:pt x="30" y="213"/>
                  </a:lnTo>
                  <a:lnTo>
                    <a:pt x="27" y="213"/>
                  </a:lnTo>
                  <a:lnTo>
                    <a:pt x="27" y="213"/>
                  </a:lnTo>
                  <a:lnTo>
                    <a:pt x="30" y="216"/>
                  </a:lnTo>
                  <a:lnTo>
                    <a:pt x="30" y="216"/>
                  </a:lnTo>
                  <a:lnTo>
                    <a:pt x="30" y="216"/>
                  </a:lnTo>
                  <a:lnTo>
                    <a:pt x="30" y="216"/>
                  </a:lnTo>
                  <a:lnTo>
                    <a:pt x="30" y="216"/>
                  </a:lnTo>
                  <a:lnTo>
                    <a:pt x="32" y="219"/>
                  </a:lnTo>
                  <a:lnTo>
                    <a:pt x="32" y="221"/>
                  </a:lnTo>
                  <a:lnTo>
                    <a:pt x="35" y="224"/>
                  </a:lnTo>
                  <a:lnTo>
                    <a:pt x="35" y="227"/>
                  </a:lnTo>
                  <a:lnTo>
                    <a:pt x="38" y="229"/>
                  </a:lnTo>
                  <a:lnTo>
                    <a:pt x="38" y="232"/>
                  </a:lnTo>
                  <a:lnTo>
                    <a:pt x="40" y="237"/>
                  </a:lnTo>
                  <a:lnTo>
                    <a:pt x="40" y="240"/>
                  </a:lnTo>
                  <a:lnTo>
                    <a:pt x="43" y="243"/>
                  </a:lnTo>
                  <a:lnTo>
                    <a:pt x="43" y="243"/>
                  </a:lnTo>
                  <a:lnTo>
                    <a:pt x="43" y="243"/>
                  </a:lnTo>
                  <a:lnTo>
                    <a:pt x="43" y="243"/>
                  </a:lnTo>
                  <a:lnTo>
                    <a:pt x="43" y="245"/>
                  </a:lnTo>
                  <a:lnTo>
                    <a:pt x="43" y="245"/>
                  </a:lnTo>
                  <a:lnTo>
                    <a:pt x="43" y="248"/>
                  </a:lnTo>
                  <a:lnTo>
                    <a:pt x="43" y="251"/>
                  </a:lnTo>
                  <a:lnTo>
                    <a:pt x="43" y="254"/>
                  </a:lnTo>
                  <a:lnTo>
                    <a:pt x="43" y="256"/>
                  </a:lnTo>
                  <a:lnTo>
                    <a:pt x="43" y="256"/>
                  </a:lnTo>
                  <a:lnTo>
                    <a:pt x="43" y="264"/>
                  </a:lnTo>
                  <a:lnTo>
                    <a:pt x="43" y="267"/>
                  </a:lnTo>
                  <a:lnTo>
                    <a:pt x="43" y="267"/>
                  </a:lnTo>
                  <a:lnTo>
                    <a:pt x="43" y="270"/>
                  </a:lnTo>
                  <a:lnTo>
                    <a:pt x="43" y="270"/>
                  </a:lnTo>
                  <a:lnTo>
                    <a:pt x="46" y="272"/>
                  </a:lnTo>
                  <a:lnTo>
                    <a:pt x="46" y="288"/>
                  </a:lnTo>
                  <a:lnTo>
                    <a:pt x="46" y="291"/>
                  </a:lnTo>
                  <a:lnTo>
                    <a:pt x="46" y="299"/>
                  </a:lnTo>
                  <a:lnTo>
                    <a:pt x="46" y="302"/>
                  </a:lnTo>
                  <a:lnTo>
                    <a:pt x="46" y="302"/>
                  </a:lnTo>
                  <a:lnTo>
                    <a:pt x="46" y="302"/>
                  </a:lnTo>
                  <a:lnTo>
                    <a:pt x="46" y="304"/>
                  </a:lnTo>
                  <a:lnTo>
                    <a:pt x="46" y="307"/>
                  </a:lnTo>
                  <a:lnTo>
                    <a:pt x="48" y="312"/>
                  </a:lnTo>
                  <a:lnTo>
                    <a:pt x="48" y="315"/>
                  </a:lnTo>
                  <a:lnTo>
                    <a:pt x="48" y="323"/>
                  </a:lnTo>
                  <a:lnTo>
                    <a:pt x="48" y="326"/>
                  </a:lnTo>
                  <a:lnTo>
                    <a:pt x="48" y="326"/>
                  </a:lnTo>
                  <a:lnTo>
                    <a:pt x="51" y="328"/>
                  </a:lnTo>
                  <a:lnTo>
                    <a:pt x="51" y="328"/>
                  </a:lnTo>
                  <a:lnTo>
                    <a:pt x="51" y="331"/>
                  </a:lnTo>
                  <a:lnTo>
                    <a:pt x="51" y="331"/>
                  </a:lnTo>
                  <a:lnTo>
                    <a:pt x="51" y="331"/>
                  </a:lnTo>
                  <a:lnTo>
                    <a:pt x="51" y="331"/>
                  </a:lnTo>
                  <a:lnTo>
                    <a:pt x="54" y="331"/>
                  </a:lnTo>
                  <a:lnTo>
                    <a:pt x="54" y="331"/>
                  </a:lnTo>
                  <a:lnTo>
                    <a:pt x="54" y="334"/>
                  </a:lnTo>
                  <a:lnTo>
                    <a:pt x="54" y="334"/>
                  </a:lnTo>
                  <a:lnTo>
                    <a:pt x="54" y="334"/>
                  </a:lnTo>
                  <a:lnTo>
                    <a:pt x="54" y="334"/>
                  </a:lnTo>
                  <a:lnTo>
                    <a:pt x="54" y="336"/>
                  </a:lnTo>
                  <a:lnTo>
                    <a:pt x="54" y="339"/>
                  </a:lnTo>
                  <a:lnTo>
                    <a:pt x="51" y="339"/>
                  </a:lnTo>
                  <a:lnTo>
                    <a:pt x="54" y="344"/>
                  </a:lnTo>
                  <a:lnTo>
                    <a:pt x="51" y="347"/>
                  </a:lnTo>
                  <a:lnTo>
                    <a:pt x="51" y="347"/>
                  </a:lnTo>
                  <a:lnTo>
                    <a:pt x="51" y="350"/>
                  </a:lnTo>
                  <a:lnTo>
                    <a:pt x="51" y="350"/>
                  </a:lnTo>
                  <a:lnTo>
                    <a:pt x="51" y="352"/>
                  </a:lnTo>
                  <a:lnTo>
                    <a:pt x="54" y="358"/>
                  </a:lnTo>
                  <a:lnTo>
                    <a:pt x="54" y="360"/>
                  </a:lnTo>
                  <a:lnTo>
                    <a:pt x="54" y="363"/>
                  </a:lnTo>
                  <a:lnTo>
                    <a:pt x="51" y="368"/>
                  </a:lnTo>
                  <a:lnTo>
                    <a:pt x="51" y="371"/>
                  </a:lnTo>
                  <a:lnTo>
                    <a:pt x="54" y="374"/>
                  </a:lnTo>
                  <a:lnTo>
                    <a:pt x="56" y="376"/>
                  </a:lnTo>
                  <a:lnTo>
                    <a:pt x="56" y="379"/>
                  </a:lnTo>
                  <a:lnTo>
                    <a:pt x="59" y="384"/>
                  </a:lnTo>
                  <a:lnTo>
                    <a:pt x="59" y="387"/>
                  </a:lnTo>
                  <a:lnTo>
                    <a:pt x="59" y="390"/>
                  </a:lnTo>
                  <a:lnTo>
                    <a:pt x="59" y="392"/>
                  </a:lnTo>
                  <a:lnTo>
                    <a:pt x="59" y="392"/>
                  </a:lnTo>
                  <a:lnTo>
                    <a:pt x="62" y="395"/>
                  </a:lnTo>
                  <a:lnTo>
                    <a:pt x="62" y="395"/>
                  </a:lnTo>
                  <a:lnTo>
                    <a:pt x="62" y="395"/>
                  </a:lnTo>
                  <a:lnTo>
                    <a:pt x="62" y="398"/>
                  </a:lnTo>
                  <a:lnTo>
                    <a:pt x="62" y="400"/>
                  </a:lnTo>
                  <a:lnTo>
                    <a:pt x="67" y="408"/>
                  </a:lnTo>
                  <a:lnTo>
                    <a:pt x="72" y="411"/>
                  </a:lnTo>
                  <a:lnTo>
                    <a:pt x="72" y="414"/>
                  </a:lnTo>
                  <a:lnTo>
                    <a:pt x="75" y="416"/>
                  </a:lnTo>
                  <a:lnTo>
                    <a:pt x="75" y="424"/>
                  </a:lnTo>
                  <a:lnTo>
                    <a:pt x="75" y="427"/>
                  </a:lnTo>
                  <a:lnTo>
                    <a:pt x="75" y="430"/>
                  </a:lnTo>
                  <a:lnTo>
                    <a:pt x="75" y="430"/>
                  </a:lnTo>
                  <a:lnTo>
                    <a:pt x="78" y="435"/>
                  </a:lnTo>
                  <a:lnTo>
                    <a:pt x="78" y="435"/>
                  </a:lnTo>
                  <a:lnTo>
                    <a:pt x="78" y="435"/>
                  </a:lnTo>
                  <a:lnTo>
                    <a:pt x="78" y="438"/>
                  </a:lnTo>
                  <a:lnTo>
                    <a:pt x="78" y="438"/>
                  </a:lnTo>
                  <a:lnTo>
                    <a:pt x="78" y="443"/>
                  </a:lnTo>
                  <a:lnTo>
                    <a:pt x="78" y="446"/>
                  </a:lnTo>
                  <a:lnTo>
                    <a:pt x="78" y="449"/>
                  </a:lnTo>
                  <a:lnTo>
                    <a:pt x="78" y="451"/>
                  </a:lnTo>
                  <a:lnTo>
                    <a:pt x="78" y="457"/>
                  </a:lnTo>
                  <a:lnTo>
                    <a:pt x="80" y="465"/>
                  </a:lnTo>
                  <a:lnTo>
                    <a:pt x="78" y="467"/>
                  </a:lnTo>
                  <a:lnTo>
                    <a:pt x="78" y="467"/>
                  </a:lnTo>
                  <a:lnTo>
                    <a:pt x="78" y="467"/>
                  </a:lnTo>
                  <a:lnTo>
                    <a:pt x="78" y="470"/>
                  </a:lnTo>
                  <a:lnTo>
                    <a:pt x="78" y="478"/>
                  </a:lnTo>
                  <a:lnTo>
                    <a:pt x="78" y="481"/>
                  </a:lnTo>
                  <a:lnTo>
                    <a:pt x="75" y="483"/>
                  </a:lnTo>
                  <a:lnTo>
                    <a:pt x="72" y="489"/>
                  </a:lnTo>
                  <a:lnTo>
                    <a:pt x="72" y="491"/>
                  </a:lnTo>
                  <a:lnTo>
                    <a:pt x="70" y="491"/>
                  </a:lnTo>
                  <a:lnTo>
                    <a:pt x="70" y="491"/>
                  </a:lnTo>
                  <a:lnTo>
                    <a:pt x="67" y="494"/>
                  </a:lnTo>
                  <a:lnTo>
                    <a:pt x="59" y="499"/>
                  </a:lnTo>
                  <a:lnTo>
                    <a:pt x="59" y="499"/>
                  </a:lnTo>
                  <a:lnTo>
                    <a:pt x="56" y="502"/>
                  </a:lnTo>
                  <a:lnTo>
                    <a:pt x="54" y="505"/>
                  </a:lnTo>
                  <a:lnTo>
                    <a:pt x="51" y="507"/>
                  </a:lnTo>
                  <a:lnTo>
                    <a:pt x="51" y="507"/>
                  </a:lnTo>
                  <a:lnTo>
                    <a:pt x="51" y="510"/>
                  </a:lnTo>
                  <a:lnTo>
                    <a:pt x="48" y="513"/>
                  </a:lnTo>
                  <a:lnTo>
                    <a:pt x="51" y="515"/>
                  </a:lnTo>
                  <a:lnTo>
                    <a:pt x="56" y="521"/>
                  </a:lnTo>
                  <a:lnTo>
                    <a:pt x="59" y="523"/>
                  </a:lnTo>
                  <a:lnTo>
                    <a:pt x="64" y="531"/>
                  </a:lnTo>
                  <a:lnTo>
                    <a:pt x="67" y="537"/>
                  </a:lnTo>
                  <a:lnTo>
                    <a:pt x="67" y="539"/>
                  </a:lnTo>
                  <a:lnTo>
                    <a:pt x="75" y="539"/>
                  </a:lnTo>
                  <a:lnTo>
                    <a:pt x="80" y="539"/>
                  </a:lnTo>
                  <a:lnTo>
                    <a:pt x="83" y="542"/>
                  </a:lnTo>
                  <a:lnTo>
                    <a:pt x="86" y="542"/>
                  </a:lnTo>
                  <a:lnTo>
                    <a:pt x="88" y="545"/>
                  </a:lnTo>
                  <a:lnTo>
                    <a:pt x="88" y="545"/>
                  </a:lnTo>
                  <a:lnTo>
                    <a:pt x="91" y="550"/>
                  </a:lnTo>
                  <a:lnTo>
                    <a:pt x="91" y="553"/>
                  </a:lnTo>
                  <a:lnTo>
                    <a:pt x="94" y="553"/>
                  </a:lnTo>
                  <a:lnTo>
                    <a:pt x="94" y="553"/>
                  </a:lnTo>
                  <a:lnTo>
                    <a:pt x="94" y="558"/>
                  </a:lnTo>
                  <a:lnTo>
                    <a:pt x="94" y="587"/>
                  </a:lnTo>
                  <a:lnTo>
                    <a:pt x="94" y="617"/>
                  </a:lnTo>
                  <a:lnTo>
                    <a:pt x="96" y="649"/>
                  </a:lnTo>
                  <a:lnTo>
                    <a:pt x="96" y="678"/>
                  </a:lnTo>
                  <a:lnTo>
                    <a:pt x="96" y="708"/>
                  </a:lnTo>
                  <a:lnTo>
                    <a:pt x="99" y="737"/>
                  </a:lnTo>
                  <a:lnTo>
                    <a:pt x="99" y="769"/>
                  </a:lnTo>
                  <a:lnTo>
                    <a:pt x="102" y="799"/>
                  </a:lnTo>
                  <a:lnTo>
                    <a:pt x="134" y="799"/>
                  </a:lnTo>
                  <a:lnTo>
                    <a:pt x="168" y="796"/>
                  </a:lnTo>
                  <a:lnTo>
                    <a:pt x="203" y="796"/>
                  </a:lnTo>
                  <a:lnTo>
                    <a:pt x="238" y="793"/>
                  </a:lnTo>
                  <a:lnTo>
                    <a:pt x="270" y="791"/>
                  </a:lnTo>
                  <a:lnTo>
                    <a:pt x="305" y="791"/>
                  </a:lnTo>
                  <a:lnTo>
                    <a:pt x="339" y="788"/>
                  </a:lnTo>
                  <a:lnTo>
                    <a:pt x="374" y="785"/>
                  </a:lnTo>
                  <a:lnTo>
                    <a:pt x="406" y="785"/>
                  </a:lnTo>
                  <a:lnTo>
                    <a:pt x="441" y="783"/>
                  </a:lnTo>
                  <a:lnTo>
                    <a:pt x="475" y="780"/>
                  </a:lnTo>
                  <a:lnTo>
                    <a:pt x="510" y="777"/>
                  </a:lnTo>
                  <a:lnTo>
                    <a:pt x="542" y="774"/>
                  </a:lnTo>
                  <a:lnTo>
                    <a:pt x="577" y="774"/>
                  </a:lnTo>
                  <a:lnTo>
                    <a:pt x="611" y="772"/>
                  </a:lnTo>
                  <a:lnTo>
                    <a:pt x="646" y="769"/>
                  </a:lnTo>
                  <a:lnTo>
                    <a:pt x="646" y="764"/>
                  </a:lnTo>
                  <a:lnTo>
                    <a:pt x="646" y="764"/>
                  </a:lnTo>
                  <a:lnTo>
                    <a:pt x="646" y="761"/>
                  </a:lnTo>
                  <a:lnTo>
                    <a:pt x="643" y="758"/>
                  </a:lnTo>
                  <a:lnTo>
                    <a:pt x="643" y="756"/>
                  </a:lnTo>
                  <a:lnTo>
                    <a:pt x="643" y="750"/>
                  </a:lnTo>
                  <a:lnTo>
                    <a:pt x="643" y="750"/>
                  </a:lnTo>
                  <a:lnTo>
                    <a:pt x="643" y="748"/>
                  </a:lnTo>
                  <a:lnTo>
                    <a:pt x="643" y="745"/>
                  </a:lnTo>
                  <a:lnTo>
                    <a:pt x="643" y="737"/>
                  </a:lnTo>
                  <a:lnTo>
                    <a:pt x="643" y="734"/>
                  </a:lnTo>
                  <a:lnTo>
                    <a:pt x="643" y="732"/>
                  </a:lnTo>
                  <a:lnTo>
                    <a:pt x="643" y="732"/>
                  </a:lnTo>
                  <a:lnTo>
                    <a:pt x="641" y="729"/>
                  </a:lnTo>
                  <a:lnTo>
                    <a:pt x="641" y="729"/>
                  </a:lnTo>
                  <a:lnTo>
                    <a:pt x="638" y="729"/>
                  </a:lnTo>
                  <a:lnTo>
                    <a:pt x="638" y="726"/>
                  </a:lnTo>
                  <a:lnTo>
                    <a:pt x="638" y="726"/>
                  </a:lnTo>
                  <a:lnTo>
                    <a:pt x="638" y="724"/>
                  </a:lnTo>
                  <a:lnTo>
                    <a:pt x="638" y="721"/>
                  </a:lnTo>
                  <a:lnTo>
                    <a:pt x="638" y="718"/>
                  </a:lnTo>
                  <a:lnTo>
                    <a:pt x="638" y="713"/>
                  </a:lnTo>
                  <a:lnTo>
                    <a:pt x="635" y="713"/>
                  </a:lnTo>
                  <a:lnTo>
                    <a:pt x="635" y="710"/>
                  </a:lnTo>
                  <a:lnTo>
                    <a:pt x="635" y="710"/>
                  </a:lnTo>
                  <a:lnTo>
                    <a:pt x="633" y="710"/>
                  </a:lnTo>
                  <a:lnTo>
                    <a:pt x="627" y="708"/>
                  </a:lnTo>
                  <a:lnTo>
                    <a:pt x="627" y="708"/>
                  </a:lnTo>
                  <a:lnTo>
                    <a:pt x="625" y="705"/>
                  </a:lnTo>
                  <a:lnTo>
                    <a:pt x="625" y="702"/>
                  </a:lnTo>
                  <a:lnTo>
                    <a:pt x="625" y="700"/>
                  </a:lnTo>
                  <a:lnTo>
                    <a:pt x="625" y="700"/>
                  </a:lnTo>
                  <a:lnTo>
                    <a:pt x="622" y="700"/>
                  </a:lnTo>
                  <a:lnTo>
                    <a:pt x="622" y="700"/>
                  </a:lnTo>
                  <a:lnTo>
                    <a:pt x="622" y="697"/>
                  </a:lnTo>
                  <a:lnTo>
                    <a:pt x="617" y="697"/>
                  </a:lnTo>
                  <a:lnTo>
                    <a:pt x="617" y="697"/>
                  </a:lnTo>
                  <a:lnTo>
                    <a:pt x="617" y="697"/>
                  </a:lnTo>
                  <a:lnTo>
                    <a:pt x="609" y="694"/>
                  </a:lnTo>
                  <a:lnTo>
                    <a:pt x="609" y="694"/>
                  </a:lnTo>
                  <a:lnTo>
                    <a:pt x="598" y="694"/>
                  </a:lnTo>
                  <a:lnTo>
                    <a:pt x="598" y="694"/>
                  </a:lnTo>
                  <a:lnTo>
                    <a:pt x="595" y="694"/>
                  </a:lnTo>
                  <a:lnTo>
                    <a:pt x="582" y="684"/>
                  </a:lnTo>
                  <a:lnTo>
                    <a:pt x="579" y="681"/>
                  </a:lnTo>
                  <a:lnTo>
                    <a:pt x="577" y="678"/>
                  </a:lnTo>
                  <a:lnTo>
                    <a:pt x="569" y="665"/>
                  </a:lnTo>
                  <a:lnTo>
                    <a:pt x="563" y="660"/>
                  </a:lnTo>
                  <a:lnTo>
                    <a:pt x="547" y="646"/>
                  </a:lnTo>
                  <a:lnTo>
                    <a:pt x="542" y="646"/>
                  </a:lnTo>
                  <a:lnTo>
                    <a:pt x="529" y="644"/>
                  </a:lnTo>
                  <a:lnTo>
                    <a:pt x="529" y="644"/>
                  </a:lnTo>
                  <a:lnTo>
                    <a:pt x="526" y="644"/>
                  </a:lnTo>
                  <a:lnTo>
                    <a:pt x="526" y="641"/>
                  </a:lnTo>
                  <a:lnTo>
                    <a:pt x="523" y="636"/>
                  </a:lnTo>
                  <a:lnTo>
                    <a:pt x="518" y="633"/>
                  </a:lnTo>
                  <a:lnTo>
                    <a:pt x="515" y="630"/>
                  </a:lnTo>
                  <a:lnTo>
                    <a:pt x="513" y="628"/>
                  </a:lnTo>
                  <a:lnTo>
                    <a:pt x="497" y="628"/>
                  </a:lnTo>
                  <a:lnTo>
                    <a:pt x="491" y="625"/>
                  </a:lnTo>
                  <a:lnTo>
                    <a:pt x="491" y="625"/>
                  </a:lnTo>
                  <a:lnTo>
                    <a:pt x="489" y="622"/>
                  </a:lnTo>
                  <a:lnTo>
                    <a:pt x="489" y="622"/>
                  </a:lnTo>
                  <a:lnTo>
                    <a:pt x="486" y="620"/>
                  </a:lnTo>
                  <a:lnTo>
                    <a:pt x="478" y="614"/>
                  </a:lnTo>
                  <a:lnTo>
                    <a:pt x="473" y="612"/>
                  </a:lnTo>
                  <a:lnTo>
                    <a:pt x="470" y="609"/>
                  </a:lnTo>
                  <a:lnTo>
                    <a:pt x="473" y="598"/>
                  </a:lnTo>
                  <a:lnTo>
                    <a:pt x="473" y="595"/>
                  </a:lnTo>
                  <a:lnTo>
                    <a:pt x="473" y="593"/>
                  </a:lnTo>
                  <a:lnTo>
                    <a:pt x="473" y="590"/>
                  </a:lnTo>
                  <a:lnTo>
                    <a:pt x="473" y="587"/>
                  </a:lnTo>
                  <a:lnTo>
                    <a:pt x="475" y="585"/>
                  </a:lnTo>
                  <a:lnTo>
                    <a:pt x="475" y="585"/>
                  </a:lnTo>
                  <a:lnTo>
                    <a:pt x="473" y="579"/>
                  </a:lnTo>
                  <a:lnTo>
                    <a:pt x="473" y="574"/>
                  </a:lnTo>
                  <a:lnTo>
                    <a:pt x="470" y="566"/>
                  </a:lnTo>
                  <a:lnTo>
                    <a:pt x="470" y="563"/>
                  </a:lnTo>
                  <a:lnTo>
                    <a:pt x="470" y="563"/>
                  </a:lnTo>
                  <a:lnTo>
                    <a:pt x="473" y="561"/>
                  </a:lnTo>
                  <a:lnTo>
                    <a:pt x="473" y="561"/>
                  </a:lnTo>
                  <a:lnTo>
                    <a:pt x="473" y="558"/>
                  </a:lnTo>
                  <a:lnTo>
                    <a:pt x="473" y="555"/>
                  </a:lnTo>
                  <a:lnTo>
                    <a:pt x="470" y="550"/>
                  </a:lnTo>
                  <a:lnTo>
                    <a:pt x="470" y="550"/>
                  </a:lnTo>
                  <a:lnTo>
                    <a:pt x="470" y="547"/>
                  </a:lnTo>
                  <a:lnTo>
                    <a:pt x="473" y="545"/>
                  </a:lnTo>
                  <a:lnTo>
                    <a:pt x="470" y="539"/>
                  </a:lnTo>
                  <a:lnTo>
                    <a:pt x="470" y="537"/>
                  </a:lnTo>
                  <a:lnTo>
                    <a:pt x="473" y="534"/>
                  </a:lnTo>
                  <a:lnTo>
                    <a:pt x="473" y="531"/>
                  </a:lnTo>
                  <a:lnTo>
                    <a:pt x="475" y="531"/>
                  </a:lnTo>
                  <a:lnTo>
                    <a:pt x="475" y="529"/>
                  </a:lnTo>
                  <a:lnTo>
                    <a:pt x="475" y="526"/>
                  </a:lnTo>
                  <a:lnTo>
                    <a:pt x="478" y="523"/>
                  </a:lnTo>
                  <a:lnTo>
                    <a:pt x="481" y="518"/>
                  </a:lnTo>
                  <a:lnTo>
                    <a:pt x="481" y="515"/>
                  </a:lnTo>
                  <a:lnTo>
                    <a:pt x="478" y="513"/>
                  </a:lnTo>
                  <a:lnTo>
                    <a:pt x="478" y="513"/>
                  </a:lnTo>
                  <a:lnTo>
                    <a:pt x="475" y="510"/>
                  </a:lnTo>
                  <a:lnTo>
                    <a:pt x="473" y="507"/>
                  </a:lnTo>
                  <a:lnTo>
                    <a:pt x="473" y="505"/>
                  </a:lnTo>
                  <a:lnTo>
                    <a:pt x="470" y="499"/>
                  </a:lnTo>
                  <a:lnTo>
                    <a:pt x="470" y="499"/>
                  </a:lnTo>
                  <a:lnTo>
                    <a:pt x="465" y="497"/>
                  </a:lnTo>
                  <a:lnTo>
                    <a:pt x="459" y="497"/>
                  </a:lnTo>
                  <a:lnTo>
                    <a:pt x="457" y="497"/>
                  </a:lnTo>
                  <a:lnTo>
                    <a:pt x="454" y="491"/>
                  </a:lnTo>
                  <a:lnTo>
                    <a:pt x="454" y="483"/>
                  </a:lnTo>
                  <a:lnTo>
                    <a:pt x="454" y="481"/>
                  </a:lnTo>
                  <a:lnTo>
                    <a:pt x="454" y="478"/>
                  </a:lnTo>
                  <a:lnTo>
                    <a:pt x="462" y="470"/>
                  </a:lnTo>
                  <a:lnTo>
                    <a:pt x="465" y="465"/>
                  </a:lnTo>
                  <a:lnTo>
                    <a:pt x="465" y="462"/>
                  </a:lnTo>
                  <a:lnTo>
                    <a:pt x="470" y="454"/>
                  </a:lnTo>
                  <a:lnTo>
                    <a:pt x="473" y="451"/>
                  </a:lnTo>
                  <a:lnTo>
                    <a:pt x="475" y="449"/>
                  </a:lnTo>
                  <a:lnTo>
                    <a:pt x="475" y="449"/>
                  </a:lnTo>
                  <a:lnTo>
                    <a:pt x="481" y="443"/>
                  </a:lnTo>
                  <a:lnTo>
                    <a:pt x="483" y="443"/>
                  </a:lnTo>
                  <a:lnTo>
                    <a:pt x="486" y="443"/>
                  </a:lnTo>
                  <a:lnTo>
                    <a:pt x="486" y="443"/>
                  </a:lnTo>
                  <a:lnTo>
                    <a:pt x="486" y="441"/>
                  </a:lnTo>
                  <a:lnTo>
                    <a:pt x="486" y="441"/>
                  </a:lnTo>
                  <a:lnTo>
                    <a:pt x="486" y="441"/>
                  </a:lnTo>
                  <a:lnTo>
                    <a:pt x="489" y="441"/>
                  </a:lnTo>
                  <a:lnTo>
                    <a:pt x="489" y="438"/>
                  </a:lnTo>
                  <a:lnTo>
                    <a:pt x="489" y="438"/>
                  </a:lnTo>
                  <a:lnTo>
                    <a:pt x="494" y="438"/>
                  </a:lnTo>
                  <a:lnTo>
                    <a:pt x="494" y="438"/>
                  </a:lnTo>
                  <a:lnTo>
                    <a:pt x="497" y="433"/>
                  </a:lnTo>
                  <a:lnTo>
                    <a:pt x="499" y="433"/>
                  </a:lnTo>
                  <a:lnTo>
                    <a:pt x="499" y="433"/>
                  </a:lnTo>
                  <a:lnTo>
                    <a:pt x="502" y="433"/>
                  </a:lnTo>
                  <a:lnTo>
                    <a:pt x="505" y="433"/>
                  </a:lnTo>
                  <a:lnTo>
                    <a:pt x="505" y="433"/>
                  </a:lnTo>
                  <a:lnTo>
                    <a:pt x="507" y="430"/>
                  </a:lnTo>
                  <a:lnTo>
                    <a:pt x="507" y="427"/>
                  </a:lnTo>
                  <a:lnTo>
                    <a:pt x="507" y="427"/>
                  </a:lnTo>
                  <a:lnTo>
                    <a:pt x="510" y="424"/>
                  </a:lnTo>
                  <a:lnTo>
                    <a:pt x="513" y="424"/>
                  </a:lnTo>
                  <a:lnTo>
                    <a:pt x="510" y="419"/>
                  </a:lnTo>
                  <a:lnTo>
                    <a:pt x="510" y="419"/>
                  </a:lnTo>
                  <a:lnTo>
                    <a:pt x="510" y="408"/>
                  </a:lnTo>
                  <a:lnTo>
                    <a:pt x="510" y="400"/>
                  </a:lnTo>
                  <a:lnTo>
                    <a:pt x="510" y="392"/>
                  </a:lnTo>
                  <a:lnTo>
                    <a:pt x="510" y="384"/>
                  </a:lnTo>
                  <a:lnTo>
                    <a:pt x="507" y="376"/>
                  </a:lnTo>
                  <a:lnTo>
                    <a:pt x="507" y="366"/>
                  </a:lnTo>
                  <a:lnTo>
                    <a:pt x="507" y="358"/>
                  </a:lnTo>
                  <a:lnTo>
                    <a:pt x="507" y="350"/>
                  </a:lnTo>
                  <a:lnTo>
                    <a:pt x="507" y="347"/>
                  </a:lnTo>
                  <a:lnTo>
                    <a:pt x="507" y="347"/>
                  </a:lnTo>
                  <a:lnTo>
                    <a:pt x="507" y="347"/>
                  </a:lnTo>
                  <a:lnTo>
                    <a:pt x="507" y="347"/>
                  </a:lnTo>
                  <a:lnTo>
                    <a:pt x="510" y="347"/>
                  </a:lnTo>
                  <a:lnTo>
                    <a:pt x="513" y="347"/>
                  </a:lnTo>
                  <a:lnTo>
                    <a:pt x="513" y="347"/>
                  </a:lnTo>
                  <a:lnTo>
                    <a:pt x="513" y="344"/>
                  </a:lnTo>
                  <a:lnTo>
                    <a:pt x="515" y="344"/>
                  </a:lnTo>
                  <a:lnTo>
                    <a:pt x="515" y="344"/>
                  </a:lnTo>
                  <a:lnTo>
                    <a:pt x="515" y="344"/>
                  </a:lnTo>
                  <a:lnTo>
                    <a:pt x="515" y="342"/>
                  </a:lnTo>
                  <a:lnTo>
                    <a:pt x="515" y="339"/>
                  </a:lnTo>
                  <a:lnTo>
                    <a:pt x="515" y="339"/>
                  </a:lnTo>
                  <a:lnTo>
                    <a:pt x="515" y="339"/>
                  </a:lnTo>
                  <a:lnTo>
                    <a:pt x="515" y="339"/>
                  </a:lnTo>
                  <a:lnTo>
                    <a:pt x="518" y="336"/>
                  </a:lnTo>
                  <a:lnTo>
                    <a:pt x="518" y="336"/>
                  </a:lnTo>
                  <a:lnTo>
                    <a:pt x="518" y="336"/>
                  </a:lnTo>
                  <a:lnTo>
                    <a:pt x="518" y="336"/>
                  </a:lnTo>
                  <a:lnTo>
                    <a:pt x="521" y="334"/>
                  </a:lnTo>
                  <a:lnTo>
                    <a:pt x="521" y="334"/>
                  </a:lnTo>
                  <a:lnTo>
                    <a:pt x="523" y="331"/>
                  </a:lnTo>
                  <a:lnTo>
                    <a:pt x="523" y="331"/>
                  </a:lnTo>
                  <a:lnTo>
                    <a:pt x="523" y="331"/>
                  </a:lnTo>
                  <a:lnTo>
                    <a:pt x="523" y="326"/>
                  </a:lnTo>
                  <a:lnTo>
                    <a:pt x="529" y="320"/>
                  </a:lnTo>
                  <a:lnTo>
                    <a:pt x="537" y="315"/>
                  </a:lnTo>
                  <a:lnTo>
                    <a:pt x="545" y="310"/>
                  </a:lnTo>
                  <a:lnTo>
                    <a:pt x="547" y="310"/>
                  </a:lnTo>
                  <a:lnTo>
                    <a:pt x="553" y="304"/>
                  </a:lnTo>
                  <a:lnTo>
                    <a:pt x="558" y="299"/>
                  </a:lnTo>
                  <a:lnTo>
                    <a:pt x="561" y="296"/>
                  </a:lnTo>
                  <a:lnTo>
                    <a:pt x="566" y="291"/>
                  </a:lnTo>
                  <a:lnTo>
                    <a:pt x="566" y="291"/>
                  </a:lnTo>
                  <a:lnTo>
                    <a:pt x="569" y="288"/>
                  </a:lnTo>
                  <a:lnTo>
                    <a:pt x="569" y="288"/>
                  </a:lnTo>
                  <a:lnTo>
                    <a:pt x="569" y="288"/>
                  </a:lnTo>
                  <a:lnTo>
                    <a:pt x="571" y="286"/>
                  </a:lnTo>
                  <a:lnTo>
                    <a:pt x="571" y="286"/>
                  </a:lnTo>
                  <a:lnTo>
                    <a:pt x="571" y="286"/>
                  </a:lnTo>
                  <a:lnTo>
                    <a:pt x="574" y="283"/>
                  </a:lnTo>
                  <a:lnTo>
                    <a:pt x="579" y="278"/>
                  </a:lnTo>
                  <a:lnTo>
                    <a:pt x="625" y="224"/>
                  </a:lnTo>
                  <a:lnTo>
                    <a:pt x="633" y="221"/>
                  </a:lnTo>
                  <a:lnTo>
                    <a:pt x="646" y="205"/>
                  </a:lnTo>
                  <a:lnTo>
                    <a:pt x="670" y="192"/>
                  </a:lnTo>
                  <a:lnTo>
                    <a:pt x="683" y="187"/>
                  </a:lnTo>
                  <a:lnTo>
                    <a:pt x="689" y="184"/>
                  </a:lnTo>
                  <a:lnTo>
                    <a:pt x="691" y="184"/>
                  </a:lnTo>
                  <a:lnTo>
                    <a:pt x="694" y="181"/>
                  </a:lnTo>
                  <a:lnTo>
                    <a:pt x="715" y="173"/>
                  </a:lnTo>
                  <a:lnTo>
                    <a:pt x="747" y="155"/>
                  </a:lnTo>
                  <a:lnTo>
                    <a:pt x="747" y="155"/>
                  </a:lnTo>
                  <a:lnTo>
                    <a:pt x="750" y="149"/>
                  </a:lnTo>
                  <a:lnTo>
                    <a:pt x="753" y="149"/>
                  </a:lnTo>
                  <a:lnTo>
                    <a:pt x="755" y="147"/>
                  </a:lnTo>
                  <a:lnTo>
                    <a:pt x="755" y="144"/>
                  </a:lnTo>
                  <a:lnTo>
                    <a:pt x="761" y="147"/>
                  </a:lnTo>
                  <a:lnTo>
                    <a:pt x="761" y="147"/>
                  </a:lnTo>
                  <a:lnTo>
                    <a:pt x="761" y="144"/>
                  </a:lnTo>
                  <a:lnTo>
                    <a:pt x="761" y="144"/>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36" name="Freeform 33">
              <a:extLst>
                <a:ext uri="{FF2B5EF4-FFF2-40B4-BE49-F238E27FC236}">
                  <a16:creationId xmlns="" xmlns:a16="http://schemas.microsoft.com/office/drawing/2014/main" id="{81D946D0-EE30-4721-B69E-0BB44752BD71}"/>
                </a:ext>
              </a:extLst>
            </p:cNvPr>
            <p:cNvSpPr>
              <a:spLocks noEditPoints="1"/>
            </p:cNvSpPr>
            <p:nvPr/>
          </p:nvSpPr>
          <p:spPr bwMode="auto">
            <a:xfrm>
              <a:off x="4614" y="331"/>
              <a:ext cx="878" cy="853"/>
            </a:xfrm>
            <a:custGeom>
              <a:avLst/>
              <a:gdLst>
                <a:gd name="T0" fmla="*/ 704 w 878"/>
                <a:gd name="T1" fmla="*/ 233 h 853"/>
                <a:gd name="T2" fmla="*/ 672 w 878"/>
                <a:gd name="T3" fmla="*/ 233 h 853"/>
                <a:gd name="T4" fmla="*/ 621 w 878"/>
                <a:gd name="T5" fmla="*/ 179 h 853"/>
                <a:gd name="T6" fmla="*/ 632 w 878"/>
                <a:gd name="T7" fmla="*/ 169 h 853"/>
                <a:gd name="T8" fmla="*/ 515 w 878"/>
                <a:gd name="T9" fmla="*/ 243 h 853"/>
                <a:gd name="T10" fmla="*/ 581 w 878"/>
                <a:gd name="T11" fmla="*/ 254 h 853"/>
                <a:gd name="T12" fmla="*/ 619 w 878"/>
                <a:gd name="T13" fmla="*/ 241 h 853"/>
                <a:gd name="T14" fmla="*/ 645 w 878"/>
                <a:gd name="T15" fmla="*/ 222 h 853"/>
                <a:gd name="T16" fmla="*/ 624 w 878"/>
                <a:gd name="T17" fmla="*/ 187 h 853"/>
                <a:gd name="T18" fmla="*/ 547 w 878"/>
                <a:gd name="T19" fmla="*/ 182 h 853"/>
                <a:gd name="T20" fmla="*/ 432 w 878"/>
                <a:gd name="T21" fmla="*/ 174 h 853"/>
                <a:gd name="T22" fmla="*/ 352 w 878"/>
                <a:gd name="T23" fmla="*/ 209 h 853"/>
                <a:gd name="T24" fmla="*/ 293 w 878"/>
                <a:gd name="T25" fmla="*/ 195 h 853"/>
                <a:gd name="T26" fmla="*/ 224 w 878"/>
                <a:gd name="T27" fmla="*/ 163 h 853"/>
                <a:gd name="T28" fmla="*/ 192 w 878"/>
                <a:gd name="T29" fmla="*/ 187 h 853"/>
                <a:gd name="T30" fmla="*/ 184 w 878"/>
                <a:gd name="T31" fmla="*/ 145 h 853"/>
                <a:gd name="T32" fmla="*/ 98 w 878"/>
                <a:gd name="T33" fmla="*/ 185 h 853"/>
                <a:gd name="T34" fmla="*/ 13 w 878"/>
                <a:gd name="T35" fmla="*/ 241 h 853"/>
                <a:gd name="T36" fmla="*/ 128 w 878"/>
                <a:gd name="T37" fmla="*/ 278 h 853"/>
                <a:gd name="T38" fmla="*/ 189 w 878"/>
                <a:gd name="T39" fmla="*/ 291 h 853"/>
                <a:gd name="T40" fmla="*/ 224 w 878"/>
                <a:gd name="T41" fmla="*/ 294 h 853"/>
                <a:gd name="T42" fmla="*/ 248 w 878"/>
                <a:gd name="T43" fmla="*/ 318 h 853"/>
                <a:gd name="T44" fmla="*/ 275 w 878"/>
                <a:gd name="T45" fmla="*/ 332 h 853"/>
                <a:gd name="T46" fmla="*/ 272 w 878"/>
                <a:gd name="T47" fmla="*/ 366 h 853"/>
                <a:gd name="T48" fmla="*/ 291 w 878"/>
                <a:gd name="T49" fmla="*/ 382 h 853"/>
                <a:gd name="T50" fmla="*/ 341 w 878"/>
                <a:gd name="T51" fmla="*/ 321 h 853"/>
                <a:gd name="T52" fmla="*/ 360 w 878"/>
                <a:gd name="T53" fmla="*/ 315 h 853"/>
                <a:gd name="T54" fmla="*/ 400 w 878"/>
                <a:gd name="T55" fmla="*/ 289 h 853"/>
                <a:gd name="T56" fmla="*/ 395 w 878"/>
                <a:gd name="T57" fmla="*/ 324 h 853"/>
                <a:gd name="T58" fmla="*/ 419 w 878"/>
                <a:gd name="T59" fmla="*/ 294 h 853"/>
                <a:gd name="T60" fmla="*/ 381 w 878"/>
                <a:gd name="T61" fmla="*/ 203 h 853"/>
                <a:gd name="T62" fmla="*/ 189 w 878"/>
                <a:gd name="T63" fmla="*/ 136 h 853"/>
                <a:gd name="T64" fmla="*/ 211 w 878"/>
                <a:gd name="T65" fmla="*/ 128 h 853"/>
                <a:gd name="T66" fmla="*/ 259 w 878"/>
                <a:gd name="T67" fmla="*/ 94 h 853"/>
                <a:gd name="T68" fmla="*/ 104 w 878"/>
                <a:gd name="T69" fmla="*/ 46 h 853"/>
                <a:gd name="T70" fmla="*/ 173 w 878"/>
                <a:gd name="T71" fmla="*/ 0 h 853"/>
                <a:gd name="T72" fmla="*/ 459 w 878"/>
                <a:gd name="T73" fmla="*/ 393 h 853"/>
                <a:gd name="T74" fmla="*/ 613 w 878"/>
                <a:gd name="T75" fmla="*/ 241 h 853"/>
                <a:gd name="T76" fmla="*/ 878 w 878"/>
                <a:gd name="T77" fmla="*/ 623 h 853"/>
                <a:gd name="T78" fmla="*/ 782 w 878"/>
                <a:gd name="T79" fmla="*/ 495 h 853"/>
                <a:gd name="T80" fmla="*/ 734 w 878"/>
                <a:gd name="T81" fmla="*/ 556 h 853"/>
                <a:gd name="T82" fmla="*/ 723 w 878"/>
                <a:gd name="T83" fmla="*/ 503 h 853"/>
                <a:gd name="T84" fmla="*/ 752 w 878"/>
                <a:gd name="T85" fmla="*/ 452 h 853"/>
                <a:gd name="T86" fmla="*/ 731 w 878"/>
                <a:gd name="T87" fmla="*/ 364 h 853"/>
                <a:gd name="T88" fmla="*/ 742 w 878"/>
                <a:gd name="T89" fmla="*/ 342 h 853"/>
                <a:gd name="T90" fmla="*/ 680 w 878"/>
                <a:gd name="T91" fmla="*/ 310 h 853"/>
                <a:gd name="T92" fmla="*/ 557 w 878"/>
                <a:gd name="T93" fmla="*/ 281 h 853"/>
                <a:gd name="T94" fmla="*/ 531 w 878"/>
                <a:gd name="T95" fmla="*/ 390 h 853"/>
                <a:gd name="T96" fmla="*/ 517 w 878"/>
                <a:gd name="T97" fmla="*/ 401 h 853"/>
                <a:gd name="T98" fmla="*/ 512 w 878"/>
                <a:gd name="T99" fmla="*/ 385 h 853"/>
                <a:gd name="T100" fmla="*/ 477 w 878"/>
                <a:gd name="T101" fmla="*/ 401 h 853"/>
                <a:gd name="T102" fmla="*/ 448 w 878"/>
                <a:gd name="T103" fmla="*/ 441 h 853"/>
                <a:gd name="T104" fmla="*/ 445 w 878"/>
                <a:gd name="T105" fmla="*/ 564 h 853"/>
                <a:gd name="T106" fmla="*/ 480 w 878"/>
                <a:gd name="T107" fmla="*/ 674 h 853"/>
                <a:gd name="T108" fmla="*/ 547 w 878"/>
                <a:gd name="T109" fmla="*/ 839 h 853"/>
                <a:gd name="T110" fmla="*/ 776 w 878"/>
                <a:gd name="T111" fmla="*/ 810 h 853"/>
                <a:gd name="T112" fmla="*/ 819 w 878"/>
                <a:gd name="T113" fmla="*/ 764 h 853"/>
                <a:gd name="T114" fmla="*/ 843 w 878"/>
                <a:gd name="T115" fmla="*/ 698 h 853"/>
                <a:gd name="T116" fmla="*/ 864 w 878"/>
                <a:gd name="T117" fmla="*/ 674 h 853"/>
                <a:gd name="T118" fmla="*/ 509 w 878"/>
                <a:gd name="T119" fmla="*/ 281 h 853"/>
                <a:gd name="T120" fmla="*/ 619 w 878"/>
                <a:gd name="T121" fmla="*/ 270 h 853"/>
                <a:gd name="T122" fmla="*/ 509 w 878"/>
                <a:gd name="T123" fmla="*/ 294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78" h="853">
                  <a:moveTo>
                    <a:pt x="667" y="238"/>
                  </a:moveTo>
                  <a:lnTo>
                    <a:pt x="667" y="238"/>
                  </a:lnTo>
                  <a:lnTo>
                    <a:pt x="667" y="238"/>
                  </a:lnTo>
                  <a:lnTo>
                    <a:pt x="667" y="235"/>
                  </a:lnTo>
                  <a:lnTo>
                    <a:pt x="669" y="235"/>
                  </a:lnTo>
                  <a:lnTo>
                    <a:pt x="669" y="235"/>
                  </a:lnTo>
                  <a:lnTo>
                    <a:pt x="669" y="238"/>
                  </a:lnTo>
                  <a:lnTo>
                    <a:pt x="672" y="238"/>
                  </a:lnTo>
                  <a:lnTo>
                    <a:pt x="675" y="238"/>
                  </a:lnTo>
                  <a:lnTo>
                    <a:pt x="675" y="241"/>
                  </a:lnTo>
                  <a:lnTo>
                    <a:pt x="675" y="241"/>
                  </a:lnTo>
                  <a:lnTo>
                    <a:pt x="675" y="241"/>
                  </a:lnTo>
                  <a:lnTo>
                    <a:pt x="678" y="241"/>
                  </a:lnTo>
                  <a:lnTo>
                    <a:pt x="678" y="241"/>
                  </a:lnTo>
                  <a:lnTo>
                    <a:pt x="680" y="238"/>
                  </a:lnTo>
                  <a:lnTo>
                    <a:pt x="683" y="241"/>
                  </a:lnTo>
                  <a:lnTo>
                    <a:pt x="683" y="241"/>
                  </a:lnTo>
                  <a:lnTo>
                    <a:pt x="686" y="241"/>
                  </a:lnTo>
                  <a:lnTo>
                    <a:pt x="686" y="241"/>
                  </a:lnTo>
                  <a:lnTo>
                    <a:pt x="688" y="238"/>
                  </a:lnTo>
                  <a:lnTo>
                    <a:pt x="688" y="238"/>
                  </a:lnTo>
                  <a:lnTo>
                    <a:pt x="694" y="238"/>
                  </a:lnTo>
                  <a:lnTo>
                    <a:pt x="696" y="241"/>
                  </a:lnTo>
                  <a:lnTo>
                    <a:pt x="699" y="241"/>
                  </a:lnTo>
                  <a:lnTo>
                    <a:pt x="702" y="238"/>
                  </a:lnTo>
                  <a:lnTo>
                    <a:pt x="704" y="238"/>
                  </a:lnTo>
                  <a:lnTo>
                    <a:pt x="704" y="233"/>
                  </a:lnTo>
                  <a:lnTo>
                    <a:pt x="704" y="233"/>
                  </a:lnTo>
                  <a:lnTo>
                    <a:pt x="707" y="230"/>
                  </a:lnTo>
                  <a:lnTo>
                    <a:pt x="707" y="227"/>
                  </a:lnTo>
                  <a:lnTo>
                    <a:pt x="704" y="227"/>
                  </a:lnTo>
                  <a:lnTo>
                    <a:pt x="702" y="227"/>
                  </a:lnTo>
                  <a:lnTo>
                    <a:pt x="699" y="225"/>
                  </a:lnTo>
                  <a:lnTo>
                    <a:pt x="699" y="222"/>
                  </a:lnTo>
                  <a:lnTo>
                    <a:pt x="696" y="219"/>
                  </a:lnTo>
                  <a:lnTo>
                    <a:pt x="694" y="219"/>
                  </a:lnTo>
                  <a:lnTo>
                    <a:pt x="691" y="217"/>
                  </a:lnTo>
                  <a:lnTo>
                    <a:pt x="683" y="217"/>
                  </a:lnTo>
                  <a:lnTo>
                    <a:pt x="680" y="217"/>
                  </a:lnTo>
                  <a:lnTo>
                    <a:pt x="680" y="219"/>
                  </a:lnTo>
                  <a:lnTo>
                    <a:pt x="683" y="219"/>
                  </a:lnTo>
                  <a:lnTo>
                    <a:pt x="683" y="222"/>
                  </a:lnTo>
                  <a:lnTo>
                    <a:pt x="686" y="222"/>
                  </a:lnTo>
                  <a:lnTo>
                    <a:pt x="686" y="222"/>
                  </a:lnTo>
                  <a:lnTo>
                    <a:pt x="686" y="222"/>
                  </a:lnTo>
                  <a:lnTo>
                    <a:pt x="686" y="225"/>
                  </a:lnTo>
                  <a:lnTo>
                    <a:pt x="686" y="225"/>
                  </a:lnTo>
                  <a:lnTo>
                    <a:pt x="683" y="225"/>
                  </a:lnTo>
                  <a:lnTo>
                    <a:pt x="683" y="227"/>
                  </a:lnTo>
                  <a:lnTo>
                    <a:pt x="680" y="227"/>
                  </a:lnTo>
                  <a:lnTo>
                    <a:pt x="678" y="230"/>
                  </a:lnTo>
                  <a:lnTo>
                    <a:pt x="678" y="230"/>
                  </a:lnTo>
                  <a:lnTo>
                    <a:pt x="675" y="230"/>
                  </a:lnTo>
                  <a:lnTo>
                    <a:pt x="675" y="233"/>
                  </a:lnTo>
                  <a:lnTo>
                    <a:pt x="675" y="233"/>
                  </a:lnTo>
                  <a:lnTo>
                    <a:pt x="672" y="233"/>
                  </a:lnTo>
                  <a:lnTo>
                    <a:pt x="669" y="230"/>
                  </a:lnTo>
                  <a:lnTo>
                    <a:pt x="667" y="230"/>
                  </a:lnTo>
                  <a:lnTo>
                    <a:pt x="667" y="233"/>
                  </a:lnTo>
                  <a:lnTo>
                    <a:pt x="667" y="235"/>
                  </a:lnTo>
                  <a:lnTo>
                    <a:pt x="667" y="238"/>
                  </a:lnTo>
                  <a:close/>
                  <a:moveTo>
                    <a:pt x="632" y="195"/>
                  </a:moveTo>
                  <a:lnTo>
                    <a:pt x="629" y="195"/>
                  </a:lnTo>
                  <a:lnTo>
                    <a:pt x="629" y="195"/>
                  </a:lnTo>
                  <a:lnTo>
                    <a:pt x="629" y="198"/>
                  </a:lnTo>
                  <a:lnTo>
                    <a:pt x="629" y="201"/>
                  </a:lnTo>
                  <a:lnTo>
                    <a:pt x="629" y="203"/>
                  </a:lnTo>
                  <a:lnTo>
                    <a:pt x="632" y="206"/>
                  </a:lnTo>
                  <a:lnTo>
                    <a:pt x="635" y="206"/>
                  </a:lnTo>
                  <a:lnTo>
                    <a:pt x="637" y="203"/>
                  </a:lnTo>
                  <a:lnTo>
                    <a:pt x="637" y="201"/>
                  </a:lnTo>
                  <a:lnTo>
                    <a:pt x="635" y="198"/>
                  </a:lnTo>
                  <a:lnTo>
                    <a:pt x="635" y="195"/>
                  </a:lnTo>
                  <a:lnTo>
                    <a:pt x="632" y="195"/>
                  </a:lnTo>
                  <a:close/>
                  <a:moveTo>
                    <a:pt x="819" y="738"/>
                  </a:moveTo>
                  <a:lnTo>
                    <a:pt x="819" y="740"/>
                  </a:lnTo>
                  <a:lnTo>
                    <a:pt x="819" y="748"/>
                  </a:lnTo>
                  <a:lnTo>
                    <a:pt x="819" y="751"/>
                  </a:lnTo>
                  <a:lnTo>
                    <a:pt x="819" y="754"/>
                  </a:lnTo>
                  <a:lnTo>
                    <a:pt x="822" y="751"/>
                  </a:lnTo>
                  <a:lnTo>
                    <a:pt x="822" y="746"/>
                  </a:lnTo>
                  <a:lnTo>
                    <a:pt x="819" y="738"/>
                  </a:lnTo>
                  <a:close/>
                  <a:moveTo>
                    <a:pt x="619" y="177"/>
                  </a:moveTo>
                  <a:lnTo>
                    <a:pt x="621" y="179"/>
                  </a:lnTo>
                  <a:lnTo>
                    <a:pt x="621" y="179"/>
                  </a:lnTo>
                  <a:lnTo>
                    <a:pt x="624" y="185"/>
                  </a:lnTo>
                  <a:lnTo>
                    <a:pt x="624" y="187"/>
                  </a:lnTo>
                  <a:lnTo>
                    <a:pt x="627" y="187"/>
                  </a:lnTo>
                  <a:lnTo>
                    <a:pt x="629" y="187"/>
                  </a:lnTo>
                  <a:lnTo>
                    <a:pt x="629" y="190"/>
                  </a:lnTo>
                  <a:lnTo>
                    <a:pt x="629" y="193"/>
                  </a:lnTo>
                  <a:lnTo>
                    <a:pt x="629" y="193"/>
                  </a:lnTo>
                  <a:lnTo>
                    <a:pt x="629" y="193"/>
                  </a:lnTo>
                  <a:lnTo>
                    <a:pt x="632" y="193"/>
                  </a:lnTo>
                  <a:lnTo>
                    <a:pt x="632" y="193"/>
                  </a:lnTo>
                  <a:lnTo>
                    <a:pt x="635" y="193"/>
                  </a:lnTo>
                  <a:lnTo>
                    <a:pt x="635" y="193"/>
                  </a:lnTo>
                  <a:lnTo>
                    <a:pt x="635" y="193"/>
                  </a:lnTo>
                  <a:lnTo>
                    <a:pt x="635" y="193"/>
                  </a:lnTo>
                  <a:lnTo>
                    <a:pt x="635" y="193"/>
                  </a:lnTo>
                  <a:lnTo>
                    <a:pt x="635" y="190"/>
                  </a:lnTo>
                  <a:lnTo>
                    <a:pt x="635" y="190"/>
                  </a:lnTo>
                  <a:lnTo>
                    <a:pt x="629" y="185"/>
                  </a:lnTo>
                  <a:lnTo>
                    <a:pt x="627" y="182"/>
                  </a:lnTo>
                  <a:lnTo>
                    <a:pt x="627" y="182"/>
                  </a:lnTo>
                  <a:lnTo>
                    <a:pt x="627" y="179"/>
                  </a:lnTo>
                  <a:lnTo>
                    <a:pt x="627" y="177"/>
                  </a:lnTo>
                  <a:lnTo>
                    <a:pt x="629" y="171"/>
                  </a:lnTo>
                  <a:lnTo>
                    <a:pt x="629" y="169"/>
                  </a:lnTo>
                  <a:lnTo>
                    <a:pt x="629" y="169"/>
                  </a:lnTo>
                  <a:lnTo>
                    <a:pt x="632" y="169"/>
                  </a:lnTo>
                  <a:lnTo>
                    <a:pt x="632" y="169"/>
                  </a:lnTo>
                  <a:lnTo>
                    <a:pt x="629" y="166"/>
                  </a:lnTo>
                  <a:lnTo>
                    <a:pt x="624" y="166"/>
                  </a:lnTo>
                  <a:lnTo>
                    <a:pt x="624" y="166"/>
                  </a:lnTo>
                  <a:lnTo>
                    <a:pt x="624" y="166"/>
                  </a:lnTo>
                  <a:lnTo>
                    <a:pt x="619" y="171"/>
                  </a:lnTo>
                  <a:lnTo>
                    <a:pt x="619" y="174"/>
                  </a:lnTo>
                  <a:lnTo>
                    <a:pt x="616" y="177"/>
                  </a:lnTo>
                  <a:lnTo>
                    <a:pt x="619" y="177"/>
                  </a:lnTo>
                  <a:lnTo>
                    <a:pt x="619" y="177"/>
                  </a:lnTo>
                  <a:close/>
                  <a:moveTo>
                    <a:pt x="448" y="267"/>
                  </a:moveTo>
                  <a:lnTo>
                    <a:pt x="456" y="270"/>
                  </a:lnTo>
                  <a:lnTo>
                    <a:pt x="461" y="273"/>
                  </a:lnTo>
                  <a:lnTo>
                    <a:pt x="461" y="270"/>
                  </a:lnTo>
                  <a:lnTo>
                    <a:pt x="461" y="267"/>
                  </a:lnTo>
                  <a:lnTo>
                    <a:pt x="464" y="265"/>
                  </a:lnTo>
                  <a:lnTo>
                    <a:pt x="475" y="262"/>
                  </a:lnTo>
                  <a:lnTo>
                    <a:pt x="488" y="262"/>
                  </a:lnTo>
                  <a:lnTo>
                    <a:pt x="488" y="259"/>
                  </a:lnTo>
                  <a:lnTo>
                    <a:pt x="491" y="259"/>
                  </a:lnTo>
                  <a:lnTo>
                    <a:pt x="491" y="254"/>
                  </a:lnTo>
                  <a:lnTo>
                    <a:pt x="496" y="246"/>
                  </a:lnTo>
                  <a:lnTo>
                    <a:pt x="499" y="243"/>
                  </a:lnTo>
                  <a:lnTo>
                    <a:pt x="507" y="243"/>
                  </a:lnTo>
                  <a:lnTo>
                    <a:pt x="509" y="241"/>
                  </a:lnTo>
                  <a:lnTo>
                    <a:pt x="509" y="241"/>
                  </a:lnTo>
                  <a:lnTo>
                    <a:pt x="512" y="241"/>
                  </a:lnTo>
                  <a:lnTo>
                    <a:pt x="512" y="243"/>
                  </a:lnTo>
                  <a:lnTo>
                    <a:pt x="515" y="243"/>
                  </a:lnTo>
                  <a:lnTo>
                    <a:pt x="515" y="243"/>
                  </a:lnTo>
                  <a:lnTo>
                    <a:pt x="517" y="241"/>
                  </a:lnTo>
                  <a:lnTo>
                    <a:pt x="520" y="241"/>
                  </a:lnTo>
                  <a:lnTo>
                    <a:pt x="523" y="243"/>
                  </a:lnTo>
                  <a:lnTo>
                    <a:pt x="525" y="243"/>
                  </a:lnTo>
                  <a:lnTo>
                    <a:pt x="533" y="243"/>
                  </a:lnTo>
                  <a:lnTo>
                    <a:pt x="536" y="243"/>
                  </a:lnTo>
                  <a:lnTo>
                    <a:pt x="541" y="246"/>
                  </a:lnTo>
                  <a:lnTo>
                    <a:pt x="549" y="249"/>
                  </a:lnTo>
                  <a:lnTo>
                    <a:pt x="552" y="249"/>
                  </a:lnTo>
                  <a:lnTo>
                    <a:pt x="557" y="251"/>
                  </a:lnTo>
                  <a:lnTo>
                    <a:pt x="557" y="254"/>
                  </a:lnTo>
                  <a:lnTo>
                    <a:pt x="560" y="254"/>
                  </a:lnTo>
                  <a:lnTo>
                    <a:pt x="563" y="257"/>
                  </a:lnTo>
                  <a:lnTo>
                    <a:pt x="563" y="257"/>
                  </a:lnTo>
                  <a:lnTo>
                    <a:pt x="565" y="257"/>
                  </a:lnTo>
                  <a:lnTo>
                    <a:pt x="568" y="259"/>
                  </a:lnTo>
                  <a:lnTo>
                    <a:pt x="571" y="259"/>
                  </a:lnTo>
                  <a:lnTo>
                    <a:pt x="571" y="262"/>
                  </a:lnTo>
                  <a:lnTo>
                    <a:pt x="573" y="265"/>
                  </a:lnTo>
                  <a:lnTo>
                    <a:pt x="579" y="265"/>
                  </a:lnTo>
                  <a:lnTo>
                    <a:pt x="581" y="267"/>
                  </a:lnTo>
                  <a:lnTo>
                    <a:pt x="584" y="262"/>
                  </a:lnTo>
                  <a:lnTo>
                    <a:pt x="584" y="262"/>
                  </a:lnTo>
                  <a:lnTo>
                    <a:pt x="581" y="259"/>
                  </a:lnTo>
                  <a:lnTo>
                    <a:pt x="581" y="257"/>
                  </a:lnTo>
                  <a:lnTo>
                    <a:pt x="584" y="254"/>
                  </a:lnTo>
                  <a:lnTo>
                    <a:pt x="581" y="254"/>
                  </a:lnTo>
                  <a:lnTo>
                    <a:pt x="581" y="254"/>
                  </a:lnTo>
                  <a:lnTo>
                    <a:pt x="581" y="251"/>
                  </a:lnTo>
                  <a:lnTo>
                    <a:pt x="581" y="249"/>
                  </a:lnTo>
                  <a:lnTo>
                    <a:pt x="584" y="249"/>
                  </a:lnTo>
                  <a:lnTo>
                    <a:pt x="584" y="249"/>
                  </a:lnTo>
                  <a:lnTo>
                    <a:pt x="584" y="249"/>
                  </a:lnTo>
                  <a:lnTo>
                    <a:pt x="584" y="241"/>
                  </a:lnTo>
                  <a:lnTo>
                    <a:pt x="587" y="238"/>
                  </a:lnTo>
                  <a:lnTo>
                    <a:pt x="589" y="238"/>
                  </a:lnTo>
                  <a:lnTo>
                    <a:pt x="592" y="241"/>
                  </a:lnTo>
                  <a:lnTo>
                    <a:pt x="595" y="238"/>
                  </a:lnTo>
                  <a:lnTo>
                    <a:pt x="597" y="238"/>
                  </a:lnTo>
                  <a:lnTo>
                    <a:pt x="600" y="241"/>
                  </a:lnTo>
                  <a:lnTo>
                    <a:pt x="600" y="243"/>
                  </a:lnTo>
                  <a:lnTo>
                    <a:pt x="600" y="243"/>
                  </a:lnTo>
                  <a:lnTo>
                    <a:pt x="600" y="246"/>
                  </a:lnTo>
                  <a:lnTo>
                    <a:pt x="603" y="246"/>
                  </a:lnTo>
                  <a:lnTo>
                    <a:pt x="603" y="243"/>
                  </a:lnTo>
                  <a:lnTo>
                    <a:pt x="603" y="243"/>
                  </a:lnTo>
                  <a:lnTo>
                    <a:pt x="605" y="243"/>
                  </a:lnTo>
                  <a:lnTo>
                    <a:pt x="608" y="246"/>
                  </a:lnTo>
                  <a:lnTo>
                    <a:pt x="608" y="243"/>
                  </a:lnTo>
                  <a:lnTo>
                    <a:pt x="608" y="241"/>
                  </a:lnTo>
                  <a:lnTo>
                    <a:pt x="613" y="241"/>
                  </a:lnTo>
                  <a:lnTo>
                    <a:pt x="616" y="243"/>
                  </a:lnTo>
                  <a:lnTo>
                    <a:pt x="619" y="243"/>
                  </a:lnTo>
                  <a:lnTo>
                    <a:pt x="619" y="243"/>
                  </a:lnTo>
                  <a:lnTo>
                    <a:pt x="619" y="241"/>
                  </a:lnTo>
                  <a:lnTo>
                    <a:pt x="619" y="241"/>
                  </a:lnTo>
                  <a:lnTo>
                    <a:pt x="621" y="241"/>
                  </a:lnTo>
                  <a:lnTo>
                    <a:pt x="621" y="241"/>
                  </a:lnTo>
                  <a:lnTo>
                    <a:pt x="624" y="241"/>
                  </a:lnTo>
                  <a:lnTo>
                    <a:pt x="624" y="241"/>
                  </a:lnTo>
                  <a:lnTo>
                    <a:pt x="632" y="241"/>
                  </a:lnTo>
                  <a:lnTo>
                    <a:pt x="653" y="241"/>
                  </a:lnTo>
                  <a:lnTo>
                    <a:pt x="653" y="241"/>
                  </a:lnTo>
                  <a:lnTo>
                    <a:pt x="653" y="241"/>
                  </a:lnTo>
                  <a:lnTo>
                    <a:pt x="656" y="241"/>
                  </a:lnTo>
                  <a:lnTo>
                    <a:pt x="656" y="241"/>
                  </a:lnTo>
                  <a:lnTo>
                    <a:pt x="656" y="241"/>
                  </a:lnTo>
                  <a:lnTo>
                    <a:pt x="661" y="238"/>
                  </a:lnTo>
                  <a:lnTo>
                    <a:pt x="664" y="238"/>
                  </a:lnTo>
                  <a:lnTo>
                    <a:pt x="664" y="238"/>
                  </a:lnTo>
                  <a:lnTo>
                    <a:pt x="664" y="235"/>
                  </a:lnTo>
                  <a:lnTo>
                    <a:pt x="664" y="233"/>
                  </a:lnTo>
                  <a:lnTo>
                    <a:pt x="664" y="233"/>
                  </a:lnTo>
                  <a:lnTo>
                    <a:pt x="661" y="233"/>
                  </a:lnTo>
                  <a:lnTo>
                    <a:pt x="659" y="230"/>
                  </a:lnTo>
                  <a:lnTo>
                    <a:pt x="659" y="230"/>
                  </a:lnTo>
                  <a:lnTo>
                    <a:pt x="656" y="230"/>
                  </a:lnTo>
                  <a:lnTo>
                    <a:pt x="656" y="230"/>
                  </a:lnTo>
                  <a:lnTo>
                    <a:pt x="653" y="230"/>
                  </a:lnTo>
                  <a:lnTo>
                    <a:pt x="651" y="227"/>
                  </a:lnTo>
                  <a:lnTo>
                    <a:pt x="648" y="225"/>
                  </a:lnTo>
                  <a:lnTo>
                    <a:pt x="645" y="225"/>
                  </a:lnTo>
                  <a:lnTo>
                    <a:pt x="645" y="222"/>
                  </a:lnTo>
                  <a:lnTo>
                    <a:pt x="645" y="219"/>
                  </a:lnTo>
                  <a:lnTo>
                    <a:pt x="648" y="219"/>
                  </a:lnTo>
                  <a:lnTo>
                    <a:pt x="648" y="217"/>
                  </a:lnTo>
                  <a:lnTo>
                    <a:pt x="648" y="217"/>
                  </a:lnTo>
                  <a:lnTo>
                    <a:pt x="645" y="217"/>
                  </a:lnTo>
                  <a:lnTo>
                    <a:pt x="643" y="217"/>
                  </a:lnTo>
                  <a:lnTo>
                    <a:pt x="643" y="217"/>
                  </a:lnTo>
                  <a:lnTo>
                    <a:pt x="640" y="217"/>
                  </a:lnTo>
                  <a:lnTo>
                    <a:pt x="640" y="217"/>
                  </a:lnTo>
                  <a:lnTo>
                    <a:pt x="640" y="217"/>
                  </a:lnTo>
                  <a:lnTo>
                    <a:pt x="637" y="214"/>
                  </a:lnTo>
                  <a:lnTo>
                    <a:pt x="637" y="214"/>
                  </a:lnTo>
                  <a:lnTo>
                    <a:pt x="635" y="214"/>
                  </a:lnTo>
                  <a:lnTo>
                    <a:pt x="632" y="214"/>
                  </a:lnTo>
                  <a:lnTo>
                    <a:pt x="629" y="214"/>
                  </a:lnTo>
                  <a:lnTo>
                    <a:pt x="629" y="217"/>
                  </a:lnTo>
                  <a:lnTo>
                    <a:pt x="627" y="214"/>
                  </a:lnTo>
                  <a:lnTo>
                    <a:pt x="624" y="211"/>
                  </a:lnTo>
                  <a:lnTo>
                    <a:pt x="624" y="211"/>
                  </a:lnTo>
                  <a:lnTo>
                    <a:pt x="627" y="209"/>
                  </a:lnTo>
                  <a:lnTo>
                    <a:pt x="629" y="206"/>
                  </a:lnTo>
                  <a:lnTo>
                    <a:pt x="632" y="206"/>
                  </a:lnTo>
                  <a:lnTo>
                    <a:pt x="629" y="203"/>
                  </a:lnTo>
                  <a:lnTo>
                    <a:pt x="627" y="201"/>
                  </a:lnTo>
                  <a:lnTo>
                    <a:pt x="627" y="198"/>
                  </a:lnTo>
                  <a:lnTo>
                    <a:pt x="624" y="193"/>
                  </a:lnTo>
                  <a:lnTo>
                    <a:pt x="624" y="190"/>
                  </a:lnTo>
                  <a:lnTo>
                    <a:pt x="624" y="187"/>
                  </a:lnTo>
                  <a:lnTo>
                    <a:pt x="619" y="182"/>
                  </a:lnTo>
                  <a:lnTo>
                    <a:pt x="616" y="179"/>
                  </a:lnTo>
                  <a:lnTo>
                    <a:pt x="613" y="174"/>
                  </a:lnTo>
                  <a:lnTo>
                    <a:pt x="611" y="174"/>
                  </a:lnTo>
                  <a:lnTo>
                    <a:pt x="608" y="174"/>
                  </a:lnTo>
                  <a:lnTo>
                    <a:pt x="605" y="174"/>
                  </a:lnTo>
                  <a:lnTo>
                    <a:pt x="603" y="174"/>
                  </a:lnTo>
                  <a:lnTo>
                    <a:pt x="603" y="174"/>
                  </a:lnTo>
                  <a:lnTo>
                    <a:pt x="600" y="182"/>
                  </a:lnTo>
                  <a:lnTo>
                    <a:pt x="597" y="185"/>
                  </a:lnTo>
                  <a:lnTo>
                    <a:pt x="592" y="187"/>
                  </a:lnTo>
                  <a:lnTo>
                    <a:pt x="589" y="187"/>
                  </a:lnTo>
                  <a:lnTo>
                    <a:pt x="584" y="187"/>
                  </a:lnTo>
                  <a:lnTo>
                    <a:pt x="587" y="185"/>
                  </a:lnTo>
                  <a:lnTo>
                    <a:pt x="581" y="179"/>
                  </a:lnTo>
                  <a:lnTo>
                    <a:pt x="579" y="179"/>
                  </a:lnTo>
                  <a:lnTo>
                    <a:pt x="576" y="179"/>
                  </a:lnTo>
                  <a:lnTo>
                    <a:pt x="573" y="182"/>
                  </a:lnTo>
                  <a:lnTo>
                    <a:pt x="571" y="185"/>
                  </a:lnTo>
                  <a:lnTo>
                    <a:pt x="565" y="185"/>
                  </a:lnTo>
                  <a:lnTo>
                    <a:pt x="563" y="187"/>
                  </a:lnTo>
                  <a:lnTo>
                    <a:pt x="560" y="187"/>
                  </a:lnTo>
                  <a:lnTo>
                    <a:pt x="557" y="185"/>
                  </a:lnTo>
                  <a:lnTo>
                    <a:pt x="552" y="185"/>
                  </a:lnTo>
                  <a:lnTo>
                    <a:pt x="552" y="185"/>
                  </a:lnTo>
                  <a:lnTo>
                    <a:pt x="549" y="182"/>
                  </a:lnTo>
                  <a:lnTo>
                    <a:pt x="549" y="182"/>
                  </a:lnTo>
                  <a:lnTo>
                    <a:pt x="547" y="182"/>
                  </a:lnTo>
                  <a:lnTo>
                    <a:pt x="544" y="185"/>
                  </a:lnTo>
                  <a:lnTo>
                    <a:pt x="544" y="185"/>
                  </a:lnTo>
                  <a:lnTo>
                    <a:pt x="541" y="185"/>
                  </a:lnTo>
                  <a:lnTo>
                    <a:pt x="539" y="185"/>
                  </a:lnTo>
                  <a:lnTo>
                    <a:pt x="539" y="182"/>
                  </a:lnTo>
                  <a:lnTo>
                    <a:pt x="539" y="179"/>
                  </a:lnTo>
                  <a:lnTo>
                    <a:pt x="541" y="177"/>
                  </a:lnTo>
                  <a:lnTo>
                    <a:pt x="541" y="174"/>
                  </a:lnTo>
                  <a:lnTo>
                    <a:pt x="539" y="169"/>
                  </a:lnTo>
                  <a:lnTo>
                    <a:pt x="539" y="153"/>
                  </a:lnTo>
                  <a:lnTo>
                    <a:pt x="539" y="153"/>
                  </a:lnTo>
                  <a:lnTo>
                    <a:pt x="541" y="150"/>
                  </a:lnTo>
                  <a:lnTo>
                    <a:pt x="541" y="147"/>
                  </a:lnTo>
                  <a:lnTo>
                    <a:pt x="544" y="147"/>
                  </a:lnTo>
                  <a:lnTo>
                    <a:pt x="544" y="145"/>
                  </a:lnTo>
                  <a:lnTo>
                    <a:pt x="541" y="145"/>
                  </a:lnTo>
                  <a:lnTo>
                    <a:pt x="536" y="147"/>
                  </a:lnTo>
                  <a:lnTo>
                    <a:pt x="536" y="147"/>
                  </a:lnTo>
                  <a:lnTo>
                    <a:pt x="525" y="147"/>
                  </a:lnTo>
                  <a:lnTo>
                    <a:pt x="520" y="150"/>
                  </a:lnTo>
                  <a:lnTo>
                    <a:pt x="509" y="153"/>
                  </a:lnTo>
                  <a:lnTo>
                    <a:pt x="493" y="163"/>
                  </a:lnTo>
                  <a:lnTo>
                    <a:pt x="488" y="166"/>
                  </a:lnTo>
                  <a:lnTo>
                    <a:pt x="453" y="166"/>
                  </a:lnTo>
                  <a:lnTo>
                    <a:pt x="451" y="169"/>
                  </a:lnTo>
                  <a:lnTo>
                    <a:pt x="451" y="166"/>
                  </a:lnTo>
                  <a:lnTo>
                    <a:pt x="448" y="169"/>
                  </a:lnTo>
                  <a:lnTo>
                    <a:pt x="432" y="174"/>
                  </a:lnTo>
                  <a:lnTo>
                    <a:pt x="429" y="174"/>
                  </a:lnTo>
                  <a:lnTo>
                    <a:pt x="427" y="174"/>
                  </a:lnTo>
                  <a:lnTo>
                    <a:pt x="413" y="185"/>
                  </a:lnTo>
                  <a:lnTo>
                    <a:pt x="403" y="190"/>
                  </a:lnTo>
                  <a:lnTo>
                    <a:pt x="400" y="193"/>
                  </a:lnTo>
                  <a:lnTo>
                    <a:pt x="395" y="195"/>
                  </a:lnTo>
                  <a:lnTo>
                    <a:pt x="395" y="195"/>
                  </a:lnTo>
                  <a:lnTo>
                    <a:pt x="389" y="201"/>
                  </a:lnTo>
                  <a:lnTo>
                    <a:pt x="389" y="201"/>
                  </a:lnTo>
                  <a:lnTo>
                    <a:pt x="384" y="209"/>
                  </a:lnTo>
                  <a:lnTo>
                    <a:pt x="381" y="211"/>
                  </a:lnTo>
                  <a:lnTo>
                    <a:pt x="379" y="214"/>
                  </a:lnTo>
                  <a:lnTo>
                    <a:pt x="379" y="214"/>
                  </a:lnTo>
                  <a:lnTo>
                    <a:pt x="379" y="211"/>
                  </a:lnTo>
                  <a:lnTo>
                    <a:pt x="379" y="211"/>
                  </a:lnTo>
                  <a:lnTo>
                    <a:pt x="376" y="211"/>
                  </a:lnTo>
                  <a:lnTo>
                    <a:pt x="373" y="211"/>
                  </a:lnTo>
                  <a:lnTo>
                    <a:pt x="373" y="209"/>
                  </a:lnTo>
                  <a:lnTo>
                    <a:pt x="371" y="209"/>
                  </a:lnTo>
                  <a:lnTo>
                    <a:pt x="368" y="206"/>
                  </a:lnTo>
                  <a:lnTo>
                    <a:pt x="365" y="206"/>
                  </a:lnTo>
                  <a:lnTo>
                    <a:pt x="363" y="211"/>
                  </a:lnTo>
                  <a:lnTo>
                    <a:pt x="360" y="211"/>
                  </a:lnTo>
                  <a:lnTo>
                    <a:pt x="357" y="214"/>
                  </a:lnTo>
                  <a:lnTo>
                    <a:pt x="355" y="214"/>
                  </a:lnTo>
                  <a:lnTo>
                    <a:pt x="355" y="211"/>
                  </a:lnTo>
                  <a:lnTo>
                    <a:pt x="355" y="211"/>
                  </a:lnTo>
                  <a:lnTo>
                    <a:pt x="352" y="209"/>
                  </a:lnTo>
                  <a:lnTo>
                    <a:pt x="352" y="211"/>
                  </a:lnTo>
                  <a:lnTo>
                    <a:pt x="349" y="209"/>
                  </a:lnTo>
                  <a:lnTo>
                    <a:pt x="347" y="206"/>
                  </a:lnTo>
                  <a:lnTo>
                    <a:pt x="347" y="206"/>
                  </a:lnTo>
                  <a:lnTo>
                    <a:pt x="347" y="203"/>
                  </a:lnTo>
                  <a:lnTo>
                    <a:pt x="347" y="203"/>
                  </a:lnTo>
                  <a:lnTo>
                    <a:pt x="344" y="203"/>
                  </a:lnTo>
                  <a:lnTo>
                    <a:pt x="344" y="203"/>
                  </a:lnTo>
                  <a:lnTo>
                    <a:pt x="341" y="201"/>
                  </a:lnTo>
                  <a:lnTo>
                    <a:pt x="341" y="203"/>
                  </a:lnTo>
                  <a:lnTo>
                    <a:pt x="339" y="203"/>
                  </a:lnTo>
                  <a:lnTo>
                    <a:pt x="339" y="203"/>
                  </a:lnTo>
                  <a:lnTo>
                    <a:pt x="339" y="203"/>
                  </a:lnTo>
                  <a:lnTo>
                    <a:pt x="336" y="203"/>
                  </a:lnTo>
                  <a:lnTo>
                    <a:pt x="333" y="206"/>
                  </a:lnTo>
                  <a:lnTo>
                    <a:pt x="333" y="209"/>
                  </a:lnTo>
                  <a:lnTo>
                    <a:pt x="333" y="209"/>
                  </a:lnTo>
                  <a:lnTo>
                    <a:pt x="331" y="209"/>
                  </a:lnTo>
                  <a:lnTo>
                    <a:pt x="325" y="209"/>
                  </a:lnTo>
                  <a:lnTo>
                    <a:pt x="320" y="211"/>
                  </a:lnTo>
                  <a:lnTo>
                    <a:pt x="309" y="211"/>
                  </a:lnTo>
                  <a:lnTo>
                    <a:pt x="307" y="209"/>
                  </a:lnTo>
                  <a:lnTo>
                    <a:pt x="304" y="206"/>
                  </a:lnTo>
                  <a:lnTo>
                    <a:pt x="301" y="201"/>
                  </a:lnTo>
                  <a:lnTo>
                    <a:pt x="301" y="201"/>
                  </a:lnTo>
                  <a:lnTo>
                    <a:pt x="301" y="198"/>
                  </a:lnTo>
                  <a:lnTo>
                    <a:pt x="296" y="198"/>
                  </a:lnTo>
                  <a:lnTo>
                    <a:pt x="293" y="195"/>
                  </a:lnTo>
                  <a:lnTo>
                    <a:pt x="293" y="195"/>
                  </a:lnTo>
                  <a:lnTo>
                    <a:pt x="293" y="193"/>
                  </a:lnTo>
                  <a:lnTo>
                    <a:pt x="291" y="193"/>
                  </a:lnTo>
                  <a:lnTo>
                    <a:pt x="288" y="190"/>
                  </a:lnTo>
                  <a:lnTo>
                    <a:pt x="288" y="187"/>
                  </a:lnTo>
                  <a:lnTo>
                    <a:pt x="285" y="187"/>
                  </a:lnTo>
                  <a:lnTo>
                    <a:pt x="280" y="182"/>
                  </a:lnTo>
                  <a:lnTo>
                    <a:pt x="280" y="179"/>
                  </a:lnTo>
                  <a:lnTo>
                    <a:pt x="277" y="174"/>
                  </a:lnTo>
                  <a:lnTo>
                    <a:pt x="275" y="171"/>
                  </a:lnTo>
                  <a:lnTo>
                    <a:pt x="272" y="174"/>
                  </a:lnTo>
                  <a:lnTo>
                    <a:pt x="272" y="174"/>
                  </a:lnTo>
                  <a:lnTo>
                    <a:pt x="272" y="171"/>
                  </a:lnTo>
                  <a:lnTo>
                    <a:pt x="269" y="169"/>
                  </a:lnTo>
                  <a:lnTo>
                    <a:pt x="269" y="169"/>
                  </a:lnTo>
                  <a:lnTo>
                    <a:pt x="267" y="171"/>
                  </a:lnTo>
                  <a:lnTo>
                    <a:pt x="267" y="171"/>
                  </a:lnTo>
                  <a:lnTo>
                    <a:pt x="264" y="169"/>
                  </a:lnTo>
                  <a:lnTo>
                    <a:pt x="264" y="169"/>
                  </a:lnTo>
                  <a:lnTo>
                    <a:pt x="261" y="166"/>
                  </a:lnTo>
                  <a:lnTo>
                    <a:pt x="261" y="166"/>
                  </a:lnTo>
                  <a:lnTo>
                    <a:pt x="261" y="166"/>
                  </a:lnTo>
                  <a:lnTo>
                    <a:pt x="259" y="166"/>
                  </a:lnTo>
                  <a:lnTo>
                    <a:pt x="259" y="166"/>
                  </a:lnTo>
                  <a:lnTo>
                    <a:pt x="259" y="163"/>
                  </a:lnTo>
                  <a:lnTo>
                    <a:pt x="245" y="163"/>
                  </a:lnTo>
                  <a:lnTo>
                    <a:pt x="229" y="163"/>
                  </a:lnTo>
                  <a:lnTo>
                    <a:pt x="224" y="163"/>
                  </a:lnTo>
                  <a:lnTo>
                    <a:pt x="216" y="169"/>
                  </a:lnTo>
                  <a:lnTo>
                    <a:pt x="216" y="169"/>
                  </a:lnTo>
                  <a:lnTo>
                    <a:pt x="216" y="171"/>
                  </a:lnTo>
                  <a:lnTo>
                    <a:pt x="213" y="174"/>
                  </a:lnTo>
                  <a:lnTo>
                    <a:pt x="211" y="177"/>
                  </a:lnTo>
                  <a:lnTo>
                    <a:pt x="208" y="179"/>
                  </a:lnTo>
                  <a:lnTo>
                    <a:pt x="208" y="177"/>
                  </a:lnTo>
                  <a:lnTo>
                    <a:pt x="211" y="174"/>
                  </a:lnTo>
                  <a:lnTo>
                    <a:pt x="211" y="171"/>
                  </a:lnTo>
                  <a:lnTo>
                    <a:pt x="213" y="169"/>
                  </a:lnTo>
                  <a:lnTo>
                    <a:pt x="219" y="163"/>
                  </a:lnTo>
                  <a:lnTo>
                    <a:pt x="221" y="161"/>
                  </a:lnTo>
                  <a:lnTo>
                    <a:pt x="221" y="158"/>
                  </a:lnTo>
                  <a:lnTo>
                    <a:pt x="219" y="158"/>
                  </a:lnTo>
                  <a:lnTo>
                    <a:pt x="219" y="161"/>
                  </a:lnTo>
                  <a:lnTo>
                    <a:pt x="213" y="163"/>
                  </a:lnTo>
                  <a:lnTo>
                    <a:pt x="208" y="169"/>
                  </a:lnTo>
                  <a:lnTo>
                    <a:pt x="205" y="169"/>
                  </a:lnTo>
                  <a:lnTo>
                    <a:pt x="203" y="174"/>
                  </a:lnTo>
                  <a:lnTo>
                    <a:pt x="203" y="174"/>
                  </a:lnTo>
                  <a:lnTo>
                    <a:pt x="200" y="174"/>
                  </a:lnTo>
                  <a:lnTo>
                    <a:pt x="197" y="177"/>
                  </a:lnTo>
                  <a:lnTo>
                    <a:pt x="200" y="177"/>
                  </a:lnTo>
                  <a:lnTo>
                    <a:pt x="195" y="185"/>
                  </a:lnTo>
                  <a:lnTo>
                    <a:pt x="192" y="190"/>
                  </a:lnTo>
                  <a:lnTo>
                    <a:pt x="189" y="187"/>
                  </a:lnTo>
                  <a:lnTo>
                    <a:pt x="189" y="187"/>
                  </a:lnTo>
                  <a:lnTo>
                    <a:pt x="192" y="187"/>
                  </a:lnTo>
                  <a:lnTo>
                    <a:pt x="192" y="187"/>
                  </a:lnTo>
                  <a:lnTo>
                    <a:pt x="192" y="185"/>
                  </a:lnTo>
                  <a:lnTo>
                    <a:pt x="192" y="185"/>
                  </a:lnTo>
                  <a:lnTo>
                    <a:pt x="192" y="185"/>
                  </a:lnTo>
                  <a:lnTo>
                    <a:pt x="189" y="179"/>
                  </a:lnTo>
                  <a:lnTo>
                    <a:pt x="189" y="179"/>
                  </a:lnTo>
                  <a:lnTo>
                    <a:pt x="189" y="177"/>
                  </a:lnTo>
                  <a:lnTo>
                    <a:pt x="189" y="177"/>
                  </a:lnTo>
                  <a:lnTo>
                    <a:pt x="189" y="174"/>
                  </a:lnTo>
                  <a:lnTo>
                    <a:pt x="189" y="174"/>
                  </a:lnTo>
                  <a:lnTo>
                    <a:pt x="189" y="171"/>
                  </a:lnTo>
                  <a:lnTo>
                    <a:pt x="192" y="171"/>
                  </a:lnTo>
                  <a:lnTo>
                    <a:pt x="192" y="166"/>
                  </a:lnTo>
                  <a:lnTo>
                    <a:pt x="192" y="163"/>
                  </a:lnTo>
                  <a:lnTo>
                    <a:pt x="192" y="161"/>
                  </a:lnTo>
                  <a:lnTo>
                    <a:pt x="192" y="158"/>
                  </a:lnTo>
                  <a:lnTo>
                    <a:pt x="189" y="155"/>
                  </a:lnTo>
                  <a:lnTo>
                    <a:pt x="187" y="153"/>
                  </a:lnTo>
                  <a:lnTo>
                    <a:pt x="187" y="153"/>
                  </a:lnTo>
                  <a:lnTo>
                    <a:pt x="184" y="153"/>
                  </a:lnTo>
                  <a:lnTo>
                    <a:pt x="184" y="153"/>
                  </a:lnTo>
                  <a:lnTo>
                    <a:pt x="184" y="153"/>
                  </a:lnTo>
                  <a:lnTo>
                    <a:pt x="184" y="153"/>
                  </a:lnTo>
                  <a:lnTo>
                    <a:pt x="184" y="153"/>
                  </a:lnTo>
                  <a:lnTo>
                    <a:pt x="184" y="150"/>
                  </a:lnTo>
                  <a:lnTo>
                    <a:pt x="184" y="147"/>
                  </a:lnTo>
                  <a:lnTo>
                    <a:pt x="184" y="145"/>
                  </a:lnTo>
                  <a:lnTo>
                    <a:pt x="184" y="145"/>
                  </a:lnTo>
                  <a:lnTo>
                    <a:pt x="181" y="142"/>
                  </a:lnTo>
                  <a:lnTo>
                    <a:pt x="176" y="142"/>
                  </a:lnTo>
                  <a:lnTo>
                    <a:pt x="173" y="142"/>
                  </a:lnTo>
                  <a:lnTo>
                    <a:pt x="171" y="139"/>
                  </a:lnTo>
                  <a:lnTo>
                    <a:pt x="171" y="136"/>
                  </a:lnTo>
                  <a:lnTo>
                    <a:pt x="171" y="134"/>
                  </a:lnTo>
                  <a:lnTo>
                    <a:pt x="171" y="131"/>
                  </a:lnTo>
                  <a:lnTo>
                    <a:pt x="168" y="128"/>
                  </a:lnTo>
                  <a:lnTo>
                    <a:pt x="168" y="128"/>
                  </a:lnTo>
                  <a:lnTo>
                    <a:pt x="165" y="131"/>
                  </a:lnTo>
                  <a:lnTo>
                    <a:pt x="149" y="145"/>
                  </a:lnTo>
                  <a:lnTo>
                    <a:pt x="147" y="147"/>
                  </a:lnTo>
                  <a:lnTo>
                    <a:pt x="147" y="147"/>
                  </a:lnTo>
                  <a:lnTo>
                    <a:pt x="144" y="153"/>
                  </a:lnTo>
                  <a:lnTo>
                    <a:pt x="144" y="153"/>
                  </a:lnTo>
                  <a:lnTo>
                    <a:pt x="144" y="153"/>
                  </a:lnTo>
                  <a:lnTo>
                    <a:pt x="141" y="158"/>
                  </a:lnTo>
                  <a:lnTo>
                    <a:pt x="139" y="161"/>
                  </a:lnTo>
                  <a:lnTo>
                    <a:pt x="139" y="161"/>
                  </a:lnTo>
                  <a:lnTo>
                    <a:pt x="133" y="163"/>
                  </a:lnTo>
                  <a:lnTo>
                    <a:pt x="130" y="163"/>
                  </a:lnTo>
                  <a:lnTo>
                    <a:pt x="130" y="163"/>
                  </a:lnTo>
                  <a:lnTo>
                    <a:pt x="125" y="163"/>
                  </a:lnTo>
                  <a:lnTo>
                    <a:pt x="122" y="163"/>
                  </a:lnTo>
                  <a:lnTo>
                    <a:pt x="120" y="166"/>
                  </a:lnTo>
                  <a:lnTo>
                    <a:pt x="114" y="174"/>
                  </a:lnTo>
                  <a:lnTo>
                    <a:pt x="106" y="182"/>
                  </a:lnTo>
                  <a:lnTo>
                    <a:pt x="98" y="185"/>
                  </a:lnTo>
                  <a:lnTo>
                    <a:pt x="58" y="195"/>
                  </a:lnTo>
                  <a:lnTo>
                    <a:pt x="53" y="195"/>
                  </a:lnTo>
                  <a:lnTo>
                    <a:pt x="37" y="214"/>
                  </a:lnTo>
                  <a:lnTo>
                    <a:pt x="34" y="217"/>
                  </a:lnTo>
                  <a:lnTo>
                    <a:pt x="16" y="225"/>
                  </a:lnTo>
                  <a:lnTo>
                    <a:pt x="10" y="227"/>
                  </a:lnTo>
                  <a:lnTo>
                    <a:pt x="10" y="227"/>
                  </a:lnTo>
                  <a:lnTo>
                    <a:pt x="8" y="227"/>
                  </a:lnTo>
                  <a:lnTo>
                    <a:pt x="5" y="230"/>
                  </a:lnTo>
                  <a:lnTo>
                    <a:pt x="2" y="230"/>
                  </a:lnTo>
                  <a:lnTo>
                    <a:pt x="0" y="233"/>
                  </a:lnTo>
                  <a:lnTo>
                    <a:pt x="0" y="233"/>
                  </a:lnTo>
                  <a:lnTo>
                    <a:pt x="0" y="235"/>
                  </a:lnTo>
                  <a:lnTo>
                    <a:pt x="0" y="238"/>
                  </a:lnTo>
                  <a:lnTo>
                    <a:pt x="0" y="238"/>
                  </a:lnTo>
                  <a:lnTo>
                    <a:pt x="2" y="238"/>
                  </a:lnTo>
                  <a:lnTo>
                    <a:pt x="2" y="238"/>
                  </a:lnTo>
                  <a:lnTo>
                    <a:pt x="2" y="238"/>
                  </a:lnTo>
                  <a:lnTo>
                    <a:pt x="5" y="238"/>
                  </a:lnTo>
                  <a:lnTo>
                    <a:pt x="5" y="235"/>
                  </a:lnTo>
                  <a:lnTo>
                    <a:pt x="8" y="235"/>
                  </a:lnTo>
                  <a:lnTo>
                    <a:pt x="8" y="235"/>
                  </a:lnTo>
                  <a:lnTo>
                    <a:pt x="8" y="238"/>
                  </a:lnTo>
                  <a:lnTo>
                    <a:pt x="10" y="238"/>
                  </a:lnTo>
                  <a:lnTo>
                    <a:pt x="10" y="238"/>
                  </a:lnTo>
                  <a:lnTo>
                    <a:pt x="13" y="238"/>
                  </a:lnTo>
                  <a:lnTo>
                    <a:pt x="13" y="241"/>
                  </a:lnTo>
                  <a:lnTo>
                    <a:pt x="13" y="241"/>
                  </a:lnTo>
                  <a:lnTo>
                    <a:pt x="16" y="241"/>
                  </a:lnTo>
                  <a:lnTo>
                    <a:pt x="16" y="241"/>
                  </a:lnTo>
                  <a:lnTo>
                    <a:pt x="18" y="241"/>
                  </a:lnTo>
                  <a:lnTo>
                    <a:pt x="18" y="241"/>
                  </a:lnTo>
                  <a:lnTo>
                    <a:pt x="21" y="243"/>
                  </a:lnTo>
                  <a:lnTo>
                    <a:pt x="21" y="243"/>
                  </a:lnTo>
                  <a:lnTo>
                    <a:pt x="24" y="246"/>
                  </a:lnTo>
                  <a:lnTo>
                    <a:pt x="24" y="251"/>
                  </a:lnTo>
                  <a:lnTo>
                    <a:pt x="26" y="257"/>
                  </a:lnTo>
                  <a:lnTo>
                    <a:pt x="29" y="259"/>
                  </a:lnTo>
                  <a:lnTo>
                    <a:pt x="32" y="262"/>
                  </a:lnTo>
                  <a:lnTo>
                    <a:pt x="32" y="262"/>
                  </a:lnTo>
                  <a:lnTo>
                    <a:pt x="32" y="262"/>
                  </a:lnTo>
                  <a:lnTo>
                    <a:pt x="34" y="265"/>
                  </a:lnTo>
                  <a:lnTo>
                    <a:pt x="34" y="265"/>
                  </a:lnTo>
                  <a:lnTo>
                    <a:pt x="40" y="265"/>
                  </a:lnTo>
                  <a:lnTo>
                    <a:pt x="42" y="265"/>
                  </a:lnTo>
                  <a:lnTo>
                    <a:pt x="50" y="265"/>
                  </a:lnTo>
                  <a:lnTo>
                    <a:pt x="56" y="267"/>
                  </a:lnTo>
                  <a:lnTo>
                    <a:pt x="66" y="267"/>
                  </a:lnTo>
                  <a:lnTo>
                    <a:pt x="74" y="270"/>
                  </a:lnTo>
                  <a:lnTo>
                    <a:pt x="82" y="273"/>
                  </a:lnTo>
                  <a:lnTo>
                    <a:pt x="93" y="273"/>
                  </a:lnTo>
                  <a:lnTo>
                    <a:pt x="101" y="275"/>
                  </a:lnTo>
                  <a:lnTo>
                    <a:pt x="109" y="275"/>
                  </a:lnTo>
                  <a:lnTo>
                    <a:pt x="117" y="275"/>
                  </a:lnTo>
                  <a:lnTo>
                    <a:pt x="122" y="278"/>
                  </a:lnTo>
                  <a:lnTo>
                    <a:pt x="128" y="278"/>
                  </a:lnTo>
                  <a:lnTo>
                    <a:pt x="130" y="278"/>
                  </a:lnTo>
                  <a:lnTo>
                    <a:pt x="130" y="278"/>
                  </a:lnTo>
                  <a:lnTo>
                    <a:pt x="136" y="281"/>
                  </a:lnTo>
                  <a:lnTo>
                    <a:pt x="139" y="281"/>
                  </a:lnTo>
                  <a:lnTo>
                    <a:pt x="144" y="283"/>
                  </a:lnTo>
                  <a:lnTo>
                    <a:pt x="149" y="286"/>
                  </a:lnTo>
                  <a:lnTo>
                    <a:pt x="157" y="289"/>
                  </a:lnTo>
                  <a:lnTo>
                    <a:pt x="163" y="291"/>
                  </a:lnTo>
                  <a:lnTo>
                    <a:pt x="165" y="291"/>
                  </a:lnTo>
                  <a:lnTo>
                    <a:pt x="165" y="291"/>
                  </a:lnTo>
                  <a:lnTo>
                    <a:pt x="168" y="291"/>
                  </a:lnTo>
                  <a:lnTo>
                    <a:pt x="168" y="291"/>
                  </a:lnTo>
                  <a:lnTo>
                    <a:pt x="171" y="291"/>
                  </a:lnTo>
                  <a:lnTo>
                    <a:pt x="171" y="291"/>
                  </a:lnTo>
                  <a:lnTo>
                    <a:pt x="171" y="291"/>
                  </a:lnTo>
                  <a:lnTo>
                    <a:pt x="173" y="291"/>
                  </a:lnTo>
                  <a:lnTo>
                    <a:pt x="173" y="291"/>
                  </a:lnTo>
                  <a:lnTo>
                    <a:pt x="176" y="291"/>
                  </a:lnTo>
                  <a:lnTo>
                    <a:pt x="176" y="291"/>
                  </a:lnTo>
                  <a:lnTo>
                    <a:pt x="176" y="291"/>
                  </a:lnTo>
                  <a:lnTo>
                    <a:pt x="179" y="291"/>
                  </a:lnTo>
                  <a:lnTo>
                    <a:pt x="179" y="291"/>
                  </a:lnTo>
                  <a:lnTo>
                    <a:pt x="181" y="291"/>
                  </a:lnTo>
                  <a:lnTo>
                    <a:pt x="187" y="294"/>
                  </a:lnTo>
                  <a:lnTo>
                    <a:pt x="187" y="294"/>
                  </a:lnTo>
                  <a:lnTo>
                    <a:pt x="187" y="294"/>
                  </a:lnTo>
                  <a:lnTo>
                    <a:pt x="189" y="291"/>
                  </a:lnTo>
                  <a:lnTo>
                    <a:pt x="189" y="291"/>
                  </a:lnTo>
                  <a:lnTo>
                    <a:pt x="192" y="291"/>
                  </a:lnTo>
                  <a:lnTo>
                    <a:pt x="192" y="291"/>
                  </a:lnTo>
                  <a:lnTo>
                    <a:pt x="192" y="291"/>
                  </a:lnTo>
                  <a:lnTo>
                    <a:pt x="192" y="291"/>
                  </a:lnTo>
                  <a:lnTo>
                    <a:pt x="195" y="291"/>
                  </a:lnTo>
                  <a:lnTo>
                    <a:pt x="195" y="291"/>
                  </a:lnTo>
                  <a:lnTo>
                    <a:pt x="195" y="289"/>
                  </a:lnTo>
                  <a:lnTo>
                    <a:pt x="197" y="289"/>
                  </a:lnTo>
                  <a:lnTo>
                    <a:pt x="197" y="291"/>
                  </a:lnTo>
                  <a:lnTo>
                    <a:pt x="200" y="291"/>
                  </a:lnTo>
                  <a:lnTo>
                    <a:pt x="200" y="291"/>
                  </a:lnTo>
                  <a:lnTo>
                    <a:pt x="203" y="291"/>
                  </a:lnTo>
                  <a:lnTo>
                    <a:pt x="203" y="291"/>
                  </a:lnTo>
                  <a:lnTo>
                    <a:pt x="203" y="291"/>
                  </a:lnTo>
                  <a:lnTo>
                    <a:pt x="203" y="291"/>
                  </a:lnTo>
                  <a:lnTo>
                    <a:pt x="205" y="291"/>
                  </a:lnTo>
                  <a:lnTo>
                    <a:pt x="208" y="294"/>
                  </a:lnTo>
                  <a:lnTo>
                    <a:pt x="208" y="294"/>
                  </a:lnTo>
                  <a:lnTo>
                    <a:pt x="211" y="294"/>
                  </a:lnTo>
                  <a:lnTo>
                    <a:pt x="213" y="291"/>
                  </a:lnTo>
                  <a:lnTo>
                    <a:pt x="213" y="291"/>
                  </a:lnTo>
                  <a:lnTo>
                    <a:pt x="213" y="291"/>
                  </a:lnTo>
                  <a:lnTo>
                    <a:pt x="216" y="294"/>
                  </a:lnTo>
                  <a:lnTo>
                    <a:pt x="219" y="294"/>
                  </a:lnTo>
                  <a:lnTo>
                    <a:pt x="219" y="294"/>
                  </a:lnTo>
                  <a:lnTo>
                    <a:pt x="221" y="294"/>
                  </a:lnTo>
                  <a:lnTo>
                    <a:pt x="224" y="294"/>
                  </a:lnTo>
                  <a:lnTo>
                    <a:pt x="224" y="294"/>
                  </a:lnTo>
                  <a:lnTo>
                    <a:pt x="227" y="297"/>
                  </a:lnTo>
                  <a:lnTo>
                    <a:pt x="229" y="297"/>
                  </a:lnTo>
                  <a:lnTo>
                    <a:pt x="229" y="297"/>
                  </a:lnTo>
                  <a:lnTo>
                    <a:pt x="229" y="297"/>
                  </a:lnTo>
                  <a:lnTo>
                    <a:pt x="232" y="294"/>
                  </a:lnTo>
                  <a:lnTo>
                    <a:pt x="232" y="294"/>
                  </a:lnTo>
                  <a:lnTo>
                    <a:pt x="232" y="297"/>
                  </a:lnTo>
                  <a:lnTo>
                    <a:pt x="235" y="297"/>
                  </a:lnTo>
                  <a:lnTo>
                    <a:pt x="237" y="297"/>
                  </a:lnTo>
                  <a:lnTo>
                    <a:pt x="237" y="297"/>
                  </a:lnTo>
                  <a:lnTo>
                    <a:pt x="240" y="299"/>
                  </a:lnTo>
                  <a:lnTo>
                    <a:pt x="240" y="299"/>
                  </a:lnTo>
                  <a:lnTo>
                    <a:pt x="243" y="305"/>
                  </a:lnTo>
                  <a:lnTo>
                    <a:pt x="243" y="305"/>
                  </a:lnTo>
                  <a:lnTo>
                    <a:pt x="243" y="307"/>
                  </a:lnTo>
                  <a:lnTo>
                    <a:pt x="243" y="307"/>
                  </a:lnTo>
                  <a:lnTo>
                    <a:pt x="243" y="307"/>
                  </a:lnTo>
                  <a:lnTo>
                    <a:pt x="240" y="310"/>
                  </a:lnTo>
                  <a:lnTo>
                    <a:pt x="240" y="313"/>
                  </a:lnTo>
                  <a:lnTo>
                    <a:pt x="240" y="313"/>
                  </a:lnTo>
                  <a:lnTo>
                    <a:pt x="240" y="313"/>
                  </a:lnTo>
                  <a:lnTo>
                    <a:pt x="240" y="315"/>
                  </a:lnTo>
                  <a:lnTo>
                    <a:pt x="243" y="315"/>
                  </a:lnTo>
                  <a:lnTo>
                    <a:pt x="243" y="315"/>
                  </a:lnTo>
                  <a:lnTo>
                    <a:pt x="245" y="315"/>
                  </a:lnTo>
                  <a:lnTo>
                    <a:pt x="245" y="318"/>
                  </a:lnTo>
                  <a:lnTo>
                    <a:pt x="248" y="318"/>
                  </a:lnTo>
                  <a:lnTo>
                    <a:pt x="248" y="318"/>
                  </a:lnTo>
                  <a:lnTo>
                    <a:pt x="251" y="318"/>
                  </a:lnTo>
                  <a:lnTo>
                    <a:pt x="253" y="315"/>
                  </a:lnTo>
                  <a:lnTo>
                    <a:pt x="253" y="315"/>
                  </a:lnTo>
                  <a:lnTo>
                    <a:pt x="253" y="315"/>
                  </a:lnTo>
                  <a:lnTo>
                    <a:pt x="253" y="315"/>
                  </a:lnTo>
                  <a:lnTo>
                    <a:pt x="256" y="318"/>
                  </a:lnTo>
                  <a:lnTo>
                    <a:pt x="256" y="318"/>
                  </a:lnTo>
                  <a:lnTo>
                    <a:pt x="256" y="318"/>
                  </a:lnTo>
                  <a:lnTo>
                    <a:pt x="256" y="318"/>
                  </a:lnTo>
                  <a:lnTo>
                    <a:pt x="259" y="318"/>
                  </a:lnTo>
                  <a:lnTo>
                    <a:pt x="264" y="318"/>
                  </a:lnTo>
                  <a:lnTo>
                    <a:pt x="264" y="318"/>
                  </a:lnTo>
                  <a:lnTo>
                    <a:pt x="264" y="321"/>
                  </a:lnTo>
                  <a:lnTo>
                    <a:pt x="264" y="321"/>
                  </a:lnTo>
                  <a:lnTo>
                    <a:pt x="267" y="321"/>
                  </a:lnTo>
                  <a:lnTo>
                    <a:pt x="267" y="321"/>
                  </a:lnTo>
                  <a:lnTo>
                    <a:pt x="267" y="324"/>
                  </a:lnTo>
                  <a:lnTo>
                    <a:pt x="269" y="324"/>
                  </a:lnTo>
                  <a:lnTo>
                    <a:pt x="272" y="324"/>
                  </a:lnTo>
                  <a:lnTo>
                    <a:pt x="272" y="326"/>
                  </a:lnTo>
                  <a:lnTo>
                    <a:pt x="275" y="326"/>
                  </a:lnTo>
                  <a:lnTo>
                    <a:pt x="275" y="329"/>
                  </a:lnTo>
                  <a:lnTo>
                    <a:pt x="275" y="329"/>
                  </a:lnTo>
                  <a:lnTo>
                    <a:pt x="275" y="329"/>
                  </a:lnTo>
                  <a:lnTo>
                    <a:pt x="275" y="329"/>
                  </a:lnTo>
                  <a:lnTo>
                    <a:pt x="275" y="329"/>
                  </a:lnTo>
                  <a:lnTo>
                    <a:pt x="275" y="332"/>
                  </a:lnTo>
                  <a:lnTo>
                    <a:pt x="275" y="332"/>
                  </a:lnTo>
                  <a:lnTo>
                    <a:pt x="275" y="332"/>
                  </a:lnTo>
                  <a:lnTo>
                    <a:pt x="275" y="334"/>
                  </a:lnTo>
                  <a:lnTo>
                    <a:pt x="277" y="337"/>
                  </a:lnTo>
                  <a:lnTo>
                    <a:pt x="277" y="337"/>
                  </a:lnTo>
                  <a:lnTo>
                    <a:pt x="277" y="340"/>
                  </a:lnTo>
                  <a:lnTo>
                    <a:pt x="277" y="340"/>
                  </a:lnTo>
                  <a:lnTo>
                    <a:pt x="277" y="342"/>
                  </a:lnTo>
                  <a:lnTo>
                    <a:pt x="277" y="342"/>
                  </a:lnTo>
                  <a:lnTo>
                    <a:pt x="277" y="342"/>
                  </a:lnTo>
                  <a:lnTo>
                    <a:pt x="277" y="342"/>
                  </a:lnTo>
                  <a:lnTo>
                    <a:pt x="275" y="342"/>
                  </a:lnTo>
                  <a:lnTo>
                    <a:pt x="275" y="345"/>
                  </a:lnTo>
                  <a:lnTo>
                    <a:pt x="275" y="345"/>
                  </a:lnTo>
                  <a:lnTo>
                    <a:pt x="277" y="348"/>
                  </a:lnTo>
                  <a:lnTo>
                    <a:pt x="277" y="353"/>
                  </a:lnTo>
                  <a:lnTo>
                    <a:pt x="277" y="353"/>
                  </a:lnTo>
                  <a:lnTo>
                    <a:pt x="277" y="353"/>
                  </a:lnTo>
                  <a:lnTo>
                    <a:pt x="277" y="353"/>
                  </a:lnTo>
                  <a:lnTo>
                    <a:pt x="277" y="356"/>
                  </a:lnTo>
                  <a:lnTo>
                    <a:pt x="277" y="356"/>
                  </a:lnTo>
                  <a:lnTo>
                    <a:pt x="277" y="358"/>
                  </a:lnTo>
                  <a:lnTo>
                    <a:pt x="275" y="358"/>
                  </a:lnTo>
                  <a:lnTo>
                    <a:pt x="272" y="361"/>
                  </a:lnTo>
                  <a:lnTo>
                    <a:pt x="272" y="361"/>
                  </a:lnTo>
                  <a:lnTo>
                    <a:pt x="272" y="361"/>
                  </a:lnTo>
                  <a:lnTo>
                    <a:pt x="272" y="364"/>
                  </a:lnTo>
                  <a:lnTo>
                    <a:pt x="272" y="364"/>
                  </a:lnTo>
                  <a:lnTo>
                    <a:pt x="272" y="366"/>
                  </a:lnTo>
                  <a:lnTo>
                    <a:pt x="272" y="366"/>
                  </a:lnTo>
                  <a:lnTo>
                    <a:pt x="272" y="369"/>
                  </a:lnTo>
                  <a:lnTo>
                    <a:pt x="272" y="372"/>
                  </a:lnTo>
                  <a:lnTo>
                    <a:pt x="272" y="372"/>
                  </a:lnTo>
                  <a:lnTo>
                    <a:pt x="272" y="372"/>
                  </a:lnTo>
                  <a:lnTo>
                    <a:pt x="275" y="374"/>
                  </a:lnTo>
                  <a:lnTo>
                    <a:pt x="275" y="374"/>
                  </a:lnTo>
                  <a:lnTo>
                    <a:pt x="277" y="372"/>
                  </a:lnTo>
                  <a:lnTo>
                    <a:pt x="277" y="372"/>
                  </a:lnTo>
                  <a:lnTo>
                    <a:pt x="277" y="372"/>
                  </a:lnTo>
                  <a:lnTo>
                    <a:pt x="277" y="372"/>
                  </a:lnTo>
                  <a:lnTo>
                    <a:pt x="280" y="372"/>
                  </a:lnTo>
                  <a:lnTo>
                    <a:pt x="283" y="372"/>
                  </a:lnTo>
                  <a:lnTo>
                    <a:pt x="283" y="372"/>
                  </a:lnTo>
                  <a:lnTo>
                    <a:pt x="283" y="372"/>
                  </a:lnTo>
                  <a:lnTo>
                    <a:pt x="291" y="366"/>
                  </a:lnTo>
                  <a:lnTo>
                    <a:pt x="291" y="366"/>
                  </a:lnTo>
                  <a:lnTo>
                    <a:pt x="291" y="366"/>
                  </a:lnTo>
                  <a:lnTo>
                    <a:pt x="293" y="366"/>
                  </a:lnTo>
                  <a:lnTo>
                    <a:pt x="293" y="369"/>
                  </a:lnTo>
                  <a:lnTo>
                    <a:pt x="293" y="369"/>
                  </a:lnTo>
                  <a:lnTo>
                    <a:pt x="296" y="369"/>
                  </a:lnTo>
                  <a:lnTo>
                    <a:pt x="296" y="372"/>
                  </a:lnTo>
                  <a:lnTo>
                    <a:pt x="296" y="372"/>
                  </a:lnTo>
                  <a:lnTo>
                    <a:pt x="296" y="372"/>
                  </a:lnTo>
                  <a:lnTo>
                    <a:pt x="293" y="374"/>
                  </a:lnTo>
                  <a:lnTo>
                    <a:pt x="293" y="374"/>
                  </a:lnTo>
                  <a:lnTo>
                    <a:pt x="291" y="382"/>
                  </a:lnTo>
                  <a:lnTo>
                    <a:pt x="291" y="388"/>
                  </a:lnTo>
                  <a:lnTo>
                    <a:pt x="288" y="388"/>
                  </a:lnTo>
                  <a:lnTo>
                    <a:pt x="288" y="393"/>
                  </a:lnTo>
                  <a:lnTo>
                    <a:pt x="291" y="393"/>
                  </a:lnTo>
                  <a:lnTo>
                    <a:pt x="291" y="396"/>
                  </a:lnTo>
                  <a:lnTo>
                    <a:pt x="293" y="396"/>
                  </a:lnTo>
                  <a:lnTo>
                    <a:pt x="293" y="398"/>
                  </a:lnTo>
                  <a:lnTo>
                    <a:pt x="296" y="401"/>
                  </a:lnTo>
                  <a:lnTo>
                    <a:pt x="296" y="401"/>
                  </a:lnTo>
                  <a:lnTo>
                    <a:pt x="296" y="401"/>
                  </a:lnTo>
                  <a:lnTo>
                    <a:pt x="299" y="404"/>
                  </a:lnTo>
                  <a:lnTo>
                    <a:pt x="304" y="404"/>
                  </a:lnTo>
                  <a:lnTo>
                    <a:pt x="304" y="404"/>
                  </a:lnTo>
                  <a:lnTo>
                    <a:pt x="304" y="398"/>
                  </a:lnTo>
                  <a:lnTo>
                    <a:pt x="304" y="396"/>
                  </a:lnTo>
                  <a:lnTo>
                    <a:pt x="307" y="393"/>
                  </a:lnTo>
                  <a:lnTo>
                    <a:pt x="325" y="358"/>
                  </a:lnTo>
                  <a:lnTo>
                    <a:pt x="325" y="356"/>
                  </a:lnTo>
                  <a:lnTo>
                    <a:pt x="325" y="353"/>
                  </a:lnTo>
                  <a:lnTo>
                    <a:pt x="325" y="353"/>
                  </a:lnTo>
                  <a:lnTo>
                    <a:pt x="328" y="350"/>
                  </a:lnTo>
                  <a:lnTo>
                    <a:pt x="328" y="348"/>
                  </a:lnTo>
                  <a:lnTo>
                    <a:pt x="331" y="342"/>
                  </a:lnTo>
                  <a:lnTo>
                    <a:pt x="331" y="340"/>
                  </a:lnTo>
                  <a:lnTo>
                    <a:pt x="333" y="334"/>
                  </a:lnTo>
                  <a:lnTo>
                    <a:pt x="336" y="332"/>
                  </a:lnTo>
                  <a:lnTo>
                    <a:pt x="339" y="324"/>
                  </a:lnTo>
                  <a:lnTo>
                    <a:pt x="341" y="321"/>
                  </a:lnTo>
                  <a:lnTo>
                    <a:pt x="344" y="318"/>
                  </a:lnTo>
                  <a:lnTo>
                    <a:pt x="347" y="318"/>
                  </a:lnTo>
                  <a:lnTo>
                    <a:pt x="347" y="313"/>
                  </a:lnTo>
                  <a:lnTo>
                    <a:pt x="347" y="313"/>
                  </a:lnTo>
                  <a:lnTo>
                    <a:pt x="347" y="307"/>
                  </a:lnTo>
                  <a:lnTo>
                    <a:pt x="349" y="302"/>
                  </a:lnTo>
                  <a:lnTo>
                    <a:pt x="349" y="299"/>
                  </a:lnTo>
                  <a:lnTo>
                    <a:pt x="352" y="297"/>
                  </a:lnTo>
                  <a:lnTo>
                    <a:pt x="352" y="297"/>
                  </a:lnTo>
                  <a:lnTo>
                    <a:pt x="352" y="289"/>
                  </a:lnTo>
                  <a:lnTo>
                    <a:pt x="355" y="286"/>
                  </a:lnTo>
                  <a:lnTo>
                    <a:pt x="355" y="286"/>
                  </a:lnTo>
                  <a:lnTo>
                    <a:pt x="357" y="289"/>
                  </a:lnTo>
                  <a:lnTo>
                    <a:pt x="357" y="289"/>
                  </a:lnTo>
                  <a:lnTo>
                    <a:pt x="357" y="291"/>
                  </a:lnTo>
                  <a:lnTo>
                    <a:pt x="355" y="294"/>
                  </a:lnTo>
                  <a:lnTo>
                    <a:pt x="355" y="297"/>
                  </a:lnTo>
                  <a:lnTo>
                    <a:pt x="355" y="297"/>
                  </a:lnTo>
                  <a:lnTo>
                    <a:pt x="355" y="299"/>
                  </a:lnTo>
                  <a:lnTo>
                    <a:pt x="355" y="302"/>
                  </a:lnTo>
                  <a:lnTo>
                    <a:pt x="355" y="305"/>
                  </a:lnTo>
                  <a:lnTo>
                    <a:pt x="357" y="305"/>
                  </a:lnTo>
                  <a:lnTo>
                    <a:pt x="357" y="307"/>
                  </a:lnTo>
                  <a:lnTo>
                    <a:pt x="357" y="313"/>
                  </a:lnTo>
                  <a:lnTo>
                    <a:pt x="357" y="315"/>
                  </a:lnTo>
                  <a:lnTo>
                    <a:pt x="360" y="318"/>
                  </a:lnTo>
                  <a:lnTo>
                    <a:pt x="360" y="318"/>
                  </a:lnTo>
                  <a:lnTo>
                    <a:pt x="360" y="315"/>
                  </a:lnTo>
                  <a:lnTo>
                    <a:pt x="360" y="315"/>
                  </a:lnTo>
                  <a:lnTo>
                    <a:pt x="365" y="313"/>
                  </a:lnTo>
                  <a:lnTo>
                    <a:pt x="368" y="313"/>
                  </a:lnTo>
                  <a:lnTo>
                    <a:pt x="368" y="313"/>
                  </a:lnTo>
                  <a:lnTo>
                    <a:pt x="371" y="310"/>
                  </a:lnTo>
                  <a:lnTo>
                    <a:pt x="371" y="310"/>
                  </a:lnTo>
                  <a:lnTo>
                    <a:pt x="371" y="307"/>
                  </a:lnTo>
                  <a:lnTo>
                    <a:pt x="373" y="302"/>
                  </a:lnTo>
                  <a:lnTo>
                    <a:pt x="373" y="302"/>
                  </a:lnTo>
                  <a:lnTo>
                    <a:pt x="373" y="299"/>
                  </a:lnTo>
                  <a:lnTo>
                    <a:pt x="376" y="299"/>
                  </a:lnTo>
                  <a:lnTo>
                    <a:pt x="376" y="297"/>
                  </a:lnTo>
                  <a:lnTo>
                    <a:pt x="376" y="297"/>
                  </a:lnTo>
                  <a:lnTo>
                    <a:pt x="376" y="294"/>
                  </a:lnTo>
                  <a:lnTo>
                    <a:pt x="376" y="291"/>
                  </a:lnTo>
                  <a:lnTo>
                    <a:pt x="379" y="291"/>
                  </a:lnTo>
                  <a:lnTo>
                    <a:pt x="379" y="291"/>
                  </a:lnTo>
                  <a:lnTo>
                    <a:pt x="384" y="294"/>
                  </a:lnTo>
                  <a:lnTo>
                    <a:pt x="387" y="294"/>
                  </a:lnTo>
                  <a:lnTo>
                    <a:pt x="389" y="291"/>
                  </a:lnTo>
                  <a:lnTo>
                    <a:pt x="389" y="291"/>
                  </a:lnTo>
                  <a:lnTo>
                    <a:pt x="392" y="289"/>
                  </a:lnTo>
                  <a:lnTo>
                    <a:pt x="392" y="286"/>
                  </a:lnTo>
                  <a:lnTo>
                    <a:pt x="395" y="286"/>
                  </a:lnTo>
                  <a:lnTo>
                    <a:pt x="397" y="286"/>
                  </a:lnTo>
                  <a:lnTo>
                    <a:pt x="397" y="286"/>
                  </a:lnTo>
                  <a:lnTo>
                    <a:pt x="400" y="286"/>
                  </a:lnTo>
                  <a:lnTo>
                    <a:pt x="400" y="289"/>
                  </a:lnTo>
                  <a:lnTo>
                    <a:pt x="397" y="297"/>
                  </a:lnTo>
                  <a:lnTo>
                    <a:pt x="397" y="299"/>
                  </a:lnTo>
                  <a:lnTo>
                    <a:pt x="400" y="299"/>
                  </a:lnTo>
                  <a:lnTo>
                    <a:pt x="400" y="299"/>
                  </a:lnTo>
                  <a:lnTo>
                    <a:pt x="400" y="299"/>
                  </a:lnTo>
                  <a:lnTo>
                    <a:pt x="400" y="302"/>
                  </a:lnTo>
                  <a:lnTo>
                    <a:pt x="397" y="302"/>
                  </a:lnTo>
                  <a:lnTo>
                    <a:pt x="397" y="299"/>
                  </a:lnTo>
                  <a:lnTo>
                    <a:pt x="395" y="299"/>
                  </a:lnTo>
                  <a:lnTo>
                    <a:pt x="395" y="299"/>
                  </a:lnTo>
                  <a:lnTo>
                    <a:pt x="392" y="302"/>
                  </a:lnTo>
                  <a:lnTo>
                    <a:pt x="392" y="302"/>
                  </a:lnTo>
                  <a:lnTo>
                    <a:pt x="392" y="302"/>
                  </a:lnTo>
                  <a:lnTo>
                    <a:pt x="392" y="302"/>
                  </a:lnTo>
                  <a:lnTo>
                    <a:pt x="392" y="305"/>
                  </a:lnTo>
                  <a:lnTo>
                    <a:pt x="392" y="305"/>
                  </a:lnTo>
                  <a:lnTo>
                    <a:pt x="392" y="305"/>
                  </a:lnTo>
                  <a:lnTo>
                    <a:pt x="392" y="305"/>
                  </a:lnTo>
                  <a:lnTo>
                    <a:pt x="389" y="305"/>
                  </a:lnTo>
                  <a:lnTo>
                    <a:pt x="389" y="307"/>
                  </a:lnTo>
                  <a:lnTo>
                    <a:pt x="389" y="310"/>
                  </a:lnTo>
                  <a:lnTo>
                    <a:pt x="389" y="313"/>
                  </a:lnTo>
                  <a:lnTo>
                    <a:pt x="387" y="315"/>
                  </a:lnTo>
                  <a:lnTo>
                    <a:pt x="387" y="315"/>
                  </a:lnTo>
                  <a:lnTo>
                    <a:pt x="387" y="318"/>
                  </a:lnTo>
                  <a:lnTo>
                    <a:pt x="389" y="321"/>
                  </a:lnTo>
                  <a:lnTo>
                    <a:pt x="392" y="324"/>
                  </a:lnTo>
                  <a:lnTo>
                    <a:pt x="395" y="324"/>
                  </a:lnTo>
                  <a:lnTo>
                    <a:pt x="395" y="324"/>
                  </a:lnTo>
                  <a:lnTo>
                    <a:pt x="397" y="324"/>
                  </a:lnTo>
                  <a:lnTo>
                    <a:pt x="397" y="324"/>
                  </a:lnTo>
                  <a:lnTo>
                    <a:pt x="397" y="324"/>
                  </a:lnTo>
                  <a:lnTo>
                    <a:pt x="397" y="321"/>
                  </a:lnTo>
                  <a:lnTo>
                    <a:pt x="395" y="321"/>
                  </a:lnTo>
                  <a:lnTo>
                    <a:pt x="395" y="321"/>
                  </a:lnTo>
                  <a:lnTo>
                    <a:pt x="395" y="318"/>
                  </a:lnTo>
                  <a:lnTo>
                    <a:pt x="395" y="318"/>
                  </a:lnTo>
                  <a:lnTo>
                    <a:pt x="395" y="315"/>
                  </a:lnTo>
                  <a:lnTo>
                    <a:pt x="395" y="315"/>
                  </a:lnTo>
                  <a:lnTo>
                    <a:pt x="397" y="315"/>
                  </a:lnTo>
                  <a:lnTo>
                    <a:pt x="397" y="315"/>
                  </a:lnTo>
                  <a:lnTo>
                    <a:pt x="397" y="310"/>
                  </a:lnTo>
                  <a:lnTo>
                    <a:pt x="400" y="310"/>
                  </a:lnTo>
                  <a:lnTo>
                    <a:pt x="403" y="307"/>
                  </a:lnTo>
                  <a:lnTo>
                    <a:pt x="403" y="307"/>
                  </a:lnTo>
                  <a:lnTo>
                    <a:pt x="403" y="305"/>
                  </a:lnTo>
                  <a:lnTo>
                    <a:pt x="403" y="305"/>
                  </a:lnTo>
                  <a:lnTo>
                    <a:pt x="403" y="302"/>
                  </a:lnTo>
                  <a:lnTo>
                    <a:pt x="405" y="302"/>
                  </a:lnTo>
                  <a:lnTo>
                    <a:pt x="408" y="302"/>
                  </a:lnTo>
                  <a:lnTo>
                    <a:pt x="411" y="299"/>
                  </a:lnTo>
                  <a:lnTo>
                    <a:pt x="411" y="299"/>
                  </a:lnTo>
                  <a:lnTo>
                    <a:pt x="413" y="297"/>
                  </a:lnTo>
                  <a:lnTo>
                    <a:pt x="413" y="297"/>
                  </a:lnTo>
                  <a:lnTo>
                    <a:pt x="413" y="297"/>
                  </a:lnTo>
                  <a:lnTo>
                    <a:pt x="419" y="294"/>
                  </a:lnTo>
                  <a:lnTo>
                    <a:pt x="419" y="294"/>
                  </a:lnTo>
                  <a:lnTo>
                    <a:pt x="419" y="291"/>
                  </a:lnTo>
                  <a:lnTo>
                    <a:pt x="419" y="291"/>
                  </a:lnTo>
                  <a:lnTo>
                    <a:pt x="421" y="283"/>
                  </a:lnTo>
                  <a:lnTo>
                    <a:pt x="424" y="278"/>
                  </a:lnTo>
                  <a:lnTo>
                    <a:pt x="427" y="273"/>
                  </a:lnTo>
                  <a:lnTo>
                    <a:pt x="445" y="267"/>
                  </a:lnTo>
                  <a:lnTo>
                    <a:pt x="448" y="267"/>
                  </a:lnTo>
                  <a:close/>
                  <a:moveTo>
                    <a:pt x="373" y="203"/>
                  </a:moveTo>
                  <a:lnTo>
                    <a:pt x="373" y="203"/>
                  </a:lnTo>
                  <a:lnTo>
                    <a:pt x="376" y="203"/>
                  </a:lnTo>
                  <a:lnTo>
                    <a:pt x="376" y="206"/>
                  </a:lnTo>
                  <a:lnTo>
                    <a:pt x="376" y="206"/>
                  </a:lnTo>
                  <a:lnTo>
                    <a:pt x="376" y="209"/>
                  </a:lnTo>
                  <a:lnTo>
                    <a:pt x="376" y="209"/>
                  </a:lnTo>
                  <a:lnTo>
                    <a:pt x="379" y="209"/>
                  </a:lnTo>
                  <a:lnTo>
                    <a:pt x="379" y="209"/>
                  </a:lnTo>
                  <a:lnTo>
                    <a:pt x="379" y="209"/>
                  </a:lnTo>
                  <a:lnTo>
                    <a:pt x="379" y="206"/>
                  </a:lnTo>
                  <a:lnTo>
                    <a:pt x="379" y="206"/>
                  </a:lnTo>
                  <a:lnTo>
                    <a:pt x="379" y="209"/>
                  </a:lnTo>
                  <a:lnTo>
                    <a:pt x="381" y="209"/>
                  </a:lnTo>
                  <a:lnTo>
                    <a:pt x="381" y="209"/>
                  </a:lnTo>
                  <a:lnTo>
                    <a:pt x="381" y="209"/>
                  </a:lnTo>
                  <a:lnTo>
                    <a:pt x="384" y="209"/>
                  </a:lnTo>
                  <a:lnTo>
                    <a:pt x="384" y="206"/>
                  </a:lnTo>
                  <a:lnTo>
                    <a:pt x="384" y="206"/>
                  </a:lnTo>
                  <a:lnTo>
                    <a:pt x="381" y="203"/>
                  </a:lnTo>
                  <a:lnTo>
                    <a:pt x="381" y="206"/>
                  </a:lnTo>
                  <a:lnTo>
                    <a:pt x="379" y="206"/>
                  </a:lnTo>
                  <a:lnTo>
                    <a:pt x="379" y="203"/>
                  </a:lnTo>
                  <a:lnTo>
                    <a:pt x="379" y="203"/>
                  </a:lnTo>
                  <a:lnTo>
                    <a:pt x="381" y="201"/>
                  </a:lnTo>
                  <a:lnTo>
                    <a:pt x="379" y="198"/>
                  </a:lnTo>
                  <a:lnTo>
                    <a:pt x="379" y="195"/>
                  </a:lnTo>
                  <a:lnTo>
                    <a:pt x="379" y="195"/>
                  </a:lnTo>
                  <a:lnTo>
                    <a:pt x="376" y="195"/>
                  </a:lnTo>
                  <a:lnTo>
                    <a:pt x="373" y="195"/>
                  </a:lnTo>
                  <a:lnTo>
                    <a:pt x="373" y="198"/>
                  </a:lnTo>
                  <a:lnTo>
                    <a:pt x="373" y="201"/>
                  </a:lnTo>
                  <a:lnTo>
                    <a:pt x="373" y="203"/>
                  </a:lnTo>
                  <a:close/>
                  <a:moveTo>
                    <a:pt x="173" y="128"/>
                  </a:moveTo>
                  <a:lnTo>
                    <a:pt x="171" y="131"/>
                  </a:lnTo>
                  <a:lnTo>
                    <a:pt x="171" y="134"/>
                  </a:lnTo>
                  <a:lnTo>
                    <a:pt x="171" y="139"/>
                  </a:lnTo>
                  <a:lnTo>
                    <a:pt x="173" y="142"/>
                  </a:lnTo>
                  <a:lnTo>
                    <a:pt x="181" y="142"/>
                  </a:lnTo>
                  <a:lnTo>
                    <a:pt x="184" y="142"/>
                  </a:lnTo>
                  <a:lnTo>
                    <a:pt x="187" y="145"/>
                  </a:lnTo>
                  <a:lnTo>
                    <a:pt x="187" y="145"/>
                  </a:lnTo>
                  <a:lnTo>
                    <a:pt x="189" y="142"/>
                  </a:lnTo>
                  <a:lnTo>
                    <a:pt x="192" y="142"/>
                  </a:lnTo>
                  <a:lnTo>
                    <a:pt x="192" y="139"/>
                  </a:lnTo>
                  <a:lnTo>
                    <a:pt x="189" y="136"/>
                  </a:lnTo>
                  <a:lnTo>
                    <a:pt x="187" y="139"/>
                  </a:lnTo>
                  <a:lnTo>
                    <a:pt x="189" y="136"/>
                  </a:lnTo>
                  <a:lnTo>
                    <a:pt x="189" y="134"/>
                  </a:lnTo>
                  <a:lnTo>
                    <a:pt x="192" y="131"/>
                  </a:lnTo>
                  <a:lnTo>
                    <a:pt x="192" y="131"/>
                  </a:lnTo>
                  <a:lnTo>
                    <a:pt x="192" y="134"/>
                  </a:lnTo>
                  <a:lnTo>
                    <a:pt x="192" y="139"/>
                  </a:lnTo>
                  <a:lnTo>
                    <a:pt x="192" y="139"/>
                  </a:lnTo>
                  <a:lnTo>
                    <a:pt x="192" y="142"/>
                  </a:lnTo>
                  <a:lnTo>
                    <a:pt x="192" y="145"/>
                  </a:lnTo>
                  <a:lnTo>
                    <a:pt x="189" y="147"/>
                  </a:lnTo>
                  <a:lnTo>
                    <a:pt x="187" y="147"/>
                  </a:lnTo>
                  <a:lnTo>
                    <a:pt x="187" y="150"/>
                  </a:lnTo>
                  <a:lnTo>
                    <a:pt x="187" y="150"/>
                  </a:lnTo>
                  <a:lnTo>
                    <a:pt x="195" y="158"/>
                  </a:lnTo>
                  <a:lnTo>
                    <a:pt x="195" y="158"/>
                  </a:lnTo>
                  <a:lnTo>
                    <a:pt x="197" y="155"/>
                  </a:lnTo>
                  <a:lnTo>
                    <a:pt x="197" y="153"/>
                  </a:lnTo>
                  <a:lnTo>
                    <a:pt x="200" y="145"/>
                  </a:lnTo>
                  <a:lnTo>
                    <a:pt x="200" y="145"/>
                  </a:lnTo>
                  <a:lnTo>
                    <a:pt x="205" y="142"/>
                  </a:lnTo>
                  <a:lnTo>
                    <a:pt x="205" y="139"/>
                  </a:lnTo>
                  <a:lnTo>
                    <a:pt x="205" y="136"/>
                  </a:lnTo>
                  <a:lnTo>
                    <a:pt x="205" y="136"/>
                  </a:lnTo>
                  <a:lnTo>
                    <a:pt x="208" y="136"/>
                  </a:lnTo>
                  <a:lnTo>
                    <a:pt x="211" y="136"/>
                  </a:lnTo>
                  <a:lnTo>
                    <a:pt x="211" y="134"/>
                  </a:lnTo>
                  <a:lnTo>
                    <a:pt x="208" y="134"/>
                  </a:lnTo>
                  <a:lnTo>
                    <a:pt x="208" y="131"/>
                  </a:lnTo>
                  <a:lnTo>
                    <a:pt x="211" y="128"/>
                  </a:lnTo>
                  <a:lnTo>
                    <a:pt x="211" y="126"/>
                  </a:lnTo>
                  <a:lnTo>
                    <a:pt x="213" y="126"/>
                  </a:lnTo>
                  <a:lnTo>
                    <a:pt x="213" y="126"/>
                  </a:lnTo>
                  <a:lnTo>
                    <a:pt x="216" y="126"/>
                  </a:lnTo>
                  <a:lnTo>
                    <a:pt x="216" y="123"/>
                  </a:lnTo>
                  <a:lnTo>
                    <a:pt x="219" y="120"/>
                  </a:lnTo>
                  <a:lnTo>
                    <a:pt x="221" y="118"/>
                  </a:lnTo>
                  <a:lnTo>
                    <a:pt x="224" y="118"/>
                  </a:lnTo>
                  <a:lnTo>
                    <a:pt x="224" y="118"/>
                  </a:lnTo>
                  <a:lnTo>
                    <a:pt x="224" y="112"/>
                  </a:lnTo>
                  <a:lnTo>
                    <a:pt x="227" y="112"/>
                  </a:lnTo>
                  <a:lnTo>
                    <a:pt x="229" y="112"/>
                  </a:lnTo>
                  <a:lnTo>
                    <a:pt x="229" y="110"/>
                  </a:lnTo>
                  <a:lnTo>
                    <a:pt x="235" y="104"/>
                  </a:lnTo>
                  <a:lnTo>
                    <a:pt x="235" y="104"/>
                  </a:lnTo>
                  <a:lnTo>
                    <a:pt x="229" y="102"/>
                  </a:lnTo>
                  <a:lnTo>
                    <a:pt x="227" y="102"/>
                  </a:lnTo>
                  <a:lnTo>
                    <a:pt x="229" y="102"/>
                  </a:lnTo>
                  <a:lnTo>
                    <a:pt x="229" y="99"/>
                  </a:lnTo>
                  <a:lnTo>
                    <a:pt x="235" y="99"/>
                  </a:lnTo>
                  <a:lnTo>
                    <a:pt x="240" y="96"/>
                  </a:lnTo>
                  <a:lnTo>
                    <a:pt x="243" y="96"/>
                  </a:lnTo>
                  <a:lnTo>
                    <a:pt x="245" y="96"/>
                  </a:lnTo>
                  <a:lnTo>
                    <a:pt x="248" y="99"/>
                  </a:lnTo>
                  <a:lnTo>
                    <a:pt x="251" y="99"/>
                  </a:lnTo>
                  <a:lnTo>
                    <a:pt x="253" y="96"/>
                  </a:lnTo>
                  <a:lnTo>
                    <a:pt x="256" y="94"/>
                  </a:lnTo>
                  <a:lnTo>
                    <a:pt x="259" y="94"/>
                  </a:lnTo>
                  <a:lnTo>
                    <a:pt x="259" y="94"/>
                  </a:lnTo>
                  <a:lnTo>
                    <a:pt x="256" y="94"/>
                  </a:lnTo>
                  <a:lnTo>
                    <a:pt x="253" y="88"/>
                  </a:lnTo>
                  <a:lnTo>
                    <a:pt x="253" y="88"/>
                  </a:lnTo>
                  <a:lnTo>
                    <a:pt x="248" y="86"/>
                  </a:lnTo>
                  <a:lnTo>
                    <a:pt x="245" y="86"/>
                  </a:lnTo>
                  <a:lnTo>
                    <a:pt x="224" y="88"/>
                  </a:lnTo>
                  <a:lnTo>
                    <a:pt x="216" y="91"/>
                  </a:lnTo>
                  <a:lnTo>
                    <a:pt x="208" y="94"/>
                  </a:lnTo>
                  <a:lnTo>
                    <a:pt x="208" y="96"/>
                  </a:lnTo>
                  <a:lnTo>
                    <a:pt x="205" y="99"/>
                  </a:lnTo>
                  <a:lnTo>
                    <a:pt x="205" y="99"/>
                  </a:lnTo>
                  <a:lnTo>
                    <a:pt x="203" y="99"/>
                  </a:lnTo>
                  <a:lnTo>
                    <a:pt x="203" y="99"/>
                  </a:lnTo>
                  <a:lnTo>
                    <a:pt x="200" y="99"/>
                  </a:lnTo>
                  <a:lnTo>
                    <a:pt x="200" y="99"/>
                  </a:lnTo>
                  <a:lnTo>
                    <a:pt x="197" y="102"/>
                  </a:lnTo>
                  <a:lnTo>
                    <a:pt x="189" y="104"/>
                  </a:lnTo>
                  <a:lnTo>
                    <a:pt x="187" y="107"/>
                  </a:lnTo>
                  <a:lnTo>
                    <a:pt x="179" y="120"/>
                  </a:lnTo>
                  <a:lnTo>
                    <a:pt x="179" y="123"/>
                  </a:lnTo>
                  <a:lnTo>
                    <a:pt x="173" y="126"/>
                  </a:lnTo>
                  <a:lnTo>
                    <a:pt x="173" y="128"/>
                  </a:lnTo>
                  <a:close/>
                  <a:moveTo>
                    <a:pt x="104" y="46"/>
                  </a:moveTo>
                  <a:lnTo>
                    <a:pt x="109" y="43"/>
                  </a:lnTo>
                  <a:lnTo>
                    <a:pt x="109" y="43"/>
                  </a:lnTo>
                  <a:lnTo>
                    <a:pt x="104" y="46"/>
                  </a:lnTo>
                  <a:lnTo>
                    <a:pt x="104" y="46"/>
                  </a:lnTo>
                  <a:lnTo>
                    <a:pt x="104" y="51"/>
                  </a:lnTo>
                  <a:lnTo>
                    <a:pt x="104" y="51"/>
                  </a:lnTo>
                  <a:lnTo>
                    <a:pt x="104" y="51"/>
                  </a:lnTo>
                  <a:lnTo>
                    <a:pt x="104" y="51"/>
                  </a:lnTo>
                  <a:lnTo>
                    <a:pt x="104" y="51"/>
                  </a:lnTo>
                  <a:lnTo>
                    <a:pt x="106" y="54"/>
                  </a:lnTo>
                  <a:lnTo>
                    <a:pt x="109" y="54"/>
                  </a:lnTo>
                  <a:lnTo>
                    <a:pt x="112" y="54"/>
                  </a:lnTo>
                  <a:lnTo>
                    <a:pt x="128" y="43"/>
                  </a:lnTo>
                  <a:lnTo>
                    <a:pt x="133" y="43"/>
                  </a:lnTo>
                  <a:lnTo>
                    <a:pt x="133" y="43"/>
                  </a:lnTo>
                  <a:lnTo>
                    <a:pt x="122" y="43"/>
                  </a:lnTo>
                  <a:lnTo>
                    <a:pt x="125" y="40"/>
                  </a:lnTo>
                  <a:lnTo>
                    <a:pt x="128" y="38"/>
                  </a:lnTo>
                  <a:lnTo>
                    <a:pt x="128" y="38"/>
                  </a:lnTo>
                  <a:lnTo>
                    <a:pt x="152" y="24"/>
                  </a:lnTo>
                  <a:lnTo>
                    <a:pt x="157" y="22"/>
                  </a:lnTo>
                  <a:lnTo>
                    <a:pt x="163" y="19"/>
                  </a:lnTo>
                  <a:lnTo>
                    <a:pt x="163" y="16"/>
                  </a:lnTo>
                  <a:lnTo>
                    <a:pt x="163" y="16"/>
                  </a:lnTo>
                  <a:lnTo>
                    <a:pt x="160" y="14"/>
                  </a:lnTo>
                  <a:lnTo>
                    <a:pt x="160" y="14"/>
                  </a:lnTo>
                  <a:lnTo>
                    <a:pt x="163" y="11"/>
                  </a:lnTo>
                  <a:lnTo>
                    <a:pt x="171" y="6"/>
                  </a:lnTo>
                  <a:lnTo>
                    <a:pt x="173" y="3"/>
                  </a:lnTo>
                  <a:lnTo>
                    <a:pt x="173" y="0"/>
                  </a:lnTo>
                  <a:lnTo>
                    <a:pt x="173" y="0"/>
                  </a:lnTo>
                  <a:lnTo>
                    <a:pt x="173" y="0"/>
                  </a:lnTo>
                  <a:lnTo>
                    <a:pt x="173" y="0"/>
                  </a:lnTo>
                  <a:lnTo>
                    <a:pt x="171" y="3"/>
                  </a:lnTo>
                  <a:lnTo>
                    <a:pt x="168" y="3"/>
                  </a:lnTo>
                  <a:lnTo>
                    <a:pt x="168" y="3"/>
                  </a:lnTo>
                  <a:lnTo>
                    <a:pt x="171" y="0"/>
                  </a:lnTo>
                  <a:lnTo>
                    <a:pt x="171" y="0"/>
                  </a:lnTo>
                  <a:lnTo>
                    <a:pt x="165" y="3"/>
                  </a:lnTo>
                  <a:lnTo>
                    <a:pt x="163" y="6"/>
                  </a:lnTo>
                  <a:lnTo>
                    <a:pt x="160" y="6"/>
                  </a:lnTo>
                  <a:lnTo>
                    <a:pt x="157" y="8"/>
                  </a:lnTo>
                  <a:lnTo>
                    <a:pt x="157" y="6"/>
                  </a:lnTo>
                  <a:lnTo>
                    <a:pt x="149" y="14"/>
                  </a:lnTo>
                  <a:lnTo>
                    <a:pt x="149" y="11"/>
                  </a:lnTo>
                  <a:lnTo>
                    <a:pt x="147" y="14"/>
                  </a:lnTo>
                  <a:lnTo>
                    <a:pt x="141" y="16"/>
                  </a:lnTo>
                  <a:lnTo>
                    <a:pt x="139" y="19"/>
                  </a:lnTo>
                  <a:lnTo>
                    <a:pt x="136" y="22"/>
                  </a:lnTo>
                  <a:lnTo>
                    <a:pt x="133" y="22"/>
                  </a:lnTo>
                  <a:lnTo>
                    <a:pt x="130" y="24"/>
                  </a:lnTo>
                  <a:lnTo>
                    <a:pt x="128" y="24"/>
                  </a:lnTo>
                  <a:lnTo>
                    <a:pt x="128" y="24"/>
                  </a:lnTo>
                  <a:lnTo>
                    <a:pt x="125" y="27"/>
                  </a:lnTo>
                  <a:lnTo>
                    <a:pt x="112" y="35"/>
                  </a:lnTo>
                  <a:lnTo>
                    <a:pt x="101" y="43"/>
                  </a:lnTo>
                  <a:lnTo>
                    <a:pt x="104" y="46"/>
                  </a:lnTo>
                  <a:lnTo>
                    <a:pt x="104" y="46"/>
                  </a:lnTo>
                  <a:close/>
                  <a:moveTo>
                    <a:pt x="459" y="393"/>
                  </a:moveTo>
                  <a:lnTo>
                    <a:pt x="459" y="393"/>
                  </a:lnTo>
                  <a:lnTo>
                    <a:pt x="456" y="393"/>
                  </a:lnTo>
                  <a:lnTo>
                    <a:pt x="456" y="393"/>
                  </a:lnTo>
                  <a:lnTo>
                    <a:pt x="453" y="396"/>
                  </a:lnTo>
                  <a:lnTo>
                    <a:pt x="453" y="398"/>
                  </a:lnTo>
                  <a:lnTo>
                    <a:pt x="453" y="398"/>
                  </a:lnTo>
                  <a:lnTo>
                    <a:pt x="456" y="401"/>
                  </a:lnTo>
                  <a:lnTo>
                    <a:pt x="459" y="398"/>
                  </a:lnTo>
                  <a:lnTo>
                    <a:pt x="459" y="396"/>
                  </a:lnTo>
                  <a:lnTo>
                    <a:pt x="461" y="393"/>
                  </a:lnTo>
                  <a:lnTo>
                    <a:pt x="459" y="393"/>
                  </a:lnTo>
                  <a:lnTo>
                    <a:pt x="459" y="393"/>
                  </a:lnTo>
                  <a:close/>
                  <a:moveTo>
                    <a:pt x="467" y="388"/>
                  </a:moveTo>
                  <a:lnTo>
                    <a:pt x="469" y="388"/>
                  </a:lnTo>
                  <a:lnTo>
                    <a:pt x="469" y="385"/>
                  </a:lnTo>
                  <a:lnTo>
                    <a:pt x="469" y="385"/>
                  </a:lnTo>
                  <a:lnTo>
                    <a:pt x="469" y="382"/>
                  </a:lnTo>
                  <a:lnTo>
                    <a:pt x="469" y="380"/>
                  </a:lnTo>
                  <a:lnTo>
                    <a:pt x="469" y="380"/>
                  </a:lnTo>
                  <a:lnTo>
                    <a:pt x="467" y="377"/>
                  </a:lnTo>
                  <a:lnTo>
                    <a:pt x="467" y="377"/>
                  </a:lnTo>
                  <a:lnTo>
                    <a:pt x="464" y="377"/>
                  </a:lnTo>
                  <a:lnTo>
                    <a:pt x="464" y="377"/>
                  </a:lnTo>
                  <a:lnTo>
                    <a:pt x="461" y="377"/>
                  </a:lnTo>
                  <a:lnTo>
                    <a:pt x="461" y="380"/>
                  </a:lnTo>
                  <a:lnTo>
                    <a:pt x="464" y="388"/>
                  </a:lnTo>
                  <a:lnTo>
                    <a:pt x="467" y="388"/>
                  </a:lnTo>
                  <a:close/>
                  <a:moveTo>
                    <a:pt x="616" y="243"/>
                  </a:moveTo>
                  <a:lnTo>
                    <a:pt x="613" y="241"/>
                  </a:lnTo>
                  <a:lnTo>
                    <a:pt x="611" y="243"/>
                  </a:lnTo>
                  <a:lnTo>
                    <a:pt x="611" y="243"/>
                  </a:lnTo>
                  <a:lnTo>
                    <a:pt x="611" y="243"/>
                  </a:lnTo>
                  <a:lnTo>
                    <a:pt x="611" y="243"/>
                  </a:lnTo>
                  <a:lnTo>
                    <a:pt x="611" y="246"/>
                  </a:lnTo>
                  <a:lnTo>
                    <a:pt x="613" y="246"/>
                  </a:lnTo>
                  <a:lnTo>
                    <a:pt x="613" y="246"/>
                  </a:lnTo>
                  <a:lnTo>
                    <a:pt x="611" y="246"/>
                  </a:lnTo>
                  <a:lnTo>
                    <a:pt x="613" y="246"/>
                  </a:lnTo>
                  <a:lnTo>
                    <a:pt x="616" y="249"/>
                  </a:lnTo>
                  <a:lnTo>
                    <a:pt x="621" y="246"/>
                  </a:lnTo>
                  <a:lnTo>
                    <a:pt x="619" y="246"/>
                  </a:lnTo>
                  <a:lnTo>
                    <a:pt x="619" y="246"/>
                  </a:lnTo>
                  <a:lnTo>
                    <a:pt x="616" y="243"/>
                  </a:lnTo>
                  <a:lnTo>
                    <a:pt x="616" y="246"/>
                  </a:lnTo>
                  <a:lnTo>
                    <a:pt x="616" y="243"/>
                  </a:lnTo>
                  <a:lnTo>
                    <a:pt x="616" y="243"/>
                  </a:lnTo>
                  <a:close/>
                  <a:moveTo>
                    <a:pt x="475" y="334"/>
                  </a:moveTo>
                  <a:lnTo>
                    <a:pt x="475" y="334"/>
                  </a:lnTo>
                  <a:lnTo>
                    <a:pt x="475" y="334"/>
                  </a:lnTo>
                  <a:lnTo>
                    <a:pt x="472" y="334"/>
                  </a:lnTo>
                  <a:lnTo>
                    <a:pt x="477" y="342"/>
                  </a:lnTo>
                  <a:lnTo>
                    <a:pt x="480" y="342"/>
                  </a:lnTo>
                  <a:lnTo>
                    <a:pt x="480" y="340"/>
                  </a:lnTo>
                  <a:lnTo>
                    <a:pt x="480" y="340"/>
                  </a:lnTo>
                  <a:lnTo>
                    <a:pt x="477" y="337"/>
                  </a:lnTo>
                  <a:lnTo>
                    <a:pt x="475" y="334"/>
                  </a:lnTo>
                  <a:close/>
                  <a:moveTo>
                    <a:pt x="878" y="623"/>
                  </a:moveTo>
                  <a:lnTo>
                    <a:pt x="878" y="620"/>
                  </a:lnTo>
                  <a:lnTo>
                    <a:pt x="878" y="615"/>
                  </a:lnTo>
                  <a:lnTo>
                    <a:pt x="878" y="615"/>
                  </a:lnTo>
                  <a:lnTo>
                    <a:pt x="875" y="612"/>
                  </a:lnTo>
                  <a:lnTo>
                    <a:pt x="872" y="607"/>
                  </a:lnTo>
                  <a:lnTo>
                    <a:pt x="870" y="604"/>
                  </a:lnTo>
                  <a:lnTo>
                    <a:pt x="870" y="604"/>
                  </a:lnTo>
                  <a:lnTo>
                    <a:pt x="862" y="580"/>
                  </a:lnTo>
                  <a:lnTo>
                    <a:pt x="854" y="559"/>
                  </a:lnTo>
                  <a:lnTo>
                    <a:pt x="851" y="548"/>
                  </a:lnTo>
                  <a:lnTo>
                    <a:pt x="838" y="511"/>
                  </a:lnTo>
                  <a:lnTo>
                    <a:pt x="832" y="503"/>
                  </a:lnTo>
                  <a:lnTo>
                    <a:pt x="832" y="503"/>
                  </a:lnTo>
                  <a:lnTo>
                    <a:pt x="832" y="500"/>
                  </a:lnTo>
                  <a:lnTo>
                    <a:pt x="830" y="497"/>
                  </a:lnTo>
                  <a:lnTo>
                    <a:pt x="824" y="489"/>
                  </a:lnTo>
                  <a:lnTo>
                    <a:pt x="819" y="486"/>
                  </a:lnTo>
                  <a:lnTo>
                    <a:pt x="816" y="484"/>
                  </a:lnTo>
                  <a:lnTo>
                    <a:pt x="803" y="481"/>
                  </a:lnTo>
                  <a:lnTo>
                    <a:pt x="800" y="481"/>
                  </a:lnTo>
                  <a:lnTo>
                    <a:pt x="798" y="481"/>
                  </a:lnTo>
                  <a:lnTo>
                    <a:pt x="792" y="484"/>
                  </a:lnTo>
                  <a:lnTo>
                    <a:pt x="792" y="484"/>
                  </a:lnTo>
                  <a:lnTo>
                    <a:pt x="790" y="489"/>
                  </a:lnTo>
                  <a:lnTo>
                    <a:pt x="787" y="489"/>
                  </a:lnTo>
                  <a:lnTo>
                    <a:pt x="784" y="492"/>
                  </a:lnTo>
                  <a:lnTo>
                    <a:pt x="782" y="492"/>
                  </a:lnTo>
                  <a:lnTo>
                    <a:pt x="782" y="495"/>
                  </a:lnTo>
                  <a:lnTo>
                    <a:pt x="779" y="495"/>
                  </a:lnTo>
                  <a:lnTo>
                    <a:pt x="771" y="497"/>
                  </a:lnTo>
                  <a:lnTo>
                    <a:pt x="771" y="497"/>
                  </a:lnTo>
                  <a:lnTo>
                    <a:pt x="771" y="497"/>
                  </a:lnTo>
                  <a:lnTo>
                    <a:pt x="768" y="497"/>
                  </a:lnTo>
                  <a:lnTo>
                    <a:pt x="766" y="503"/>
                  </a:lnTo>
                  <a:lnTo>
                    <a:pt x="766" y="505"/>
                  </a:lnTo>
                  <a:lnTo>
                    <a:pt x="766" y="505"/>
                  </a:lnTo>
                  <a:lnTo>
                    <a:pt x="755" y="508"/>
                  </a:lnTo>
                  <a:lnTo>
                    <a:pt x="758" y="508"/>
                  </a:lnTo>
                  <a:lnTo>
                    <a:pt x="760" y="508"/>
                  </a:lnTo>
                  <a:lnTo>
                    <a:pt x="763" y="508"/>
                  </a:lnTo>
                  <a:lnTo>
                    <a:pt x="763" y="511"/>
                  </a:lnTo>
                  <a:lnTo>
                    <a:pt x="760" y="513"/>
                  </a:lnTo>
                  <a:lnTo>
                    <a:pt x="760" y="516"/>
                  </a:lnTo>
                  <a:lnTo>
                    <a:pt x="758" y="519"/>
                  </a:lnTo>
                  <a:lnTo>
                    <a:pt x="758" y="521"/>
                  </a:lnTo>
                  <a:lnTo>
                    <a:pt x="755" y="529"/>
                  </a:lnTo>
                  <a:lnTo>
                    <a:pt x="752" y="537"/>
                  </a:lnTo>
                  <a:lnTo>
                    <a:pt x="752" y="540"/>
                  </a:lnTo>
                  <a:lnTo>
                    <a:pt x="750" y="540"/>
                  </a:lnTo>
                  <a:lnTo>
                    <a:pt x="750" y="537"/>
                  </a:lnTo>
                  <a:lnTo>
                    <a:pt x="750" y="537"/>
                  </a:lnTo>
                  <a:lnTo>
                    <a:pt x="747" y="535"/>
                  </a:lnTo>
                  <a:lnTo>
                    <a:pt x="747" y="537"/>
                  </a:lnTo>
                  <a:lnTo>
                    <a:pt x="742" y="548"/>
                  </a:lnTo>
                  <a:lnTo>
                    <a:pt x="739" y="551"/>
                  </a:lnTo>
                  <a:lnTo>
                    <a:pt x="734" y="556"/>
                  </a:lnTo>
                  <a:lnTo>
                    <a:pt x="731" y="553"/>
                  </a:lnTo>
                  <a:lnTo>
                    <a:pt x="726" y="553"/>
                  </a:lnTo>
                  <a:lnTo>
                    <a:pt x="720" y="551"/>
                  </a:lnTo>
                  <a:lnTo>
                    <a:pt x="718" y="551"/>
                  </a:lnTo>
                  <a:lnTo>
                    <a:pt x="712" y="548"/>
                  </a:lnTo>
                  <a:lnTo>
                    <a:pt x="710" y="548"/>
                  </a:lnTo>
                  <a:lnTo>
                    <a:pt x="707" y="545"/>
                  </a:lnTo>
                  <a:lnTo>
                    <a:pt x="704" y="543"/>
                  </a:lnTo>
                  <a:lnTo>
                    <a:pt x="704" y="540"/>
                  </a:lnTo>
                  <a:lnTo>
                    <a:pt x="704" y="535"/>
                  </a:lnTo>
                  <a:lnTo>
                    <a:pt x="704" y="535"/>
                  </a:lnTo>
                  <a:lnTo>
                    <a:pt x="704" y="529"/>
                  </a:lnTo>
                  <a:lnTo>
                    <a:pt x="704" y="527"/>
                  </a:lnTo>
                  <a:lnTo>
                    <a:pt x="704" y="527"/>
                  </a:lnTo>
                  <a:lnTo>
                    <a:pt x="704" y="524"/>
                  </a:lnTo>
                  <a:lnTo>
                    <a:pt x="704" y="524"/>
                  </a:lnTo>
                  <a:lnTo>
                    <a:pt x="704" y="521"/>
                  </a:lnTo>
                  <a:lnTo>
                    <a:pt x="704" y="511"/>
                  </a:lnTo>
                  <a:lnTo>
                    <a:pt x="707" y="505"/>
                  </a:lnTo>
                  <a:lnTo>
                    <a:pt x="712" y="503"/>
                  </a:lnTo>
                  <a:lnTo>
                    <a:pt x="712" y="503"/>
                  </a:lnTo>
                  <a:lnTo>
                    <a:pt x="715" y="503"/>
                  </a:lnTo>
                  <a:lnTo>
                    <a:pt x="718" y="503"/>
                  </a:lnTo>
                  <a:lnTo>
                    <a:pt x="718" y="503"/>
                  </a:lnTo>
                  <a:lnTo>
                    <a:pt x="720" y="503"/>
                  </a:lnTo>
                  <a:lnTo>
                    <a:pt x="720" y="500"/>
                  </a:lnTo>
                  <a:lnTo>
                    <a:pt x="720" y="500"/>
                  </a:lnTo>
                  <a:lnTo>
                    <a:pt x="723" y="503"/>
                  </a:lnTo>
                  <a:lnTo>
                    <a:pt x="726" y="500"/>
                  </a:lnTo>
                  <a:lnTo>
                    <a:pt x="726" y="500"/>
                  </a:lnTo>
                  <a:lnTo>
                    <a:pt x="726" y="497"/>
                  </a:lnTo>
                  <a:lnTo>
                    <a:pt x="726" y="495"/>
                  </a:lnTo>
                  <a:lnTo>
                    <a:pt x="728" y="495"/>
                  </a:lnTo>
                  <a:lnTo>
                    <a:pt x="734" y="492"/>
                  </a:lnTo>
                  <a:lnTo>
                    <a:pt x="734" y="492"/>
                  </a:lnTo>
                  <a:lnTo>
                    <a:pt x="734" y="489"/>
                  </a:lnTo>
                  <a:lnTo>
                    <a:pt x="734" y="489"/>
                  </a:lnTo>
                  <a:lnTo>
                    <a:pt x="734" y="486"/>
                  </a:lnTo>
                  <a:lnTo>
                    <a:pt x="734" y="486"/>
                  </a:lnTo>
                  <a:lnTo>
                    <a:pt x="736" y="486"/>
                  </a:lnTo>
                  <a:lnTo>
                    <a:pt x="736" y="484"/>
                  </a:lnTo>
                  <a:lnTo>
                    <a:pt x="734" y="473"/>
                  </a:lnTo>
                  <a:lnTo>
                    <a:pt x="734" y="468"/>
                  </a:lnTo>
                  <a:lnTo>
                    <a:pt x="736" y="462"/>
                  </a:lnTo>
                  <a:lnTo>
                    <a:pt x="739" y="460"/>
                  </a:lnTo>
                  <a:lnTo>
                    <a:pt x="742" y="460"/>
                  </a:lnTo>
                  <a:lnTo>
                    <a:pt x="744" y="460"/>
                  </a:lnTo>
                  <a:lnTo>
                    <a:pt x="744" y="460"/>
                  </a:lnTo>
                  <a:lnTo>
                    <a:pt x="744" y="462"/>
                  </a:lnTo>
                  <a:lnTo>
                    <a:pt x="744" y="462"/>
                  </a:lnTo>
                  <a:lnTo>
                    <a:pt x="744" y="462"/>
                  </a:lnTo>
                  <a:lnTo>
                    <a:pt x="747" y="454"/>
                  </a:lnTo>
                  <a:lnTo>
                    <a:pt x="750" y="454"/>
                  </a:lnTo>
                  <a:lnTo>
                    <a:pt x="750" y="452"/>
                  </a:lnTo>
                  <a:lnTo>
                    <a:pt x="752" y="452"/>
                  </a:lnTo>
                  <a:lnTo>
                    <a:pt x="752" y="452"/>
                  </a:lnTo>
                  <a:lnTo>
                    <a:pt x="755" y="449"/>
                  </a:lnTo>
                  <a:lnTo>
                    <a:pt x="755" y="449"/>
                  </a:lnTo>
                  <a:lnTo>
                    <a:pt x="755" y="446"/>
                  </a:lnTo>
                  <a:lnTo>
                    <a:pt x="755" y="441"/>
                  </a:lnTo>
                  <a:lnTo>
                    <a:pt x="752" y="412"/>
                  </a:lnTo>
                  <a:lnTo>
                    <a:pt x="752" y="409"/>
                  </a:lnTo>
                  <a:lnTo>
                    <a:pt x="752" y="404"/>
                  </a:lnTo>
                  <a:lnTo>
                    <a:pt x="752" y="401"/>
                  </a:lnTo>
                  <a:lnTo>
                    <a:pt x="752" y="398"/>
                  </a:lnTo>
                  <a:lnTo>
                    <a:pt x="750" y="393"/>
                  </a:lnTo>
                  <a:lnTo>
                    <a:pt x="750" y="385"/>
                  </a:lnTo>
                  <a:lnTo>
                    <a:pt x="747" y="382"/>
                  </a:lnTo>
                  <a:lnTo>
                    <a:pt x="747" y="380"/>
                  </a:lnTo>
                  <a:lnTo>
                    <a:pt x="744" y="380"/>
                  </a:lnTo>
                  <a:lnTo>
                    <a:pt x="744" y="377"/>
                  </a:lnTo>
                  <a:lnTo>
                    <a:pt x="744" y="377"/>
                  </a:lnTo>
                  <a:lnTo>
                    <a:pt x="744" y="377"/>
                  </a:lnTo>
                  <a:lnTo>
                    <a:pt x="742" y="374"/>
                  </a:lnTo>
                  <a:lnTo>
                    <a:pt x="742" y="374"/>
                  </a:lnTo>
                  <a:lnTo>
                    <a:pt x="739" y="374"/>
                  </a:lnTo>
                  <a:lnTo>
                    <a:pt x="736" y="372"/>
                  </a:lnTo>
                  <a:lnTo>
                    <a:pt x="734" y="372"/>
                  </a:lnTo>
                  <a:lnTo>
                    <a:pt x="734" y="369"/>
                  </a:lnTo>
                  <a:lnTo>
                    <a:pt x="731" y="369"/>
                  </a:lnTo>
                  <a:lnTo>
                    <a:pt x="731" y="366"/>
                  </a:lnTo>
                  <a:lnTo>
                    <a:pt x="731" y="366"/>
                  </a:lnTo>
                  <a:lnTo>
                    <a:pt x="731" y="364"/>
                  </a:lnTo>
                  <a:lnTo>
                    <a:pt x="731" y="364"/>
                  </a:lnTo>
                  <a:lnTo>
                    <a:pt x="728" y="364"/>
                  </a:lnTo>
                  <a:lnTo>
                    <a:pt x="728" y="364"/>
                  </a:lnTo>
                  <a:lnTo>
                    <a:pt x="728" y="361"/>
                  </a:lnTo>
                  <a:lnTo>
                    <a:pt x="728" y="361"/>
                  </a:lnTo>
                  <a:lnTo>
                    <a:pt x="728" y="361"/>
                  </a:lnTo>
                  <a:lnTo>
                    <a:pt x="731" y="361"/>
                  </a:lnTo>
                  <a:lnTo>
                    <a:pt x="728" y="356"/>
                  </a:lnTo>
                  <a:lnTo>
                    <a:pt x="731" y="353"/>
                  </a:lnTo>
                  <a:lnTo>
                    <a:pt x="731" y="353"/>
                  </a:lnTo>
                  <a:lnTo>
                    <a:pt x="736" y="350"/>
                  </a:lnTo>
                  <a:lnTo>
                    <a:pt x="736" y="350"/>
                  </a:lnTo>
                  <a:lnTo>
                    <a:pt x="739" y="353"/>
                  </a:lnTo>
                  <a:lnTo>
                    <a:pt x="742" y="356"/>
                  </a:lnTo>
                  <a:lnTo>
                    <a:pt x="742" y="356"/>
                  </a:lnTo>
                  <a:lnTo>
                    <a:pt x="744" y="356"/>
                  </a:lnTo>
                  <a:lnTo>
                    <a:pt x="747" y="356"/>
                  </a:lnTo>
                  <a:lnTo>
                    <a:pt x="747" y="353"/>
                  </a:lnTo>
                  <a:lnTo>
                    <a:pt x="742" y="350"/>
                  </a:lnTo>
                  <a:lnTo>
                    <a:pt x="742" y="348"/>
                  </a:lnTo>
                  <a:lnTo>
                    <a:pt x="742" y="348"/>
                  </a:lnTo>
                  <a:lnTo>
                    <a:pt x="742" y="348"/>
                  </a:lnTo>
                  <a:lnTo>
                    <a:pt x="742" y="348"/>
                  </a:lnTo>
                  <a:lnTo>
                    <a:pt x="742" y="348"/>
                  </a:lnTo>
                  <a:lnTo>
                    <a:pt x="742" y="345"/>
                  </a:lnTo>
                  <a:lnTo>
                    <a:pt x="742" y="345"/>
                  </a:lnTo>
                  <a:lnTo>
                    <a:pt x="742" y="345"/>
                  </a:lnTo>
                  <a:lnTo>
                    <a:pt x="742" y="345"/>
                  </a:lnTo>
                  <a:lnTo>
                    <a:pt x="742" y="342"/>
                  </a:lnTo>
                  <a:lnTo>
                    <a:pt x="739" y="340"/>
                  </a:lnTo>
                  <a:lnTo>
                    <a:pt x="739" y="340"/>
                  </a:lnTo>
                  <a:lnTo>
                    <a:pt x="739" y="340"/>
                  </a:lnTo>
                  <a:lnTo>
                    <a:pt x="736" y="340"/>
                  </a:lnTo>
                  <a:lnTo>
                    <a:pt x="736" y="337"/>
                  </a:lnTo>
                  <a:lnTo>
                    <a:pt x="734" y="337"/>
                  </a:lnTo>
                  <a:lnTo>
                    <a:pt x="731" y="334"/>
                  </a:lnTo>
                  <a:lnTo>
                    <a:pt x="728" y="329"/>
                  </a:lnTo>
                  <a:lnTo>
                    <a:pt x="728" y="329"/>
                  </a:lnTo>
                  <a:lnTo>
                    <a:pt x="728" y="326"/>
                  </a:lnTo>
                  <a:lnTo>
                    <a:pt x="728" y="326"/>
                  </a:lnTo>
                  <a:lnTo>
                    <a:pt x="731" y="324"/>
                  </a:lnTo>
                  <a:lnTo>
                    <a:pt x="726" y="321"/>
                  </a:lnTo>
                  <a:lnTo>
                    <a:pt x="720" y="318"/>
                  </a:lnTo>
                  <a:lnTo>
                    <a:pt x="715" y="315"/>
                  </a:lnTo>
                  <a:lnTo>
                    <a:pt x="712" y="315"/>
                  </a:lnTo>
                  <a:lnTo>
                    <a:pt x="707" y="315"/>
                  </a:lnTo>
                  <a:lnTo>
                    <a:pt x="707" y="315"/>
                  </a:lnTo>
                  <a:lnTo>
                    <a:pt x="702" y="315"/>
                  </a:lnTo>
                  <a:lnTo>
                    <a:pt x="702" y="315"/>
                  </a:lnTo>
                  <a:lnTo>
                    <a:pt x="699" y="313"/>
                  </a:lnTo>
                  <a:lnTo>
                    <a:pt x="696" y="310"/>
                  </a:lnTo>
                  <a:lnTo>
                    <a:pt x="694" y="310"/>
                  </a:lnTo>
                  <a:lnTo>
                    <a:pt x="694" y="310"/>
                  </a:lnTo>
                  <a:lnTo>
                    <a:pt x="688" y="310"/>
                  </a:lnTo>
                  <a:lnTo>
                    <a:pt x="688" y="310"/>
                  </a:lnTo>
                  <a:lnTo>
                    <a:pt x="686" y="310"/>
                  </a:lnTo>
                  <a:lnTo>
                    <a:pt x="680" y="310"/>
                  </a:lnTo>
                  <a:lnTo>
                    <a:pt x="678" y="307"/>
                  </a:lnTo>
                  <a:lnTo>
                    <a:pt x="675" y="305"/>
                  </a:lnTo>
                  <a:lnTo>
                    <a:pt x="669" y="302"/>
                  </a:lnTo>
                  <a:lnTo>
                    <a:pt x="653" y="305"/>
                  </a:lnTo>
                  <a:lnTo>
                    <a:pt x="651" y="305"/>
                  </a:lnTo>
                  <a:lnTo>
                    <a:pt x="651" y="302"/>
                  </a:lnTo>
                  <a:lnTo>
                    <a:pt x="648" y="299"/>
                  </a:lnTo>
                  <a:lnTo>
                    <a:pt x="648" y="297"/>
                  </a:lnTo>
                  <a:lnTo>
                    <a:pt x="648" y="294"/>
                  </a:lnTo>
                  <a:lnTo>
                    <a:pt x="645" y="294"/>
                  </a:lnTo>
                  <a:lnTo>
                    <a:pt x="643" y="289"/>
                  </a:lnTo>
                  <a:lnTo>
                    <a:pt x="637" y="289"/>
                  </a:lnTo>
                  <a:lnTo>
                    <a:pt x="632" y="286"/>
                  </a:lnTo>
                  <a:lnTo>
                    <a:pt x="629" y="286"/>
                  </a:lnTo>
                  <a:lnTo>
                    <a:pt x="624" y="286"/>
                  </a:lnTo>
                  <a:lnTo>
                    <a:pt x="613" y="286"/>
                  </a:lnTo>
                  <a:lnTo>
                    <a:pt x="611" y="286"/>
                  </a:lnTo>
                  <a:lnTo>
                    <a:pt x="600" y="281"/>
                  </a:lnTo>
                  <a:lnTo>
                    <a:pt x="587" y="275"/>
                  </a:lnTo>
                  <a:lnTo>
                    <a:pt x="584" y="273"/>
                  </a:lnTo>
                  <a:lnTo>
                    <a:pt x="581" y="273"/>
                  </a:lnTo>
                  <a:lnTo>
                    <a:pt x="579" y="275"/>
                  </a:lnTo>
                  <a:lnTo>
                    <a:pt x="579" y="275"/>
                  </a:lnTo>
                  <a:lnTo>
                    <a:pt x="579" y="278"/>
                  </a:lnTo>
                  <a:lnTo>
                    <a:pt x="576" y="278"/>
                  </a:lnTo>
                  <a:lnTo>
                    <a:pt x="576" y="281"/>
                  </a:lnTo>
                  <a:lnTo>
                    <a:pt x="563" y="281"/>
                  </a:lnTo>
                  <a:lnTo>
                    <a:pt x="557" y="281"/>
                  </a:lnTo>
                  <a:lnTo>
                    <a:pt x="557" y="281"/>
                  </a:lnTo>
                  <a:lnTo>
                    <a:pt x="560" y="281"/>
                  </a:lnTo>
                  <a:lnTo>
                    <a:pt x="563" y="286"/>
                  </a:lnTo>
                  <a:lnTo>
                    <a:pt x="563" y="286"/>
                  </a:lnTo>
                  <a:lnTo>
                    <a:pt x="563" y="286"/>
                  </a:lnTo>
                  <a:lnTo>
                    <a:pt x="560" y="294"/>
                  </a:lnTo>
                  <a:lnTo>
                    <a:pt x="555" y="299"/>
                  </a:lnTo>
                  <a:lnTo>
                    <a:pt x="552" y="302"/>
                  </a:lnTo>
                  <a:lnTo>
                    <a:pt x="549" y="305"/>
                  </a:lnTo>
                  <a:lnTo>
                    <a:pt x="549" y="310"/>
                  </a:lnTo>
                  <a:lnTo>
                    <a:pt x="552" y="315"/>
                  </a:lnTo>
                  <a:lnTo>
                    <a:pt x="555" y="321"/>
                  </a:lnTo>
                  <a:lnTo>
                    <a:pt x="555" y="324"/>
                  </a:lnTo>
                  <a:lnTo>
                    <a:pt x="560" y="326"/>
                  </a:lnTo>
                  <a:lnTo>
                    <a:pt x="560" y="326"/>
                  </a:lnTo>
                  <a:lnTo>
                    <a:pt x="571" y="326"/>
                  </a:lnTo>
                  <a:lnTo>
                    <a:pt x="573" y="326"/>
                  </a:lnTo>
                  <a:lnTo>
                    <a:pt x="571" y="332"/>
                  </a:lnTo>
                  <a:lnTo>
                    <a:pt x="565" y="334"/>
                  </a:lnTo>
                  <a:lnTo>
                    <a:pt x="560" y="334"/>
                  </a:lnTo>
                  <a:lnTo>
                    <a:pt x="552" y="334"/>
                  </a:lnTo>
                  <a:lnTo>
                    <a:pt x="547" y="337"/>
                  </a:lnTo>
                  <a:lnTo>
                    <a:pt x="531" y="348"/>
                  </a:lnTo>
                  <a:lnTo>
                    <a:pt x="528" y="350"/>
                  </a:lnTo>
                  <a:lnTo>
                    <a:pt x="528" y="356"/>
                  </a:lnTo>
                  <a:lnTo>
                    <a:pt x="528" y="361"/>
                  </a:lnTo>
                  <a:lnTo>
                    <a:pt x="531" y="377"/>
                  </a:lnTo>
                  <a:lnTo>
                    <a:pt x="531" y="390"/>
                  </a:lnTo>
                  <a:lnTo>
                    <a:pt x="531" y="401"/>
                  </a:lnTo>
                  <a:lnTo>
                    <a:pt x="525" y="412"/>
                  </a:lnTo>
                  <a:lnTo>
                    <a:pt x="520" y="422"/>
                  </a:lnTo>
                  <a:lnTo>
                    <a:pt x="520" y="425"/>
                  </a:lnTo>
                  <a:lnTo>
                    <a:pt x="520" y="425"/>
                  </a:lnTo>
                  <a:lnTo>
                    <a:pt x="517" y="425"/>
                  </a:lnTo>
                  <a:lnTo>
                    <a:pt x="517" y="422"/>
                  </a:lnTo>
                  <a:lnTo>
                    <a:pt x="517" y="422"/>
                  </a:lnTo>
                  <a:lnTo>
                    <a:pt x="517" y="420"/>
                  </a:lnTo>
                  <a:lnTo>
                    <a:pt x="517" y="417"/>
                  </a:lnTo>
                  <a:lnTo>
                    <a:pt x="517" y="414"/>
                  </a:lnTo>
                  <a:lnTo>
                    <a:pt x="517" y="414"/>
                  </a:lnTo>
                  <a:lnTo>
                    <a:pt x="520" y="412"/>
                  </a:lnTo>
                  <a:lnTo>
                    <a:pt x="523" y="409"/>
                  </a:lnTo>
                  <a:lnTo>
                    <a:pt x="523" y="406"/>
                  </a:lnTo>
                  <a:lnTo>
                    <a:pt x="523" y="404"/>
                  </a:lnTo>
                  <a:lnTo>
                    <a:pt x="523" y="398"/>
                  </a:lnTo>
                  <a:lnTo>
                    <a:pt x="523" y="398"/>
                  </a:lnTo>
                  <a:lnTo>
                    <a:pt x="523" y="396"/>
                  </a:lnTo>
                  <a:lnTo>
                    <a:pt x="523" y="396"/>
                  </a:lnTo>
                  <a:lnTo>
                    <a:pt x="523" y="393"/>
                  </a:lnTo>
                  <a:lnTo>
                    <a:pt x="520" y="393"/>
                  </a:lnTo>
                  <a:lnTo>
                    <a:pt x="520" y="393"/>
                  </a:lnTo>
                  <a:lnTo>
                    <a:pt x="517" y="393"/>
                  </a:lnTo>
                  <a:lnTo>
                    <a:pt x="517" y="393"/>
                  </a:lnTo>
                  <a:lnTo>
                    <a:pt x="517" y="396"/>
                  </a:lnTo>
                  <a:lnTo>
                    <a:pt x="517" y="401"/>
                  </a:lnTo>
                  <a:lnTo>
                    <a:pt x="517" y="401"/>
                  </a:lnTo>
                  <a:lnTo>
                    <a:pt x="517" y="404"/>
                  </a:lnTo>
                  <a:lnTo>
                    <a:pt x="515" y="406"/>
                  </a:lnTo>
                  <a:lnTo>
                    <a:pt x="515" y="406"/>
                  </a:lnTo>
                  <a:lnTo>
                    <a:pt x="517" y="406"/>
                  </a:lnTo>
                  <a:lnTo>
                    <a:pt x="517" y="406"/>
                  </a:lnTo>
                  <a:lnTo>
                    <a:pt x="515" y="409"/>
                  </a:lnTo>
                  <a:lnTo>
                    <a:pt x="515" y="412"/>
                  </a:lnTo>
                  <a:lnTo>
                    <a:pt x="515" y="414"/>
                  </a:lnTo>
                  <a:lnTo>
                    <a:pt x="515" y="417"/>
                  </a:lnTo>
                  <a:lnTo>
                    <a:pt x="515" y="420"/>
                  </a:lnTo>
                  <a:lnTo>
                    <a:pt x="515" y="422"/>
                  </a:lnTo>
                  <a:lnTo>
                    <a:pt x="512" y="422"/>
                  </a:lnTo>
                  <a:lnTo>
                    <a:pt x="512" y="422"/>
                  </a:lnTo>
                  <a:lnTo>
                    <a:pt x="509" y="420"/>
                  </a:lnTo>
                  <a:lnTo>
                    <a:pt x="507" y="417"/>
                  </a:lnTo>
                  <a:lnTo>
                    <a:pt x="507" y="414"/>
                  </a:lnTo>
                  <a:lnTo>
                    <a:pt x="507" y="409"/>
                  </a:lnTo>
                  <a:lnTo>
                    <a:pt x="509" y="401"/>
                  </a:lnTo>
                  <a:lnTo>
                    <a:pt x="509" y="398"/>
                  </a:lnTo>
                  <a:lnTo>
                    <a:pt x="509" y="396"/>
                  </a:lnTo>
                  <a:lnTo>
                    <a:pt x="509" y="396"/>
                  </a:lnTo>
                  <a:lnTo>
                    <a:pt x="509" y="396"/>
                  </a:lnTo>
                  <a:lnTo>
                    <a:pt x="507" y="396"/>
                  </a:lnTo>
                  <a:lnTo>
                    <a:pt x="507" y="393"/>
                  </a:lnTo>
                  <a:lnTo>
                    <a:pt x="507" y="390"/>
                  </a:lnTo>
                  <a:lnTo>
                    <a:pt x="509" y="388"/>
                  </a:lnTo>
                  <a:lnTo>
                    <a:pt x="512" y="385"/>
                  </a:lnTo>
                  <a:lnTo>
                    <a:pt x="512" y="385"/>
                  </a:lnTo>
                  <a:lnTo>
                    <a:pt x="509" y="382"/>
                  </a:lnTo>
                  <a:lnTo>
                    <a:pt x="507" y="377"/>
                  </a:lnTo>
                  <a:lnTo>
                    <a:pt x="507" y="374"/>
                  </a:lnTo>
                  <a:lnTo>
                    <a:pt x="509" y="372"/>
                  </a:lnTo>
                  <a:lnTo>
                    <a:pt x="509" y="372"/>
                  </a:lnTo>
                  <a:lnTo>
                    <a:pt x="512" y="372"/>
                  </a:lnTo>
                  <a:lnTo>
                    <a:pt x="512" y="369"/>
                  </a:lnTo>
                  <a:lnTo>
                    <a:pt x="512" y="366"/>
                  </a:lnTo>
                  <a:lnTo>
                    <a:pt x="512" y="364"/>
                  </a:lnTo>
                  <a:lnTo>
                    <a:pt x="509" y="364"/>
                  </a:lnTo>
                  <a:lnTo>
                    <a:pt x="507" y="366"/>
                  </a:lnTo>
                  <a:lnTo>
                    <a:pt x="507" y="366"/>
                  </a:lnTo>
                  <a:lnTo>
                    <a:pt x="504" y="366"/>
                  </a:lnTo>
                  <a:lnTo>
                    <a:pt x="504" y="369"/>
                  </a:lnTo>
                  <a:lnTo>
                    <a:pt x="504" y="369"/>
                  </a:lnTo>
                  <a:lnTo>
                    <a:pt x="499" y="380"/>
                  </a:lnTo>
                  <a:lnTo>
                    <a:pt x="499" y="382"/>
                  </a:lnTo>
                  <a:lnTo>
                    <a:pt x="493" y="385"/>
                  </a:lnTo>
                  <a:lnTo>
                    <a:pt x="493" y="388"/>
                  </a:lnTo>
                  <a:lnTo>
                    <a:pt x="493" y="390"/>
                  </a:lnTo>
                  <a:lnTo>
                    <a:pt x="488" y="401"/>
                  </a:lnTo>
                  <a:lnTo>
                    <a:pt x="488" y="404"/>
                  </a:lnTo>
                  <a:lnTo>
                    <a:pt x="485" y="404"/>
                  </a:lnTo>
                  <a:lnTo>
                    <a:pt x="485" y="404"/>
                  </a:lnTo>
                  <a:lnTo>
                    <a:pt x="480" y="401"/>
                  </a:lnTo>
                  <a:lnTo>
                    <a:pt x="480" y="401"/>
                  </a:lnTo>
                  <a:lnTo>
                    <a:pt x="477" y="401"/>
                  </a:lnTo>
                  <a:lnTo>
                    <a:pt x="477" y="401"/>
                  </a:lnTo>
                  <a:lnTo>
                    <a:pt x="477" y="401"/>
                  </a:lnTo>
                  <a:lnTo>
                    <a:pt x="475" y="401"/>
                  </a:lnTo>
                  <a:lnTo>
                    <a:pt x="475" y="401"/>
                  </a:lnTo>
                  <a:lnTo>
                    <a:pt x="475" y="401"/>
                  </a:lnTo>
                  <a:lnTo>
                    <a:pt x="475" y="404"/>
                  </a:lnTo>
                  <a:lnTo>
                    <a:pt x="472" y="409"/>
                  </a:lnTo>
                  <a:lnTo>
                    <a:pt x="472" y="412"/>
                  </a:lnTo>
                  <a:lnTo>
                    <a:pt x="469" y="412"/>
                  </a:lnTo>
                  <a:lnTo>
                    <a:pt x="469" y="409"/>
                  </a:lnTo>
                  <a:lnTo>
                    <a:pt x="469" y="409"/>
                  </a:lnTo>
                  <a:lnTo>
                    <a:pt x="467" y="409"/>
                  </a:lnTo>
                  <a:lnTo>
                    <a:pt x="464" y="409"/>
                  </a:lnTo>
                  <a:lnTo>
                    <a:pt x="464" y="412"/>
                  </a:lnTo>
                  <a:lnTo>
                    <a:pt x="464" y="412"/>
                  </a:lnTo>
                  <a:lnTo>
                    <a:pt x="464" y="417"/>
                  </a:lnTo>
                  <a:lnTo>
                    <a:pt x="464" y="430"/>
                  </a:lnTo>
                  <a:lnTo>
                    <a:pt x="464" y="430"/>
                  </a:lnTo>
                  <a:lnTo>
                    <a:pt x="464" y="433"/>
                  </a:lnTo>
                  <a:lnTo>
                    <a:pt x="464" y="436"/>
                  </a:lnTo>
                  <a:lnTo>
                    <a:pt x="461" y="436"/>
                  </a:lnTo>
                  <a:lnTo>
                    <a:pt x="461" y="436"/>
                  </a:lnTo>
                  <a:lnTo>
                    <a:pt x="459" y="436"/>
                  </a:lnTo>
                  <a:lnTo>
                    <a:pt x="459" y="436"/>
                  </a:lnTo>
                  <a:lnTo>
                    <a:pt x="456" y="436"/>
                  </a:lnTo>
                  <a:lnTo>
                    <a:pt x="456" y="436"/>
                  </a:lnTo>
                  <a:lnTo>
                    <a:pt x="453" y="436"/>
                  </a:lnTo>
                  <a:lnTo>
                    <a:pt x="451" y="438"/>
                  </a:lnTo>
                  <a:lnTo>
                    <a:pt x="448" y="441"/>
                  </a:lnTo>
                  <a:lnTo>
                    <a:pt x="448" y="444"/>
                  </a:lnTo>
                  <a:lnTo>
                    <a:pt x="448" y="449"/>
                  </a:lnTo>
                  <a:lnTo>
                    <a:pt x="451" y="452"/>
                  </a:lnTo>
                  <a:lnTo>
                    <a:pt x="453" y="454"/>
                  </a:lnTo>
                  <a:lnTo>
                    <a:pt x="453" y="457"/>
                  </a:lnTo>
                  <a:lnTo>
                    <a:pt x="451" y="468"/>
                  </a:lnTo>
                  <a:lnTo>
                    <a:pt x="451" y="468"/>
                  </a:lnTo>
                  <a:lnTo>
                    <a:pt x="451" y="470"/>
                  </a:lnTo>
                  <a:lnTo>
                    <a:pt x="451" y="476"/>
                  </a:lnTo>
                  <a:lnTo>
                    <a:pt x="451" y="476"/>
                  </a:lnTo>
                  <a:lnTo>
                    <a:pt x="453" y="481"/>
                  </a:lnTo>
                  <a:lnTo>
                    <a:pt x="453" y="486"/>
                  </a:lnTo>
                  <a:lnTo>
                    <a:pt x="451" y="492"/>
                  </a:lnTo>
                  <a:lnTo>
                    <a:pt x="448" y="503"/>
                  </a:lnTo>
                  <a:lnTo>
                    <a:pt x="443" y="513"/>
                  </a:lnTo>
                  <a:lnTo>
                    <a:pt x="443" y="519"/>
                  </a:lnTo>
                  <a:lnTo>
                    <a:pt x="435" y="527"/>
                  </a:lnTo>
                  <a:lnTo>
                    <a:pt x="432" y="529"/>
                  </a:lnTo>
                  <a:lnTo>
                    <a:pt x="432" y="535"/>
                  </a:lnTo>
                  <a:lnTo>
                    <a:pt x="435" y="537"/>
                  </a:lnTo>
                  <a:lnTo>
                    <a:pt x="437" y="540"/>
                  </a:lnTo>
                  <a:lnTo>
                    <a:pt x="437" y="543"/>
                  </a:lnTo>
                  <a:lnTo>
                    <a:pt x="440" y="545"/>
                  </a:lnTo>
                  <a:lnTo>
                    <a:pt x="440" y="545"/>
                  </a:lnTo>
                  <a:lnTo>
                    <a:pt x="440" y="551"/>
                  </a:lnTo>
                  <a:lnTo>
                    <a:pt x="440" y="551"/>
                  </a:lnTo>
                  <a:lnTo>
                    <a:pt x="443" y="553"/>
                  </a:lnTo>
                  <a:lnTo>
                    <a:pt x="445" y="564"/>
                  </a:lnTo>
                  <a:lnTo>
                    <a:pt x="445" y="569"/>
                  </a:lnTo>
                  <a:lnTo>
                    <a:pt x="443" y="575"/>
                  </a:lnTo>
                  <a:lnTo>
                    <a:pt x="437" y="583"/>
                  </a:lnTo>
                  <a:lnTo>
                    <a:pt x="437" y="588"/>
                  </a:lnTo>
                  <a:lnTo>
                    <a:pt x="437" y="593"/>
                  </a:lnTo>
                  <a:lnTo>
                    <a:pt x="437" y="596"/>
                  </a:lnTo>
                  <a:lnTo>
                    <a:pt x="440" y="599"/>
                  </a:lnTo>
                  <a:lnTo>
                    <a:pt x="443" y="604"/>
                  </a:lnTo>
                  <a:lnTo>
                    <a:pt x="461" y="641"/>
                  </a:lnTo>
                  <a:lnTo>
                    <a:pt x="464" y="641"/>
                  </a:lnTo>
                  <a:lnTo>
                    <a:pt x="467" y="641"/>
                  </a:lnTo>
                  <a:lnTo>
                    <a:pt x="472" y="636"/>
                  </a:lnTo>
                  <a:lnTo>
                    <a:pt x="472" y="639"/>
                  </a:lnTo>
                  <a:lnTo>
                    <a:pt x="472" y="641"/>
                  </a:lnTo>
                  <a:lnTo>
                    <a:pt x="469" y="644"/>
                  </a:lnTo>
                  <a:lnTo>
                    <a:pt x="467" y="644"/>
                  </a:lnTo>
                  <a:lnTo>
                    <a:pt x="467" y="644"/>
                  </a:lnTo>
                  <a:lnTo>
                    <a:pt x="467" y="647"/>
                  </a:lnTo>
                  <a:lnTo>
                    <a:pt x="475" y="660"/>
                  </a:lnTo>
                  <a:lnTo>
                    <a:pt x="475" y="665"/>
                  </a:lnTo>
                  <a:lnTo>
                    <a:pt x="477" y="668"/>
                  </a:lnTo>
                  <a:lnTo>
                    <a:pt x="480" y="671"/>
                  </a:lnTo>
                  <a:lnTo>
                    <a:pt x="480" y="674"/>
                  </a:lnTo>
                  <a:lnTo>
                    <a:pt x="480" y="674"/>
                  </a:lnTo>
                  <a:lnTo>
                    <a:pt x="480" y="674"/>
                  </a:lnTo>
                  <a:lnTo>
                    <a:pt x="480" y="674"/>
                  </a:lnTo>
                  <a:lnTo>
                    <a:pt x="480" y="674"/>
                  </a:lnTo>
                  <a:lnTo>
                    <a:pt x="480" y="674"/>
                  </a:lnTo>
                  <a:lnTo>
                    <a:pt x="480" y="674"/>
                  </a:lnTo>
                  <a:lnTo>
                    <a:pt x="480" y="674"/>
                  </a:lnTo>
                  <a:lnTo>
                    <a:pt x="480" y="676"/>
                  </a:lnTo>
                  <a:lnTo>
                    <a:pt x="483" y="679"/>
                  </a:lnTo>
                  <a:lnTo>
                    <a:pt x="485" y="714"/>
                  </a:lnTo>
                  <a:lnTo>
                    <a:pt x="485" y="746"/>
                  </a:lnTo>
                  <a:lnTo>
                    <a:pt x="483" y="756"/>
                  </a:lnTo>
                  <a:lnTo>
                    <a:pt x="477" y="778"/>
                  </a:lnTo>
                  <a:lnTo>
                    <a:pt x="467" y="796"/>
                  </a:lnTo>
                  <a:lnTo>
                    <a:pt x="459" y="823"/>
                  </a:lnTo>
                  <a:lnTo>
                    <a:pt x="453" y="834"/>
                  </a:lnTo>
                  <a:lnTo>
                    <a:pt x="448" y="842"/>
                  </a:lnTo>
                  <a:lnTo>
                    <a:pt x="443" y="844"/>
                  </a:lnTo>
                  <a:lnTo>
                    <a:pt x="440" y="847"/>
                  </a:lnTo>
                  <a:lnTo>
                    <a:pt x="440" y="850"/>
                  </a:lnTo>
                  <a:lnTo>
                    <a:pt x="437" y="853"/>
                  </a:lnTo>
                  <a:lnTo>
                    <a:pt x="440" y="853"/>
                  </a:lnTo>
                  <a:lnTo>
                    <a:pt x="448" y="850"/>
                  </a:lnTo>
                  <a:lnTo>
                    <a:pt x="456" y="850"/>
                  </a:lnTo>
                  <a:lnTo>
                    <a:pt x="464" y="847"/>
                  </a:lnTo>
                  <a:lnTo>
                    <a:pt x="472" y="847"/>
                  </a:lnTo>
                  <a:lnTo>
                    <a:pt x="480" y="847"/>
                  </a:lnTo>
                  <a:lnTo>
                    <a:pt x="496" y="844"/>
                  </a:lnTo>
                  <a:lnTo>
                    <a:pt x="504" y="844"/>
                  </a:lnTo>
                  <a:lnTo>
                    <a:pt x="515" y="842"/>
                  </a:lnTo>
                  <a:lnTo>
                    <a:pt x="523" y="842"/>
                  </a:lnTo>
                  <a:lnTo>
                    <a:pt x="531" y="839"/>
                  </a:lnTo>
                  <a:lnTo>
                    <a:pt x="547" y="839"/>
                  </a:lnTo>
                  <a:lnTo>
                    <a:pt x="555" y="836"/>
                  </a:lnTo>
                  <a:lnTo>
                    <a:pt x="563" y="836"/>
                  </a:lnTo>
                  <a:lnTo>
                    <a:pt x="571" y="834"/>
                  </a:lnTo>
                  <a:lnTo>
                    <a:pt x="579" y="834"/>
                  </a:lnTo>
                  <a:lnTo>
                    <a:pt x="587" y="834"/>
                  </a:lnTo>
                  <a:lnTo>
                    <a:pt x="595" y="831"/>
                  </a:lnTo>
                  <a:lnTo>
                    <a:pt x="603" y="831"/>
                  </a:lnTo>
                  <a:lnTo>
                    <a:pt x="613" y="828"/>
                  </a:lnTo>
                  <a:lnTo>
                    <a:pt x="621" y="828"/>
                  </a:lnTo>
                  <a:lnTo>
                    <a:pt x="629" y="828"/>
                  </a:lnTo>
                  <a:lnTo>
                    <a:pt x="637" y="826"/>
                  </a:lnTo>
                  <a:lnTo>
                    <a:pt x="645" y="826"/>
                  </a:lnTo>
                  <a:lnTo>
                    <a:pt x="653" y="823"/>
                  </a:lnTo>
                  <a:lnTo>
                    <a:pt x="653" y="831"/>
                  </a:lnTo>
                  <a:lnTo>
                    <a:pt x="664" y="831"/>
                  </a:lnTo>
                  <a:lnTo>
                    <a:pt x="672" y="828"/>
                  </a:lnTo>
                  <a:lnTo>
                    <a:pt x="680" y="828"/>
                  </a:lnTo>
                  <a:lnTo>
                    <a:pt x="691" y="826"/>
                  </a:lnTo>
                  <a:lnTo>
                    <a:pt x="699" y="823"/>
                  </a:lnTo>
                  <a:lnTo>
                    <a:pt x="707" y="823"/>
                  </a:lnTo>
                  <a:lnTo>
                    <a:pt x="715" y="820"/>
                  </a:lnTo>
                  <a:lnTo>
                    <a:pt x="726" y="820"/>
                  </a:lnTo>
                  <a:lnTo>
                    <a:pt x="734" y="818"/>
                  </a:lnTo>
                  <a:lnTo>
                    <a:pt x="742" y="815"/>
                  </a:lnTo>
                  <a:lnTo>
                    <a:pt x="752" y="815"/>
                  </a:lnTo>
                  <a:lnTo>
                    <a:pt x="760" y="812"/>
                  </a:lnTo>
                  <a:lnTo>
                    <a:pt x="768" y="812"/>
                  </a:lnTo>
                  <a:lnTo>
                    <a:pt x="776" y="810"/>
                  </a:lnTo>
                  <a:lnTo>
                    <a:pt x="787" y="807"/>
                  </a:lnTo>
                  <a:lnTo>
                    <a:pt x="795" y="807"/>
                  </a:lnTo>
                  <a:lnTo>
                    <a:pt x="795" y="804"/>
                  </a:lnTo>
                  <a:lnTo>
                    <a:pt x="795" y="804"/>
                  </a:lnTo>
                  <a:lnTo>
                    <a:pt x="795" y="802"/>
                  </a:lnTo>
                  <a:lnTo>
                    <a:pt x="798" y="802"/>
                  </a:lnTo>
                  <a:lnTo>
                    <a:pt x="798" y="802"/>
                  </a:lnTo>
                  <a:lnTo>
                    <a:pt x="798" y="802"/>
                  </a:lnTo>
                  <a:lnTo>
                    <a:pt x="798" y="799"/>
                  </a:lnTo>
                  <a:lnTo>
                    <a:pt x="798" y="796"/>
                  </a:lnTo>
                  <a:lnTo>
                    <a:pt x="798" y="794"/>
                  </a:lnTo>
                  <a:lnTo>
                    <a:pt x="803" y="786"/>
                  </a:lnTo>
                  <a:lnTo>
                    <a:pt x="803" y="783"/>
                  </a:lnTo>
                  <a:lnTo>
                    <a:pt x="806" y="783"/>
                  </a:lnTo>
                  <a:lnTo>
                    <a:pt x="806" y="780"/>
                  </a:lnTo>
                  <a:lnTo>
                    <a:pt x="808" y="778"/>
                  </a:lnTo>
                  <a:lnTo>
                    <a:pt x="808" y="775"/>
                  </a:lnTo>
                  <a:lnTo>
                    <a:pt x="814" y="775"/>
                  </a:lnTo>
                  <a:lnTo>
                    <a:pt x="814" y="775"/>
                  </a:lnTo>
                  <a:lnTo>
                    <a:pt x="814" y="772"/>
                  </a:lnTo>
                  <a:lnTo>
                    <a:pt x="811" y="770"/>
                  </a:lnTo>
                  <a:lnTo>
                    <a:pt x="811" y="770"/>
                  </a:lnTo>
                  <a:lnTo>
                    <a:pt x="814" y="770"/>
                  </a:lnTo>
                  <a:lnTo>
                    <a:pt x="816" y="767"/>
                  </a:lnTo>
                  <a:lnTo>
                    <a:pt x="816" y="762"/>
                  </a:lnTo>
                  <a:lnTo>
                    <a:pt x="816" y="762"/>
                  </a:lnTo>
                  <a:lnTo>
                    <a:pt x="819" y="762"/>
                  </a:lnTo>
                  <a:lnTo>
                    <a:pt x="819" y="764"/>
                  </a:lnTo>
                  <a:lnTo>
                    <a:pt x="819" y="762"/>
                  </a:lnTo>
                  <a:lnTo>
                    <a:pt x="819" y="762"/>
                  </a:lnTo>
                  <a:lnTo>
                    <a:pt x="819" y="759"/>
                  </a:lnTo>
                  <a:lnTo>
                    <a:pt x="816" y="759"/>
                  </a:lnTo>
                  <a:lnTo>
                    <a:pt x="816" y="759"/>
                  </a:lnTo>
                  <a:lnTo>
                    <a:pt x="816" y="756"/>
                  </a:lnTo>
                  <a:lnTo>
                    <a:pt x="816" y="756"/>
                  </a:lnTo>
                  <a:lnTo>
                    <a:pt x="816" y="754"/>
                  </a:lnTo>
                  <a:lnTo>
                    <a:pt x="816" y="754"/>
                  </a:lnTo>
                  <a:lnTo>
                    <a:pt x="816" y="751"/>
                  </a:lnTo>
                  <a:lnTo>
                    <a:pt x="816" y="751"/>
                  </a:lnTo>
                  <a:lnTo>
                    <a:pt x="816" y="748"/>
                  </a:lnTo>
                  <a:lnTo>
                    <a:pt x="819" y="732"/>
                  </a:lnTo>
                  <a:lnTo>
                    <a:pt x="819" y="730"/>
                  </a:lnTo>
                  <a:lnTo>
                    <a:pt x="824" y="722"/>
                  </a:lnTo>
                  <a:lnTo>
                    <a:pt x="824" y="719"/>
                  </a:lnTo>
                  <a:lnTo>
                    <a:pt x="827" y="716"/>
                  </a:lnTo>
                  <a:lnTo>
                    <a:pt x="832" y="714"/>
                  </a:lnTo>
                  <a:lnTo>
                    <a:pt x="835" y="714"/>
                  </a:lnTo>
                  <a:lnTo>
                    <a:pt x="838" y="711"/>
                  </a:lnTo>
                  <a:lnTo>
                    <a:pt x="838" y="711"/>
                  </a:lnTo>
                  <a:lnTo>
                    <a:pt x="840" y="708"/>
                  </a:lnTo>
                  <a:lnTo>
                    <a:pt x="840" y="706"/>
                  </a:lnTo>
                  <a:lnTo>
                    <a:pt x="843" y="703"/>
                  </a:lnTo>
                  <a:lnTo>
                    <a:pt x="843" y="703"/>
                  </a:lnTo>
                  <a:lnTo>
                    <a:pt x="843" y="700"/>
                  </a:lnTo>
                  <a:lnTo>
                    <a:pt x="843" y="698"/>
                  </a:lnTo>
                  <a:lnTo>
                    <a:pt x="843" y="698"/>
                  </a:lnTo>
                  <a:lnTo>
                    <a:pt x="840" y="695"/>
                  </a:lnTo>
                  <a:lnTo>
                    <a:pt x="840" y="692"/>
                  </a:lnTo>
                  <a:lnTo>
                    <a:pt x="840" y="690"/>
                  </a:lnTo>
                  <a:lnTo>
                    <a:pt x="840" y="687"/>
                  </a:lnTo>
                  <a:lnTo>
                    <a:pt x="840" y="684"/>
                  </a:lnTo>
                  <a:lnTo>
                    <a:pt x="843" y="684"/>
                  </a:lnTo>
                  <a:lnTo>
                    <a:pt x="846" y="682"/>
                  </a:lnTo>
                  <a:lnTo>
                    <a:pt x="848" y="682"/>
                  </a:lnTo>
                  <a:lnTo>
                    <a:pt x="848" y="679"/>
                  </a:lnTo>
                  <a:lnTo>
                    <a:pt x="848" y="679"/>
                  </a:lnTo>
                  <a:lnTo>
                    <a:pt x="848" y="676"/>
                  </a:lnTo>
                  <a:lnTo>
                    <a:pt x="846" y="676"/>
                  </a:lnTo>
                  <a:lnTo>
                    <a:pt x="846" y="674"/>
                  </a:lnTo>
                  <a:lnTo>
                    <a:pt x="843" y="671"/>
                  </a:lnTo>
                  <a:lnTo>
                    <a:pt x="846" y="668"/>
                  </a:lnTo>
                  <a:lnTo>
                    <a:pt x="848" y="668"/>
                  </a:lnTo>
                  <a:lnTo>
                    <a:pt x="851" y="665"/>
                  </a:lnTo>
                  <a:lnTo>
                    <a:pt x="851" y="665"/>
                  </a:lnTo>
                  <a:lnTo>
                    <a:pt x="854" y="663"/>
                  </a:lnTo>
                  <a:lnTo>
                    <a:pt x="856" y="663"/>
                  </a:lnTo>
                  <a:lnTo>
                    <a:pt x="862" y="665"/>
                  </a:lnTo>
                  <a:lnTo>
                    <a:pt x="862" y="663"/>
                  </a:lnTo>
                  <a:lnTo>
                    <a:pt x="862" y="665"/>
                  </a:lnTo>
                  <a:lnTo>
                    <a:pt x="862" y="668"/>
                  </a:lnTo>
                  <a:lnTo>
                    <a:pt x="862" y="671"/>
                  </a:lnTo>
                  <a:lnTo>
                    <a:pt x="862" y="671"/>
                  </a:lnTo>
                  <a:lnTo>
                    <a:pt x="864" y="671"/>
                  </a:lnTo>
                  <a:lnTo>
                    <a:pt x="864" y="674"/>
                  </a:lnTo>
                  <a:lnTo>
                    <a:pt x="864" y="676"/>
                  </a:lnTo>
                  <a:lnTo>
                    <a:pt x="867" y="676"/>
                  </a:lnTo>
                  <a:lnTo>
                    <a:pt x="867" y="676"/>
                  </a:lnTo>
                  <a:lnTo>
                    <a:pt x="864" y="679"/>
                  </a:lnTo>
                  <a:lnTo>
                    <a:pt x="864" y="682"/>
                  </a:lnTo>
                  <a:lnTo>
                    <a:pt x="864" y="682"/>
                  </a:lnTo>
                  <a:lnTo>
                    <a:pt x="867" y="679"/>
                  </a:lnTo>
                  <a:lnTo>
                    <a:pt x="870" y="679"/>
                  </a:lnTo>
                  <a:lnTo>
                    <a:pt x="872" y="676"/>
                  </a:lnTo>
                  <a:lnTo>
                    <a:pt x="875" y="671"/>
                  </a:lnTo>
                  <a:lnTo>
                    <a:pt x="875" y="665"/>
                  </a:lnTo>
                  <a:lnTo>
                    <a:pt x="878" y="657"/>
                  </a:lnTo>
                  <a:lnTo>
                    <a:pt x="878" y="649"/>
                  </a:lnTo>
                  <a:lnTo>
                    <a:pt x="878" y="647"/>
                  </a:lnTo>
                  <a:lnTo>
                    <a:pt x="878" y="647"/>
                  </a:lnTo>
                  <a:lnTo>
                    <a:pt x="878" y="644"/>
                  </a:lnTo>
                  <a:lnTo>
                    <a:pt x="875" y="644"/>
                  </a:lnTo>
                  <a:lnTo>
                    <a:pt x="875" y="641"/>
                  </a:lnTo>
                  <a:lnTo>
                    <a:pt x="875" y="636"/>
                  </a:lnTo>
                  <a:lnTo>
                    <a:pt x="875" y="633"/>
                  </a:lnTo>
                  <a:lnTo>
                    <a:pt x="875" y="628"/>
                  </a:lnTo>
                  <a:lnTo>
                    <a:pt x="878" y="623"/>
                  </a:lnTo>
                  <a:close/>
                  <a:moveTo>
                    <a:pt x="512" y="283"/>
                  </a:moveTo>
                  <a:lnTo>
                    <a:pt x="512" y="283"/>
                  </a:lnTo>
                  <a:lnTo>
                    <a:pt x="512" y="283"/>
                  </a:lnTo>
                  <a:lnTo>
                    <a:pt x="512" y="281"/>
                  </a:lnTo>
                  <a:lnTo>
                    <a:pt x="512" y="281"/>
                  </a:lnTo>
                  <a:lnTo>
                    <a:pt x="509" y="281"/>
                  </a:lnTo>
                  <a:lnTo>
                    <a:pt x="509" y="281"/>
                  </a:lnTo>
                  <a:lnTo>
                    <a:pt x="507" y="281"/>
                  </a:lnTo>
                  <a:lnTo>
                    <a:pt x="507" y="281"/>
                  </a:lnTo>
                  <a:lnTo>
                    <a:pt x="504" y="281"/>
                  </a:lnTo>
                  <a:lnTo>
                    <a:pt x="504" y="281"/>
                  </a:lnTo>
                  <a:lnTo>
                    <a:pt x="504" y="281"/>
                  </a:lnTo>
                  <a:lnTo>
                    <a:pt x="504" y="278"/>
                  </a:lnTo>
                  <a:lnTo>
                    <a:pt x="504" y="281"/>
                  </a:lnTo>
                  <a:lnTo>
                    <a:pt x="507" y="283"/>
                  </a:lnTo>
                  <a:lnTo>
                    <a:pt x="507" y="283"/>
                  </a:lnTo>
                  <a:lnTo>
                    <a:pt x="509" y="286"/>
                  </a:lnTo>
                  <a:lnTo>
                    <a:pt x="509" y="283"/>
                  </a:lnTo>
                  <a:lnTo>
                    <a:pt x="512" y="283"/>
                  </a:lnTo>
                  <a:close/>
                  <a:moveTo>
                    <a:pt x="603" y="267"/>
                  </a:moveTo>
                  <a:lnTo>
                    <a:pt x="600" y="267"/>
                  </a:lnTo>
                  <a:lnTo>
                    <a:pt x="600" y="270"/>
                  </a:lnTo>
                  <a:lnTo>
                    <a:pt x="600" y="270"/>
                  </a:lnTo>
                  <a:lnTo>
                    <a:pt x="605" y="275"/>
                  </a:lnTo>
                  <a:lnTo>
                    <a:pt x="611" y="278"/>
                  </a:lnTo>
                  <a:lnTo>
                    <a:pt x="611" y="278"/>
                  </a:lnTo>
                  <a:lnTo>
                    <a:pt x="613" y="278"/>
                  </a:lnTo>
                  <a:lnTo>
                    <a:pt x="616" y="278"/>
                  </a:lnTo>
                  <a:lnTo>
                    <a:pt x="616" y="278"/>
                  </a:lnTo>
                  <a:lnTo>
                    <a:pt x="619" y="278"/>
                  </a:lnTo>
                  <a:lnTo>
                    <a:pt x="619" y="275"/>
                  </a:lnTo>
                  <a:lnTo>
                    <a:pt x="621" y="273"/>
                  </a:lnTo>
                  <a:lnTo>
                    <a:pt x="621" y="270"/>
                  </a:lnTo>
                  <a:lnTo>
                    <a:pt x="619" y="270"/>
                  </a:lnTo>
                  <a:lnTo>
                    <a:pt x="616" y="270"/>
                  </a:lnTo>
                  <a:lnTo>
                    <a:pt x="616" y="267"/>
                  </a:lnTo>
                  <a:lnTo>
                    <a:pt x="616" y="265"/>
                  </a:lnTo>
                  <a:lnTo>
                    <a:pt x="613" y="267"/>
                  </a:lnTo>
                  <a:lnTo>
                    <a:pt x="613" y="267"/>
                  </a:lnTo>
                  <a:lnTo>
                    <a:pt x="613" y="270"/>
                  </a:lnTo>
                  <a:lnTo>
                    <a:pt x="613" y="270"/>
                  </a:lnTo>
                  <a:lnTo>
                    <a:pt x="611" y="267"/>
                  </a:lnTo>
                  <a:lnTo>
                    <a:pt x="603" y="267"/>
                  </a:lnTo>
                  <a:close/>
                  <a:moveTo>
                    <a:pt x="501" y="294"/>
                  </a:moveTo>
                  <a:lnTo>
                    <a:pt x="501" y="294"/>
                  </a:lnTo>
                  <a:lnTo>
                    <a:pt x="499" y="297"/>
                  </a:lnTo>
                  <a:lnTo>
                    <a:pt x="499" y="299"/>
                  </a:lnTo>
                  <a:lnTo>
                    <a:pt x="499" y="299"/>
                  </a:lnTo>
                  <a:lnTo>
                    <a:pt x="499" y="305"/>
                  </a:lnTo>
                  <a:lnTo>
                    <a:pt x="496" y="307"/>
                  </a:lnTo>
                  <a:lnTo>
                    <a:pt x="496" y="310"/>
                  </a:lnTo>
                  <a:lnTo>
                    <a:pt x="499" y="313"/>
                  </a:lnTo>
                  <a:lnTo>
                    <a:pt x="501" y="313"/>
                  </a:lnTo>
                  <a:lnTo>
                    <a:pt x="507" y="313"/>
                  </a:lnTo>
                  <a:lnTo>
                    <a:pt x="509" y="310"/>
                  </a:lnTo>
                  <a:lnTo>
                    <a:pt x="509" y="307"/>
                  </a:lnTo>
                  <a:lnTo>
                    <a:pt x="509" y="305"/>
                  </a:lnTo>
                  <a:lnTo>
                    <a:pt x="509" y="299"/>
                  </a:lnTo>
                  <a:lnTo>
                    <a:pt x="509" y="299"/>
                  </a:lnTo>
                  <a:lnTo>
                    <a:pt x="509" y="297"/>
                  </a:lnTo>
                  <a:lnTo>
                    <a:pt x="509" y="297"/>
                  </a:lnTo>
                  <a:lnTo>
                    <a:pt x="509" y="294"/>
                  </a:lnTo>
                  <a:lnTo>
                    <a:pt x="507" y="291"/>
                  </a:lnTo>
                  <a:lnTo>
                    <a:pt x="507" y="291"/>
                  </a:lnTo>
                  <a:lnTo>
                    <a:pt x="507" y="291"/>
                  </a:lnTo>
                  <a:lnTo>
                    <a:pt x="507" y="289"/>
                  </a:lnTo>
                  <a:lnTo>
                    <a:pt x="509" y="289"/>
                  </a:lnTo>
                  <a:lnTo>
                    <a:pt x="507" y="289"/>
                  </a:lnTo>
                  <a:lnTo>
                    <a:pt x="504" y="289"/>
                  </a:lnTo>
                  <a:lnTo>
                    <a:pt x="501" y="289"/>
                  </a:lnTo>
                  <a:lnTo>
                    <a:pt x="501" y="291"/>
                  </a:lnTo>
                  <a:lnTo>
                    <a:pt x="501" y="291"/>
                  </a:lnTo>
                  <a:lnTo>
                    <a:pt x="501" y="294"/>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37" name="Freeform 34">
              <a:extLst>
                <a:ext uri="{FF2B5EF4-FFF2-40B4-BE49-F238E27FC236}">
                  <a16:creationId xmlns="" xmlns:a16="http://schemas.microsoft.com/office/drawing/2014/main" id="{7D1AB16D-2464-4D43-BE1E-97E96AE277DE}"/>
                </a:ext>
              </a:extLst>
            </p:cNvPr>
            <p:cNvSpPr>
              <a:spLocks noEditPoints="1"/>
            </p:cNvSpPr>
            <p:nvPr/>
          </p:nvSpPr>
          <p:spPr bwMode="auto">
            <a:xfrm>
              <a:off x="6578" y="48"/>
              <a:ext cx="427" cy="631"/>
            </a:xfrm>
            <a:custGeom>
              <a:avLst/>
              <a:gdLst>
                <a:gd name="T0" fmla="*/ 274 w 427"/>
                <a:gd name="T1" fmla="*/ 441 h 631"/>
                <a:gd name="T2" fmla="*/ 277 w 427"/>
                <a:gd name="T3" fmla="*/ 419 h 631"/>
                <a:gd name="T4" fmla="*/ 304 w 427"/>
                <a:gd name="T5" fmla="*/ 385 h 631"/>
                <a:gd name="T6" fmla="*/ 312 w 427"/>
                <a:gd name="T7" fmla="*/ 409 h 631"/>
                <a:gd name="T8" fmla="*/ 424 w 427"/>
                <a:gd name="T9" fmla="*/ 291 h 631"/>
                <a:gd name="T10" fmla="*/ 411 w 427"/>
                <a:gd name="T11" fmla="*/ 286 h 631"/>
                <a:gd name="T12" fmla="*/ 405 w 427"/>
                <a:gd name="T13" fmla="*/ 286 h 631"/>
                <a:gd name="T14" fmla="*/ 403 w 427"/>
                <a:gd name="T15" fmla="*/ 265 h 631"/>
                <a:gd name="T16" fmla="*/ 381 w 427"/>
                <a:gd name="T17" fmla="*/ 251 h 631"/>
                <a:gd name="T18" fmla="*/ 349 w 427"/>
                <a:gd name="T19" fmla="*/ 216 h 631"/>
                <a:gd name="T20" fmla="*/ 314 w 427"/>
                <a:gd name="T21" fmla="*/ 203 h 631"/>
                <a:gd name="T22" fmla="*/ 301 w 427"/>
                <a:gd name="T23" fmla="*/ 171 h 631"/>
                <a:gd name="T24" fmla="*/ 237 w 427"/>
                <a:gd name="T25" fmla="*/ 13 h 631"/>
                <a:gd name="T26" fmla="*/ 189 w 427"/>
                <a:gd name="T27" fmla="*/ 13 h 631"/>
                <a:gd name="T28" fmla="*/ 125 w 427"/>
                <a:gd name="T29" fmla="*/ 32 h 631"/>
                <a:gd name="T30" fmla="*/ 56 w 427"/>
                <a:gd name="T31" fmla="*/ 139 h 631"/>
                <a:gd name="T32" fmla="*/ 53 w 427"/>
                <a:gd name="T33" fmla="*/ 214 h 631"/>
                <a:gd name="T34" fmla="*/ 58 w 427"/>
                <a:gd name="T35" fmla="*/ 238 h 631"/>
                <a:gd name="T36" fmla="*/ 45 w 427"/>
                <a:gd name="T37" fmla="*/ 278 h 631"/>
                <a:gd name="T38" fmla="*/ 24 w 427"/>
                <a:gd name="T39" fmla="*/ 321 h 631"/>
                <a:gd name="T40" fmla="*/ 5 w 427"/>
                <a:gd name="T41" fmla="*/ 339 h 631"/>
                <a:gd name="T42" fmla="*/ 32 w 427"/>
                <a:gd name="T43" fmla="*/ 444 h 631"/>
                <a:gd name="T44" fmla="*/ 74 w 427"/>
                <a:gd name="T45" fmla="*/ 569 h 631"/>
                <a:gd name="T46" fmla="*/ 85 w 427"/>
                <a:gd name="T47" fmla="*/ 601 h 631"/>
                <a:gd name="T48" fmla="*/ 114 w 427"/>
                <a:gd name="T49" fmla="*/ 625 h 631"/>
                <a:gd name="T50" fmla="*/ 128 w 427"/>
                <a:gd name="T51" fmla="*/ 588 h 631"/>
                <a:gd name="T52" fmla="*/ 138 w 427"/>
                <a:gd name="T53" fmla="*/ 569 h 631"/>
                <a:gd name="T54" fmla="*/ 152 w 427"/>
                <a:gd name="T55" fmla="*/ 545 h 631"/>
                <a:gd name="T56" fmla="*/ 154 w 427"/>
                <a:gd name="T57" fmla="*/ 513 h 631"/>
                <a:gd name="T58" fmla="*/ 165 w 427"/>
                <a:gd name="T59" fmla="*/ 521 h 631"/>
                <a:gd name="T60" fmla="*/ 173 w 427"/>
                <a:gd name="T61" fmla="*/ 510 h 631"/>
                <a:gd name="T62" fmla="*/ 178 w 427"/>
                <a:gd name="T63" fmla="*/ 505 h 631"/>
                <a:gd name="T64" fmla="*/ 184 w 427"/>
                <a:gd name="T65" fmla="*/ 508 h 631"/>
                <a:gd name="T66" fmla="*/ 176 w 427"/>
                <a:gd name="T67" fmla="*/ 473 h 631"/>
                <a:gd name="T68" fmla="*/ 186 w 427"/>
                <a:gd name="T69" fmla="*/ 505 h 631"/>
                <a:gd name="T70" fmla="*/ 184 w 427"/>
                <a:gd name="T71" fmla="*/ 494 h 631"/>
                <a:gd name="T72" fmla="*/ 194 w 427"/>
                <a:gd name="T73" fmla="*/ 486 h 631"/>
                <a:gd name="T74" fmla="*/ 200 w 427"/>
                <a:gd name="T75" fmla="*/ 489 h 631"/>
                <a:gd name="T76" fmla="*/ 202 w 427"/>
                <a:gd name="T77" fmla="*/ 484 h 631"/>
                <a:gd name="T78" fmla="*/ 210 w 427"/>
                <a:gd name="T79" fmla="*/ 494 h 631"/>
                <a:gd name="T80" fmla="*/ 218 w 427"/>
                <a:gd name="T81" fmla="*/ 465 h 631"/>
                <a:gd name="T82" fmla="*/ 234 w 427"/>
                <a:gd name="T83" fmla="*/ 473 h 631"/>
                <a:gd name="T84" fmla="*/ 248 w 427"/>
                <a:gd name="T85" fmla="*/ 446 h 631"/>
                <a:gd name="T86" fmla="*/ 242 w 427"/>
                <a:gd name="T87" fmla="*/ 403 h 631"/>
                <a:gd name="T88" fmla="*/ 256 w 427"/>
                <a:gd name="T89" fmla="*/ 377 h 631"/>
                <a:gd name="T90" fmla="*/ 264 w 427"/>
                <a:gd name="T91" fmla="*/ 393 h 631"/>
                <a:gd name="T92" fmla="*/ 261 w 427"/>
                <a:gd name="T93" fmla="*/ 406 h 631"/>
                <a:gd name="T94" fmla="*/ 293 w 427"/>
                <a:gd name="T95" fmla="*/ 403 h 631"/>
                <a:gd name="T96" fmla="*/ 293 w 427"/>
                <a:gd name="T97" fmla="*/ 393 h 631"/>
                <a:gd name="T98" fmla="*/ 298 w 427"/>
                <a:gd name="T99" fmla="*/ 387 h 631"/>
                <a:gd name="T100" fmla="*/ 309 w 427"/>
                <a:gd name="T101" fmla="*/ 369 h 631"/>
                <a:gd name="T102" fmla="*/ 320 w 427"/>
                <a:gd name="T103" fmla="*/ 369 h 631"/>
                <a:gd name="T104" fmla="*/ 336 w 427"/>
                <a:gd name="T105" fmla="*/ 385 h 631"/>
                <a:gd name="T106" fmla="*/ 341 w 427"/>
                <a:gd name="T107" fmla="*/ 369 h 631"/>
                <a:gd name="T108" fmla="*/ 347 w 427"/>
                <a:gd name="T109" fmla="*/ 371 h 631"/>
                <a:gd name="T110" fmla="*/ 349 w 427"/>
                <a:gd name="T111" fmla="*/ 355 h 631"/>
                <a:gd name="T112" fmla="*/ 357 w 427"/>
                <a:gd name="T113" fmla="*/ 350 h 631"/>
                <a:gd name="T114" fmla="*/ 371 w 427"/>
                <a:gd name="T115" fmla="*/ 347 h 631"/>
                <a:gd name="T116" fmla="*/ 376 w 427"/>
                <a:gd name="T117" fmla="*/ 331 h 631"/>
                <a:gd name="T118" fmla="*/ 389 w 427"/>
                <a:gd name="T119" fmla="*/ 331 h 631"/>
                <a:gd name="T120" fmla="*/ 395 w 427"/>
                <a:gd name="T121" fmla="*/ 315 h 631"/>
                <a:gd name="T122" fmla="*/ 408 w 427"/>
                <a:gd name="T123" fmla="*/ 318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7" h="631">
                  <a:moveTo>
                    <a:pt x="274" y="441"/>
                  </a:moveTo>
                  <a:lnTo>
                    <a:pt x="269" y="441"/>
                  </a:lnTo>
                  <a:lnTo>
                    <a:pt x="266" y="441"/>
                  </a:lnTo>
                  <a:lnTo>
                    <a:pt x="264" y="438"/>
                  </a:lnTo>
                  <a:lnTo>
                    <a:pt x="261" y="438"/>
                  </a:lnTo>
                  <a:lnTo>
                    <a:pt x="261" y="441"/>
                  </a:lnTo>
                  <a:lnTo>
                    <a:pt x="264" y="441"/>
                  </a:lnTo>
                  <a:lnTo>
                    <a:pt x="266" y="444"/>
                  </a:lnTo>
                  <a:lnTo>
                    <a:pt x="266" y="444"/>
                  </a:lnTo>
                  <a:lnTo>
                    <a:pt x="266" y="446"/>
                  </a:lnTo>
                  <a:lnTo>
                    <a:pt x="272" y="449"/>
                  </a:lnTo>
                  <a:lnTo>
                    <a:pt x="274" y="449"/>
                  </a:lnTo>
                  <a:lnTo>
                    <a:pt x="274" y="446"/>
                  </a:lnTo>
                  <a:lnTo>
                    <a:pt x="274" y="446"/>
                  </a:lnTo>
                  <a:lnTo>
                    <a:pt x="274" y="444"/>
                  </a:lnTo>
                  <a:lnTo>
                    <a:pt x="277" y="444"/>
                  </a:lnTo>
                  <a:lnTo>
                    <a:pt x="274" y="441"/>
                  </a:lnTo>
                  <a:lnTo>
                    <a:pt x="274" y="441"/>
                  </a:lnTo>
                  <a:close/>
                  <a:moveTo>
                    <a:pt x="285" y="422"/>
                  </a:moveTo>
                  <a:lnTo>
                    <a:pt x="282" y="422"/>
                  </a:lnTo>
                  <a:lnTo>
                    <a:pt x="282" y="422"/>
                  </a:lnTo>
                  <a:lnTo>
                    <a:pt x="282" y="419"/>
                  </a:lnTo>
                  <a:lnTo>
                    <a:pt x="285" y="419"/>
                  </a:lnTo>
                  <a:lnTo>
                    <a:pt x="288" y="417"/>
                  </a:lnTo>
                  <a:lnTo>
                    <a:pt x="285" y="417"/>
                  </a:lnTo>
                  <a:lnTo>
                    <a:pt x="285" y="414"/>
                  </a:lnTo>
                  <a:lnTo>
                    <a:pt x="285" y="414"/>
                  </a:lnTo>
                  <a:lnTo>
                    <a:pt x="282" y="411"/>
                  </a:lnTo>
                  <a:lnTo>
                    <a:pt x="280" y="411"/>
                  </a:lnTo>
                  <a:lnTo>
                    <a:pt x="277" y="411"/>
                  </a:lnTo>
                  <a:lnTo>
                    <a:pt x="277" y="414"/>
                  </a:lnTo>
                  <a:lnTo>
                    <a:pt x="277" y="414"/>
                  </a:lnTo>
                  <a:lnTo>
                    <a:pt x="277" y="417"/>
                  </a:lnTo>
                  <a:lnTo>
                    <a:pt x="277" y="419"/>
                  </a:lnTo>
                  <a:lnTo>
                    <a:pt x="280" y="419"/>
                  </a:lnTo>
                  <a:lnTo>
                    <a:pt x="277" y="419"/>
                  </a:lnTo>
                  <a:lnTo>
                    <a:pt x="277" y="419"/>
                  </a:lnTo>
                  <a:lnTo>
                    <a:pt x="274" y="419"/>
                  </a:lnTo>
                  <a:lnTo>
                    <a:pt x="277" y="422"/>
                  </a:lnTo>
                  <a:lnTo>
                    <a:pt x="277" y="425"/>
                  </a:lnTo>
                  <a:lnTo>
                    <a:pt x="277" y="425"/>
                  </a:lnTo>
                  <a:lnTo>
                    <a:pt x="277" y="428"/>
                  </a:lnTo>
                  <a:lnTo>
                    <a:pt x="277" y="428"/>
                  </a:lnTo>
                  <a:lnTo>
                    <a:pt x="282" y="428"/>
                  </a:lnTo>
                  <a:lnTo>
                    <a:pt x="285" y="428"/>
                  </a:lnTo>
                  <a:lnTo>
                    <a:pt x="288" y="425"/>
                  </a:lnTo>
                  <a:lnTo>
                    <a:pt x="288" y="422"/>
                  </a:lnTo>
                  <a:lnTo>
                    <a:pt x="285" y="422"/>
                  </a:lnTo>
                  <a:close/>
                  <a:moveTo>
                    <a:pt x="317" y="382"/>
                  </a:moveTo>
                  <a:lnTo>
                    <a:pt x="314" y="379"/>
                  </a:lnTo>
                  <a:lnTo>
                    <a:pt x="312" y="379"/>
                  </a:lnTo>
                  <a:lnTo>
                    <a:pt x="306" y="379"/>
                  </a:lnTo>
                  <a:lnTo>
                    <a:pt x="304" y="382"/>
                  </a:lnTo>
                  <a:lnTo>
                    <a:pt x="304" y="385"/>
                  </a:lnTo>
                  <a:lnTo>
                    <a:pt x="304" y="387"/>
                  </a:lnTo>
                  <a:lnTo>
                    <a:pt x="304" y="387"/>
                  </a:lnTo>
                  <a:lnTo>
                    <a:pt x="304" y="390"/>
                  </a:lnTo>
                  <a:lnTo>
                    <a:pt x="301" y="390"/>
                  </a:lnTo>
                  <a:lnTo>
                    <a:pt x="301" y="390"/>
                  </a:lnTo>
                  <a:lnTo>
                    <a:pt x="301" y="393"/>
                  </a:lnTo>
                  <a:lnTo>
                    <a:pt x="301" y="398"/>
                  </a:lnTo>
                  <a:lnTo>
                    <a:pt x="301" y="401"/>
                  </a:lnTo>
                  <a:lnTo>
                    <a:pt x="301" y="401"/>
                  </a:lnTo>
                  <a:lnTo>
                    <a:pt x="301" y="401"/>
                  </a:lnTo>
                  <a:lnTo>
                    <a:pt x="304" y="401"/>
                  </a:lnTo>
                  <a:lnTo>
                    <a:pt x="304" y="403"/>
                  </a:lnTo>
                  <a:lnTo>
                    <a:pt x="304" y="403"/>
                  </a:lnTo>
                  <a:lnTo>
                    <a:pt x="304" y="403"/>
                  </a:lnTo>
                  <a:lnTo>
                    <a:pt x="304" y="406"/>
                  </a:lnTo>
                  <a:lnTo>
                    <a:pt x="309" y="406"/>
                  </a:lnTo>
                  <a:lnTo>
                    <a:pt x="309" y="409"/>
                  </a:lnTo>
                  <a:lnTo>
                    <a:pt x="312" y="409"/>
                  </a:lnTo>
                  <a:lnTo>
                    <a:pt x="312" y="406"/>
                  </a:lnTo>
                  <a:lnTo>
                    <a:pt x="312" y="406"/>
                  </a:lnTo>
                  <a:lnTo>
                    <a:pt x="314" y="409"/>
                  </a:lnTo>
                  <a:lnTo>
                    <a:pt x="314" y="409"/>
                  </a:lnTo>
                  <a:lnTo>
                    <a:pt x="317" y="406"/>
                  </a:lnTo>
                  <a:lnTo>
                    <a:pt x="317" y="403"/>
                  </a:lnTo>
                  <a:lnTo>
                    <a:pt x="317" y="403"/>
                  </a:lnTo>
                  <a:lnTo>
                    <a:pt x="314" y="401"/>
                  </a:lnTo>
                  <a:lnTo>
                    <a:pt x="312" y="401"/>
                  </a:lnTo>
                  <a:lnTo>
                    <a:pt x="312" y="395"/>
                  </a:lnTo>
                  <a:lnTo>
                    <a:pt x="314" y="395"/>
                  </a:lnTo>
                  <a:lnTo>
                    <a:pt x="317" y="398"/>
                  </a:lnTo>
                  <a:lnTo>
                    <a:pt x="320" y="395"/>
                  </a:lnTo>
                  <a:lnTo>
                    <a:pt x="325" y="393"/>
                  </a:lnTo>
                  <a:lnTo>
                    <a:pt x="325" y="390"/>
                  </a:lnTo>
                  <a:lnTo>
                    <a:pt x="322" y="387"/>
                  </a:lnTo>
                  <a:lnTo>
                    <a:pt x="317" y="382"/>
                  </a:lnTo>
                  <a:close/>
                  <a:moveTo>
                    <a:pt x="424" y="291"/>
                  </a:moveTo>
                  <a:lnTo>
                    <a:pt x="424" y="286"/>
                  </a:lnTo>
                  <a:lnTo>
                    <a:pt x="421" y="286"/>
                  </a:lnTo>
                  <a:lnTo>
                    <a:pt x="421" y="286"/>
                  </a:lnTo>
                  <a:lnTo>
                    <a:pt x="421" y="286"/>
                  </a:lnTo>
                  <a:lnTo>
                    <a:pt x="421" y="286"/>
                  </a:lnTo>
                  <a:lnTo>
                    <a:pt x="421" y="286"/>
                  </a:lnTo>
                  <a:lnTo>
                    <a:pt x="421" y="286"/>
                  </a:lnTo>
                  <a:lnTo>
                    <a:pt x="416" y="283"/>
                  </a:lnTo>
                  <a:lnTo>
                    <a:pt x="416" y="283"/>
                  </a:lnTo>
                  <a:lnTo>
                    <a:pt x="413" y="283"/>
                  </a:lnTo>
                  <a:lnTo>
                    <a:pt x="419" y="289"/>
                  </a:lnTo>
                  <a:lnTo>
                    <a:pt x="419" y="291"/>
                  </a:lnTo>
                  <a:lnTo>
                    <a:pt x="416" y="291"/>
                  </a:lnTo>
                  <a:lnTo>
                    <a:pt x="416" y="289"/>
                  </a:lnTo>
                  <a:lnTo>
                    <a:pt x="413" y="286"/>
                  </a:lnTo>
                  <a:lnTo>
                    <a:pt x="411" y="283"/>
                  </a:lnTo>
                  <a:lnTo>
                    <a:pt x="411" y="286"/>
                  </a:lnTo>
                  <a:lnTo>
                    <a:pt x="411" y="286"/>
                  </a:lnTo>
                  <a:lnTo>
                    <a:pt x="411" y="286"/>
                  </a:lnTo>
                  <a:lnTo>
                    <a:pt x="411" y="289"/>
                  </a:lnTo>
                  <a:lnTo>
                    <a:pt x="411" y="289"/>
                  </a:lnTo>
                  <a:lnTo>
                    <a:pt x="411" y="289"/>
                  </a:lnTo>
                  <a:lnTo>
                    <a:pt x="411" y="291"/>
                  </a:lnTo>
                  <a:lnTo>
                    <a:pt x="408" y="289"/>
                  </a:lnTo>
                  <a:lnTo>
                    <a:pt x="408" y="289"/>
                  </a:lnTo>
                  <a:lnTo>
                    <a:pt x="408" y="291"/>
                  </a:lnTo>
                  <a:lnTo>
                    <a:pt x="408" y="294"/>
                  </a:lnTo>
                  <a:lnTo>
                    <a:pt x="408" y="297"/>
                  </a:lnTo>
                  <a:lnTo>
                    <a:pt x="405" y="289"/>
                  </a:lnTo>
                  <a:lnTo>
                    <a:pt x="403" y="289"/>
                  </a:lnTo>
                  <a:lnTo>
                    <a:pt x="400" y="286"/>
                  </a:lnTo>
                  <a:lnTo>
                    <a:pt x="400" y="286"/>
                  </a:lnTo>
                  <a:lnTo>
                    <a:pt x="400" y="283"/>
                  </a:lnTo>
                  <a:lnTo>
                    <a:pt x="400" y="283"/>
                  </a:lnTo>
                  <a:lnTo>
                    <a:pt x="405" y="286"/>
                  </a:lnTo>
                  <a:lnTo>
                    <a:pt x="405" y="286"/>
                  </a:lnTo>
                  <a:lnTo>
                    <a:pt x="408" y="283"/>
                  </a:lnTo>
                  <a:lnTo>
                    <a:pt x="408" y="283"/>
                  </a:lnTo>
                  <a:lnTo>
                    <a:pt x="408" y="281"/>
                  </a:lnTo>
                  <a:lnTo>
                    <a:pt x="405" y="281"/>
                  </a:lnTo>
                  <a:lnTo>
                    <a:pt x="405" y="278"/>
                  </a:lnTo>
                  <a:lnTo>
                    <a:pt x="408" y="278"/>
                  </a:lnTo>
                  <a:lnTo>
                    <a:pt x="408" y="278"/>
                  </a:lnTo>
                  <a:lnTo>
                    <a:pt x="411" y="281"/>
                  </a:lnTo>
                  <a:lnTo>
                    <a:pt x="413" y="278"/>
                  </a:lnTo>
                  <a:lnTo>
                    <a:pt x="413" y="275"/>
                  </a:lnTo>
                  <a:lnTo>
                    <a:pt x="413" y="273"/>
                  </a:lnTo>
                  <a:lnTo>
                    <a:pt x="413" y="273"/>
                  </a:lnTo>
                  <a:lnTo>
                    <a:pt x="411" y="270"/>
                  </a:lnTo>
                  <a:lnTo>
                    <a:pt x="408" y="267"/>
                  </a:lnTo>
                  <a:lnTo>
                    <a:pt x="408" y="267"/>
                  </a:lnTo>
                  <a:lnTo>
                    <a:pt x="405" y="267"/>
                  </a:lnTo>
                  <a:lnTo>
                    <a:pt x="403" y="265"/>
                  </a:lnTo>
                  <a:lnTo>
                    <a:pt x="403" y="265"/>
                  </a:lnTo>
                  <a:lnTo>
                    <a:pt x="403" y="262"/>
                  </a:lnTo>
                  <a:lnTo>
                    <a:pt x="400" y="259"/>
                  </a:lnTo>
                  <a:lnTo>
                    <a:pt x="400" y="257"/>
                  </a:lnTo>
                  <a:lnTo>
                    <a:pt x="397" y="257"/>
                  </a:lnTo>
                  <a:lnTo>
                    <a:pt x="397" y="257"/>
                  </a:lnTo>
                  <a:lnTo>
                    <a:pt x="397" y="257"/>
                  </a:lnTo>
                  <a:lnTo>
                    <a:pt x="395" y="257"/>
                  </a:lnTo>
                  <a:lnTo>
                    <a:pt x="395" y="254"/>
                  </a:lnTo>
                  <a:lnTo>
                    <a:pt x="395" y="254"/>
                  </a:lnTo>
                  <a:lnTo>
                    <a:pt x="392" y="254"/>
                  </a:lnTo>
                  <a:lnTo>
                    <a:pt x="392" y="251"/>
                  </a:lnTo>
                  <a:lnTo>
                    <a:pt x="392" y="251"/>
                  </a:lnTo>
                  <a:lnTo>
                    <a:pt x="389" y="254"/>
                  </a:lnTo>
                  <a:lnTo>
                    <a:pt x="389" y="254"/>
                  </a:lnTo>
                  <a:lnTo>
                    <a:pt x="389" y="251"/>
                  </a:lnTo>
                  <a:lnTo>
                    <a:pt x="387" y="251"/>
                  </a:lnTo>
                  <a:lnTo>
                    <a:pt x="384" y="251"/>
                  </a:lnTo>
                  <a:lnTo>
                    <a:pt x="381" y="251"/>
                  </a:lnTo>
                  <a:lnTo>
                    <a:pt x="381" y="251"/>
                  </a:lnTo>
                  <a:lnTo>
                    <a:pt x="381" y="251"/>
                  </a:lnTo>
                  <a:lnTo>
                    <a:pt x="381" y="254"/>
                  </a:lnTo>
                  <a:lnTo>
                    <a:pt x="381" y="254"/>
                  </a:lnTo>
                  <a:lnTo>
                    <a:pt x="381" y="257"/>
                  </a:lnTo>
                  <a:lnTo>
                    <a:pt x="379" y="259"/>
                  </a:lnTo>
                  <a:lnTo>
                    <a:pt x="373" y="259"/>
                  </a:lnTo>
                  <a:lnTo>
                    <a:pt x="371" y="257"/>
                  </a:lnTo>
                  <a:lnTo>
                    <a:pt x="365" y="251"/>
                  </a:lnTo>
                  <a:lnTo>
                    <a:pt x="360" y="249"/>
                  </a:lnTo>
                  <a:lnTo>
                    <a:pt x="357" y="246"/>
                  </a:lnTo>
                  <a:lnTo>
                    <a:pt x="357" y="243"/>
                  </a:lnTo>
                  <a:lnTo>
                    <a:pt x="357" y="240"/>
                  </a:lnTo>
                  <a:lnTo>
                    <a:pt x="360" y="238"/>
                  </a:lnTo>
                  <a:lnTo>
                    <a:pt x="357" y="232"/>
                  </a:lnTo>
                  <a:lnTo>
                    <a:pt x="349" y="224"/>
                  </a:lnTo>
                  <a:lnTo>
                    <a:pt x="347" y="219"/>
                  </a:lnTo>
                  <a:lnTo>
                    <a:pt x="349" y="216"/>
                  </a:lnTo>
                  <a:lnTo>
                    <a:pt x="352" y="214"/>
                  </a:lnTo>
                  <a:lnTo>
                    <a:pt x="352" y="214"/>
                  </a:lnTo>
                  <a:lnTo>
                    <a:pt x="352" y="208"/>
                  </a:lnTo>
                  <a:lnTo>
                    <a:pt x="349" y="206"/>
                  </a:lnTo>
                  <a:lnTo>
                    <a:pt x="347" y="203"/>
                  </a:lnTo>
                  <a:lnTo>
                    <a:pt x="344" y="203"/>
                  </a:lnTo>
                  <a:lnTo>
                    <a:pt x="341" y="206"/>
                  </a:lnTo>
                  <a:lnTo>
                    <a:pt x="338" y="206"/>
                  </a:lnTo>
                  <a:lnTo>
                    <a:pt x="330" y="206"/>
                  </a:lnTo>
                  <a:lnTo>
                    <a:pt x="325" y="206"/>
                  </a:lnTo>
                  <a:lnTo>
                    <a:pt x="322" y="206"/>
                  </a:lnTo>
                  <a:lnTo>
                    <a:pt x="320" y="203"/>
                  </a:lnTo>
                  <a:lnTo>
                    <a:pt x="320" y="203"/>
                  </a:lnTo>
                  <a:lnTo>
                    <a:pt x="317" y="200"/>
                  </a:lnTo>
                  <a:lnTo>
                    <a:pt x="317" y="200"/>
                  </a:lnTo>
                  <a:lnTo>
                    <a:pt x="317" y="200"/>
                  </a:lnTo>
                  <a:lnTo>
                    <a:pt x="317" y="203"/>
                  </a:lnTo>
                  <a:lnTo>
                    <a:pt x="314" y="203"/>
                  </a:lnTo>
                  <a:lnTo>
                    <a:pt x="314" y="203"/>
                  </a:lnTo>
                  <a:lnTo>
                    <a:pt x="312" y="203"/>
                  </a:lnTo>
                  <a:lnTo>
                    <a:pt x="309" y="203"/>
                  </a:lnTo>
                  <a:lnTo>
                    <a:pt x="309" y="200"/>
                  </a:lnTo>
                  <a:lnTo>
                    <a:pt x="306" y="195"/>
                  </a:lnTo>
                  <a:lnTo>
                    <a:pt x="306" y="192"/>
                  </a:lnTo>
                  <a:lnTo>
                    <a:pt x="306" y="190"/>
                  </a:lnTo>
                  <a:lnTo>
                    <a:pt x="306" y="187"/>
                  </a:lnTo>
                  <a:lnTo>
                    <a:pt x="306" y="184"/>
                  </a:lnTo>
                  <a:lnTo>
                    <a:pt x="306" y="184"/>
                  </a:lnTo>
                  <a:lnTo>
                    <a:pt x="304" y="182"/>
                  </a:lnTo>
                  <a:lnTo>
                    <a:pt x="304" y="179"/>
                  </a:lnTo>
                  <a:lnTo>
                    <a:pt x="304" y="176"/>
                  </a:lnTo>
                  <a:lnTo>
                    <a:pt x="304" y="174"/>
                  </a:lnTo>
                  <a:lnTo>
                    <a:pt x="304" y="174"/>
                  </a:lnTo>
                  <a:lnTo>
                    <a:pt x="304" y="171"/>
                  </a:lnTo>
                  <a:lnTo>
                    <a:pt x="304" y="171"/>
                  </a:lnTo>
                  <a:lnTo>
                    <a:pt x="301" y="171"/>
                  </a:lnTo>
                  <a:lnTo>
                    <a:pt x="301" y="168"/>
                  </a:lnTo>
                  <a:lnTo>
                    <a:pt x="301" y="168"/>
                  </a:lnTo>
                  <a:lnTo>
                    <a:pt x="296" y="150"/>
                  </a:lnTo>
                  <a:lnTo>
                    <a:pt x="290" y="134"/>
                  </a:lnTo>
                  <a:lnTo>
                    <a:pt x="285" y="115"/>
                  </a:lnTo>
                  <a:lnTo>
                    <a:pt x="280" y="99"/>
                  </a:lnTo>
                  <a:lnTo>
                    <a:pt x="274" y="80"/>
                  </a:lnTo>
                  <a:lnTo>
                    <a:pt x="269" y="64"/>
                  </a:lnTo>
                  <a:lnTo>
                    <a:pt x="264" y="45"/>
                  </a:lnTo>
                  <a:lnTo>
                    <a:pt x="258" y="29"/>
                  </a:lnTo>
                  <a:lnTo>
                    <a:pt x="256" y="24"/>
                  </a:lnTo>
                  <a:lnTo>
                    <a:pt x="256" y="24"/>
                  </a:lnTo>
                  <a:lnTo>
                    <a:pt x="250" y="21"/>
                  </a:lnTo>
                  <a:lnTo>
                    <a:pt x="248" y="21"/>
                  </a:lnTo>
                  <a:lnTo>
                    <a:pt x="245" y="19"/>
                  </a:lnTo>
                  <a:lnTo>
                    <a:pt x="240" y="16"/>
                  </a:lnTo>
                  <a:lnTo>
                    <a:pt x="237" y="16"/>
                  </a:lnTo>
                  <a:lnTo>
                    <a:pt x="237" y="13"/>
                  </a:lnTo>
                  <a:lnTo>
                    <a:pt x="237" y="13"/>
                  </a:lnTo>
                  <a:lnTo>
                    <a:pt x="232" y="11"/>
                  </a:lnTo>
                  <a:lnTo>
                    <a:pt x="226" y="8"/>
                  </a:lnTo>
                  <a:lnTo>
                    <a:pt x="218" y="5"/>
                  </a:lnTo>
                  <a:lnTo>
                    <a:pt x="218" y="5"/>
                  </a:lnTo>
                  <a:lnTo>
                    <a:pt x="213" y="5"/>
                  </a:lnTo>
                  <a:lnTo>
                    <a:pt x="213" y="5"/>
                  </a:lnTo>
                  <a:lnTo>
                    <a:pt x="210" y="3"/>
                  </a:lnTo>
                  <a:lnTo>
                    <a:pt x="208" y="0"/>
                  </a:lnTo>
                  <a:lnTo>
                    <a:pt x="202" y="0"/>
                  </a:lnTo>
                  <a:lnTo>
                    <a:pt x="197" y="0"/>
                  </a:lnTo>
                  <a:lnTo>
                    <a:pt x="192" y="3"/>
                  </a:lnTo>
                  <a:lnTo>
                    <a:pt x="192" y="8"/>
                  </a:lnTo>
                  <a:lnTo>
                    <a:pt x="192" y="11"/>
                  </a:lnTo>
                  <a:lnTo>
                    <a:pt x="192" y="11"/>
                  </a:lnTo>
                  <a:lnTo>
                    <a:pt x="192" y="11"/>
                  </a:lnTo>
                  <a:lnTo>
                    <a:pt x="189" y="13"/>
                  </a:lnTo>
                  <a:lnTo>
                    <a:pt x="189" y="13"/>
                  </a:lnTo>
                  <a:lnTo>
                    <a:pt x="186" y="13"/>
                  </a:lnTo>
                  <a:lnTo>
                    <a:pt x="184" y="13"/>
                  </a:lnTo>
                  <a:lnTo>
                    <a:pt x="181" y="13"/>
                  </a:lnTo>
                  <a:lnTo>
                    <a:pt x="178" y="13"/>
                  </a:lnTo>
                  <a:lnTo>
                    <a:pt x="176" y="16"/>
                  </a:lnTo>
                  <a:lnTo>
                    <a:pt x="173" y="19"/>
                  </a:lnTo>
                  <a:lnTo>
                    <a:pt x="170" y="21"/>
                  </a:lnTo>
                  <a:lnTo>
                    <a:pt x="170" y="24"/>
                  </a:lnTo>
                  <a:lnTo>
                    <a:pt x="168" y="27"/>
                  </a:lnTo>
                  <a:lnTo>
                    <a:pt x="165" y="27"/>
                  </a:lnTo>
                  <a:lnTo>
                    <a:pt x="162" y="27"/>
                  </a:lnTo>
                  <a:lnTo>
                    <a:pt x="157" y="29"/>
                  </a:lnTo>
                  <a:lnTo>
                    <a:pt x="146" y="40"/>
                  </a:lnTo>
                  <a:lnTo>
                    <a:pt x="146" y="40"/>
                  </a:lnTo>
                  <a:lnTo>
                    <a:pt x="130" y="37"/>
                  </a:lnTo>
                  <a:lnTo>
                    <a:pt x="128" y="35"/>
                  </a:lnTo>
                  <a:lnTo>
                    <a:pt x="128" y="32"/>
                  </a:lnTo>
                  <a:lnTo>
                    <a:pt x="125" y="32"/>
                  </a:lnTo>
                  <a:lnTo>
                    <a:pt x="125" y="27"/>
                  </a:lnTo>
                  <a:lnTo>
                    <a:pt x="122" y="19"/>
                  </a:lnTo>
                  <a:lnTo>
                    <a:pt x="122" y="16"/>
                  </a:lnTo>
                  <a:lnTo>
                    <a:pt x="120" y="13"/>
                  </a:lnTo>
                  <a:lnTo>
                    <a:pt x="104" y="13"/>
                  </a:lnTo>
                  <a:lnTo>
                    <a:pt x="104" y="16"/>
                  </a:lnTo>
                  <a:lnTo>
                    <a:pt x="104" y="16"/>
                  </a:lnTo>
                  <a:lnTo>
                    <a:pt x="101" y="19"/>
                  </a:lnTo>
                  <a:lnTo>
                    <a:pt x="96" y="32"/>
                  </a:lnTo>
                  <a:lnTo>
                    <a:pt x="90" y="45"/>
                  </a:lnTo>
                  <a:lnTo>
                    <a:pt x="85" y="61"/>
                  </a:lnTo>
                  <a:lnTo>
                    <a:pt x="80" y="75"/>
                  </a:lnTo>
                  <a:lnTo>
                    <a:pt x="74" y="88"/>
                  </a:lnTo>
                  <a:lnTo>
                    <a:pt x="69" y="102"/>
                  </a:lnTo>
                  <a:lnTo>
                    <a:pt x="64" y="118"/>
                  </a:lnTo>
                  <a:lnTo>
                    <a:pt x="58" y="131"/>
                  </a:lnTo>
                  <a:lnTo>
                    <a:pt x="56" y="134"/>
                  </a:lnTo>
                  <a:lnTo>
                    <a:pt x="56" y="139"/>
                  </a:lnTo>
                  <a:lnTo>
                    <a:pt x="58" y="147"/>
                  </a:lnTo>
                  <a:lnTo>
                    <a:pt x="58" y="160"/>
                  </a:lnTo>
                  <a:lnTo>
                    <a:pt x="61" y="168"/>
                  </a:lnTo>
                  <a:lnTo>
                    <a:pt x="61" y="174"/>
                  </a:lnTo>
                  <a:lnTo>
                    <a:pt x="56" y="182"/>
                  </a:lnTo>
                  <a:lnTo>
                    <a:pt x="53" y="182"/>
                  </a:lnTo>
                  <a:lnTo>
                    <a:pt x="50" y="184"/>
                  </a:lnTo>
                  <a:lnTo>
                    <a:pt x="50" y="187"/>
                  </a:lnTo>
                  <a:lnTo>
                    <a:pt x="53" y="190"/>
                  </a:lnTo>
                  <a:lnTo>
                    <a:pt x="53" y="190"/>
                  </a:lnTo>
                  <a:lnTo>
                    <a:pt x="50" y="192"/>
                  </a:lnTo>
                  <a:lnTo>
                    <a:pt x="50" y="195"/>
                  </a:lnTo>
                  <a:lnTo>
                    <a:pt x="48" y="200"/>
                  </a:lnTo>
                  <a:lnTo>
                    <a:pt x="48" y="206"/>
                  </a:lnTo>
                  <a:lnTo>
                    <a:pt x="48" y="208"/>
                  </a:lnTo>
                  <a:lnTo>
                    <a:pt x="50" y="208"/>
                  </a:lnTo>
                  <a:lnTo>
                    <a:pt x="53" y="211"/>
                  </a:lnTo>
                  <a:lnTo>
                    <a:pt x="53" y="214"/>
                  </a:lnTo>
                  <a:lnTo>
                    <a:pt x="53" y="216"/>
                  </a:lnTo>
                  <a:lnTo>
                    <a:pt x="53" y="219"/>
                  </a:lnTo>
                  <a:lnTo>
                    <a:pt x="50" y="222"/>
                  </a:lnTo>
                  <a:lnTo>
                    <a:pt x="50" y="224"/>
                  </a:lnTo>
                  <a:lnTo>
                    <a:pt x="50" y="224"/>
                  </a:lnTo>
                  <a:lnTo>
                    <a:pt x="50" y="224"/>
                  </a:lnTo>
                  <a:lnTo>
                    <a:pt x="50" y="224"/>
                  </a:lnTo>
                  <a:lnTo>
                    <a:pt x="50" y="224"/>
                  </a:lnTo>
                  <a:lnTo>
                    <a:pt x="53" y="227"/>
                  </a:lnTo>
                  <a:lnTo>
                    <a:pt x="53" y="227"/>
                  </a:lnTo>
                  <a:lnTo>
                    <a:pt x="53" y="227"/>
                  </a:lnTo>
                  <a:lnTo>
                    <a:pt x="50" y="227"/>
                  </a:lnTo>
                  <a:lnTo>
                    <a:pt x="50" y="230"/>
                  </a:lnTo>
                  <a:lnTo>
                    <a:pt x="53" y="235"/>
                  </a:lnTo>
                  <a:lnTo>
                    <a:pt x="53" y="235"/>
                  </a:lnTo>
                  <a:lnTo>
                    <a:pt x="53" y="238"/>
                  </a:lnTo>
                  <a:lnTo>
                    <a:pt x="56" y="238"/>
                  </a:lnTo>
                  <a:lnTo>
                    <a:pt x="58" y="238"/>
                  </a:lnTo>
                  <a:lnTo>
                    <a:pt x="58" y="238"/>
                  </a:lnTo>
                  <a:lnTo>
                    <a:pt x="61" y="243"/>
                  </a:lnTo>
                  <a:lnTo>
                    <a:pt x="58" y="249"/>
                  </a:lnTo>
                  <a:lnTo>
                    <a:pt x="56" y="251"/>
                  </a:lnTo>
                  <a:lnTo>
                    <a:pt x="50" y="259"/>
                  </a:lnTo>
                  <a:lnTo>
                    <a:pt x="50" y="262"/>
                  </a:lnTo>
                  <a:lnTo>
                    <a:pt x="50" y="262"/>
                  </a:lnTo>
                  <a:lnTo>
                    <a:pt x="50" y="265"/>
                  </a:lnTo>
                  <a:lnTo>
                    <a:pt x="50" y="265"/>
                  </a:lnTo>
                  <a:lnTo>
                    <a:pt x="50" y="265"/>
                  </a:lnTo>
                  <a:lnTo>
                    <a:pt x="50" y="267"/>
                  </a:lnTo>
                  <a:lnTo>
                    <a:pt x="53" y="270"/>
                  </a:lnTo>
                  <a:lnTo>
                    <a:pt x="53" y="273"/>
                  </a:lnTo>
                  <a:lnTo>
                    <a:pt x="53" y="273"/>
                  </a:lnTo>
                  <a:lnTo>
                    <a:pt x="50" y="275"/>
                  </a:lnTo>
                  <a:lnTo>
                    <a:pt x="50" y="275"/>
                  </a:lnTo>
                  <a:lnTo>
                    <a:pt x="48" y="278"/>
                  </a:lnTo>
                  <a:lnTo>
                    <a:pt x="45" y="278"/>
                  </a:lnTo>
                  <a:lnTo>
                    <a:pt x="42" y="281"/>
                  </a:lnTo>
                  <a:lnTo>
                    <a:pt x="40" y="286"/>
                  </a:lnTo>
                  <a:lnTo>
                    <a:pt x="37" y="286"/>
                  </a:lnTo>
                  <a:lnTo>
                    <a:pt x="32" y="299"/>
                  </a:lnTo>
                  <a:lnTo>
                    <a:pt x="29" y="310"/>
                  </a:lnTo>
                  <a:lnTo>
                    <a:pt x="29" y="313"/>
                  </a:lnTo>
                  <a:lnTo>
                    <a:pt x="32" y="315"/>
                  </a:lnTo>
                  <a:lnTo>
                    <a:pt x="32" y="315"/>
                  </a:lnTo>
                  <a:lnTo>
                    <a:pt x="37" y="318"/>
                  </a:lnTo>
                  <a:lnTo>
                    <a:pt x="40" y="318"/>
                  </a:lnTo>
                  <a:lnTo>
                    <a:pt x="40" y="321"/>
                  </a:lnTo>
                  <a:lnTo>
                    <a:pt x="40" y="323"/>
                  </a:lnTo>
                  <a:lnTo>
                    <a:pt x="37" y="323"/>
                  </a:lnTo>
                  <a:lnTo>
                    <a:pt x="37" y="323"/>
                  </a:lnTo>
                  <a:lnTo>
                    <a:pt x="34" y="323"/>
                  </a:lnTo>
                  <a:lnTo>
                    <a:pt x="29" y="321"/>
                  </a:lnTo>
                  <a:lnTo>
                    <a:pt x="26" y="321"/>
                  </a:lnTo>
                  <a:lnTo>
                    <a:pt x="24" y="321"/>
                  </a:lnTo>
                  <a:lnTo>
                    <a:pt x="24" y="323"/>
                  </a:lnTo>
                  <a:lnTo>
                    <a:pt x="24" y="326"/>
                  </a:lnTo>
                  <a:lnTo>
                    <a:pt x="24" y="329"/>
                  </a:lnTo>
                  <a:lnTo>
                    <a:pt x="24" y="331"/>
                  </a:lnTo>
                  <a:lnTo>
                    <a:pt x="24" y="337"/>
                  </a:lnTo>
                  <a:lnTo>
                    <a:pt x="26" y="339"/>
                  </a:lnTo>
                  <a:lnTo>
                    <a:pt x="24" y="339"/>
                  </a:lnTo>
                  <a:lnTo>
                    <a:pt x="24" y="342"/>
                  </a:lnTo>
                  <a:lnTo>
                    <a:pt x="24" y="342"/>
                  </a:lnTo>
                  <a:lnTo>
                    <a:pt x="24" y="345"/>
                  </a:lnTo>
                  <a:lnTo>
                    <a:pt x="24" y="347"/>
                  </a:lnTo>
                  <a:lnTo>
                    <a:pt x="24" y="347"/>
                  </a:lnTo>
                  <a:lnTo>
                    <a:pt x="21" y="350"/>
                  </a:lnTo>
                  <a:lnTo>
                    <a:pt x="21" y="347"/>
                  </a:lnTo>
                  <a:lnTo>
                    <a:pt x="13" y="339"/>
                  </a:lnTo>
                  <a:lnTo>
                    <a:pt x="10" y="337"/>
                  </a:lnTo>
                  <a:lnTo>
                    <a:pt x="8" y="337"/>
                  </a:lnTo>
                  <a:lnTo>
                    <a:pt x="5" y="339"/>
                  </a:lnTo>
                  <a:lnTo>
                    <a:pt x="5" y="339"/>
                  </a:lnTo>
                  <a:lnTo>
                    <a:pt x="5" y="342"/>
                  </a:lnTo>
                  <a:lnTo>
                    <a:pt x="2" y="345"/>
                  </a:lnTo>
                  <a:lnTo>
                    <a:pt x="2" y="345"/>
                  </a:lnTo>
                  <a:lnTo>
                    <a:pt x="0" y="345"/>
                  </a:lnTo>
                  <a:lnTo>
                    <a:pt x="2" y="353"/>
                  </a:lnTo>
                  <a:lnTo>
                    <a:pt x="5" y="361"/>
                  </a:lnTo>
                  <a:lnTo>
                    <a:pt x="8" y="366"/>
                  </a:lnTo>
                  <a:lnTo>
                    <a:pt x="10" y="374"/>
                  </a:lnTo>
                  <a:lnTo>
                    <a:pt x="13" y="379"/>
                  </a:lnTo>
                  <a:lnTo>
                    <a:pt x="16" y="395"/>
                  </a:lnTo>
                  <a:lnTo>
                    <a:pt x="18" y="401"/>
                  </a:lnTo>
                  <a:lnTo>
                    <a:pt x="21" y="409"/>
                  </a:lnTo>
                  <a:lnTo>
                    <a:pt x="24" y="414"/>
                  </a:lnTo>
                  <a:lnTo>
                    <a:pt x="26" y="422"/>
                  </a:lnTo>
                  <a:lnTo>
                    <a:pt x="29" y="430"/>
                  </a:lnTo>
                  <a:lnTo>
                    <a:pt x="29" y="436"/>
                  </a:lnTo>
                  <a:lnTo>
                    <a:pt x="32" y="444"/>
                  </a:lnTo>
                  <a:lnTo>
                    <a:pt x="34" y="449"/>
                  </a:lnTo>
                  <a:lnTo>
                    <a:pt x="37" y="457"/>
                  </a:lnTo>
                  <a:lnTo>
                    <a:pt x="40" y="465"/>
                  </a:lnTo>
                  <a:lnTo>
                    <a:pt x="42" y="470"/>
                  </a:lnTo>
                  <a:lnTo>
                    <a:pt x="45" y="478"/>
                  </a:lnTo>
                  <a:lnTo>
                    <a:pt x="45" y="484"/>
                  </a:lnTo>
                  <a:lnTo>
                    <a:pt x="48" y="492"/>
                  </a:lnTo>
                  <a:lnTo>
                    <a:pt x="50" y="500"/>
                  </a:lnTo>
                  <a:lnTo>
                    <a:pt x="53" y="505"/>
                  </a:lnTo>
                  <a:lnTo>
                    <a:pt x="56" y="513"/>
                  </a:lnTo>
                  <a:lnTo>
                    <a:pt x="58" y="521"/>
                  </a:lnTo>
                  <a:lnTo>
                    <a:pt x="61" y="526"/>
                  </a:lnTo>
                  <a:lnTo>
                    <a:pt x="61" y="534"/>
                  </a:lnTo>
                  <a:lnTo>
                    <a:pt x="64" y="540"/>
                  </a:lnTo>
                  <a:lnTo>
                    <a:pt x="66" y="548"/>
                  </a:lnTo>
                  <a:lnTo>
                    <a:pt x="69" y="556"/>
                  </a:lnTo>
                  <a:lnTo>
                    <a:pt x="72" y="561"/>
                  </a:lnTo>
                  <a:lnTo>
                    <a:pt x="74" y="569"/>
                  </a:lnTo>
                  <a:lnTo>
                    <a:pt x="74" y="572"/>
                  </a:lnTo>
                  <a:lnTo>
                    <a:pt x="77" y="577"/>
                  </a:lnTo>
                  <a:lnTo>
                    <a:pt x="77" y="580"/>
                  </a:lnTo>
                  <a:lnTo>
                    <a:pt x="77" y="580"/>
                  </a:lnTo>
                  <a:lnTo>
                    <a:pt x="77" y="582"/>
                  </a:lnTo>
                  <a:lnTo>
                    <a:pt x="77" y="582"/>
                  </a:lnTo>
                  <a:lnTo>
                    <a:pt x="77" y="582"/>
                  </a:lnTo>
                  <a:lnTo>
                    <a:pt x="77" y="585"/>
                  </a:lnTo>
                  <a:lnTo>
                    <a:pt x="80" y="588"/>
                  </a:lnTo>
                  <a:lnTo>
                    <a:pt x="80" y="588"/>
                  </a:lnTo>
                  <a:lnTo>
                    <a:pt x="80" y="593"/>
                  </a:lnTo>
                  <a:lnTo>
                    <a:pt x="80" y="593"/>
                  </a:lnTo>
                  <a:lnTo>
                    <a:pt x="80" y="593"/>
                  </a:lnTo>
                  <a:lnTo>
                    <a:pt x="80" y="596"/>
                  </a:lnTo>
                  <a:lnTo>
                    <a:pt x="80" y="596"/>
                  </a:lnTo>
                  <a:lnTo>
                    <a:pt x="80" y="598"/>
                  </a:lnTo>
                  <a:lnTo>
                    <a:pt x="82" y="598"/>
                  </a:lnTo>
                  <a:lnTo>
                    <a:pt x="85" y="601"/>
                  </a:lnTo>
                  <a:lnTo>
                    <a:pt x="90" y="604"/>
                  </a:lnTo>
                  <a:lnTo>
                    <a:pt x="96" y="609"/>
                  </a:lnTo>
                  <a:lnTo>
                    <a:pt x="98" y="609"/>
                  </a:lnTo>
                  <a:lnTo>
                    <a:pt x="101" y="612"/>
                  </a:lnTo>
                  <a:lnTo>
                    <a:pt x="101" y="612"/>
                  </a:lnTo>
                  <a:lnTo>
                    <a:pt x="101" y="615"/>
                  </a:lnTo>
                  <a:lnTo>
                    <a:pt x="101" y="615"/>
                  </a:lnTo>
                  <a:lnTo>
                    <a:pt x="101" y="615"/>
                  </a:lnTo>
                  <a:lnTo>
                    <a:pt x="101" y="620"/>
                  </a:lnTo>
                  <a:lnTo>
                    <a:pt x="104" y="623"/>
                  </a:lnTo>
                  <a:lnTo>
                    <a:pt x="104" y="623"/>
                  </a:lnTo>
                  <a:lnTo>
                    <a:pt x="106" y="625"/>
                  </a:lnTo>
                  <a:lnTo>
                    <a:pt x="109" y="628"/>
                  </a:lnTo>
                  <a:lnTo>
                    <a:pt x="114" y="631"/>
                  </a:lnTo>
                  <a:lnTo>
                    <a:pt x="114" y="631"/>
                  </a:lnTo>
                  <a:lnTo>
                    <a:pt x="114" y="625"/>
                  </a:lnTo>
                  <a:lnTo>
                    <a:pt x="114" y="625"/>
                  </a:lnTo>
                  <a:lnTo>
                    <a:pt x="114" y="625"/>
                  </a:lnTo>
                  <a:lnTo>
                    <a:pt x="117" y="625"/>
                  </a:lnTo>
                  <a:lnTo>
                    <a:pt x="120" y="628"/>
                  </a:lnTo>
                  <a:lnTo>
                    <a:pt x="122" y="628"/>
                  </a:lnTo>
                  <a:lnTo>
                    <a:pt x="122" y="625"/>
                  </a:lnTo>
                  <a:lnTo>
                    <a:pt x="122" y="620"/>
                  </a:lnTo>
                  <a:lnTo>
                    <a:pt x="125" y="615"/>
                  </a:lnTo>
                  <a:lnTo>
                    <a:pt x="125" y="612"/>
                  </a:lnTo>
                  <a:lnTo>
                    <a:pt x="128" y="612"/>
                  </a:lnTo>
                  <a:lnTo>
                    <a:pt x="125" y="612"/>
                  </a:lnTo>
                  <a:lnTo>
                    <a:pt x="125" y="609"/>
                  </a:lnTo>
                  <a:lnTo>
                    <a:pt x="128" y="607"/>
                  </a:lnTo>
                  <a:lnTo>
                    <a:pt x="125" y="604"/>
                  </a:lnTo>
                  <a:lnTo>
                    <a:pt x="122" y="601"/>
                  </a:lnTo>
                  <a:lnTo>
                    <a:pt x="125" y="596"/>
                  </a:lnTo>
                  <a:lnTo>
                    <a:pt x="125" y="593"/>
                  </a:lnTo>
                  <a:lnTo>
                    <a:pt x="128" y="588"/>
                  </a:lnTo>
                  <a:lnTo>
                    <a:pt x="128" y="588"/>
                  </a:lnTo>
                  <a:lnTo>
                    <a:pt x="128" y="588"/>
                  </a:lnTo>
                  <a:lnTo>
                    <a:pt x="130" y="585"/>
                  </a:lnTo>
                  <a:lnTo>
                    <a:pt x="133" y="585"/>
                  </a:lnTo>
                  <a:lnTo>
                    <a:pt x="136" y="582"/>
                  </a:lnTo>
                  <a:lnTo>
                    <a:pt x="136" y="580"/>
                  </a:lnTo>
                  <a:lnTo>
                    <a:pt x="138" y="577"/>
                  </a:lnTo>
                  <a:lnTo>
                    <a:pt x="138" y="577"/>
                  </a:lnTo>
                  <a:lnTo>
                    <a:pt x="138" y="577"/>
                  </a:lnTo>
                  <a:lnTo>
                    <a:pt x="141" y="577"/>
                  </a:lnTo>
                  <a:lnTo>
                    <a:pt x="141" y="574"/>
                  </a:lnTo>
                  <a:lnTo>
                    <a:pt x="141" y="574"/>
                  </a:lnTo>
                  <a:lnTo>
                    <a:pt x="141" y="572"/>
                  </a:lnTo>
                  <a:lnTo>
                    <a:pt x="141" y="569"/>
                  </a:lnTo>
                  <a:lnTo>
                    <a:pt x="141" y="569"/>
                  </a:lnTo>
                  <a:lnTo>
                    <a:pt x="144" y="566"/>
                  </a:lnTo>
                  <a:lnTo>
                    <a:pt x="144" y="566"/>
                  </a:lnTo>
                  <a:lnTo>
                    <a:pt x="141" y="566"/>
                  </a:lnTo>
                  <a:lnTo>
                    <a:pt x="141" y="566"/>
                  </a:lnTo>
                  <a:lnTo>
                    <a:pt x="138" y="569"/>
                  </a:lnTo>
                  <a:lnTo>
                    <a:pt x="138" y="566"/>
                  </a:lnTo>
                  <a:lnTo>
                    <a:pt x="138" y="564"/>
                  </a:lnTo>
                  <a:lnTo>
                    <a:pt x="136" y="561"/>
                  </a:lnTo>
                  <a:lnTo>
                    <a:pt x="138" y="558"/>
                  </a:lnTo>
                  <a:lnTo>
                    <a:pt x="138" y="556"/>
                  </a:lnTo>
                  <a:lnTo>
                    <a:pt x="138" y="553"/>
                  </a:lnTo>
                  <a:lnTo>
                    <a:pt x="141" y="553"/>
                  </a:lnTo>
                  <a:lnTo>
                    <a:pt x="141" y="556"/>
                  </a:lnTo>
                  <a:lnTo>
                    <a:pt x="144" y="556"/>
                  </a:lnTo>
                  <a:lnTo>
                    <a:pt x="144" y="553"/>
                  </a:lnTo>
                  <a:lnTo>
                    <a:pt x="146" y="550"/>
                  </a:lnTo>
                  <a:lnTo>
                    <a:pt x="146" y="550"/>
                  </a:lnTo>
                  <a:lnTo>
                    <a:pt x="146" y="553"/>
                  </a:lnTo>
                  <a:lnTo>
                    <a:pt x="146" y="553"/>
                  </a:lnTo>
                  <a:lnTo>
                    <a:pt x="149" y="550"/>
                  </a:lnTo>
                  <a:lnTo>
                    <a:pt x="152" y="550"/>
                  </a:lnTo>
                  <a:lnTo>
                    <a:pt x="152" y="548"/>
                  </a:lnTo>
                  <a:lnTo>
                    <a:pt x="152" y="545"/>
                  </a:lnTo>
                  <a:lnTo>
                    <a:pt x="149" y="542"/>
                  </a:lnTo>
                  <a:lnTo>
                    <a:pt x="149" y="540"/>
                  </a:lnTo>
                  <a:lnTo>
                    <a:pt x="146" y="540"/>
                  </a:lnTo>
                  <a:lnTo>
                    <a:pt x="144" y="540"/>
                  </a:lnTo>
                  <a:lnTo>
                    <a:pt x="141" y="540"/>
                  </a:lnTo>
                  <a:lnTo>
                    <a:pt x="138" y="540"/>
                  </a:lnTo>
                  <a:lnTo>
                    <a:pt x="144" y="540"/>
                  </a:lnTo>
                  <a:lnTo>
                    <a:pt x="144" y="537"/>
                  </a:lnTo>
                  <a:lnTo>
                    <a:pt x="144" y="537"/>
                  </a:lnTo>
                  <a:lnTo>
                    <a:pt x="144" y="534"/>
                  </a:lnTo>
                  <a:lnTo>
                    <a:pt x="144" y="534"/>
                  </a:lnTo>
                  <a:lnTo>
                    <a:pt x="144" y="532"/>
                  </a:lnTo>
                  <a:lnTo>
                    <a:pt x="146" y="529"/>
                  </a:lnTo>
                  <a:lnTo>
                    <a:pt x="146" y="524"/>
                  </a:lnTo>
                  <a:lnTo>
                    <a:pt x="149" y="521"/>
                  </a:lnTo>
                  <a:lnTo>
                    <a:pt x="152" y="513"/>
                  </a:lnTo>
                  <a:lnTo>
                    <a:pt x="152" y="513"/>
                  </a:lnTo>
                  <a:lnTo>
                    <a:pt x="154" y="513"/>
                  </a:lnTo>
                  <a:lnTo>
                    <a:pt x="154" y="513"/>
                  </a:lnTo>
                  <a:lnTo>
                    <a:pt x="157" y="510"/>
                  </a:lnTo>
                  <a:lnTo>
                    <a:pt x="157" y="510"/>
                  </a:lnTo>
                  <a:lnTo>
                    <a:pt x="160" y="508"/>
                  </a:lnTo>
                  <a:lnTo>
                    <a:pt x="160" y="505"/>
                  </a:lnTo>
                  <a:lnTo>
                    <a:pt x="160" y="505"/>
                  </a:lnTo>
                  <a:lnTo>
                    <a:pt x="162" y="502"/>
                  </a:lnTo>
                  <a:lnTo>
                    <a:pt x="162" y="505"/>
                  </a:lnTo>
                  <a:lnTo>
                    <a:pt x="162" y="508"/>
                  </a:lnTo>
                  <a:lnTo>
                    <a:pt x="160" y="508"/>
                  </a:lnTo>
                  <a:lnTo>
                    <a:pt x="160" y="508"/>
                  </a:lnTo>
                  <a:lnTo>
                    <a:pt x="162" y="508"/>
                  </a:lnTo>
                  <a:lnTo>
                    <a:pt x="165" y="505"/>
                  </a:lnTo>
                  <a:lnTo>
                    <a:pt x="165" y="505"/>
                  </a:lnTo>
                  <a:lnTo>
                    <a:pt x="165" y="508"/>
                  </a:lnTo>
                  <a:lnTo>
                    <a:pt x="162" y="516"/>
                  </a:lnTo>
                  <a:lnTo>
                    <a:pt x="162" y="521"/>
                  </a:lnTo>
                  <a:lnTo>
                    <a:pt x="165" y="521"/>
                  </a:lnTo>
                  <a:lnTo>
                    <a:pt x="165" y="518"/>
                  </a:lnTo>
                  <a:lnTo>
                    <a:pt x="165" y="516"/>
                  </a:lnTo>
                  <a:lnTo>
                    <a:pt x="165" y="513"/>
                  </a:lnTo>
                  <a:lnTo>
                    <a:pt x="165" y="510"/>
                  </a:lnTo>
                  <a:lnTo>
                    <a:pt x="168" y="508"/>
                  </a:lnTo>
                  <a:lnTo>
                    <a:pt x="168" y="505"/>
                  </a:lnTo>
                  <a:lnTo>
                    <a:pt x="168" y="502"/>
                  </a:lnTo>
                  <a:lnTo>
                    <a:pt x="170" y="505"/>
                  </a:lnTo>
                  <a:lnTo>
                    <a:pt x="168" y="521"/>
                  </a:lnTo>
                  <a:lnTo>
                    <a:pt x="168" y="521"/>
                  </a:lnTo>
                  <a:lnTo>
                    <a:pt x="168" y="521"/>
                  </a:lnTo>
                  <a:lnTo>
                    <a:pt x="168" y="521"/>
                  </a:lnTo>
                  <a:lnTo>
                    <a:pt x="168" y="518"/>
                  </a:lnTo>
                  <a:lnTo>
                    <a:pt x="168" y="518"/>
                  </a:lnTo>
                  <a:lnTo>
                    <a:pt x="168" y="516"/>
                  </a:lnTo>
                  <a:lnTo>
                    <a:pt x="170" y="516"/>
                  </a:lnTo>
                  <a:lnTo>
                    <a:pt x="173" y="510"/>
                  </a:lnTo>
                  <a:lnTo>
                    <a:pt x="173" y="510"/>
                  </a:lnTo>
                  <a:lnTo>
                    <a:pt x="173" y="510"/>
                  </a:lnTo>
                  <a:lnTo>
                    <a:pt x="176" y="508"/>
                  </a:lnTo>
                  <a:lnTo>
                    <a:pt x="176" y="508"/>
                  </a:lnTo>
                  <a:lnTo>
                    <a:pt x="176" y="505"/>
                  </a:lnTo>
                  <a:lnTo>
                    <a:pt x="173" y="502"/>
                  </a:lnTo>
                  <a:lnTo>
                    <a:pt x="173" y="502"/>
                  </a:lnTo>
                  <a:lnTo>
                    <a:pt x="170" y="502"/>
                  </a:lnTo>
                  <a:lnTo>
                    <a:pt x="170" y="500"/>
                  </a:lnTo>
                  <a:lnTo>
                    <a:pt x="173" y="500"/>
                  </a:lnTo>
                  <a:lnTo>
                    <a:pt x="173" y="500"/>
                  </a:lnTo>
                  <a:lnTo>
                    <a:pt x="173" y="500"/>
                  </a:lnTo>
                  <a:lnTo>
                    <a:pt x="176" y="500"/>
                  </a:lnTo>
                  <a:lnTo>
                    <a:pt x="176" y="500"/>
                  </a:lnTo>
                  <a:lnTo>
                    <a:pt x="176" y="500"/>
                  </a:lnTo>
                  <a:lnTo>
                    <a:pt x="176" y="502"/>
                  </a:lnTo>
                  <a:lnTo>
                    <a:pt x="176" y="502"/>
                  </a:lnTo>
                  <a:lnTo>
                    <a:pt x="178" y="505"/>
                  </a:lnTo>
                  <a:lnTo>
                    <a:pt x="178" y="505"/>
                  </a:lnTo>
                  <a:lnTo>
                    <a:pt x="178" y="508"/>
                  </a:lnTo>
                  <a:lnTo>
                    <a:pt x="178" y="508"/>
                  </a:lnTo>
                  <a:lnTo>
                    <a:pt x="178" y="508"/>
                  </a:lnTo>
                  <a:lnTo>
                    <a:pt x="178" y="508"/>
                  </a:lnTo>
                  <a:lnTo>
                    <a:pt x="178" y="513"/>
                  </a:lnTo>
                  <a:lnTo>
                    <a:pt x="178" y="513"/>
                  </a:lnTo>
                  <a:lnTo>
                    <a:pt x="181" y="516"/>
                  </a:lnTo>
                  <a:lnTo>
                    <a:pt x="181" y="516"/>
                  </a:lnTo>
                  <a:lnTo>
                    <a:pt x="184" y="518"/>
                  </a:lnTo>
                  <a:lnTo>
                    <a:pt x="184" y="521"/>
                  </a:lnTo>
                  <a:lnTo>
                    <a:pt x="184" y="518"/>
                  </a:lnTo>
                  <a:lnTo>
                    <a:pt x="184" y="518"/>
                  </a:lnTo>
                  <a:lnTo>
                    <a:pt x="186" y="516"/>
                  </a:lnTo>
                  <a:lnTo>
                    <a:pt x="186" y="516"/>
                  </a:lnTo>
                  <a:lnTo>
                    <a:pt x="186" y="513"/>
                  </a:lnTo>
                  <a:lnTo>
                    <a:pt x="186" y="510"/>
                  </a:lnTo>
                  <a:lnTo>
                    <a:pt x="186" y="510"/>
                  </a:lnTo>
                  <a:lnTo>
                    <a:pt x="184" y="508"/>
                  </a:lnTo>
                  <a:lnTo>
                    <a:pt x="181" y="502"/>
                  </a:lnTo>
                  <a:lnTo>
                    <a:pt x="181" y="500"/>
                  </a:lnTo>
                  <a:lnTo>
                    <a:pt x="176" y="489"/>
                  </a:lnTo>
                  <a:lnTo>
                    <a:pt x="173" y="484"/>
                  </a:lnTo>
                  <a:lnTo>
                    <a:pt x="173" y="486"/>
                  </a:lnTo>
                  <a:lnTo>
                    <a:pt x="173" y="486"/>
                  </a:lnTo>
                  <a:lnTo>
                    <a:pt x="170" y="489"/>
                  </a:lnTo>
                  <a:lnTo>
                    <a:pt x="170" y="489"/>
                  </a:lnTo>
                  <a:lnTo>
                    <a:pt x="168" y="486"/>
                  </a:lnTo>
                  <a:lnTo>
                    <a:pt x="168" y="486"/>
                  </a:lnTo>
                  <a:lnTo>
                    <a:pt x="168" y="484"/>
                  </a:lnTo>
                  <a:lnTo>
                    <a:pt x="173" y="476"/>
                  </a:lnTo>
                  <a:lnTo>
                    <a:pt x="173" y="476"/>
                  </a:lnTo>
                  <a:lnTo>
                    <a:pt x="176" y="473"/>
                  </a:lnTo>
                  <a:lnTo>
                    <a:pt x="176" y="473"/>
                  </a:lnTo>
                  <a:lnTo>
                    <a:pt x="176" y="470"/>
                  </a:lnTo>
                  <a:lnTo>
                    <a:pt x="178" y="473"/>
                  </a:lnTo>
                  <a:lnTo>
                    <a:pt x="176" y="473"/>
                  </a:lnTo>
                  <a:lnTo>
                    <a:pt x="176" y="476"/>
                  </a:lnTo>
                  <a:lnTo>
                    <a:pt x="176" y="478"/>
                  </a:lnTo>
                  <a:lnTo>
                    <a:pt x="176" y="484"/>
                  </a:lnTo>
                  <a:lnTo>
                    <a:pt x="176" y="484"/>
                  </a:lnTo>
                  <a:lnTo>
                    <a:pt x="178" y="486"/>
                  </a:lnTo>
                  <a:lnTo>
                    <a:pt x="178" y="489"/>
                  </a:lnTo>
                  <a:lnTo>
                    <a:pt x="178" y="489"/>
                  </a:lnTo>
                  <a:lnTo>
                    <a:pt x="178" y="492"/>
                  </a:lnTo>
                  <a:lnTo>
                    <a:pt x="181" y="494"/>
                  </a:lnTo>
                  <a:lnTo>
                    <a:pt x="181" y="494"/>
                  </a:lnTo>
                  <a:lnTo>
                    <a:pt x="181" y="497"/>
                  </a:lnTo>
                  <a:lnTo>
                    <a:pt x="184" y="497"/>
                  </a:lnTo>
                  <a:lnTo>
                    <a:pt x="186" y="505"/>
                  </a:lnTo>
                  <a:lnTo>
                    <a:pt x="186" y="505"/>
                  </a:lnTo>
                  <a:lnTo>
                    <a:pt x="186" y="505"/>
                  </a:lnTo>
                  <a:lnTo>
                    <a:pt x="186" y="505"/>
                  </a:lnTo>
                  <a:lnTo>
                    <a:pt x="186" y="505"/>
                  </a:lnTo>
                  <a:lnTo>
                    <a:pt x="186" y="505"/>
                  </a:lnTo>
                  <a:lnTo>
                    <a:pt x="186" y="505"/>
                  </a:lnTo>
                  <a:lnTo>
                    <a:pt x="186" y="505"/>
                  </a:lnTo>
                  <a:lnTo>
                    <a:pt x="186" y="508"/>
                  </a:lnTo>
                  <a:lnTo>
                    <a:pt x="189" y="510"/>
                  </a:lnTo>
                  <a:lnTo>
                    <a:pt x="189" y="510"/>
                  </a:lnTo>
                  <a:lnTo>
                    <a:pt x="192" y="508"/>
                  </a:lnTo>
                  <a:lnTo>
                    <a:pt x="192" y="500"/>
                  </a:lnTo>
                  <a:lnTo>
                    <a:pt x="192" y="497"/>
                  </a:lnTo>
                  <a:lnTo>
                    <a:pt x="189" y="497"/>
                  </a:lnTo>
                  <a:lnTo>
                    <a:pt x="189" y="500"/>
                  </a:lnTo>
                  <a:lnTo>
                    <a:pt x="189" y="502"/>
                  </a:lnTo>
                  <a:lnTo>
                    <a:pt x="189" y="502"/>
                  </a:lnTo>
                  <a:lnTo>
                    <a:pt x="189" y="500"/>
                  </a:lnTo>
                  <a:lnTo>
                    <a:pt x="189" y="497"/>
                  </a:lnTo>
                  <a:lnTo>
                    <a:pt x="186" y="494"/>
                  </a:lnTo>
                  <a:lnTo>
                    <a:pt x="186" y="494"/>
                  </a:lnTo>
                  <a:lnTo>
                    <a:pt x="184" y="494"/>
                  </a:lnTo>
                  <a:lnTo>
                    <a:pt x="184" y="494"/>
                  </a:lnTo>
                  <a:lnTo>
                    <a:pt x="184" y="492"/>
                  </a:lnTo>
                  <a:lnTo>
                    <a:pt x="189" y="476"/>
                  </a:lnTo>
                  <a:lnTo>
                    <a:pt x="192" y="473"/>
                  </a:lnTo>
                  <a:lnTo>
                    <a:pt x="192" y="473"/>
                  </a:lnTo>
                  <a:lnTo>
                    <a:pt x="194" y="470"/>
                  </a:lnTo>
                  <a:lnTo>
                    <a:pt x="194" y="473"/>
                  </a:lnTo>
                  <a:lnTo>
                    <a:pt x="192" y="473"/>
                  </a:lnTo>
                  <a:lnTo>
                    <a:pt x="192" y="476"/>
                  </a:lnTo>
                  <a:lnTo>
                    <a:pt x="192" y="481"/>
                  </a:lnTo>
                  <a:lnTo>
                    <a:pt x="192" y="481"/>
                  </a:lnTo>
                  <a:lnTo>
                    <a:pt x="192" y="484"/>
                  </a:lnTo>
                  <a:lnTo>
                    <a:pt x="194" y="484"/>
                  </a:lnTo>
                  <a:lnTo>
                    <a:pt x="194" y="484"/>
                  </a:lnTo>
                  <a:lnTo>
                    <a:pt x="197" y="486"/>
                  </a:lnTo>
                  <a:lnTo>
                    <a:pt x="197" y="486"/>
                  </a:lnTo>
                  <a:lnTo>
                    <a:pt x="194" y="486"/>
                  </a:lnTo>
                  <a:lnTo>
                    <a:pt x="194" y="486"/>
                  </a:lnTo>
                  <a:lnTo>
                    <a:pt x="194" y="486"/>
                  </a:lnTo>
                  <a:lnTo>
                    <a:pt x="194" y="489"/>
                  </a:lnTo>
                  <a:lnTo>
                    <a:pt x="194" y="489"/>
                  </a:lnTo>
                  <a:lnTo>
                    <a:pt x="194" y="489"/>
                  </a:lnTo>
                  <a:lnTo>
                    <a:pt x="194" y="494"/>
                  </a:lnTo>
                  <a:lnTo>
                    <a:pt x="194" y="494"/>
                  </a:lnTo>
                  <a:lnTo>
                    <a:pt x="194" y="494"/>
                  </a:lnTo>
                  <a:lnTo>
                    <a:pt x="197" y="497"/>
                  </a:lnTo>
                  <a:lnTo>
                    <a:pt x="200" y="497"/>
                  </a:lnTo>
                  <a:lnTo>
                    <a:pt x="200" y="497"/>
                  </a:lnTo>
                  <a:lnTo>
                    <a:pt x="202" y="494"/>
                  </a:lnTo>
                  <a:lnTo>
                    <a:pt x="202" y="500"/>
                  </a:lnTo>
                  <a:lnTo>
                    <a:pt x="205" y="500"/>
                  </a:lnTo>
                  <a:lnTo>
                    <a:pt x="205" y="497"/>
                  </a:lnTo>
                  <a:lnTo>
                    <a:pt x="205" y="494"/>
                  </a:lnTo>
                  <a:lnTo>
                    <a:pt x="202" y="492"/>
                  </a:lnTo>
                  <a:lnTo>
                    <a:pt x="202" y="492"/>
                  </a:lnTo>
                  <a:lnTo>
                    <a:pt x="200" y="489"/>
                  </a:lnTo>
                  <a:lnTo>
                    <a:pt x="200" y="489"/>
                  </a:lnTo>
                  <a:lnTo>
                    <a:pt x="200" y="486"/>
                  </a:lnTo>
                  <a:lnTo>
                    <a:pt x="200" y="486"/>
                  </a:lnTo>
                  <a:lnTo>
                    <a:pt x="200" y="486"/>
                  </a:lnTo>
                  <a:lnTo>
                    <a:pt x="200" y="486"/>
                  </a:lnTo>
                  <a:lnTo>
                    <a:pt x="200" y="484"/>
                  </a:lnTo>
                  <a:lnTo>
                    <a:pt x="200" y="484"/>
                  </a:lnTo>
                  <a:lnTo>
                    <a:pt x="200" y="481"/>
                  </a:lnTo>
                  <a:lnTo>
                    <a:pt x="200" y="481"/>
                  </a:lnTo>
                  <a:lnTo>
                    <a:pt x="200" y="478"/>
                  </a:lnTo>
                  <a:lnTo>
                    <a:pt x="200" y="478"/>
                  </a:lnTo>
                  <a:lnTo>
                    <a:pt x="200" y="473"/>
                  </a:lnTo>
                  <a:lnTo>
                    <a:pt x="200" y="470"/>
                  </a:lnTo>
                  <a:lnTo>
                    <a:pt x="202" y="470"/>
                  </a:lnTo>
                  <a:lnTo>
                    <a:pt x="202" y="473"/>
                  </a:lnTo>
                  <a:lnTo>
                    <a:pt x="202" y="478"/>
                  </a:lnTo>
                  <a:lnTo>
                    <a:pt x="202" y="481"/>
                  </a:lnTo>
                  <a:lnTo>
                    <a:pt x="202" y="481"/>
                  </a:lnTo>
                  <a:lnTo>
                    <a:pt x="202" y="484"/>
                  </a:lnTo>
                  <a:lnTo>
                    <a:pt x="202" y="484"/>
                  </a:lnTo>
                  <a:lnTo>
                    <a:pt x="202" y="484"/>
                  </a:lnTo>
                  <a:lnTo>
                    <a:pt x="202" y="486"/>
                  </a:lnTo>
                  <a:lnTo>
                    <a:pt x="202" y="486"/>
                  </a:lnTo>
                  <a:lnTo>
                    <a:pt x="202" y="489"/>
                  </a:lnTo>
                  <a:lnTo>
                    <a:pt x="202" y="489"/>
                  </a:lnTo>
                  <a:lnTo>
                    <a:pt x="205" y="492"/>
                  </a:lnTo>
                  <a:lnTo>
                    <a:pt x="205" y="492"/>
                  </a:lnTo>
                  <a:lnTo>
                    <a:pt x="205" y="494"/>
                  </a:lnTo>
                  <a:lnTo>
                    <a:pt x="208" y="494"/>
                  </a:lnTo>
                  <a:lnTo>
                    <a:pt x="205" y="492"/>
                  </a:lnTo>
                  <a:lnTo>
                    <a:pt x="205" y="489"/>
                  </a:lnTo>
                  <a:lnTo>
                    <a:pt x="205" y="486"/>
                  </a:lnTo>
                  <a:lnTo>
                    <a:pt x="205" y="486"/>
                  </a:lnTo>
                  <a:lnTo>
                    <a:pt x="208" y="489"/>
                  </a:lnTo>
                  <a:lnTo>
                    <a:pt x="208" y="489"/>
                  </a:lnTo>
                  <a:lnTo>
                    <a:pt x="210" y="492"/>
                  </a:lnTo>
                  <a:lnTo>
                    <a:pt x="210" y="494"/>
                  </a:lnTo>
                  <a:lnTo>
                    <a:pt x="213" y="492"/>
                  </a:lnTo>
                  <a:lnTo>
                    <a:pt x="213" y="486"/>
                  </a:lnTo>
                  <a:lnTo>
                    <a:pt x="213" y="476"/>
                  </a:lnTo>
                  <a:lnTo>
                    <a:pt x="213" y="473"/>
                  </a:lnTo>
                  <a:lnTo>
                    <a:pt x="213" y="470"/>
                  </a:lnTo>
                  <a:lnTo>
                    <a:pt x="213" y="470"/>
                  </a:lnTo>
                  <a:lnTo>
                    <a:pt x="216" y="470"/>
                  </a:lnTo>
                  <a:lnTo>
                    <a:pt x="216" y="468"/>
                  </a:lnTo>
                  <a:lnTo>
                    <a:pt x="216" y="465"/>
                  </a:lnTo>
                  <a:lnTo>
                    <a:pt x="216" y="465"/>
                  </a:lnTo>
                  <a:lnTo>
                    <a:pt x="216" y="462"/>
                  </a:lnTo>
                  <a:lnTo>
                    <a:pt x="218" y="462"/>
                  </a:lnTo>
                  <a:lnTo>
                    <a:pt x="218" y="460"/>
                  </a:lnTo>
                  <a:lnTo>
                    <a:pt x="218" y="460"/>
                  </a:lnTo>
                  <a:lnTo>
                    <a:pt x="218" y="460"/>
                  </a:lnTo>
                  <a:lnTo>
                    <a:pt x="218" y="462"/>
                  </a:lnTo>
                  <a:lnTo>
                    <a:pt x="218" y="465"/>
                  </a:lnTo>
                  <a:lnTo>
                    <a:pt x="218" y="465"/>
                  </a:lnTo>
                  <a:lnTo>
                    <a:pt x="221" y="465"/>
                  </a:lnTo>
                  <a:lnTo>
                    <a:pt x="221" y="465"/>
                  </a:lnTo>
                  <a:lnTo>
                    <a:pt x="221" y="468"/>
                  </a:lnTo>
                  <a:lnTo>
                    <a:pt x="221" y="470"/>
                  </a:lnTo>
                  <a:lnTo>
                    <a:pt x="221" y="470"/>
                  </a:lnTo>
                  <a:lnTo>
                    <a:pt x="224" y="468"/>
                  </a:lnTo>
                  <a:lnTo>
                    <a:pt x="224" y="468"/>
                  </a:lnTo>
                  <a:lnTo>
                    <a:pt x="226" y="468"/>
                  </a:lnTo>
                  <a:lnTo>
                    <a:pt x="226" y="473"/>
                  </a:lnTo>
                  <a:lnTo>
                    <a:pt x="226" y="473"/>
                  </a:lnTo>
                  <a:lnTo>
                    <a:pt x="229" y="473"/>
                  </a:lnTo>
                  <a:lnTo>
                    <a:pt x="232" y="462"/>
                  </a:lnTo>
                  <a:lnTo>
                    <a:pt x="234" y="462"/>
                  </a:lnTo>
                  <a:lnTo>
                    <a:pt x="234" y="465"/>
                  </a:lnTo>
                  <a:lnTo>
                    <a:pt x="232" y="470"/>
                  </a:lnTo>
                  <a:lnTo>
                    <a:pt x="232" y="473"/>
                  </a:lnTo>
                  <a:lnTo>
                    <a:pt x="232" y="473"/>
                  </a:lnTo>
                  <a:lnTo>
                    <a:pt x="234" y="473"/>
                  </a:lnTo>
                  <a:lnTo>
                    <a:pt x="234" y="473"/>
                  </a:lnTo>
                  <a:lnTo>
                    <a:pt x="240" y="470"/>
                  </a:lnTo>
                  <a:lnTo>
                    <a:pt x="237" y="468"/>
                  </a:lnTo>
                  <a:lnTo>
                    <a:pt x="237" y="468"/>
                  </a:lnTo>
                  <a:lnTo>
                    <a:pt x="237" y="465"/>
                  </a:lnTo>
                  <a:lnTo>
                    <a:pt x="237" y="465"/>
                  </a:lnTo>
                  <a:lnTo>
                    <a:pt x="237" y="465"/>
                  </a:lnTo>
                  <a:lnTo>
                    <a:pt x="240" y="462"/>
                  </a:lnTo>
                  <a:lnTo>
                    <a:pt x="240" y="462"/>
                  </a:lnTo>
                  <a:lnTo>
                    <a:pt x="240" y="462"/>
                  </a:lnTo>
                  <a:lnTo>
                    <a:pt x="242" y="462"/>
                  </a:lnTo>
                  <a:lnTo>
                    <a:pt x="242" y="460"/>
                  </a:lnTo>
                  <a:lnTo>
                    <a:pt x="242" y="457"/>
                  </a:lnTo>
                  <a:lnTo>
                    <a:pt x="242" y="454"/>
                  </a:lnTo>
                  <a:lnTo>
                    <a:pt x="245" y="454"/>
                  </a:lnTo>
                  <a:lnTo>
                    <a:pt x="248" y="452"/>
                  </a:lnTo>
                  <a:lnTo>
                    <a:pt x="248" y="449"/>
                  </a:lnTo>
                  <a:lnTo>
                    <a:pt x="248" y="446"/>
                  </a:lnTo>
                  <a:lnTo>
                    <a:pt x="245" y="449"/>
                  </a:lnTo>
                  <a:lnTo>
                    <a:pt x="242" y="446"/>
                  </a:lnTo>
                  <a:lnTo>
                    <a:pt x="242" y="444"/>
                  </a:lnTo>
                  <a:lnTo>
                    <a:pt x="242" y="444"/>
                  </a:lnTo>
                  <a:lnTo>
                    <a:pt x="242" y="441"/>
                  </a:lnTo>
                  <a:lnTo>
                    <a:pt x="242" y="441"/>
                  </a:lnTo>
                  <a:lnTo>
                    <a:pt x="242" y="438"/>
                  </a:lnTo>
                  <a:lnTo>
                    <a:pt x="242" y="436"/>
                  </a:lnTo>
                  <a:lnTo>
                    <a:pt x="242" y="428"/>
                  </a:lnTo>
                  <a:lnTo>
                    <a:pt x="245" y="425"/>
                  </a:lnTo>
                  <a:lnTo>
                    <a:pt x="245" y="419"/>
                  </a:lnTo>
                  <a:lnTo>
                    <a:pt x="245" y="417"/>
                  </a:lnTo>
                  <a:lnTo>
                    <a:pt x="248" y="417"/>
                  </a:lnTo>
                  <a:lnTo>
                    <a:pt x="250" y="414"/>
                  </a:lnTo>
                  <a:lnTo>
                    <a:pt x="250" y="411"/>
                  </a:lnTo>
                  <a:lnTo>
                    <a:pt x="248" y="409"/>
                  </a:lnTo>
                  <a:lnTo>
                    <a:pt x="245" y="406"/>
                  </a:lnTo>
                  <a:lnTo>
                    <a:pt x="242" y="403"/>
                  </a:lnTo>
                  <a:lnTo>
                    <a:pt x="242" y="403"/>
                  </a:lnTo>
                  <a:lnTo>
                    <a:pt x="242" y="403"/>
                  </a:lnTo>
                  <a:lnTo>
                    <a:pt x="242" y="401"/>
                  </a:lnTo>
                  <a:lnTo>
                    <a:pt x="242" y="398"/>
                  </a:lnTo>
                  <a:lnTo>
                    <a:pt x="248" y="395"/>
                  </a:lnTo>
                  <a:lnTo>
                    <a:pt x="248" y="395"/>
                  </a:lnTo>
                  <a:lnTo>
                    <a:pt x="250" y="393"/>
                  </a:lnTo>
                  <a:lnTo>
                    <a:pt x="250" y="390"/>
                  </a:lnTo>
                  <a:lnTo>
                    <a:pt x="253" y="390"/>
                  </a:lnTo>
                  <a:lnTo>
                    <a:pt x="253" y="393"/>
                  </a:lnTo>
                  <a:lnTo>
                    <a:pt x="253" y="393"/>
                  </a:lnTo>
                  <a:lnTo>
                    <a:pt x="256" y="393"/>
                  </a:lnTo>
                  <a:lnTo>
                    <a:pt x="258" y="390"/>
                  </a:lnTo>
                  <a:lnTo>
                    <a:pt x="256" y="390"/>
                  </a:lnTo>
                  <a:lnTo>
                    <a:pt x="256" y="390"/>
                  </a:lnTo>
                  <a:lnTo>
                    <a:pt x="256" y="382"/>
                  </a:lnTo>
                  <a:lnTo>
                    <a:pt x="256" y="377"/>
                  </a:lnTo>
                  <a:lnTo>
                    <a:pt x="256" y="377"/>
                  </a:lnTo>
                  <a:lnTo>
                    <a:pt x="256" y="377"/>
                  </a:lnTo>
                  <a:lnTo>
                    <a:pt x="261" y="377"/>
                  </a:lnTo>
                  <a:lnTo>
                    <a:pt x="261" y="379"/>
                  </a:lnTo>
                  <a:lnTo>
                    <a:pt x="261" y="387"/>
                  </a:lnTo>
                  <a:lnTo>
                    <a:pt x="261" y="387"/>
                  </a:lnTo>
                  <a:lnTo>
                    <a:pt x="261" y="390"/>
                  </a:lnTo>
                  <a:lnTo>
                    <a:pt x="261" y="390"/>
                  </a:lnTo>
                  <a:lnTo>
                    <a:pt x="261" y="390"/>
                  </a:lnTo>
                  <a:lnTo>
                    <a:pt x="258" y="393"/>
                  </a:lnTo>
                  <a:lnTo>
                    <a:pt x="258" y="393"/>
                  </a:lnTo>
                  <a:lnTo>
                    <a:pt x="258" y="395"/>
                  </a:lnTo>
                  <a:lnTo>
                    <a:pt x="258" y="398"/>
                  </a:lnTo>
                  <a:lnTo>
                    <a:pt x="258" y="398"/>
                  </a:lnTo>
                  <a:lnTo>
                    <a:pt x="261" y="401"/>
                  </a:lnTo>
                  <a:lnTo>
                    <a:pt x="261" y="401"/>
                  </a:lnTo>
                  <a:lnTo>
                    <a:pt x="261" y="398"/>
                  </a:lnTo>
                  <a:lnTo>
                    <a:pt x="264" y="395"/>
                  </a:lnTo>
                  <a:lnTo>
                    <a:pt x="264" y="393"/>
                  </a:lnTo>
                  <a:lnTo>
                    <a:pt x="266" y="390"/>
                  </a:lnTo>
                  <a:lnTo>
                    <a:pt x="269" y="393"/>
                  </a:lnTo>
                  <a:lnTo>
                    <a:pt x="272" y="395"/>
                  </a:lnTo>
                  <a:lnTo>
                    <a:pt x="269" y="395"/>
                  </a:lnTo>
                  <a:lnTo>
                    <a:pt x="269" y="395"/>
                  </a:lnTo>
                  <a:lnTo>
                    <a:pt x="266" y="395"/>
                  </a:lnTo>
                  <a:lnTo>
                    <a:pt x="266" y="395"/>
                  </a:lnTo>
                  <a:lnTo>
                    <a:pt x="266" y="395"/>
                  </a:lnTo>
                  <a:lnTo>
                    <a:pt x="264" y="398"/>
                  </a:lnTo>
                  <a:lnTo>
                    <a:pt x="266" y="398"/>
                  </a:lnTo>
                  <a:lnTo>
                    <a:pt x="266" y="401"/>
                  </a:lnTo>
                  <a:lnTo>
                    <a:pt x="266" y="401"/>
                  </a:lnTo>
                  <a:lnTo>
                    <a:pt x="266" y="403"/>
                  </a:lnTo>
                  <a:lnTo>
                    <a:pt x="264" y="403"/>
                  </a:lnTo>
                  <a:lnTo>
                    <a:pt x="264" y="401"/>
                  </a:lnTo>
                  <a:lnTo>
                    <a:pt x="264" y="401"/>
                  </a:lnTo>
                  <a:lnTo>
                    <a:pt x="261" y="403"/>
                  </a:lnTo>
                  <a:lnTo>
                    <a:pt x="261" y="406"/>
                  </a:lnTo>
                  <a:lnTo>
                    <a:pt x="261" y="411"/>
                  </a:lnTo>
                  <a:lnTo>
                    <a:pt x="264" y="409"/>
                  </a:lnTo>
                  <a:lnTo>
                    <a:pt x="266" y="406"/>
                  </a:lnTo>
                  <a:lnTo>
                    <a:pt x="269" y="406"/>
                  </a:lnTo>
                  <a:lnTo>
                    <a:pt x="274" y="409"/>
                  </a:lnTo>
                  <a:lnTo>
                    <a:pt x="277" y="409"/>
                  </a:lnTo>
                  <a:lnTo>
                    <a:pt x="277" y="409"/>
                  </a:lnTo>
                  <a:lnTo>
                    <a:pt x="282" y="409"/>
                  </a:lnTo>
                  <a:lnTo>
                    <a:pt x="293" y="411"/>
                  </a:lnTo>
                  <a:lnTo>
                    <a:pt x="296" y="411"/>
                  </a:lnTo>
                  <a:lnTo>
                    <a:pt x="293" y="411"/>
                  </a:lnTo>
                  <a:lnTo>
                    <a:pt x="293" y="409"/>
                  </a:lnTo>
                  <a:lnTo>
                    <a:pt x="293" y="409"/>
                  </a:lnTo>
                  <a:lnTo>
                    <a:pt x="290" y="409"/>
                  </a:lnTo>
                  <a:lnTo>
                    <a:pt x="293" y="409"/>
                  </a:lnTo>
                  <a:lnTo>
                    <a:pt x="293" y="409"/>
                  </a:lnTo>
                  <a:lnTo>
                    <a:pt x="293" y="406"/>
                  </a:lnTo>
                  <a:lnTo>
                    <a:pt x="293" y="403"/>
                  </a:lnTo>
                  <a:lnTo>
                    <a:pt x="290" y="403"/>
                  </a:lnTo>
                  <a:lnTo>
                    <a:pt x="290" y="403"/>
                  </a:lnTo>
                  <a:lnTo>
                    <a:pt x="288" y="403"/>
                  </a:lnTo>
                  <a:lnTo>
                    <a:pt x="288" y="403"/>
                  </a:lnTo>
                  <a:lnTo>
                    <a:pt x="288" y="401"/>
                  </a:lnTo>
                  <a:lnTo>
                    <a:pt x="288" y="398"/>
                  </a:lnTo>
                  <a:lnTo>
                    <a:pt x="288" y="395"/>
                  </a:lnTo>
                  <a:lnTo>
                    <a:pt x="285" y="395"/>
                  </a:lnTo>
                  <a:lnTo>
                    <a:pt x="285" y="393"/>
                  </a:lnTo>
                  <a:lnTo>
                    <a:pt x="282" y="390"/>
                  </a:lnTo>
                  <a:lnTo>
                    <a:pt x="285" y="390"/>
                  </a:lnTo>
                  <a:lnTo>
                    <a:pt x="288" y="390"/>
                  </a:lnTo>
                  <a:lnTo>
                    <a:pt x="290" y="387"/>
                  </a:lnTo>
                  <a:lnTo>
                    <a:pt x="290" y="385"/>
                  </a:lnTo>
                  <a:lnTo>
                    <a:pt x="293" y="387"/>
                  </a:lnTo>
                  <a:lnTo>
                    <a:pt x="293" y="387"/>
                  </a:lnTo>
                  <a:lnTo>
                    <a:pt x="293" y="390"/>
                  </a:lnTo>
                  <a:lnTo>
                    <a:pt x="293" y="393"/>
                  </a:lnTo>
                  <a:lnTo>
                    <a:pt x="296" y="390"/>
                  </a:lnTo>
                  <a:lnTo>
                    <a:pt x="296" y="387"/>
                  </a:lnTo>
                  <a:lnTo>
                    <a:pt x="296" y="387"/>
                  </a:lnTo>
                  <a:lnTo>
                    <a:pt x="296" y="387"/>
                  </a:lnTo>
                  <a:lnTo>
                    <a:pt x="296" y="385"/>
                  </a:lnTo>
                  <a:lnTo>
                    <a:pt x="293" y="385"/>
                  </a:lnTo>
                  <a:lnTo>
                    <a:pt x="293" y="385"/>
                  </a:lnTo>
                  <a:lnTo>
                    <a:pt x="293" y="385"/>
                  </a:lnTo>
                  <a:lnTo>
                    <a:pt x="293" y="385"/>
                  </a:lnTo>
                  <a:lnTo>
                    <a:pt x="293" y="382"/>
                  </a:lnTo>
                  <a:lnTo>
                    <a:pt x="293" y="382"/>
                  </a:lnTo>
                  <a:lnTo>
                    <a:pt x="293" y="382"/>
                  </a:lnTo>
                  <a:lnTo>
                    <a:pt x="290" y="377"/>
                  </a:lnTo>
                  <a:lnTo>
                    <a:pt x="293" y="377"/>
                  </a:lnTo>
                  <a:lnTo>
                    <a:pt x="293" y="377"/>
                  </a:lnTo>
                  <a:lnTo>
                    <a:pt x="296" y="379"/>
                  </a:lnTo>
                  <a:lnTo>
                    <a:pt x="298" y="385"/>
                  </a:lnTo>
                  <a:lnTo>
                    <a:pt x="298" y="387"/>
                  </a:lnTo>
                  <a:lnTo>
                    <a:pt x="298" y="387"/>
                  </a:lnTo>
                  <a:lnTo>
                    <a:pt x="301" y="385"/>
                  </a:lnTo>
                  <a:lnTo>
                    <a:pt x="301" y="385"/>
                  </a:lnTo>
                  <a:lnTo>
                    <a:pt x="304" y="379"/>
                  </a:lnTo>
                  <a:lnTo>
                    <a:pt x="304" y="377"/>
                  </a:lnTo>
                  <a:lnTo>
                    <a:pt x="304" y="379"/>
                  </a:lnTo>
                  <a:lnTo>
                    <a:pt x="306" y="377"/>
                  </a:lnTo>
                  <a:lnTo>
                    <a:pt x="312" y="377"/>
                  </a:lnTo>
                  <a:lnTo>
                    <a:pt x="312" y="377"/>
                  </a:lnTo>
                  <a:lnTo>
                    <a:pt x="312" y="377"/>
                  </a:lnTo>
                  <a:lnTo>
                    <a:pt x="309" y="377"/>
                  </a:lnTo>
                  <a:lnTo>
                    <a:pt x="309" y="374"/>
                  </a:lnTo>
                  <a:lnTo>
                    <a:pt x="309" y="371"/>
                  </a:lnTo>
                  <a:lnTo>
                    <a:pt x="309" y="371"/>
                  </a:lnTo>
                  <a:lnTo>
                    <a:pt x="304" y="371"/>
                  </a:lnTo>
                  <a:lnTo>
                    <a:pt x="304" y="369"/>
                  </a:lnTo>
                  <a:lnTo>
                    <a:pt x="306" y="366"/>
                  </a:lnTo>
                  <a:lnTo>
                    <a:pt x="309" y="369"/>
                  </a:lnTo>
                  <a:lnTo>
                    <a:pt x="309" y="366"/>
                  </a:lnTo>
                  <a:lnTo>
                    <a:pt x="312" y="369"/>
                  </a:lnTo>
                  <a:lnTo>
                    <a:pt x="312" y="371"/>
                  </a:lnTo>
                  <a:lnTo>
                    <a:pt x="314" y="374"/>
                  </a:lnTo>
                  <a:lnTo>
                    <a:pt x="317" y="371"/>
                  </a:lnTo>
                  <a:lnTo>
                    <a:pt x="314" y="371"/>
                  </a:lnTo>
                  <a:lnTo>
                    <a:pt x="314" y="369"/>
                  </a:lnTo>
                  <a:lnTo>
                    <a:pt x="314" y="366"/>
                  </a:lnTo>
                  <a:lnTo>
                    <a:pt x="317" y="366"/>
                  </a:lnTo>
                  <a:lnTo>
                    <a:pt x="317" y="369"/>
                  </a:lnTo>
                  <a:lnTo>
                    <a:pt x="320" y="371"/>
                  </a:lnTo>
                  <a:lnTo>
                    <a:pt x="320" y="371"/>
                  </a:lnTo>
                  <a:lnTo>
                    <a:pt x="320" y="374"/>
                  </a:lnTo>
                  <a:lnTo>
                    <a:pt x="322" y="371"/>
                  </a:lnTo>
                  <a:lnTo>
                    <a:pt x="322" y="371"/>
                  </a:lnTo>
                  <a:lnTo>
                    <a:pt x="322" y="371"/>
                  </a:lnTo>
                  <a:lnTo>
                    <a:pt x="322" y="371"/>
                  </a:lnTo>
                  <a:lnTo>
                    <a:pt x="320" y="369"/>
                  </a:lnTo>
                  <a:lnTo>
                    <a:pt x="320" y="369"/>
                  </a:lnTo>
                  <a:lnTo>
                    <a:pt x="320" y="369"/>
                  </a:lnTo>
                  <a:lnTo>
                    <a:pt x="320" y="366"/>
                  </a:lnTo>
                  <a:lnTo>
                    <a:pt x="322" y="366"/>
                  </a:lnTo>
                  <a:lnTo>
                    <a:pt x="322" y="366"/>
                  </a:lnTo>
                  <a:lnTo>
                    <a:pt x="322" y="366"/>
                  </a:lnTo>
                  <a:lnTo>
                    <a:pt x="322" y="369"/>
                  </a:lnTo>
                  <a:lnTo>
                    <a:pt x="322" y="369"/>
                  </a:lnTo>
                  <a:lnTo>
                    <a:pt x="325" y="369"/>
                  </a:lnTo>
                  <a:lnTo>
                    <a:pt x="328" y="371"/>
                  </a:lnTo>
                  <a:lnTo>
                    <a:pt x="328" y="374"/>
                  </a:lnTo>
                  <a:lnTo>
                    <a:pt x="328" y="377"/>
                  </a:lnTo>
                  <a:lnTo>
                    <a:pt x="330" y="379"/>
                  </a:lnTo>
                  <a:lnTo>
                    <a:pt x="333" y="382"/>
                  </a:lnTo>
                  <a:lnTo>
                    <a:pt x="333" y="382"/>
                  </a:lnTo>
                  <a:lnTo>
                    <a:pt x="336" y="379"/>
                  </a:lnTo>
                  <a:lnTo>
                    <a:pt x="336" y="382"/>
                  </a:lnTo>
                  <a:lnTo>
                    <a:pt x="336" y="385"/>
                  </a:lnTo>
                  <a:lnTo>
                    <a:pt x="336" y="385"/>
                  </a:lnTo>
                  <a:lnTo>
                    <a:pt x="338" y="387"/>
                  </a:lnTo>
                  <a:lnTo>
                    <a:pt x="338" y="385"/>
                  </a:lnTo>
                  <a:lnTo>
                    <a:pt x="338" y="379"/>
                  </a:lnTo>
                  <a:lnTo>
                    <a:pt x="338" y="377"/>
                  </a:lnTo>
                  <a:lnTo>
                    <a:pt x="338" y="377"/>
                  </a:lnTo>
                  <a:lnTo>
                    <a:pt x="338" y="377"/>
                  </a:lnTo>
                  <a:lnTo>
                    <a:pt x="341" y="377"/>
                  </a:lnTo>
                  <a:lnTo>
                    <a:pt x="341" y="377"/>
                  </a:lnTo>
                  <a:lnTo>
                    <a:pt x="341" y="377"/>
                  </a:lnTo>
                  <a:lnTo>
                    <a:pt x="341" y="377"/>
                  </a:lnTo>
                  <a:lnTo>
                    <a:pt x="344" y="377"/>
                  </a:lnTo>
                  <a:lnTo>
                    <a:pt x="344" y="377"/>
                  </a:lnTo>
                  <a:lnTo>
                    <a:pt x="344" y="374"/>
                  </a:lnTo>
                  <a:lnTo>
                    <a:pt x="344" y="374"/>
                  </a:lnTo>
                  <a:lnTo>
                    <a:pt x="344" y="374"/>
                  </a:lnTo>
                  <a:lnTo>
                    <a:pt x="341" y="374"/>
                  </a:lnTo>
                  <a:lnTo>
                    <a:pt x="341" y="369"/>
                  </a:lnTo>
                  <a:lnTo>
                    <a:pt x="341" y="369"/>
                  </a:lnTo>
                  <a:lnTo>
                    <a:pt x="336" y="369"/>
                  </a:lnTo>
                  <a:lnTo>
                    <a:pt x="336" y="366"/>
                  </a:lnTo>
                  <a:lnTo>
                    <a:pt x="336" y="366"/>
                  </a:lnTo>
                  <a:lnTo>
                    <a:pt x="338" y="366"/>
                  </a:lnTo>
                  <a:lnTo>
                    <a:pt x="338" y="366"/>
                  </a:lnTo>
                  <a:lnTo>
                    <a:pt x="338" y="366"/>
                  </a:lnTo>
                  <a:lnTo>
                    <a:pt x="338" y="363"/>
                  </a:lnTo>
                  <a:lnTo>
                    <a:pt x="338" y="363"/>
                  </a:lnTo>
                  <a:lnTo>
                    <a:pt x="338" y="361"/>
                  </a:lnTo>
                  <a:lnTo>
                    <a:pt x="338" y="361"/>
                  </a:lnTo>
                  <a:lnTo>
                    <a:pt x="344" y="369"/>
                  </a:lnTo>
                  <a:lnTo>
                    <a:pt x="344" y="371"/>
                  </a:lnTo>
                  <a:lnTo>
                    <a:pt x="344" y="371"/>
                  </a:lnTo>
                  <a:lnTo>
                    <a:pt x="344" y="371"/>
                  </a:lnTo>
                  <a:lnTo>
                    <a:pt x="344" y="371"/>
                  </a:lnTo>
                  <a:lnTo>
                    <a:pt x="347" y="371"/>
                  </a:lnTo>
                  <a:lnTo>
                    <a:pt x="347" y="371"/>
                  </a:lnTo>
                  <a:lnTo>
                    <a:pt x="347" y="369"/>
                  </a:lnTo>
                  <a:lnTo>
                    <a:pt x="344" y="366"/>
                  </a:lnTo>
                  <a:lnTo>
                    <a:pt x="344" y="363"/>
                  </a:lnTo>
                  <a:lnTo>
                    <a:pt x="347" y="363"/>
                  </a:lnTo>
                  <a:lnTo>
                    <a:pt x="347" y="361"/>
                  </a:lnTo>
                  <a:lnTo>
                    <a:pt x="347" y="363"/>
                  </a:lnTo>
                  <a:lnTo>
                    <a:pt x="347" y="369"/>
                  </a:lnTo>
                  <a:lnTo>
                    <a:pt x="347" y="371"/>
                  </a:lnTo>
                  <a:lnTo>
                    <a:pt x="349" y="374"/>
                  </a:lnTo>
                  <a:lnTo>
                    <a:pt x="349" y="369"/>
                  </a:lnTo>
                  <a:lnTo>
                    <a:pt x="349" y="363"/>
                  </a:lnTo>
                  <a:lnTo>
                    <a:pt x="349" y="361"/>
                  </a:lnTo>
                  <a:lnTo>
                    <a:pt x="349" y="361"/>
                  </a:lnTo>
                  <a:lnTo>
                    <a:pt x="352" y="361"/>
                  </a:lnTo>
                  <a:lnTo>
                    <a:pt x="352" y="361"/>
                  </a:lnTo>
                  <a:lnTo>
                    <a:pt x="352" y="358"/>
                  </a:lnTo>
                  <a:lnTo>
                    <a:pt x="352" y="358"/>
                  </a:lnTo>
                  <a:lnTo>
                    <a:pt x="349" y="355"/>
                  </a:lnTo>
                  <a:lnTo>
                    <a:pt x="347" y="353"/>
                  </a:lnTo>
                  <a:lnTo>
                    <a:pt x="347" y="353"/>
                  </a:lnTo>
                  <a:lnTo>
                    <a:pt x="349" y="353"/>
                  </a:lnTo>
                  <a:lnTo>
                    <a:pt x="349" y="350"/>
                  </a:lnTo>
                  <a:lnTo>
                    <a:pt x="349" y="347"/>
                  </a:lnTo>
                  <a:lnTo>
                    <a:pt x="349" y="347"/>
                  </a:lnTo>
                  <a:lnTo>
                    <a:pt x="352" y="345"/>
                  </a:lnTo>
                  <a:lnTo>
                    <a:pt x="352" y="347"/>
                  </a:lnTo>
                  <a:lnTo>
                    <a:pt x="352" y="345"/>
                  </a:lnTo>
                  <a:lnTo>
                    <a:pt x="355" y="342"/>
                  </a:lnTo>
                  <a:lnTo>
                    <a:pt x="355" y="342"/>
                  </a:lnTo>
                  <a:lnTo>
                    <a:pt x="355" y="345"/>
                  </a:lnTo>
                  <a:lnTo>
                    <a:pt x="355" y="347"/>
                  </a:lnTo>
                  <a:lnTo>
                    <a:pt x="355" y="350"/>
                  </a:lnTo>
                  <a:lnTo>
                    <a:pt x="355" y="350"/>
                  </a:lnTo>
                  <a:lnTo>
                    <a:pt x="357" y="353"/>
                  </a:lnTo>
                  <a:lnTo>
                    <a:pt x="357" y="353"/>
                  </a:lnTo>
                  <a:lnTo>
                    <a:pt x="357" y="350"/>
                  </a:lnTo>
                  <a:lnTo>
                    <a:pt x="357" y="350"/>
                  </a:lnTo>
                  <a:lnTo>
                    <a:pt x="357" y="342"/>
                  </a:lnTo>
                  <a:lnTo>
                    <a:pt x="357" y="342"/>
                  </a:lnTo>
                  <a:lnTo>
                    <a:pt x="360" y="342"/>
                  </a:lnTo>
                  <a:lnTo>
                    <a:pt x="360" y="350"/>
                  </a:lnTo>
                  <a:lnTo>
                    <a:pt x="360" y="353"/>
                  </a:lnTo>
                  <a:lnTo>
                    <a:pt x="363" y="353"/>
                  </a:lnTo>
                  <a:lnTo>
                    <a:pt x="363" y="353"/>
                  </a:lnTo>
                  <a:lnTo>
                    <a:pt x="365" y="353"/>
                  </a:lnTo>
                  <a:lnTo>
                    <a:pt x="365" y="347"/>
                  </a:lnTo>
                  <a:lnTo>
                    <a:pt x="368" y="345"/>
                  </a:lnTo>
                  <a:lnTo>
                    <a:pt x="368" y="345"/>
                  </a:lnTo>
                  <a:lnTo>
                    <a:pt x="368" y="342"/>
                  </a:lnTo>
                  <a:lnTo>
                    <a:pt x="371" y="342"/>
                  </a:lnTo>
                  <a:lnTo>
                    <a:pt x="371" y="345"/>
                  </a:lnTo>
                  <a:lnTo>
                    <a:pt x="371" y="345"/>
                  </a:lnTo>
                  <a:lnTo>
                    <a:pt x="371" y="347"/>
                  </a:lnTo>
                  <a:lnTo>
                    <a:pt x="371" y="347"/>
                  </a:lnTo>
                  <a:lnTo>
                    <a:pt x="371" y="347"/>
                  </a:lnTo>
                  <a:lnTo>
                    <a:pt x="373" y="347"/>
                  </a:lnTo>
                  <a:lnTo>
                    <a:pt x="373" y="347"/>
                  </a:lnTo>
                  <a:lnTo>
                    <a:pt x="373" y="347"/>
                  </a:lnTo>
                  <a:lnTo>
                    <a:pt x="376" y="347"/>
                  </a:lnTo>
                  <a:lnTo>
                    <a:pt x="376" y="347"/>
                  </a:lnTo>
                  <a:lnTo>
                    <a:pt x="376" y="345"/>
                  </a:lnTo>
                  <a:lnTo>
                    <a:pt x="376" y="345"/>
                  </a:lnTo>
                  <a:lnTo>
                    <a:pt x="379" y="345"/>
                  </a:lnTo>
                  <a:lnTo>
                    <a:pt x="379" y="345"/>
                  </a:lnTo>
                  <a:lnTo>
                    <a:pt x="376" y="342"/>
                  </a:lnTo>
                  <a:lnTo>
                    <a:pt x="376" y="342"/>
                  </a:lnTo>
                  <a:lnTo>
                    <a:pt x="376" y="339"/>
                  </a:lnTo>
                  <a:lnTo>
                    <a:pt x="376" y="339"/>
                  </a:lnTo>
                  <a:lnTo>
                    <a:pt x="376" y="334"/>
                  </a:lnTo>
                  <a:lnTo>
                    <a:pt x="373" y="334"/>
                  </a:lnTo>
                  <a:lnTo>
                    <a:pt x="373" y="334"/>
                  </a:lnTo>
                  <a:lnTo>
                    <a:pt x="376" y="331"/>
                  </a:lnTo>
                  <a:lnTo>
                    <a:pt x="376" y="329"/>
                  </a:lnTo>
                  <a:lnTo>
                    <a:pt x="379" y="331"/>
                  </a:lnTo>
                  <a:lnTo>
                    <a:pt x="379" y="331"/>
                  </a:lnTo>
                  <a:lnTo>
                    <a:pt x="379" y="331"/>
                  </a:lnTo>
                  <a:lnTo>
                    <a:pt x="381" y="331"/>
                  </a:lnTo>
                  <a:lnTo>
                    <a:pt x="381" y="331"/>
                  </a:lnTo>
                  <a:lnTo>
                    <a:pt x="381" y="334"/>
                  </a:lnTo>
                  <a:lnTo>
                    <a:pt x="384" y="334"/>
                  </a:lnTo>
                  <a:lnTo>
                    <a:pt x="384" y="334"/>
                  </a:lnTo>
                  <a:lnTo>
                    <a:pt x="387" y="331"/>
                  </a:lnTo>
                  <a:lnTo>
                    <a:pt x="389" y="331"/>
                  </a:lnTo>
                  <a:lnTo>
                    <a:pt x="387" y="331"/>
                  </a:lnTo>
                  <a:lnTo>
                    <a:pt x="387" y="329"/>
                  </a:lnTo>
                  <a:lnTo>
                    <a:pt x="384" y="326"/>
                  </a:lnTo>
                  <a:lnTo>
                    <a:pt x="384" y="323"/>
                  </a:lnTo>
                  <a:lnTo>
                    <a:pt x="387" y="323"/>
                  </a:lnTo>
                  <a:lnTo>
                    <a:pt x="389" y="326"/>
                  </a:lnTo>
                  <a:lnTo>
                    <a:pt x="389" y="331"/>
                  </a:lnTo>
                  <a:lnTo>
                    <a:pt x="392" y="331"/>
                  </a:lnTo>
                  <a:lnTo>
                    <a:pt x="392" y="331"/>
                  </a:lnTo>
                  <a:lnTo>
                    <a:pt x="392" y="329"/>
                  </a:lnTo>
                  <a:lnTo>
                    <a:pt x="392" y="329"/>
                  </a:lnTo>
                  <a:lnTo>
                    <a:pt x="395" y="329"/>
                  </a:lnTo>
                  <a:lnTo>
                    <a:pt x="395" y="329"/>
                  </a:lnTo>
                  <a:lnTo>
                    <a:pt x="395" y="326"/>
                  </a:lnTo>
                  <a:lnTo>
                    <a:pt x="392" y="326"/>
                  </a:lnTo>
                  <a:lnTo>
                    <a:pt x="392" y="323"/>
                  </a:lnTo>
                  <a:lnTo>
                    <a:pt x="392" y="321"/>
                  </a:lnTo>
                  <a:lnTo>
                    <a:pt x="389" y="321"/>
                  </a:lnTo>
                  <a:lnTo>
                    <a:pt x="389" y="318"/>
                  </a:lnTo>
                  <a:lnTo>
                    <a:pt x="389" y="318"/>
                  </a:lnTo>
                  <a:lnTo>
                    <a:pt x="392" y="318"/>
                  </a:lnTo>
                  <a:lnTo>
                    <a:pt x="392" y="318"/>
                  </a:lnTo>
                  <a:lnTo>
                    <a:pt x="395" y="318"/>
                  </a:lnTo>
                  <a:lnTo>
                    <a:pt x="392" y="318"/>
                  </a:lnTo>
                  <a:lnTo>
                    <a:pt x="395" y="315"/>
                  </a:lnTo>
                  <a:lnTo>
                    <a:pt x="397" y="315"/>
                  </a:lnTo>
                  <a:lnTo>
                    <a:pt x="397" y="318"/>
                  </a:lnTo>
                  <a:lnTo>
                    <a:pt x="397" y="321"/>
                  </a:lnTo>
                  <a:lnTo>
                    <a:pt x="397" y="321"/>
                  </a:lnTo>
                  <a:lnTo>
                    <a:pt x="400" y="323"/>
                  </a:lnTo>
                  <a:lnTo>
                    <a:pt x="400" y="323"/>
                  </a:lnTo>
                  <a:lnTo>
                    <a:pt x="403" y="323"/>
                  </a:lnTo>
                  <a:lnTo>
                    <a:pt x="405" y="323"/>
                  </a:lnTo>
                  <a:lnTo>
                    <a:pt x="403" y="321"/>
                  </a:lnTo>
                  <a:lnTo>
                    <a:pt x="403" y="321"/>
                  </a:lnTo>
                  <a:lnTo>
                    <a:pt x="403" y="321"/>
                  </a:lnTo>
                  <a:lnTo>
                    <a:pt x="405" y="318"/>
                  </a:lnTo>
                  <a:lnTo>
                    <a:pt x="405" y="321"/>
                  </a:lnTo>
                  <a:lnTo>
                    <a:pt x="408" y="321"/>
                  </a:lnTo>
                  <a:lnTo>
                    <a:pt x="408" y="321"/>
                  </a:lnTo>
                  <a:lnTo>
                    <a:pt x="411" y="321"/>
                  </a:lnTo>
                  <a:lnTo>
                    <a:pt x="411" y="318"/>
                  </a:lnTo>
                  <a:lnTo>
                    <a:pt x="408" y="318"/>
                  </a:lnTo>
                  <a:lnTo>
                    <a:pt x="411" y="318"/>
                  </a:lnTo>
                  <a:lnTo>
                    <a:pt x="411" y="315"/>
                  </a:lnTo>
                  <a:lnTo>
                    <a:pt x="413" y="315"/>
                  </a:lnTo>
                  <a:lnTo>
                    <a:pt x="416" y="307"/>
                  </a:lnTo>
                  <a:lnTo>
                    <a:pt x="416" y="305"/>
                  </a:lnTo>
                  <a:lnTo>
                    <a:pt x="416" y="302"/>
                  </a:lnTo>
                  <a:lnTo>
                    <a:pt x="419" y="305"/>
                  </a:lnTo>
                  <a:lnTo>
                    <a:pt x="419" y="302"/>
                  </a:lnTo>
                  <a:lnTo>
                    <a:pt x="419" y="299"/>
                  </a:lnTo>
                  <a:lnTo>
                    <a:pt x="419" y="299"/>
                  </a:lnTo>
                  <a:lnTo>
                    <a:pt x="419" y="299"/>
                  </a:lnTo>
                  <a:lnTo>
                    <a:pt x="421" y="299"/>
                  </a:lnTo>
                  <a:lnTo>
                    <a:pt x="421" y="299"/>
                  </a:lnTo>
                  <a:lnTo>
                    <a:pt x="424" y="297"/>
                  </a:lnTo>
                  <a:lnTo>
                    <a:pt x="424" y="291"/>
                  </a:lnTo>
                  <a:lnTo>
                    <a:pt x="427" y="291"/>
                  </a:lnTo>
                  <a:lnTo>
                    <a:pt x="424" y="291"/>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38" name="Freeform 35">
              <a:extLst>
                <a:ext uri="{FF2B5EF4-FFF2-40B4-BE49-F238E27FC236}">
                  <a16:creationId xmlns="" xmlns:a16="http://schemas.microsoft.com/office/drawing/2014/main" id="{1508C9A3-7ECA-4BAE-9F46-940E1832B2E5}"/>
                </a:ext>
              </a:extLst>
            </p:cNvPr>
            <p:cNvSpPr>
              <a:spLocks noEditPoints="1"/>
            </p:cNvSpPr>
            <p:nvPr/>
          </p:nvSpPr>
          <p:spPr bwMode="auto">
            <a:xfrm>
              <a:off x="5881" y="1261"/>
              <a:ext cx="515" cy="246"/>
            </a:xfrm>
            <a:custGeom>
              <a:avLst/>
              <a:gdLst>
                <a:gd name="T0" fmla="*/ 422 w 515"/>
                <a:gd name="T1" fmla="*/ 235 h 246"/>
                <a:gd name="T2" fmla="*/ 507 w 515"/>
                <a:gd name="T3" fmla="*/ 211 h 246"/>
                <a:gd name="T4" fmla="*/ 515 w 515"/>
                <a:gd name="T5" fmla="*/ 166 h 246"/>
                <a:gd name="T6" fmla="*/ 507 w 515"/>
                <a:gd name="T7" fmla="*/ 166 h 246"/>
                <a:gd name="T8" fmla="*/ 502 w 515"/>
                <a:gd name="T9" fmla="*/ 158 h 246"/>
                <a:gd name="T10" fmla="*/ 414 w 515"/>
                <a:gd name="T11" fmla="*/ 59 h 246"/>
                <a:gd name="T12" fmla="*/ 248 w 515"/>
                <a:gd name="T13" fmla="*/ 32 h 246"/>
                <a:gd name="T14" fmla="*/ 24 w 515"/>
                <a:gd name="T15" fmla="*/ 75 h 246"/>
                <a:gd name="T16" fmla="*/ 40 w 515"/>
                <a:gd name="T17" fmla="*/ 120 h 246"/>
                <a:gd name="T18" fmla="*/ 59 w 515"/>
                <a:gd name="T19" fmla="*/ 107 h 246"/>
                <a:gd name="T20" fmla="*/ 75 w 515"/>
                <a:gd name="T21" fmla="*/ 88 h 246"/>
                <a:gd name="T22" fmla="*/ 83 w 515"/>
                <a:gd name="T23" fmla="*/ 80 h 246"/>
                <a:gd name="T24" fmla="*/ 102 w 515"/>
                <a:gd name="T25" fmla="*/ 88 h 246"/>
                <a:gd name="T26" fmla="*/ 126 w 515"/>
                <a:gd name="T27" fmla="*/ 67 h 246"/>
                <a:gd name="T28" fmla="*/ 174 w 515"/>
                <a:gd name="T29" fmla="*/ 64 h 246"/>
                <a:gd name="T30" fmla="*/ 184 w 515"/>
                <a:gd name="T31" fmla="*/ 72 h 246"/>
                <a:gd name="T32" fmla="*/ 195 w 515"/>
                <a:gd name="T33" fmla="*/ 93 h 246"/>
                <a:gd name="T34" fmla="*/ 227 w 515"/>
                <a:gd name="T35" fmla="*/ 118 h 246"/>
                <a:gd name="T36" fmla="*/ 283 w 515"/>
                <a:gd name="T37" fmla="*/ 126 h 246"/>
                <a:gd name="T38" fmla="*/ 286 w 515"/>
                <a:gd name="T39" fmla="*/ 179 h 246"/>
                <a:gd name="T40" fmla="*/ 275 w 515"/>
                <a:gd name="T41" fmla="*/ 198 h 246"/>
                <a:gd name="T42" fmla="*/ 291 w 515"/>
                <a:gd name="T43" fmla="*/ 200 h 246"/>
                <a:gd name="T44" fmla="*/ 302 w 515"/>
                <a:gd name="T45" fmla="*/ 203 h 246"/>
                <a:gd name="T46" fmla="*/ 336 w 515"/>
                <a:gd name="T47" fmla="*/ 224 h 246"/>
                <a:gd name="T48" fmla="*/ 371 w 515"/>
                <a:gd name="T49" fmla="*/ 227 h 246"/>
                <a:gd name="T50" fmla="*/ 384 w 515"/>
                <a:gd name="T51" fmla="*/ 224 h 246"/>
                <a:gd name="T52" fmla="*/ 344 w 515"/>
                <a:gd name="T53" fmla="*/ 195 h 246"/>
                <a:gd name="T54" fmla="*/ 352 w 515"/>
                <a:gd name="T55" fmla="*/ 195 h 246"/>
                <a:gd name="T56" fmla="*/ 352 w 515"/>
                <a:gd name="T57" fmla="*/ 174 h 246"/>
                <a:gd name="T58" fmla="*/ 342 w 515"/>
                <a:gd name="T59" fmla="*/ 131 h 246"/>
                <a:gd name="T60" fmla="*/ 342 w 515"/>
                <a:gd name="T61" fmla="*/ 115 h 246"/>
                <a:gd name="T62" fmla="*/ 352 w 515"/>
                <a:gd name="T63" fmla="*/ 110 h 246"/>
                <a:gd name="T64" fmla="*/ 344 w 515"/>
                <a:gd name="T65" fmla="*/ 93 h 246"/>
                <a:gd name="T66" fmla="*/ 323 w 515"/>
                <a:gd name="T67" fmla="*/ 80 h 246"/>
                <a:gd name="T68" fmla="*/ 336 w 515"/>
                <a:gd name="T69" fmla="*/ 75 h 246"/>
                <a:gd name="T70" fmla="*/ 350 w 515"/>
                <a:gd name="T71" fmla="*/ 61 h 246"/>
                <a:gd name="T72" fmla="*/ 355 w 515"/>
                <a:gd name="T73" fmla="*/ 43 h 246"/>
                <a:gd name="T74" fmla="*/ 371 w 515"/>
                <a:gd name="T75" fmla="*/ 27 h 246"/>
                <a:gd name="T76" fmla="*/ 395 w 515"/>
                <a:gd name="T77" fmla="*/ 19 h 246"/>
                <a:gd name="T78" fmla="*/ 400 w 515"/>
                <a:gd name="T79" fmla="*/ 45 h 246"/>
                <a:gd name="T80" fmla="*/ 363 w 515"/>
                <a:gd name="T81" fmla="*/ 85 h 246"/>
                <a:gd name="T82" fmla="*/ 382 w 515"/>
                <a:gd name="T83" fmla="*/ 85 h 246"/>
                <a:gd name="T84" fmla="*/ 363 w 515"/>
                <a:gd name="T85" fmla="*/ 107 h 246"/>
                <a:gd name="T86" fmla="*/ 363 w 515"/>
                <a:gd name="T87" fmla="*/ 120 h 246"/>
                <a:gd name="T88" fmla="*/ 382 w 515"/>
                <a:gd name="T89" fmla="*/ 118 h 246"/>
                <a:gd name="T90" fmla="*/ 382 w 515"/>
                <a:gd name="T91" fmla="*/ 136 h 246"/>
                <a:gd name="T92" fmla="*/ 368 w 515"/>
                <a:gd name="T93" fmla="*/ 152 h 246"/>
                <a:gd name="T94" fmla="*/ 382 w 515"/>
                <a:gd name="T95" fmla="*/ 150 h 246"/>
                <a:gd name="T96" fmla="*/ 390 w 515"/>
                <a:gd name="T97" fmla="*/ 155 h 246"/>
                <a:gd name="T98" fmla="*/ 406 w 515"/>
                <a:gd name="T99" fmla="*/ 160 h 246"/>
                <a:gd name="T100" fmla="*/ 376 w 515"/>
                <a:gd name="T101" fmla="*/ 168 h 246"/>
                <a:gd name="T102" fmla="*/ 382 w 515"/>
                <a:gd name="T103" fmla="*/ 174 h 246"/>
                <a:gd name="T104" fmla="*/ 390 w 515"/>
                <a:gd name="T105" fmla="*/ 198 h 246"/>
                <a:gd name="T106" fmla="*/ 414 w 515"/>
                <a:gd name="T107" fmla="*/ 198 h 246"/>
                <a:gd name="T108" fmla="*/ 422 w 515"/>
                <a:gd name="T109" fmla="*/ 195 h 246"/>
                <a:gd name="T110" fmla="*/ 438 w 515"/>
                <a:gd name="T111" fmla="*/ 203 h 246"/>
                <a:gd name="T112" fmla="*/ 446 w 515"/>
                <a:gd name="T113" fmla="*/ 214 h 246"/>
                <a:gd name="T114" fmla="*/ 446 w 515"/>
                <a:gd name="T115" fmla="*/ 219 h 246"/>
                <a:gd name="T116" fmla="*/ 440 w 515"/>
                <a:gd name="T117" fmla="*/ 238 h 246"/>
                <a:gd name="T118" fmla="*/ 464 w 515"/>
                <a:gd name="T119" fmla="*/ 235 h 246"/>
                <a:gd name="T120" fmla="*/ 499 w 515"/>
                <a:gd name="T121" fmla="*/ 20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5" h="246">
                  <a:moveTo>
                    <a:pt x="422" y="235"/>
                  </a:moveTo>
                  <a:lnTo>
                    <a:pt x="422" y="232"/>
                  </a:lnTo>
                  <a:lnTo>
                    <a:pt x="419" y="232"/>
                  </a:lnTo>
                  <a:lnTo>
                    <a:pt x="419" y="232"/>
                  </a:lnTo>
                  <a:lnTo>
                    <a:pt x="419" y="235"/>
                  </a:lnTo>
                  <a:lnTo>
                    <a:pt x="419" y="238"/>
                  </a:lnTo>
                  <a:lnTo>
                    <a:pt x="424" y="238"/>
                  </a:lnTo>
                  <a:lnTo>
                    <a:pt x="424" y="238"/>
                  </a:lnTo>
                  <a:lnTo>
                    <a:pt x="424" y="240"/>
                  </a:lnTo>
                  <a:lnTo>
                    <a:pt x="419" y="240"/>
                  </a:lnTo>
                  <a:lnTo>
                    <a:pt x="419" y="240"/>
                  </a:lnTo>
                  <a:lnTo>
                    <a:pt x="422" y="243"/>
                  </a:lnTo>
                  <a:lnTo>
                    <a:pt x="424" y="243"/>
                  </a:lnTo>
                  <a:lnTo>
                    <a:pt x="424" y="243"/>
                  </a:lnTo>
                  <a:lnTo>
                    <a:pt x="424" y="240"/>
                  </a:lnTo>
                  <a:lnTo>
                    <a:pt x="427" y="238"/>
                  </a:lnTo>
                  <a:lnTo>
                    <a:pt x="424" y="235"/>
                  </a:lnTo>
                  <a:lnTo>
                    <a:pt x="422" y="235"/>
                  </a:lnTo>
                  <a:close/>
                  <a:moveTo>
                    <a:pt x="416" y="214"/>
                  </a:moveTo>
                  <a:lnTo>
                    <a:pt x="416" y="211"/>
                  </a:lnTo>
                  <a:lnTo>
                    <a:pt x="414" y="211"/>
                  </a:lnTo>
                  <a:lnTo>
                    <a:pt x="411" y="211"/>
                  </a:lnTo>
                  <a:lnTo>
                    <a:pt x="411" y="214"/>
                  </a:lnTo>
                  <a:lnTo>
                    <a:pt x="411" y="216"/>
                  </a:lnTo>
                  <a:lnTo>
                    <a:pt x="414" y="216"/>
                  </a:lnTo>
                  <a:lnTo>
                    <a:pt x="416" y="216"/>
                  </a:lnTo>
                  <a:lnTo>
                    <a:pt x="419" y="216"/>
                  </a:lnTo>
                  <a:lnTo>
                    <a:pt x="419" y="214"/>
                  </a:lnTo>
                  <a:lnTo>
                    <a:pt x="416" y="214"/>
                  </a:lnTo>
                  <a:close/>
                  <a:moveTo>
                    <a:pt x="513" y="179"/>
                  </a:moveTo>
                  <a:lnTo>
                    <a:pt x="510" y="190"/>
                  </a:lnTo>
                  <a:lnTo>
                    <a:pt x="510" y="195"/>
                  </a:lnTo>
                  <a:lnTo>
                    <a:pt x="510" y="200"/>
                  </a:lnTo>
                  <a:lnTo>
                    <a:pt x="510" y="203"/>
                  </a:lnTo>
                  <a:lnTo>
                    <a:pt x="510" y="206"/>
                  </a:lnTo>
                  <a:lnTo>
                    <a:pt x="507" y="211"/>
                  </a:lnTo>
                  <a:lnTo>
                    <a:pt x="505" y="216"/>
                  </a:lnTo>
                  <a:lnTo>
                    <a:pt x="507" y="216"/>
                  </a:lnTo>
                  <a:lnTo>
                    <a:pt x="507" y="214"/>
                  </a:lnTo>
                  <a:lnTo>
                    <a:pt x="507" y="214"/>
                  </a:lnTo>
                  <a:lnTo>
                    <a:pt x="510" y="208"/>
                  </a:lnTo>
                  <a:lnTo>
                    <a:pt x="513" y="195"/>
                  </a:lnTo>
                  <a:lnTo>
                    <a:pt x="513" y="187"/>
                  </a:lnTo>
                  <a:lnTo>
                    <a:pt x="515" y="179"/>
                  </a:lnTo>
                  <a:lnTo>
                    <a:pt x="515" y="176"/>
                  </a:lnTo>
                  <a:lnTo>
                    <a:pt x="513" y="176"/>
                  </a:lnTo>
                  <a:lnTo>
                    <a:pt x="513" y="179"/>
                  </a:lnTo>
                  <a:close/>
                  <a:moveTo>
                    <a:pt x="515" y="158"/>
                  </a:moveTo>
                  <a:lnTo>
                    <a:pt x="515" y="155"/>
                  </a:lnTo>
                  <a:lnTo>
                    <a:pt x="515" y="155"/>
                  </a:lnTo>
                  <a:lnTo>
                    <a:pt x="513" y="155"/>
                  </a:lnTo>
                  <a:lnTo>
                    <a:pt x="513" y="155"/>
                  </a:lnTo>
                  <a:lnTo>
                    <a:pt x="515" y="158"/>
                  </a:lnTo>
                  <a:lnTo>
                    <a:pt x="515" y="166"/>
                  </a:lnTo>
                  <a:lnTo>
                    <a:pt x="515" y="171"/>
                  </a:lnTo>
                  <a:lnTo>
                    <a:pt x="515" y="168"/>
                  </a:lnTo>
                  <a:lnTo>
                    <a:pt x="515" y="163"/>
                  </a:lnTo>
                  <a:lnTo>
                    <a:pt x="515" y="158"/>
                  </a:lnTo>
                  <a:close/>
                  <a:moveTo>
                    <a:pt x="510" y="184"/>
                  </a:moveTo>
                  <a:lnTo>
                    <a:pt x="510" y="179"/>
                  </a:lnTo>
                  <a:lnTo>
                    <a:pt x="513" y="176"/>
                  </a:lnTo>
                  <a:lnTo>
                    <a:pt x="513" y="174"/>
                  </a:lnTo>
                  <a:lnTo>
                    <a:pt x="513" y="171"/>
                  </a:lnTo>
                  <a:lnTo>
                    <a:pt x="513" y="168"/>
                  </a:lnTo>
                  <a:lnTo>
                    <a:pt x="513" y="168"/>
                  </a:lnTo>
                  <a:lnTo>
                    <a:pt x="510" y="168"/>
                  </a:lnTo>
                  <a:lnTo>
                    <a:pt x="510" y="168"/>
                  </a:lnTo>
                  <a:lnTo>
                    <a:pt x="507" y="168"/>
                  </a:lnTo>
                  <a:lnTo>
                    <a:pt x="507" y="168"/>
                  </a:lnTo>
                  <a:lnTo>
                    <a:pt x="507" y="168"/>
                  </a:lnTo>
                  <a:lnTo>
                    <a:pt x="510" y="166"/>
                  </a:lnTo>
                  <a:lnTo>
                    <a:pt x="507" y="166"/>
                  </a:lnTo>
                  <a:lnTo>
                    <a:pt x="507" y="166"/>
                  </a:lnTo>
                  <a:lnTo>
                    <a:pt x="507" y="166"/>
                  </a:lnTo>
                  <a:lnTo>
                    <a:pt x="507" y="163"/>
                  </a:lnTo>
                  <a:lnTo>
                    <a:pt x="507" y="163"/>
                  </a:lnTo>
                  <a:lnTo>
                    <a:pt x="502" y="163"/>
                  </a:lnTo>
                  <a:lnTo>
                    <a:pt x="502" y="160"/>
                  </a:lnTo>
                  <a:lnTo>
                    <a:pt x="505" y="160"/>
                  </a:lnTo>
                  <a:lnTo>
                    <a:pt x="507" y="160"/>
                  </a:lnTo>
                  <a:lnTo>
                    <a:pt x="510" y="160"/>
                  </a:lnTo>
                  <a:lnTo>
                    <a:pt x="510" y="160"/>
                  </a:lnTo>
                  <a:lnTo>
                    <a:pt x="510" y="160"/>
                  </a:lnTo>
                  <a:lnTo>
                    <a:pt x="507" y="158"/>
                  </a:lnTo>
                  <a:lnTo>
                    <a:pt x="510" y="158"/>
                  </a:lnTo>
                  <a:lnTo>
                    <a:pt x="510" y="158"/>
                  </a:lnTo>
                  <a:lnTo>
                    <a:pt x="510" y="155"/>
                  </a:lnTo>
                  <a:lnTo>
                    <a:pt x="510" y="155"/>
                  </a:lnTo>
                  <a:lnTo>
                    <a:pt x="507" y="155"/>
                  </a:lnTo>
                  <a:lnTo>
                    <a:pt x="502" y="158"/>
                  </a:lnTo>
                  <a:lnTo>
                    <a:pt x="494" y="158"/>
                  </a:lnTo>
                  <a:lnTo>
                    <a:pt x="486" y="160"/>
                  </a:lnTo>
                  <a:lnTo>
                    <a:pt x="478" y="163"/>
                  </a:lnTo>
                  <a:lnTo>
                    <a:pt x="470" y="163"/>
                  </a:lnTo>
                  <a:lnTo>
                    <a:pt x="459" y="166"/>
                  </a:lnTo>
                  <a:lnTo>
                    <a:pt x="451" y="168"/>
                  </a:lnTo>
                  <a:lnTo>
                    <a:pt x="443" y="171"/>
                  </a:lnTo>
                  <a:lnTo>
                    <a:pt x="440" y="163"/>
                  </a:lnTo>
                  <a:lnTo>
                    <a:pt x="440" y="158"/>
                  </a:lnTo>
                  <a:lnTo>
                    <a:pt x="438" y="147"/>
                  </a:lnTo>
                  <a:lnTo>
                    <a:pt x="435" y="136"/>
                  </a:lnTo>
                  <a:lnTo>
                    <a:pt x="432" y="128"/>
                  </a:lnTo>
                  <a:lnTo>
                    <a:pt x="430" y="118"/>
                  </a:lnTo>
                  <a:lnTo>
                    <a:pt x="427" y="107"/>
                  </a:lnTo>
                  <a:lnTo>
                    <a:pt x="424" y="99"/>
                  </a:lnTo>
                  <a:lnTo>
                    <a:pt x="419" y="77"/>
                  </a:lnTo>
                  <a:lnTo>
                    <a:pt x="416" y="69"/>
                  </a:lnTo>
                  <a:lnTo>
                    <a:pt x="414" y="59"/>
                  </a:lnTo>
                  <a:lnTo>
                    <a:pt x="411" y="48"/>
                  </a:lnTo>
                  <a:lnTo>
                    <a:pt x="406" y="37"/>
                  </a:lnTo>
                  <a:lnTo>
                    <a:pt x="403" y="29"/>
                  </a:lnTo>
                  <a:lnTo>
                    <a:pt x="400" y="19"/>
                  </a:lnTo>
                  <a:lnTo>
                    <a:pt x="398" y="8"/>
                  </a:lnTo>
                  <a:lnTo>
                    <a:pt x="395" y="0"/>
                  </a:lnTo>
                  <a:lnTo>
                    <a:pt x="384" y="3"/>
                  </a:lnTo>
                  <a:lnTo>
                    <a:pt x="371" y="5"/>
                  </a:lnTo>
                  <a:lnTo>
                    <a:pt x="360" y="8"/>
                  </a:lnTo>
                  <a:lnTo>
                    <a:pt x="347" y="11"/>
                  </a:lnTo>
                  <a:lnTo>
                    <a:pt x="334" y="13"/>
                  </a:lnTo>
                  <a:lnTo>
                    <a:pt x="323" y="16"/>
                  </a:lnTo>
                  <a:lnTo>
                    <a:pt x="310" y="19"/>
                  </a:lnTo>
                  <a:lnTo>
                    <a:pt x="296" y="21"/>
                  </a:lnTo>
                  <a:lnTo>
                    <a:pt x="286" y="24"/>
                  </a:lnTo>
                  <a:lnTo>
                    <a:pt x="272" y="27"/>
                  </a:lnTo>
                  <a:lnTo>
                    <a:pt x="262" y="29"/>
                  </a:lnTo>
                  <a:lnTo>
                    <a:pt x="248" y="32"/>
                  </a:lnTo>
                  <a:lnTo>
                    <a:pt x="235" y="35"/>
                  </a:lnTo>
                  <a:lnTo>
                    <a:pt x="224" y="37"/>
                  </a:lnTo>
                  <a:lnTo>
                    <a:pt x="211" y="40"/>
                  </a:lnTo>
                  <a:lnTo>
                    <a:pt x="198" y="43"/>
                  </a:lnTo>
                  <a:lnTo>
                    <a:pt x="187" y="43"/>
                  </a:lnTo>
                  <a:lnTo>
                    <a:pt x="174" y="45"/>
                  </a:lnTo>
                  <a:lnTo>
                    <a:pt x="160" y="48"/>
                  </a:lnTo>
                  <a:lnTo>
                    <a:pt x="150" y="51"/>
                  </a:lnTo>
                  <a:lnTo>
                    <a:pt x="136" y="53"/>
                  </a:lnTo>
                  <a:lnTo>
                    <a:pt x="123" y="56"/>
                  </a:lnTo>
                  <a:lnTo>
                    <a:pt x="112" y="59"/>
                  </a:lnTo>
                  <a:lnTo>
                    <a:pt x="99" y="61"/>
                  </a:lnTo>
                  <a:lnTo>
                    <a:pt x="88" y="64"/>
                  </a:lnTo>
                  <a:lnTo>
                    <a:pt x="75" y="67"/>
                  </a:lnTo>
                  <a:lnTo>
                    <a:pt x="62" y="69"/>
                  </a:lnTo>
                  <a:lnTo>
                    <a:pt x="51" y="72"/>
                  </a:lnTo>
                  <a:lnTo>
                    <a:pt x="38" y="72"/>
                  </a:lnTo>
                  <a:lnTo>
                    <a:pt x="24" y="75"/>
                  </a:lnTo>
                  <a:lnTo>
                    <a:pt x="14" y="77"/>
                  </a:lnTo>
                  <a:lnTo>
                    <a:pt x="0" y="80"/>
                  </a:lnTo>
                  <a:lnTo>
                    <a:pt x="11" y="150"/>
                  </a:lnTo>
                  <a:lnTo>
                    <a:pt x="14" y="152"/>
                  </a:lnTo>
                  <a:lnTo>
                    <a:pt x="14" y="152"/>
                  </a:lnTo>
                  <a:lnTo>
                    <a:pt x="14" y="150"/>
                  </a:lnTo>
                  <a:lnTo>
                    <a:pt x="16" y="150"/>
                  </a:lnTo>
                  <a:lnTo>
                    <a:pt x="24" y="136"/>
                  </a:lnTo>
                  <a:lnTo>
                    <a:pt x="27" y="136"/>
                  </a:lnTo>
                  <a:lnTo>
                    <a:pt x="30" y="134"/>
                  </a:lnTo>
                  <a:lnTo>
                    <a:pt x="32" y="134"/>
                  </a:lnTo>
                  <a:lnTo>
                    <a:pt x="32" y="134"/>
                  </a:lnTo>
                  <a:lnTo>
                    <a:pt x="32" y="131"/>
                  </a:lnTo>
                  <a:lnTo>
                    <a:pt x="32" y="128"/>
                  </a:lnTo>
                  <a:lnTo>
                    <a:pt x="35" y="126"/>
                  </a:lnTo>
                  <a:lnTo>
                    <a:pt x="38" y="123"/>
                  </a:lnTo>
                  <a:lnTo>
                    <a:pt x="40" y="120"/>
                  </a:lnTo>
                  <a:lnTo>
                    <a:pt x="40" y="120"/>
                  </a:lnTo>
                  <a:lnTo>
                    <a:pt x="43" y="120"/>
                  </a:lnTo>
                  <a:lnTo>
                    <a:pt x="43" y="118"/>
                  </a:lnTo>
                  <a:lnTo>
                    <a:pt x="46" y="115"/>
                  </a:lnTo>
                  <a:lnTo>
                    <a:pt x="46" y="115"/>
                  </a:lnTo>
                  <a:lnTo>
                    <a:pt x="46" y="115"/>
                  </a:lnTo>
                  <a:lnTo>
                    <a:pt x="46" y="115"/>
                  </a:lnTo>
                  <a:lnTo>
                    <a:pt x="46" y="112"/>
                  </a:lnTo>
                  <a:lnTo>
                    <a:pt x="46" y="110"/>
                  </a:lnTo>
                  <a:lnTo>
                    <a:pt x="46" y="110"/>
                  </a:lnTo>
                  <a:lnTo>
                    <a:pt x="46" y="107"/>
                  </a:lnTo>
                  <a:lnTo>
                    <a:pt x="48" y="107"/>
                  </a:lnTo>
                  <a:lnTo>
                    <a:pt x="51" y="104"/>
                  </a:lnTo>
                  <a:lnTo>
                    <a:pt x="51" y="104"/>
                  </a:lnTo>
                  <a:lnTo>
                    <a:pt x="54" y="104"/>
                  </a:lnTo>
                  <a:lnTo>
                    <a:pt x="54" y="104"/>
                  </a:lnTo>
                  <a:lnTo>
                    <a:pt x="56" y="104"/>
                  </a:lnTo>
                  <a:lnTo>
                    <a:pt x="59" y="107"/>
                  </a:lnTo>
                  <a:lnTo>
                    <a:pt x="59" y="107"/>
                  </a:lnTo>
                  <a:lnTo>
                    <a:pt x="62" y="107"/>
                  </a:lnTo>
                  <a:lnTo>
                    <a:pt x="62" y="107"/>
                  </a:lnTo>
                  <a:lnTo>
                    <a:pt x="64" y="107"/>
                  </a:lnTo>
                  <a:lnTo>
                    <a:pt x="64" y="107"/>
                  </a:lnTo>
                  <a:lnTo>
                    <a:pt x="64" y="104"/>
                  </a:lnTo>
                  <a:lnTo>
                    <a:pt x="64" y="104"/>
                  </a:lnTo>
                  <a:lnTo>
                    <a:pt x="70" y="96"/>
                  </a:lnTo>
                  <a:lnTo>
                    <a:pt x="70" y="93"/>
                  </a:lnTo>
                  <a:lnTo>
                    <a:pt x="72" y="91"/>
                  </a:lnTo>
                  <a:lnTo>
                    <a:pt x="72" y="91"/>
                  </a:lnTo>
                  <a:lnTo>
                    <a:pt x="72" y="91"/>
                  </a:lnTo>
                  <a:lnTo>
                    <a:pt x="72" y="91"/>
                  </a:lnTo>
                  <a:lnTo>
                    <a:pt x="72" y="88"/>
                  </a:lnTo>
                  <a:lnTo>
                    <a:pt x="72" y="88"/>
                  </a:lnTo>
                  <a:lnTo>
                    <a:pt x="75" y="88"/>
                  </a:lnTo>
                  <a:lnTo>
                    <a:pt x="75" y="88"/>
                  </a:lnTo>
                  <a:lnTo>
                    <a:pt x="75" y="88"/>
                  </a:lnTo>
                  <a:lnTo>
                    <a:pt x="75" y="88"/>
                  </a:lnTo>
                  <a:lnTo>
                    <a:pt x="75" y="85"/>
                  </a:lnTo>
                  <a:lnTo>
                    <a:pt x="75" y="85"/>
                  </a:lnTo>
                  <a:lnTo>
                    <a:pt x="75" y="85"/>
                  </a:lnTo>
                  <a:lnTo>
                    <a:pt x="75" y="85"/>
                  </a:lnTo>
                  <a:lnTo>
                    <a:pt x="75" y="83"/>
                  </a:lnTo>
                  <a:lnTo>
                    <a:pt x="78" y="80"/>
                  </a:lnTo>
                  <a:lnTo>
                    <a:pt x="78" y="80"/>
                  </a:lnTo>
                  <a:lnTo>
                    <a:pt x="78" y="77"/>
                  </a:lnTo>
                  <a:lnTo>
                    <a:pt x="78" y="77"/>
                  </a:lnTo>
                  <a:lnTo>
                    <a:pt x="78" y="77"/>
                  </a:lnTo>
                  <a:lnTo>
                    <a:pt x="78" y="77"/>
                  </a:lnTo>
                  <a:lnTo>
                    <a:pt x="78" y="77"/>
                  </a:lnTo>
                  <a:lnTo>
                    <a:pt x="80" y="77"/>
                  </a:lnTo>
                  <a:lnTo>
                    <a:pt x="80" y="77"/>
                  </a:lnTo>
                  <a:lnTo>
                    <a:pt x="80" y="80"/>
                  </a:lnTo>
                  <a:lnTo>
                    <a:pt x="83" y="80"/>
                  </a:lnTo>
                  <a:lnTo>
                    <a:pt x="83" y="80"/>
                  </a:lnTo>
                  <a:lnTo>
                    <a:pt x="83" y="80"/>
                  </a:lnTo>
                  <a:lnTo>
                    <a:pt x="83" y="80"/>
                  </a:lnTo>
                  <a:lnTo>
                    <a:pt x="80" y="83"/>
                  </a:lnTo>
                  <a:lnTo>
                    <a:pt x="80" y="83"/>
                  </a:lnTo>
                  <a:lnTo>
                    <a:pt x="80" y="83"/>
                  </a:lnTo>
                  <a:lnTo>
                    <a:pt x="80" y="83"/>
                  </a:lnTo>
                  <a:lnTo>
                    <a:pt x="80" y="83"/>
                  </a:lnTo>
                  <a:lnTo>
                    <a:pt x="80" y="83"/>
                  </a:lnTo>
                  <a:lnTo>
                    <a:pt x="80" y="85"/>
                  </a:lnTo>
                  <a:lnTo>
                    <a:pt x="80" y="85"/>
                  </a:lnTo>
                  <a:lnTo>
                    <a:pt x="83" y="85"/>
                  </a:lnTo>
                  <a:lnTo>
                    <a:pt x="83" y="85"/>
                  </a:lnTo>
                  <a:lnTo>
                    <a:pt x="83" y="85"/>
                  </a:lnTo>
                  <a:lnTo>
                    <a:pt x="88" y="85"/>
                  </a:lnTo>
                  <a:lnTo>
                    <a:pt x="88" y="88"/>
                  </a:lnTo>
                  <a:lnTo>
                    <a:pt x="88" y="88"/>
                  </a:lnTo>
                  <a:lnTo>
                    <a:pt x="91" y="88"/>
                  </a:lnTo>
                  <a:lnTo>
                    <a:pt x="94" y="88"/>
                  </a:lnTo>
                  <a:lnTo>
                    <a:pt x="102" y="88"/>
                  </a:lnTo>
                  <a:lnTo>
                    <a:pt x="102" y="88"/>
                  </a:lnTo>
                  <a:lnTo>
                    <a:pt x="107" y="85"/>
                  </a:lnTo>
                  <a:lnTo>
                    <a:pt x="112" y="85"/>
                  </a:lnTo>
                  <a:lnTo>
                    <a:pt x="118" y="83"/>
                  </a:lnTo>
                  <a:lnTo>
                    <a:pt x="118" y="80"/>
                  </a:lnTo>
                  <a:lnTo>
                    <a:pt x="115" y="80"/>
                  </a:lnTo>
                  <a:lnTo>
                    <a:pt x="115" y="80"/>
                  </a:lnTo>
                  <a:lnTo>
                    <a:pt x="115" y="77"/>
                  </a:lnTo>
                  <a:lnTo>
                    <a:pt x="115" y="77"/>
                  </a:lnTo>
                  <a:lnTo>
                    <a:pt x="118" y="77"/>
                  </a:lnTo>
                  <a:lnTo>
                    <a:pt x="118" y="75"/>
                  </a:lnTo>
                  <a:lnTo>
                    <a:pt x="115" y="72"/>
                  </a:lnTo>
                  <a:lnTo>
                    <a:pt x="115" y="72"/>
                  </a:lnTo>
                  <a:lnTo>
                    <a:pt x="118" y="72"/>
                  </a:lnTo>
                  <a:lnTo>
                    <a:pt x="120" y="72"/>
                  </a:lnTo>
                  <a:lnTo>
                    <a:pt x="120" y="69"/>
                  </a:lnTo>
                  <a:lnTo>
                    <a:pt x="123" y="69"/>
                  </a:lnTo>
                  <a:lnTo>
                    <a:pt x="126" y="67"/>
                  </a:lnTo>
                  <a:lnTo>
                    <a:pt x="128" y="67"/>
                  </a:lnTo>
                  <a:lnTo>
                    <a:pt x="131" y="67"/>
                  </a:lnTo>
                  <a:lnTo>
                    <a:pt x="131" y="67"/>
                  </a:lnTo>
                  <a:lnTo>
                    <a:pt x="134" y="64"/>
                  </a:lnTo>
                  <a:lnTo>
                    <a:pt x="134" y="61"/>
                  </a:lnTo>
                  <a:lnTo>
                    <a:pt x="136" y="59"/>
                  </a:lnTo>
                  <a:lnTo>
                    <a:pt x="136" y="56"/>
                  </a:lnTo>
                  <a:lnTo>
                    <a:pt x="139" y="56"/>
                  </a:lnTo>
                  <a:lnTo>
                    <a:pt x="139" y="56"/>
                  </a:lnTo>
                  <a:lnTo>
                    <a:pt x="144" y="56"/>
                  </a:lnTo>
                  <a:lnTo>
                    <a:pt x="150" y="56"/>
                  </a:lnTo>
                  <a:lnTo>
                    <a:pt x="160" y="64"/>
                  </a:lnTo>
                  <a:lnTo>
                    <a:pt x="163" y="64"/>
                  </a:lnTo>
                  <a:lnTo>
                    <a:pt x="166" y="64"/>
                  </a:lnTo>
                  <a:lnTo>
                    <a:pt x="168" y="64"/>
                  </a:lnTo>
                  <a:lnTo>
                    <a:pt x="168" y="64"/>
                  </a:lnTo>
                  <a:lnTo>
                    <a:pt x="171" y="64"/>
                  </a:lnTo>
                  <a:lnTo>
                    <a:pt x="174" y="64"/>
                  </a:lnTo>
                  <a:lnTo>
                    <a:pt x="174" y="61"/>
                  </a:lnTo>
                  <a:lnTo>
                    <a:pt x="174" y="61"/>
                  </a:lnTo>
                  <a:lnTo>
                    <a:pt x="176" y="61"/>
                  </a:lnTo>
                  <a:lnTo>
                    <a:pt x="176" y="61"/>
                  </a:lnTo>
                  <a:lnTo>
                    <a:pt x="179" y="61"/>
                  </a:lnTo>
                  <a:lnTo>
                    <a:pt x="182" y="64"/>
                  </a:lnTo>
                  <a:lnTo>
                    <a:pt x="182" y="64"/>
                  </a:lnTo>
                  <a:lnTo>
                    <a:pt x="179" y="67"/>
                  </a:lnTo>
                  <a:lnTo>
                    <a:pt x="176" y="69"/>
                  </a:lnTo>
                  <a:lnTo>
                    <a:pt x="176" y="69"/>
                  </a:lnTo>
                  <a:lnTo>
                    <a:pt x="179" y="75"/>
                  </a:lnTo>
                  <a:lnTo>
                    <a:pt x="182" y="75"/>
                  </a:lnTo>
                  <a:lnTo>
                    <a:pt x="182" y="72"/>
                  </a:lnTo>
                  <a:lnTo>
                    <a:pt x="182" y="72"/>
                  </a:lnTo>
                  <a:lnTo>
                    <a:pt x="182" y="69"/>
                  </a:lnTo>
                  <a:lnTo>
                    <a:pt x="182" y="69"/>
                  </a:lnTo>
                  <a:lnTo>
                    <a:pt x="184" y="72"/>
                  </a:lnTo>
                  <a:lnTo>
                    <a:pt x="184" y="72"/>
                  </a:lnTo>
                  <a:lnTo>
                    <a:pt x="182" y="75"/>
                  </a:lnTo>
                  <a:lnTo>
                    <a:pt x="182" y="75"/>
                  </a:lnTo>
                  <a:lnTo>
                    <a:pt x="184" y="77"/>
                  </a:lnTo>
                  <a:lnTo>
                    <a:pt x="187" y="75"/>
                  </a:lnTo>
                  <a:lnTo>
                    <a:pt x="187" y="75"/>
                  </a:lnTo>
                  <a:lnTo>
                    <a:pt x="190" y="75"/>
                  </a:lnTo>
                  <a:lnTo>
                    <a:pt x="190" y="75"/>
                  </a:lnTo>
                  <a:lnTo>
                    <a:pt x="190" y="75"/>
                  </a:lnTo>
                  <a:lnTo>
                    <a:pt x="187" y="77"/>
                  </a:lnTo>
                  <a:lnTo>
                    <a:pt x="187" y="80"/>
                  </a:lnTo>
                  <a:lnTo>
                    <a:pt x="190" y="80"/>
                  </a:lnTo>
                  <a:lnTo>
                    <a:pt x="187" y="83"/>
                  </a:lnTo>
                  <a:lnTo>
                    <a:pt x="190" y="83"/>
                  </a:lnTo>
                  <a:lnTo>
                    <a:pt x="195" y="85"/>
                  </a:lnTo>
                  <a:lnTo>
                    <a:pt x="195" y="88"/>
                  </a:lnTo>
                  <a:lnTo>
                    <a:pt x="195" y="88"/>
                  </a:lnTo>
                  <a:lnTo>
                    <a:pt x="195" y="93"/>
                  </a:lnTo>
                  <a:lnTo>
                    <a:pt x="195" y="93"/>
                  </a:lnTo>
                  <a:lnTo>
                    <a:pt x="198" y="96"/>
                  </a:lnTo>
                  <a:lnTo>
                    <a:pt x="198" y="96"/>
                  </a:lnTo>
                  <a:lnTo>
                    <a:pt x="200" y="99"/>
                  </a:lnTo>
                  <a:lnTo>
                    <a:pt x="206" y="96"/>
                  </a:lnTo>
                  <a:lnTo>
                    <a:pt x="208" y="96"/>
                  </a:lnTo>
                  <a:lnTo>
                    <a:pt x="214" y="96"/>
                  </a:lnTo>
                  <a:lnTo>
                    <a:pt x="219" y="99"/>
                  </a:lnTo>
                  <a:lnTo>
                    <a:pt x="219" y="99"/>
                  </a:lnTo>
                  <a:lnTo>
                    <a:pt x="222" y="102"/>
                  </a:lnTo>
                  <a:lnTo>
                    <a:pt x="224" y="102"/>
                  </a:lnTo>
                  <a:lnTo>
                    <a:pt x="227" y="102"/>
                  </a:lnTo>
                  <a:lnTo>
                    <a:pt x="230" y="104"/>
                  </a:lnTo>
                  <a:lnTo>
                    <a:pt x="232" y="104"/>
                  </a:lnTo>
                  <a:lnTo>
                    <a:pt x="232" y="107"/>
                  </a:lnTo>
                  <a:lnTo>
                    <a:pt x="230" y="110"/>
                  </a:lnTo>
                  <a:lnTo>
                    <a:pt x="227" y="115"/>
                  </a:lnTo>
                  <a:lnTo>
                    <a:pt x="227" y="118"/>
                  </a:lnTo>
                  <a:lnTo>
                    <a:pt x="227" y="118"/>
                  </a:lnTo>
                  <a:lnTo>
                    <a:pt x="230" y="120"/>
                  </a:lnTo>
                  <a:lnTo>
                    <a:pt x="232" y="120"/>
                  </a:lnTo>
                  <a:lnTo>
                    <a:pt x="238" y="126"/>
                  </a:lnTo>
                  <a:lnTo>
                    <a:pt x="240" y="126"/>
                  </a:lnTo>
                  <a:lnTo>
                    <a:pt x="248" y="123"/>
                  </a:lnTo>
                  <a:lnTo>
                    <a:pt x="254" y="126"/>
                  </a:lnTo>
                  <a:lnTo>
                    <a:pt x="256" y="126"/>
                  </a:lnTo>
                  <a:lnTo>
                    <a:pt x="259" y="128"/>
                  </a:lnTo>
                  <a:lnTo>
                    <a:pt x="259" y="128"/>
                  </a:lnTo>
                  <a:lnTo>
                    <a:pt x="262" y="131"/>
                  </a:lnTo>
                  <a:lnTo>
                    <a:pt x="262" y="134"/>
                  </a:lnTo>
                  <a:lnTo>
                    <a:pt x="264" y="134"/>
                  </a:lnTo>
                  <a:lnTo>
                    <a:pt x="264" y="134"/>
                  </a:lnTo>
                  <a:lnTo>
                    <a:pt x="270" y="134"/>
                  </a:lnTo>
                  <a:lnTo>
                    <a:pt x="272" y="134"/>
                  </a:lnTo>
                  <a:lnTo>
                    <a:pt x="275" y="134"/>
                  </a:lnTo>
                  <a:lnTo>
                    <a:pt x="275" y="136"/>
                  </a:lnTo>
                  <a:lnTo>
                    <a:pt x="283" y="126"/>
                  </a:lnTo>
                  <a:lnTo>
                    <a:pt x="296" y="139"/>
                  </a:lnTo>
                  <a:lnTo>
                    <a:pt x="291" y="152"/>
                  </a:lnTo>
                  <a:lnTo>
                    <a:pt x="291" y="155"/>
                  </a:lnTo>
                  <a:lnTo>
                    <a:pt x="294" y="158"/>
                  </a:lnTo>
                  <a:lnTo>
                    <a:pt x="294" y="160"/>
                  </a:lnTo>
                  <a:lnTo>
                    <a:pt x="294" y="160"/>
                  </a:lnTo>
                  <a:lnTo>
                    <a:pt x="291" y="160"/>
                  </a:lnTo>
                  <a:lnTo>
                    <a:pt x="291" y="163"/>
                  </a:lnTo>
                  <a:lnTo>
                    <a:pt x="294" y="163"/>
                  </a:lnTo>
                  <a:lnTo>
                    <a:pt x="294" y="166"/>
                  </a:lnTo>
                  <a:lnTo>
                    <a:pt x="288" y="168"/>
                  </a:lnTo>
                  <a:lnTo>
                    <a:pt x="286" y="168"/>
                  </a:lnTo>
                  <a:lnTo>
                    <a:pt x="286" y="171"/>
                  </a:lnTo>
                  <a:lnTo>
                    <a:pt x="286" y="171"/>
                  </a:lnTo>
                  <a:lnTo>
                    <a:pt x="286" y="174"/>
                  </a:lnTo>
                  <a:lnTo>
                    <a:pt x="286" y="176"/>
                  </a:lnTo>
                  <a:lnTo>
                    <a:pt x="286" y="176"/>
                  </a:lnTo>
                  <a:lnTo>
                    <a:pt x="286" y="179"/>
                  </a:lnTo>
                  <a:lnTo>
                    <a:pt x="283" y="182"/>
                  </a:lnTo>
                  <a:lnTo>
                    <a:pt x="283" y="182"/>
                  </a:lnTo>
                  <a:lnTo>
                    <a:pt x="280" y="182"/>
                  </a:lnTo>
                  <a:lnTo>
                    <a:pt x="280" y="182"/>
                  </a:lnTo>
                  <a:lnTo>
                    <a:pt x="280" y="184"/>
                  </a:lnTo>
                  <a:lnTo>
                    <a:pt x="278" y="184"/>
                  </a:lnTo>
                  <a:lnTo>
                    <a:pt x="278" y="184"/>
                  </a:lnTo>
                  <a:lnTo>
                    <a:pt x="278" y="184"/>
                  </a:lnTo>
                  <a:lnTo>
                    <a:pt x="278" y="187"/>
                  </a:lnTo>
                  <a:lnTo>
                    <a:pt x="278" y="187"/>
                  </a:lnTo>
                  <a:lnTo>
                    <a:pt x="278" y="187"/>
                  </a:lnTo>
                  <a:lnTo>
                    <a:pt x="280" y="187"/>
                  </a:lnTo>
                  <a:lnTo>
                    <a:pt x="280" y="187"/>
                  </a:lnTo>
                  <a:lnTo>
                    <a:pt x="278" y="190"/>
                  </a:lnTo>
                  <a:lnTo>
                    <a:pt x="278" y="190"/>
                  </a:lnTo>
                  <a:lnTo>
                    <a:pt x="275" y="192"/>
                  </a:lnTo>
                  <a:lnTo>
                    <a:pt x="275" y="195"/>
                  </a:lnTo>
                  <a:lnTo>
                    <a:pt x="275" y="198"/>
                  </a:lnTo>
                  <a:lnTo>
                    <a:pt x="272" y="198"/>
                  </a:lnTo>
                  <a:lnTo>
                    <a:pt x="272" y="200"/>
                  </a:lnTo>
                  <a:lnTo>
                    <a:pt x="275" y="206"/>
                  </a:lnTo>
                  <a:lnTo>
                    <a:pt x="275" y="208"/>
                  </a:lnTo>
                  <a:lnTo>
                    <a:pt x="278" y="211"/>
                  </a:lnTo>
                  <a:lnTo>
                    <a:pt x="278" y="214"/>
                  </a:lnTo>
                  <a:lnTo>
                    <a:pt x="280" y="216"/>
                  </a:lnTo>
                  <a:lnTo>
                    <a:pt x="283" y="216"/>
                  </a:lnTo>
                  <a:lnTo>
                    <a:pt x="286" y="216"/>
                  </a:lnTo>
                  <a:lnTo>
                    <a:pt x="286" y="214"/>
                  </a:lnTo>
                  <a:lnTo>
                    <a:pt x="288" y="214"/>
                  </a:lnTo>
                  <a:lnTo>
                    <a:pt x="291" y="211"/>
                  </a:lnTo>
                  <a:lnTo>
                    <a:pt x="291" y="206"/>
                  </a:lnTo>
                  <a:lnTo>
                    <a:pt x="288" y="206"/>
                  </a:lnTo>
                  <a:lnTo>
                    <a:pt x="288" y="203"/>
                  </a:lnTo>
                  <a:lnTo>
                    <a:pt x="288" y="203"/>
                  </a:lnTo>
                  <a:lnTo>
                    <a:pt x="288" y="203"/>
                  </a:lnTo>
                  <a:lnTo>
                    <a:pt x="291" y="200"/>
                  </a:lnTo>
                  <a:lnTo>
                    <a:pt x="291" y="200"/>
                  </a:lnTo>
                  <a:lnTo>
                    <a:pt x="291" y="200"/>
                  </a:lnTo>
                  <a:lnTo>
                    <a:pt x="291" y="200"/>
                  </a:lnTo>
                  <a:lnTo>
                    <a:pt x="291" y="203"/>
                  </a:lnTo>
                  <a:lnTo>
                    <a:pt x="291" y="203"/>
                  </a:lnTo>
                  <a:lnTo>
                    <a:pt x="291" y="203"/>
                  </a:lnTo>
                  <a:lnTo>
                    <a:pt x="291" y="206"/>
                  </a:lnTo>
                  <a:lnTo>
                    <a:pt x="294" y="206"/>
                  </a:lnTo>
                  <a:lnTo>
                    <a:pt x="294" y="208"/>
                  </a:lnTo>
                  <a:lnTo>
                    <a:pt x="296" y="206"/>
                  </a:lnTo>
                  <a:lnTo>
                    <a:pt x="296" y="206"/>
                  </a:lnTo>
                  <a:lnTo>
                    <a:pt x="299" y="203"/>
                  </a:lnTo>
                  <a:lnTo>
                    <a:pt x="299" y="200"/>
                  </a:lnTo>
                  <a:lnTo>
                    <a:pt x="299" y="200"/>
                  </a:lnTo>
                  <a:lnTo>
                    <a:pt x="299" y="198"/>
                  </a:lnTo>
                  <a:lnTo>
                    <a:pt x="299" y="198"/>
                  </a:lnTo>
                  <a:lnTo>
                    <a:pt x="302" y="200"/>
                  </a:lnTo>
                  <a:lnTo>
                    <a:pt x="302" y="203"/>
                  </a:lnTo>
                  <a:lnTo>
                    <a:pt x="307" y="211"/>
                  </a:lnTo>
                  <a:lnTo>
                    <a:pt x="310" y="214"/>
                  </a:lnTo>
                  <a:lnTo>
                    <a:pt x="320" y="219"/>
                  </a:lnTo>
                  <a:lnTo>
                    <a:pt x="323" y="222"/>
                  </a:lnTo>
                  <a:lnTo>
                    <a:pt x="326" y="222"/>
                  </a:lnTo>
                  <a:lnTo>
                    <a:pt x="326" y="216"/>
                  </a:lnTo>
                  <a:lnTo>
                    <a:pt x="323" y="214"/>
                  </a:lnTo>
                  <a:lnTo>
                    <a:pt x="320" y="211"/>
                  </a:lnTo>
                  <a:lnTo>
                    <a:pt x="318" y="206"/>
                  </a:lnTo>
                  <a:lnTo>
                    <a:pt x="320" y="206"/>
                  </a:lnTo>
                  <a:lnTo>
                    <a:pt x="323" y="208"/>
                  </a:lnTo>
                  <a:lnTo>
                    <a:pt x="326" y="211"/>
                  </a:lnTo>
                  <a:lnTo>
                    <a:pt x="328" y="216"/>
                  </a:lnTo>
                  <a:lnTo>
                    <a:pt x="328" y="219"/>
                  </a:lnTo>
                  <a:lnTo>
                    <a:pt x="328" y="219"/>
                  </a:lnTo>
                  <a:lnTo>
                    <a:pt x="331" y="222"/>
                  </a:lnTo>
                  <a:lnTo>
                    <a:pt x="334" y="224"/>
                  </a:lnTo>
                  <a:lnTo>
                    <a:pt x="336" y="224"/>
                  </a:lnTo>
                  <a:lnTo>
                    <a:pt x="344" y="222"/>
                  </a:lnTo>
                  <a:lnTo>
                    <a:pt x="350" y="219"/>
                  </a:lnTo>
                  <a:lnTo>
                    <a:pt x="352" y="222"/>
                  </a:lnTo>
                  <a:lnTo>
                    <a:pt x="355" y="222"/>
                  </a:lnTo>
                  <a:lnTo>
                    <a:pt x="358" y="224"/>
                  </a:lnTo>
                  <a:lnTo>
                    <a:pt x="358" y="224"/>
                  </a:lnTo>
                  <a:lnTo>
                    <a:pt x="360" y="227"/>
                  </a:lnTo>
                  <a:lnTo>
                    <a:pt x="360" y="227"/>
                  </a:lnTo>
                  <a:lnTo>
                    <a:pt x="363" y="232"/>
                  </a:lnTo>
                  <a:lnTo>
                    <a:pt x="363" y="232"/>
                  </a:lnTo>
                  <a:lnTo>
                    <a:pt x="366" y="232"/>
                  </a:lnTo>
                  <a:lnTo>
                    <a:pt x="366" y="232"/>
                  </a:lnTo>
                  <a:lnTo>
                    <a:pt x="366" y="227"/>
                  </a:lnTo>
                  <a:lnTo>
                    <a:pt x="368" y="230"/>
                  </a:lnTo>
                  <a:lnTo>
                    <a:pt x="368" y="232"/>
                  </a:lnTo>
                  <a:lnTo>
                    <a:pt x="371" y="230"/>
                  </a:lnTo>
                  <a:lnTo>
                    <a:pt x="371" y="227"/>
                  </a:lnTo>
                  <a:lnTo>
                    <a:pt x="371" y="227"/>
                  </a:lnTo>
                  <a:lnTo>
                    <a:pt x="371" y="224"/>
                  </a:lnTo>
                  <a:lnTo>
                    <a:pt x="371" y="224"/>
                  </a:lnTo>
                  <a:lnTo>
                    <a:pt x="368" y="222"/>
                  </a:lnTo>
                  <a:lnTo>
                    <a:pt x="368" y="222"/>
                  </a:lnTo>
                  <a:lnTo>
                    <a:pt x="371" y="224"/>
                  </a:lnTo>
                  <a:lnTo>
                    <a:pt x="374" y="227"/>
                  </a:lnTo>
                  <a:lnTo>
                    <a:pt x="376" y="232"/>
                  </a:lnTo>
                  <a:lnTo>
                    <a:pt x="376" y="232"/>
                  </a:lnTo>
                  <a:lnTo>
                    <a:pt x="379" y="235"/>
                  </a:lnTo>
                  <a:lnTo>
                    <a:pt x="390" y="240"/>
                  </a:lnTo>
                  <a:lnTo>
                    <a:pt x="390" y="238"/>
                  </a:lnTo>
                  <a:lnTo>
                    <a:pt x="387" y="238"/>
                  </a:lnTo>
                  <a:lnTo>
                    <a:pt x="387" y="235"/>
                  </a:lnTo>
                  <a:lnTo>
                    <a:pt x="387" y="235"/>
                  </a:lnTo>
                  <a:lnTo>
                    <a:pt x="387" y="232"/>
                  </a:lnTo>
                  <a:lnTo>
                    <a:pt x="387" y="230"/>
                  </a:lnTo>
                  <a:lnTo>
                    <a:pt x="387" y="227"/>
                  </a:lnTo>
                  <a:lnTo>
                    <a:pt x="384" y="224"/>
                  </a:lnTo>
                  <a:lnTo>
                    <a:pt x="382" y="219"/>
                  </a:lnTo>
                  <a:lnTo>
                    <a:pt x="376" y="219"/>
                  </a:lnTo>
                  <a:lnTo>
                    <a:pt x="376" y="216"/>
                  </a:lnTo>
                  <a:lnTo>
                    <a:pt x="374" y="214"/>
                  </a:lnTo>
                  <a:lnTo>
                    <a:pt x="374" y="214"/>
                  </a:lnTo>
                  <a:lnTo>
                    <a:pt x="376" y="211"/>
                  </a:lnTo>
                  <a:lnTo>
                    <a:pt x="376" y="208"/>
                  </a:lnTo>
                  <a:lnTo>
                    <a:pt x="374" y="206"/>
                  </a:lnTo>
                  <a:lnTo>
                    <a:pt x="371" y="206"/>
                  </a:lnTo>
                  <a:lnTo>
                    <a:pt x="368" y="208"/>
                  </a:lnTo>
                  <a:lnTo>
                    <a:pt x="366" y="208"/>
                  </a:lnTo>
                  <a:lnTo>
                    <a:pt x="363" y="208"/>
                  </a:lnTo>
                  <a:lnTo>
                    <a:pt x="360" y="206"/>
                  </a:lnTo>
                  <a:lnTo>
                    <a:pt x="360" y="203"/>
                  </a:lnTo>
                  <a:lnTo>
                    <a:pt x="358" y="200"/>
                  </a:lnTo>
                  <a:lnTo>
                    <a:pt x="358" y="200"/>
                  </a:lnTo>
                  <a:lnTo>
                    <a:pt x="350" y="198"/>
                  </a:lnTo>
                  <a:lnTo>
                    <a:pt x="344" y="195"/>
                  </a:lnTo>
                  <a:lnTo>
                    <a:pt x="342" y="192"/>
                  </a:lnTo>
                  <a:lnTo>
                    <a:pt x="339" y="190"/>
                  </a:lnTo>
                  <a:lnTo>
                    <a:pt x="336" y="184"/>
                  </a:lnTo>
                  <a:lnTo>
                    <a:pt x="336" y="182"/>
                  </a:lnTo>
                  <a:lnTo>
                    <a:pt x="336" y="182"/>
                  </a:lnTo>
                  <a:lnTo>
                    <a:pt x="336" y="182"/>
                  </a:lnTo>
                  <a:lnTo>
                    <a:pt x="334" y="179"/>
                  </a:lnTo>
                  <a:lnTo>
                    <a:pt x="334" y="176"/>
                  </a:lnTo>
                  <a:lnTo>
                    <a:pt x="331" y="166"/>
                  </a:lnTo>
                  <a:lnTo>
                    <a:pt x="331" y="166"/>
                  </a:lnTo>
                  <a:lnTo>
                    <a:pt x="331" y="163"/>
                  </a:lnTo>
                  <a:lnTo>
                    <a:pt x="331" y="163"/>
                  </a:lnTo>
                  <a:lnTo>
                    <a:pt x="334" y="166"/>
                  </a:lnTo>
                  <a:lnTo>
                    <a:pt x="339" y="184"/>
                  </a:lnTo>
                  <a:lnTo>
                    <a:pt x="342" y="187"/>
                  </a:lnTo>
                  <a:lnTo>
                    <a:pt x="342" y="187"/>
                  </a:lnTo>
                  <a:lnTo>
                    <a:pt x="352" y="195"/>
                  </a:lnTo>
                  <a:lnTo>
                    <a:pt x="352" y="195"/>
                  </a:lnTo>
                  <a:lnTo>
                    <a:pt x="358" y="195"/>
                  </a:lnTo>
                  <a:lnTo>
                    <a:pt x="358" y="195"/>
                  </a:lnTo>
                  <a:lnTo>
                    <a:pt x="360" y="198"/>
                  </a:lnTo>
                  <a:lnTo>
                    <a:pt x="360" y="198"/>
                  </a:lnTo>
                  <a:lnTo>
                    <a:pt x="363" y="198"/>
                  </a:lnTo>
                  <a:lnTo>
                    <a:pt x="363" y="200"/>
                  </a:lnTo>
                  <a:lnTo>
                    <a:pt x="363" y="200"/>
                  </a:lnTo>
                  <a:lnTo>
                    <a:pt x="366" y="203"/>
                  </a:lnTo>
                  <a:lnTo>
                    <a:pt x="366" y="203"/>
                  </a:lnTo>
                  <a:lnTo>
                    <a:pt x="371" y="200"/>
                  </a:lnTo>
                  <a:lnTo>
                    <a:pt x="374" y="200"/>
                  </a:lnTo>
                  <a:lnTo>
                    <a:pt x="374" y="198"/>
                  </a:lnTo>
                  <a:lnTo>
                    <a:pt x="371" y="195"/>
                  </a:lnTo>
                  <a:lnTo>
                    <a:pt x="368" y="192"/>
                  </a:lnTo>
                  <a:lnTo>
                    <a:pt x="366" y="187"/>
                  </a:lnTo>
                  <a:lnTo>
                    <a:pt x="355" y="182"/>
                  </a:lnTo>
                  <a:lnTo>
                    <a:pt x="352" y="176"/>
                  </a:lnTo>
                  <a:lnTo>
                    <a:pt x="352" y="174"/>
                  </a:lnTo>
                  <a:lnTo>
                    <a:pt x="352" y="163"/>
                  </a:lnTo>
                  <a:lnTo>
                    <a:pt x="350" y="163"/>
                  </a:lnTo>
                  <a:lnTo>
                    <a:pt x="350" y="160"/>
                  </a:lnTo>
                  <a:lnTo>
                    <a:pt x="347" y="158"/>
                  </a:lnTo>
                  <a:lnTo>
                    <a:pt x="347" y="152"/>
                  </a:lnTo>
                  <a:lnTo>
                    <a:pt x="344" y="152"/>
                  </a:lnTo>
                  <a:lnTo>
                    <a:pt x="342" y="150"/>
                  </a:lnTo>
                  <a:lnTo>
                    <a:pt x="342" y="147"/>
                  </a:lnTo>
                  <a:lnTo>
                    <a:pt x="342" y="144"/>
                  </a:lnTo>
                  <a:lnTo>
                    <a:pt x="347" y="142"/>
                  </a:lnTo>
                  <a:lnTo>
                    <a:pt x="347" y="139"/>
                  </a:lnTo>
                  <a:lnTo>
                    <a:pt x="347" y="136"/>
                  </a:lnTo>
                  <a:lnTo>
                    <a:pt x="347" y="136"/>
                  </a:lnTo>
                  <a:lnTo>
                    <a:pt x="344" y="139"/>
                  </a:lnTo>
                  <a:lnTo>
                    <a:pt x="342" y="136"/>
                  </a:lnTo>
                  <a:lnTo>
                    <a:pt x="342" y="134"/>
                  </a:lnTo>
                  <a:lnTo>
                    <a:pt x="342" y="131"/>
                  </a:lnTo>
                  <a:lnTo>
                    <a:pt x="342" y="131"/>
                  </a:lnTo>
                  <a:lnTo>
                    <a:pt x="339" y="131"/>
                  </a:lnTo>
                  <a:lnTo>
                    <a:pt x="339" y="131"/>
                  </a:lnTo>
                  <a:lnTo>
                    <a:pt x="342" y="128"/>
                  </a:lnTo>
                  <a:lnTo>
                    <a:pt x="344" y="128"/>
                  </a:lnTo>
                  <a:lnTo>
                    <a:pt x="344" y="131"/>
                  </a:lnTo>
                  <a:lnTo>
                    <a:pt x="347" y="128"/>
                  </a:lnTo>
                  <a:lnTo>
                    <a:pt x="344" y="126"/>
                  </a:lnTo>
                  <a:lnTo>
                    <a:pt x="342" y="126"/>
                  </a:lnTo>
                  <a:lnTo>
                    <a:pt x="339" y="123"/>
                  </a:lnTo>
                  <a:lnTo>
                    <a:pt x="339" y="123"/>
                  </a:lnTo>
                  <a:lnTo>
                    <a:pt x="336" y="120"/>
                  </a:lnTo>
                  <a:lnTo>
                    <a:pt x="339" y="120"/>
                  </a:lnTo>
                  <a:lnTo>
                    <a:pt x="342" y="120"/>
                  </a:lnTo>
                  <a:lnTo>
                    <a:pt x="347" y="123"/>
                  </a:lnTo>
                  <a:lnTo>
                    <a:pt x="350" y="123"/>
                  </a:lnTo>
                  <a:lnTo>
                    <a:pt x="350" y="123"/>
                  </a:lnTo>
                  <a:lnTo>
                    <a:pt x="347" y="120"/>
                  </a:lnTo>
                  <a:lnTo>
                    <a:pt x="342" y="115"/>
                  </a:lnTo>
                  <a:lnTo>
                    <a:pt x="339" y="112"/>
                  </a:lnTo>
                  <a:lnTo>
                    <a:pt x="336" y="110"/>
                  </a:lnTo>
                  <a:lnTo>
                    <a:pt x="334" y="110"/>
                  </a:lnTo>
                  <a:lnTo>
                    <a:pt x="334" y="110"/>
                  </a:lnTo>
                  <a:lnTo>
                    <a:pt x="331" y="110"/>
                  </a:lnTo>
                  <a:lnTo>
                    <a:pt x="331" y="107"/>
                  </a:lnTo>
                  <a:lnTo>
                    <a:pt x="331" y="107"/>
                  </a:lnTo>
                  <a:lnTo>
                    <a:pt x="334" y="104"/>
                  </a:lnTo>
                  <a:lnTo>
                    <a:pt x="334" y="104"/>
                  </a:lnTo>
                  <a:lnTo>
                    <a:pt x="336" y="107"/>
                  </a:lnTo>
                  <a:lnTo>
                    <a:pt x="339" y="110"/>
                  </a:lnTo>
                  <a:lnTo>
                    <a:pt x="344" y="115"/>
                  </a:lnTo>
                  <a:lnTo>
                    <a:pt x="347" y="112"/>
                  </a:lnTo>
                  <a:lnTo>
                    <a:pt x="347" y="112"/>
                  </a:lnTo>
                  <a:lnTo>
                    <a:pt x="347" y="112"/>
                  </a:lnTo>
                  <a:lnTo>
                    <a:pt x="350" y="112"/>
                  </a:lnTo>
                  <a:lnTo>
                    <a:pt x="352" y="110"/>
                  </a:lnTo>
                  <a:lnTo>
                    <a:pt x="352" y="110"/>
                  </a:lnTo>
                  <a:lnTo>
                    <a:pt x="350" y="107"/>
                  </a:lnTo>
                  <a:lnTo>
                    <a:pt x="347" y="104"/>
                  </a:lnTo>
                  <a:lnTo>
                    <a:pt x="342" y="104"/>
                  </a:lnTo>
                  <a:lnTo>
                    <a:pt x="339" y="104"/>
                  </a:lnTo>
                  <a:lnTo>
                    <a:pt x="339" y="104"/>
                  </a:lnTo>
                  <a:lnTo>
                    <a:pt x="336" y="102"/>
                  </a:lnTo>
                  <a:lnTo>
                    <a:pt x="336" y="102"/>
                  </a:lnTo>
                  <a:lnTo>
                    <a:pt x="336" y="102"/>
                  </a:lnTo>
                  <a:lnTo>
                    <a:pt x="336" y="102"/>
                  </a:lnTo>
                  <a:lnTo>
                    <a:pt x="342" y="102"/>
                  </a:lnTo>
                  <a:lnTo>
                    <a:pt x="342" y="102"/>
                  </a:lnTo>
                  <a:lnTo>
                    <a:pt x="344" y="102"/>
                  </a:lnTo>
                  <a:lnTo>
                    <a:pt x="347" y="102"/>
                  </a:lnTo>
                  <a:lnTo>
                    <a:pt x="347" y="104"/>
                  </a:lnTo>
                  <a:lnTo>
                    <a:pt x="347" y="104"/>
                  </a:lnTo>
                  <a:lnTo>
                    <a:pt x="347" y="99"/>
                  </a:lnTo>
                  <a:lnTo>
                    <a:pt x="344" y="96"/>
                  </a:lnTo>
                  <a:lnTo>
                    <a:pt x="344" y="93"/>
                  </a:lnTo>
                  <a:lnTo>
                    <a:pt x="342" y="91"/>
                  </a:lnTo>
                  <a:lnTo>
                    <a:pt x="339" y="91"/>
                  </a:lnTo>
                  <a:lnTo>
                    <a:pt x="336" y="93"/>
                  </a:lnTo>
                  <a:lnTo>
                    <a:pt x="336" y="91"/>
                  </a:lnTo>
                  <a:lnTo>
                    <a:pt x="334" y="91"/>
                  </a:lnTo>
                  <a:lnTo>
                    <a:pt x="334" y="88"/>
                  </a:lnTo>
                  <a:lnTo>
                    <a:pt x="334" y="88"/>
                  </a:lnTo>
                  <a:lnTo>
                    <a:pt x="331" y="88"/>
                  </a:lnTo>
                  <a:lnTo>
                    <a:pt x="331" y="85"/>
                  </a:lnTo>
                  <a:lnTo>
                    <a:pt x="328" y="85"/>
                  </a:lnTo>
                  <a:lnTo>
                    <a:pt x="326" y="85"/>
                  </a:lnTo>
                  <a:lnTo>
                    <a:pt x="326" y="83"/>
                  </a:lnTo>
                  <a:lnTo>
                    <a:pt x="326" y="83"/>
                  </a:lnTo>
                  <a:lnTo>
                    <a:pt x="323" y="83"/>
                  </a:lnTo>
                  <a:lnTo>
                    <a:pt x="320" y="83"/>
                  </a:lnTo>
                  <a:lnTo>
                    <a:pt x="320" y="83"/>
                  </a:lnTo>
                  <a:lnTo>
                    <a:pt x="320" y="80"/>
                  </a:lnTo>
                  <a:lnTo>
                    <a:pt x="323" y="80"/>
                  </a:lnTo>
                  <a:lnTo>
                    <a:pt x="326" y="80"/>
                  </a:lnTo>
                  <a:lnTo>
                    <a:pt x="326" y="77"/>
                  </a:lnTo>
                  <a:lnTo>
                    <a:pt x="326" y="80"/>
                  </a:lnTo>
                  <a:lnTo>
                    <a:pt x="334" y="80"/>
                  </a:lnTo>
                  <a:lnTo>
                    <a:pt x="334" y="83"/>
                  </a:lnTo>
                  <a:lnTo>
                    <a:pt x="336" y="83"/>
                  </a:lnTo>
                  <a:lnTo>
                    <a:pt x="336" y="83"/>
                  </a:lnTo>
                  <a:lnTo>
                    <a:pt x="339" y="83"/>
                  </a:lnTo>
                  <a:lnTo>
                    <a:pt x="339" y="85"/>
                  </a:lnTo>
                  <a:lnTo>
                    <a:pt x="339" y="83"/>
                  </a:lnTo>
                  <a:lnTo>
                    <a:pt x="339" y="83"/>
                  </a:lnTo>
                  <a:lnTo>
                    <a:pt x="342" y="83"/>
                  </a:lnTo>
                  <a:lnTo>
                    <a:pt x="342" y="85"/>
                  </a:lnTo>
                  <a:lnTo>
                    <a:pt x="347" y="80"/>
                  </a:lnTo>
                  <a:lnTo>
                    <a:pt x="347" y="80"/>
                  </a:lnTo>
                  <a:lnTo>
                    <a:pt x="342" y="80"/>
                  </a:lnTo>
                  <a:lnTo>
                    <a:pt x="339" y="77"/>
                  </a:lnTo>
                  <a:lnTo>
                    <a:pt x="336" y="75"/>
                  </a:lnTo>
                  <a:lnTo>
                    <a:pt x="334" y="72"/>
                  </a:lnTo>
                  <a:lnTo>
                    <a:pt x="336" y="72"/>
                  </a:lnTo>
                  <a:lnTo>
                    <a:pt x="339" y="72"/>
                  </a:lnTo>
                  <a:lnTo>
                    <a:pt x="342" y="75"/>
                  </a:lnTo>
                  <a:lnTo>
                    <a:pt x="342" y="77"/>
                  </a:lnTo>
                  <a:lnTo>
                    <a:pt x="344" y="77"/>
                  </a:lnTo>
                  <a:lnTo>
                    <a:pt x="344" y="75"/>
                  </a:lnTo>
                  <a:lnTo>
                    <a:pt x="344" y="75"/>
                  </a:lnTo>
                  <a:lnTo>
                    <a:pt x="339" y="69"/>
                  </a:lnTo>
                  <a:lnTo>
                    <a:pt x="339" y="69"/>
                  </a:lnTo>
                  <a:lnTo>
                    <a:pt x="339" y="69"/>
                  </a:lnTo>
                  <a:lnTo>
                    <a:pt x="347" y="69"/>
                  </a:lnTo>
                  <a:lnTo>
                    <a:pt x="347" y="67"/>
                  </a:lnTo>
                  <a:lnTo>
                    <a:pt x="344" y="67"/>
                  </a:lnTo>
                  <a:lnTo>
                    <a:pt x="347" y="64"/>
                  </a:lnTo>
                  <a:lnTo>
                    <a:pt x="347" y="64"/>
                  </a:lnTo>
                  <a:lnTo>
                    <a:pt x="347" y="64"/>
                  </a:lnTo>
                  <a:lnTo>
                    <a:pt x="350" y="61"/>
                  </a:lnTo>
                  <a:lnTo>
                    <a:pt x="347" y="61"/>
                  </a:lnTo>
                  <a:lnTo>
                    <a:pt x="347" y="61"/>
                  </a:lnTo>
                  <a:lnTo>
                    <a:pt x="344" y="59"/>
                  </a:lnTo>
                  <a:lnTo>
                    <a:pt x="342" y="59"/>
                  </a:lnTo>
                  <a:lnTo>
                    <a:pt x="339" y="59"/>
                  </a:lnTo>
                  <a:lnTo>
                    <a:pt x="347" y="53"/>
                  </a:lnTo>
                  <a:lnTo>
                    <a:pt x="350" y="56"/>
                  </a:lnTo>
                  <a:lnTo>
                    <a:pt x="352" y="61"/>
                  </a:lnTo>
                  <a:lnTo>
                    <a:pt x="355" y="67"/>
                  </a:lnTo>
                  <a:lnTo>
                    <a:pt x="358" y="61"/>
                  </a:lnTo>
                  <a:lnTo>
                    <a:pt x="358" y="61"/>
                  </a:lnTo>
                  <a:lnTo>
                    <a:pt x="358" y="61"/>
                  </a:lnTo>
                  <a:lnTo>
                    <a:pt x="358" y="59"/>
                  </a:lnTo>
                  <a:lnTo>
                    <a:pt x="355" y="56"/>
                  </a:lnTo>
                  <a:lnTo>
                    <a:pt x="355" y="45"/>
                  </a:lnTo>
                  <a:lnTo>
                    <a:pt x="355" y="45"/>
                  </a:lnTo>
                  <a:lnTo>
                    <a:pt x="355" y="45"/>
                  </a:lnTo>
                  <a:lnTo>
                    <a:pt x="355" y="43"/>
                  </a:lnTo>
                  <a:lnTo>
                    <a:pt x="358" y="43"/>
                  </a:lnTo>
                  <a:lnTo>
                    <a:pt x="358" y="43"/>
                  </a:lnTo>
                  <a:lnTo>
                    <a:pt x="358" y="45"/>
                  </a:lnTo>
                  <a:lnTo>
                    <a:pt x="358" y="48"/>
                  </a:lnTo>
                  <a:lnTo>
                    <a:pt x="358" y="53"/>
                  </a:lnTo>
                  <a:lnTo>
                    <a:pt x="360" y="56"/>
                  </a:lnTo>
                  <a:lnTo>
                    <a:pt x="360" y="59"/>
                  </a:lnTo>
                  <a:lnTo>
                    <a:pt x="363" y="53"/>
                  </a:lnTo>
                  <a:lnTo>
                    <a:pt x="368" y="48"/>
                  </a:lnTo>
                  <a:lnTo>
                    <a:pt x="374" y="43"/>
                  </a:lnTo>
                  <a:lnTo>
                    <a:pt x="374" y="43"/>
                  </a:lnTo>
                  <a:lnTo>
                    <a:pt x="374" y="40"/>
                  </a:lnTo>
                  <a:lnTo>
                    <a:pt x="374" y="40"/>
                  </a:lnTo>
                  <a:lnTo>
                    <a:pt x="368" y="40"/>
                  </a:lnTo>
                  <a:lnTo>
                    <a:pt x="368" y="37"/>
                  </a:lnTo>
                  <a:lnTo>
                    <a:pt x="368" y="29"/>
                  </a:lnTo>
                  <a:lnTo>
                    <a:pt x="368" y="29"/>
                  </a:lnTo>
                  <a:lnTo>
                    <a:pt x="371" y="27"/>
                  </a:lnTo>
                  <a:lnTo>
                    <a:pt x="371" y="27"/>
                  </a:lnTo>
                  <a:lnTo>
                    <a:pt x="379" y="27"/>
                  </a:lnTo>
                  <a:lnTo>
                    <a:pt x="379" y="24"/>
                  </a:lnTo>
                  <a:lnTo>
                    <a:pt x="382" y="21"/>
                  </a:lnTo>
                  <a:lnTo>
                    <a:pt x="382" y="19"/>
                  </a:lnTo>
                  <a:lnTo>
                    <a:pt x="384" y="19"/>
                  </a:lnTo>
                  <a:lnTo>
                    <a:pt x="384" y="24"/>
                  </a:lnTo>
                  <a:lnTo>
                    <a:pt x="384" y="27"/>
                  </a:lnTo>
                  <a:lnTo>
                    <a:pt x="382" y="29"/>
                  </a:lnTo>
                  <a:lnTo>
                    <a:pt x="382" y="35"/>
                  </a:lnTo>
                  <a:lnTo>
                    <a:pt x="379" y="37"/>
                  </a:lnTo>
                  <a:lnTo>
                    <a:pt x="382" y="40"/>
                  </a:lnTo>
                  <a:lnTo>
                    <a:pt x="382" y="37"/>
                  </a:lnTo>
                  <a:lnTo>
                    <a:pt x="390" y="29"/>
                  </a:lnTo>
                  <a:lnTo>
                    <a:pt x="390" y="27"/>
                  </a:lnTo>
                  <a:lnTo>
                    <a:pt x="392" y="24"/>
                  </a:lnTo>
                  <a:lnTo>
                    <a:pt x="392" y="21"/>
                  </a:lnTo>
                  <a:lnTo>
                    <a:pt x="395" y="19"/>
                  </a:lnTo>
                  <a:lnTo>
                    <a:pt x="395" y="21"/>
                  </a:lnTo>
                  <a:lnTo>
                    <a:pt x="395" y="27"/>
                  </a:lnTo>
                  <a:lnTo>
                    <a:pt x="392" y="29"/>
                  </a:lnTo>
                  <a:lnTo>
                    <a:pt x="390" y="32"/>
                  </a:lnTo>
                  <a:lnTo>
                    <a:pt x="392" y="32"/>
                  </a:lnTo>
                  <a:lnTo>
                    <a:pt x="395" y="35"/>
                  </a:lnTo>
                  <a:lnTo>
                    <a:pt x="398" y="35"/>
                  </a:lnTo>
                  <a:lnTo>
                    <a:pt x="398" y="35"/>
                  </a:lnTo>
                  <a:lnTo>
                    <a:pt x="395" y="37"/>
                  </a:lnTo>
                  <a:lnTo>
                    <a:pt x="390" y="35"/>
                  </a:lnTo>
                  <a:lnTo>
                    <a:pt x="387" y="37"/>
                  </a:lnTo>
                  <a:lnTo>
                    <a:pt x="387" y="37"/>
                  </a:lnTo>
                  <a:lnTo>
                    <a:pt x="384" y="40"/>
                  </a:lnTo>
                  <a:lnTo>
                    <a:pt x="382" y="45"/>
                  </a:lnTo>
                  <a:lnTo>
                    <a:pt x="382" y="48"/>
                  </a:lnTo>
                  <a:lnTo>
                    <a:pt x="384" y="48"/>
                  </a:lnTo>
                  <a:lnTo>
                    <a:pt x="395" y="45"/>
                  </a:lnTo>
                  <a:lnTo>
                    <a:pt x="400" y="45"/>
                  </a:lnTo>
                  <a:lnTo>
                    <a:pt x="400" y="48"/>
                  </a:lnTo>
                  <a:lnTo>
                    <a:pt x="398" y="48"/>
                  </a:lnTo>
                  <a:lnTo>
                    <a:pt x="398" y="48"/>
                  </a:lnTo>
                  <a:lnTo>
                    <a:pt x="392" y="51"/>
                  </a:lnTo>
                  <a:lnTo>
                    <a:pt x="382" y="53"/>
                  </a:lnTo>
                  <a:lnTo>
                    <a:pt x="371" y="56"/>
                  </a:lnTo>
                  <a:lnTo>
                    <a:pt x="371" y="56"/>
                  </a:lnTo>
                  <a:lnTo>
                    <a:pt x="371" y="59"/>
                  </a:lnTo>
                  <a:lnTo>
                    <a:pt x="371" y="61"/>
                  </a:lnTo>
                  <a:lnTo>
                    <a:pt x="368" y="61"/>
                  </a:lnTo>
                  <a:lnTo>
                    <a:pt x="368" y="61"/>
                  </a:lnTo>
                  <a:lnTo>
                    <a:pt x="366" y="64"/>
                  </a:lnTo>
                  <a:lnTo>
                    <a:pt x="366" y="64"/>
                  </a:lnTo>
                  <a:lnTo>
                    <a:pt x="366" y="67"/>
                  </a:lnTo>
                  <a:lnTo>
                    <a:pt x="366" y="69"/>
                  </a:lnTo>
                  <a:lnTo>
                    <a:pt x="363" y="80"/>
                  </a:lnTo>
                  <a:lnTo>
                    <a:pt x="363" y="85"/>
                  </a:lnTo>
                  <a:lnTo>
                    <a:pt x="363" y="85"/>
                  </a:lnTo>
                  <a:lnTo>
                    <a:pt x="363" y="88"/>
                  </a:lnTo>
                  <a:lnTo>
                    <a:pt x="363" y="88"/>
                  </a:lnTo>
                  <a:lnTo>
                    <a:pt x="366" y="91"/>
                  </a:lnTo>
                  <a:lnTo>
                    <a:pt x="366" y="91"/>
                  </a:lnTo>
                  <a:lnTo>
                    <a:pt x="368" y="91"/>
                  </a:lnTo>
                  <a:lnTo>
                    <a:pt x="368" y="93"/>
                  </a:lnTo>
                  <a:lnTo>
                    <a:pt x="368" y="99"/>
                  </a:lnTo>
                  <a:lnTo>
                    <a:pt x="368" y="102"/>
                  </a:lnTo>
                  <a:lnTo>
                    <a:pt x="371" y="102"/>
                  </a:lnTo>
                  <a:lnTo>
                    <a:pt x="371" y="102"/>
                  </a:lnTo>
                  <a:lnTo>
                    <a:pt x="371" y="96"/>
                  </a:lnTo>
                  <a:lnTo>
                    <a:pt x="371" y="91"/>
                  </a:lnTo>
                  <a:lnTo>
                    <a:pt x="376" y="88"/>
                  </a:lnTo>
                  <a:lnTo>
                    <a:pt x="376" y="88"/>
                  </a:lnTo>
                  <a:lnTo>
                    <a:pt x="374" y="88"/>
                  </a:lnTo>
                  <a:lnTo>
                    <a:pt x="376" y="88"/>
                  </a:lnTo>
                  <a:lnTo>
                    <a:pt x="379" y="88"/>
                  </a:lnTo>
                  <a:lnTo>
                    <a:pt x="382" y="85"/>
                  </a:lnTo>
                  <a:lnTo>
                    <a:pt x="384" y="85"/>
                  </a:lnTo>
                  <a:lnTo>
                    <a:pt x="382" y="88"/>
                  </a:lnTo>
                  <a:lnTo>
                    <a:pt x="379" y="93"/>
                  </a:lnTo>
                  <a:lnTo>
                    <a:pt x="376" y="96"/>
                  </a:lnTo>
                  <a:lnTo>
                    <a:pt x="379" y="96"/>
                  </a:lnTo>
                  <a:lnTo>
                    <a:pt x="376" y="99"/>
                  </a:lnTo>
                  <a:lnTo>
                    <a:pt x="374" y="99"/>
                  </a:lnTo>
                  <a:lnTo>
                    <a:pt x="376" y="99"/>
                  </a:lnTo>
                  <a:lnTo>
                    <a:pt x="376" y="102"/>
                  </a:lnTo>
                  <a:lnTo>
                    <a:pt x="376" y="102"/>
                  </a:lnTo>
                  <a:lnTo>
                    <a:pt x="379" y="102"/>
                  </a:lnTo>
                  <a:lnTo>
                    <a:pt x="379" y="104"/>
                  </a:lnTo>
                  <a:lnTo>
                    <a:pt x="376" y="107"/>
                  </a:lnTo>
                  <a:lnTo>
                    <a:pt x="374" y="110"/>
                  </a:lnTo>
                  <a:lnTo>
                    <a:pt x="371" y="110"/>
                  </a:lnTo>
                  <a:lnTo>
                    <a:pt x="368" y="110"/>
                  </a:lnTo>
                  <a:lnTo>
                    <a:pt x="368" y="110"/>
                  </a:lnTo>
                  <a:lnTo>
                    <a:pt x="363" y="107"/>
                  </a:lnTo>
                  <a:lnTo>
                    <a:pt x="363" y="107"/>
                  </a:lnTo>
                  <a:lnTo>
                    <a:pt x="360" y="104"/>
                  </a:lnTo>
                  <a:lnTo>
                    <a:pt x="360" y="107"/>
                  </a:lnTo>
                  <a:lnTo>
                    <a:pt x="360" y="110"/>
                  </a:lnTo>
                  <a:lnTo>
                    <a:pt x="360" y="112"/>
                  </a:lnTo>
                  <a:lnTo>
                    <a:pt x="358" y="115"/>
                  </a:lnTo>
                  <a:lnTo>
                    <a:pt x="360" y="118"/>
                  </a:lnTo>
                  <a:lnTo>
                    <a:pt x="360" y="128"/>
                  </a:lnTo>
                  <a:lnTo>
                    <a:pt x="360" y="131"/>
                  </a:lnTo>
                  <a:lnTo>
                    <a:pt x="363" y="128"/>
                  </a:lnTo>
                  <a:lnTo>
                    <a:pt x="363" y="128"/>
                  </a:lnTo>
                  <a:lnTo>
                    <a:pt x="366" y="126"/>
                  </a:lnTo>
                  <a:lnTo>
                    <a:pt x="363" y="126"/>
                  </a:lnTo>
                  <a:lnTo>
                    <a:pt x="363" y="126"/>
                  </a:lnTo>
                  <a:lnTo>
                    <a:pt x="363" y="123"/>
                  </a:lnTo>
                  <a:lnTo>
                    <a:pt x="363" y="123"/>
                  </a:lnTo>
                  <a:lnTo>
                    <a:pt x="363" y="120"/>
                  </a:lnTo>
                  <a:lnTo>
                    <a:pt x="363" y="120"/>
                  </a:lnTo>
                  <a:lnTo>
                    <a:pt x="366" y="120"/>
                  </a:lnTo>
                  <a:lnTo>
                    <a:pt x="368" y="118"/>
                  </a:lnTo>
                  <a:lnTo>
                    <a:pt x="368" y="118"/>
                  </a:lnTo>
                  <a:lnTo>
                    <a:pt x="368" y="118"/>
                  </a:lnTo>
                  <a:lnTo>
                    <a:pt x="368" y="115"/>
                  </a:lnTo>
                  <a:lnTo>
                    <a:pt x="368" y="115"/>
                  </a:lnTo>
                  <a:lnTo>
                    <a:pt x="371" y="115"/>
                  </a:lnTo>
                  <a:lnTo>
                    <a:pt x="371" y="112"/>
                  </a:lnTo>
                  <a:lnTo>
                    <a:pt x="371" y="112"/>
                  </a:lnTo>
                  <a:lnTo>
                    <a:pt x="376" y="115"/>
                  </a:lnTo>
                  <a:lnTo>
                    <a:pt x="376" y="118"/>
                  </a:lnTo>
                  <a:lnTo>
                    <a:pt x="376" y="120"/>
                  </a:lnTo>
                  <a:lnTo>
                    <a:pt x="376" y="120"/>
                  </a:lnTo>
                  <a:lnTo>
                    <a:pt x="379" y="120"/>
                  </a:lnTo>
                  <a:lnTo>
                    <a:pt x="379" y="120"/>
                  </a:lnTo>
                  <a:lnTo>
                    <a:pt x="379" y="118"/>
                  </a:lnTo>
                  <a:lnTo>
                    <a:pt x="379" y="118"/>
                  </a:lnTo>
                  <a:lnTo>
                    <a:pt x="382" y="118"/>
                  </a:lnTo>
                  <a:lnTo>
                    <a:pt x="382" y="118"/>
                  </a:lnTo>
                  <a:lnTo>
                    <a:pt x="382" y="120"/>
                  </a:lnTo>
                  <a:lnTo>
                    <a:pt x="382" y="120"/>
                  </a:lnTo>
                  <a:lnTo>
                    <a:pt x="387" y="123"/>
                  </a:lnTo>
                  <a:lnTo>
                    <a:pt x="384" y="123"/>
                  </a:lnTo>
                  <a:lnTo>
                    <a:pt x="382" y="126"/>
                  </a:lnTo>
                  <a:lnTo>
                    <a:pt x="379" y="128"/>
                  </a:lnTo>
                  <a:lnTo>
                    <a:pt x="382" y="131"/>
                  </a:lnTo>
                  <a:lnTo>
                    <a:pt x="382" y="134"/>
                  </a:lnTo>
                  <a:lnTo>
                    <a:pt x="384" y="134"/>
                  </a:lnTo>
                  <a:lnTo>
                    <a:pt x="387" y="134"/>
                  </a:lnTo>
                  <a:lnTo>
                    <a:pt x="387" y="131"/>
                  </a:lnTo>
                  <a:lnTo>
                    <a:pt x="390" y="134"/>
                  </a:lnTo>
                  <a:lnTo>
                    <a:pt x="390" y="134"/>
                  </a:lnTo>
                  <a:lnTo>
                    <a:pt x="387" y="136"/>
                  </a:lnTo>
                  <a:lnTo>
                    <a:pt x="387" y="136"/>
                  </a:lnTo>
                  <a:lnTo>
                    <a:pt x="384" y="139"/>
                  </a:lnTo>
                  <a:lnTo>
                    <a:pt x="382" y="136"/>
                  </a:lnTo>
                  <a:lnTo>
                    <a:pt x="379" y="136"/>
                  </a:lnTo>
                  <a:lnTo>
                    <a:pt x="379" y="136"/>
                  </a:lnTo>
                  <a:lnTo>
                    <a:pt x="376" y="134"/>
                  </a:lnTo>
                  <a:lnTo>
                    <a:pt x="376" y="131"/>
                  </a:lnTo>
                  <a:lnTo>
                    <a:pt x="376" y="131"/>
                  </a:lnTo>
                  <a:lnTo>
                    <a:pt x="374" y="131"/>
                  </a:lnTo>
                  <a:lnTo>
                    <a:pt x="374" y="131"/>
                  </a:lnTo>
                  <a:lnTo>
                    <a:pt x="371" y="128"/>
                  </a:lnTo>
                  <a:lnTo>
                    <a:pt x="368" y="131"/>
                  </a:lnTo>
                  <a:lnTo>
                    <a:pt x="368" y="134"/>
                  </a:lnTo>
                  <a:lnTo>
                    <a:pt x="368" y="136"/>
                  </a:lnTo>
                  <a:lnTo>
                    <a:pt x="368" y="136"/>
                  </a:lnTo>
                  <a:lnTo>
                    <a:pt x="366" y="144"/>
                  </a:lnTo>
                  <a:lnTo>
                    <a:pt x="366" y="147"/>
                  </a:lnTo>
                  <a:lnTo>
                    <a:pt x="366" y="150"/>
                  </a:lnTo>
                  <a:lnTo>
                    <a:pt x="366" y="152"/>
                  </a:lnTo>
                  <a:lnTo>
                    <a:pt x="368" y="152"/>
                  </a:lnTo>
                  <a:lnTo>
                    <a:pt x="368" y="152"/>
                  </a:lnTo>
                  <a:lnTo>
                    <a:pt x="371" y="152"/>
                  </a:lnTo>
                  <a:lnTo>
                    <a:pt x="371" y="150"/>
                  </a:lnTo>
                  <a:lnTo>
                    <a:pt x="371" y="150"/>
                  </a:lnTo>
                  <a:lnTo>
                    <a:pt x="368" y="147"/>
                  </a:lnTo>
                  <a:lnTo>
                    <a:pt x="368" y="142"/>
                  </a:lnTo>
                  <a:lnTo>
                    <a:pt x="371" y="139"/>
                  </a:lnTo>
                  <a:lnTo>
                    <a:pt x="371" y="139"/>
                  </a:lnTo>
                  <a:lnTo>
                    <a:pt x="371" y="139"/>
                  </a:lnTo>
                  <a:lnTo>
                    <a:pt x="371" y="144"/>
                  </a:lnTo>
                  <a:lnTo>
                    <a:pt x="374" y="147"/>
                  </a:lnTo>
                  <a:lnTo>
                    <a:pt x="374" y="144"/>
                  </a:lnTo>
                  <a:lnTo>
                    <a:pt x="376" y="139"/>
                  </a:lnTo>
                  <a:lnTo>
                    <a:pt x="379" y="139"/>
                  </a:lnTo>
                  <a:lnTo>
                    <a:pt x="379" y="142"/>
                  </a:lnTo>
                  <a:lnTo>
                    <a:pt x="379" y="147"/>
                  </a:lnTo>
                  <a:lnTo>
                    <a:pt x="379" y="147"/>
                  </a:lnTo>
                  <a:lnTo>
                    <a:pt x="382" y="150"/>
                  </a:lnTo>
                  <a:lnTo>
                    <a:pt x="382" y="150"/>
                  </a:lnTo>
                  <a:lnTo>
                    <a:pt x="384" y="150"/>
                  </a:lnTo>
                  <a:lnTo>
                    <a:pt x="384" y="147"/>
                  </a:lnTo>
                  <a:lnTo>
                    <a:pt x="384" y="144"/>
                  </a:lnTo>
                  <a:lnTo>
                    <a:pt x="384" y="144"/>
                  </a:lnTo>
                  <a:lnTo>
                    <a:pt x="384" y="144"/>
                  </a:lnTo>
                  <a:lnTo>
                    <a:pt x="387" y="147"/>
                  </a:lnTo>
                  <a:lnTo>
                    <a:pt x="384" y="147"/>
                  </a:lnTo>
                  <a:lnTo>
                    <a:pt x="384" y="150"/>
                  </a:lnTo>
                  <a:lnTo>
                    <a:pt x="387" y="150"/>
                  </a:lnTo>
                  <a:lnTo>
                    <a:pt x="387" y="150"/>
                  </a:lnTo>
                  <a:lnTo>
                    <a:pt x="390" y="150"/>
                  </a:lnTo>
                  <a:lnTo>
                    <a:pt x="392" y="147"/>
                  </a:lnTo>
                  <a:lnTo>
                    <a:pt x="392" y="150"/>
                  </a:lnTo>
                  <a:lnTo>
                    <a:pt x="392" y="150"/>
                  </a:lnTo>
                  <a:lnTo>
                    <a:pt x="390" y="152"/>
                  </a:lnTo>
                  <a:lnTo>
                    <a:pt x="387" y="152"/>
                  </a:lnTo>
                  <a:lnTo>
                    <a:pt x="390" y="152"/>
                  </a:lnTo>
                  <a:lnTo>
                    <a:pt x="390" y="155"/>
                  </a:lnTo>
                  <a:lnTo>
                    <a:pt x="392" y="152"/>
                  </a:lnTo>
                  <a:lnTo>
                    <a:pt x="392" y="152"/>
                  </a:lnTo>
                  <a:lnTo>
                    <a:pt x="395" y="152"/>
                  </a:lnTo>
                  <a:lnTo>
                    <a:pt x="395" y="155"/>
                  </a:lnTo>
                  <a:lnTo>
                    <a:pt x="398" y="155"/>
                  </a:lnTo>
                  <a:lnTo>
                    <a:pt x="400" y="158"/>
                  </a:lnTo>
                  <a:lnTo>
                    <a:pt x="403" y="158"/>
                  </a:lnTo>
                  <a:lnTo>
                    <a:pt x="406" y="155"/>
                  </a:lnTo>
                  <a:lnTo>
                    <a:pt x="408" y="152"/>
                  </a:lnTo>
                  <a:lnTo>
                    <a:pt x="408" y="147"/>
                  </a:lnTo>
                  <a:lnTo>
                    <a:pt x="408" y="147"/>
                  </a:lnTo>
                  <a:lnTo>
                    <a:pt x="408" y="150"/>
                  </a:lnTo>
                  <a:lnTo>
                    <a:pt x="411" y="150"/>
                  </a:lnTo>
                  <a:lnTo>
                    <a:pt x="408" y="152"/>
                  </a:lnTo>
                  <a:lnTo>
                    <a:pt x="411" y="155"/>
                  </a:lnTo>
                  <a:lnTo>
                    <a:pt x="408" y="158"/>
                  </a:lnTo>
                  <a:lnTo>
                    <a:pt x="408" y="160"/>
                  </a:lnTo>
                  <a:lnTo>
                    <a:pt x="406" y="160"/>
                  </a:lnTo>
                  <a:lnTo>
                    <a:pt x="403" y="160"/>
                  </a:lnTo>
                  <a:lnTo>
                    <a:pt x="392" y="160"/>
                  </a:lnTo>
                  <a:lnTo>
                    <a:pt x="390" y="160"/>
                  </a:lnTo>
                  <a:lnTo>
                    <a:pt x="387" y="160"/>
                  </a:lnTo>
                  <a:lnTo>
                    <a:pt x="387" y="158"/>
                  </a:lnTo>
                  <a:lnTo>
                    <a:pt x="387" y="158"/>
                  </a:lnTo>
                  <a:lnTo>
                    <a:pt x="390" y="158"/>
                  </a:lnTo>
                  <a:lnTo>
                    <a:pt x="387" y="158"/>
                  </a:lnTo>
                  <a:lnTo>
                    <a:pt x="384" y="160"/>
                  </a:lnTo>
                  <a:lnTo>
                    <a:pt x="382" y="160"/>
                  </a:lnTo>
                  <a:lnTo>
                    <a:pt x="382" y="160"/>
                  </a:lnTo>
                  <a:lnTo>
                    <a:pt x="376" y="160"/>
                  </a:lnTo>
                  <a:lnTo>
                    <a:pt x="376" y="163"/>
                  </a:lnTo>
                  <a:lnTo>
                    <a:pt x="379" y="163"/>
                  </a:lnTo>
                  <a:lnTo>
                    <a:pt x="379" y="163"/>
                  </a:lnTo>
                  <a:lnTo>
                    <a:pt x="379" y="163"/>
                  </a:lnTo>
                  <a:lnTo>
                    <a:pt x="376" y="166"/>
                  </a:lnTo>
                  <a:lnTo>
                    <a:pt x="376" y="168"/>
                  </a:lnTo>
                  <a:lnTo>
                    <a:pt x="379" y="168"/>
                  </a:lnTo>
                  <a:lnTo>
                    <a:pt x="382" y="168"/>
                  </a:lnTo>
                  <a:lnTo>
                    <a:pt x="384" y="168"/>
                  </a:lnTo>
                  <a:lnTo>
                    <a:pt x="384" y="166"/>
                  </a:lnTo>
                  <a:lnTo>
                    <a:pt x="384" y="166"/>
                  </a:lnTo>
                  <a:lnTo>
                    <a:pt x="384" y="166"/>
                  </a:lnTo>
                  <a:lnTo>
                    <a:pt x="384" y="166"/>
                  </a:lnTo>
                  <a:lnTo>
                    <a:pt x="387" y="163"/>
                  </a:lnTo>
                  <a:lnTo>
                    <a:pt x="387" y="163"/>
                  </a:lnTo>
                  <a:lnTo>
                    <a:pt x="387" y="163"/>
                  </a:lnTo>
                  <a:lnTo>
                    <a:pt x="387" y="163"/>
                  </a:lnTo>
                  <a:lnTo>
                    <a:pt x="390" y="166"/>
                  </a:lnTo>
                  <a:lnTo>
                    <a:pt x="390" y="166"/>
                  </a:lnTo>
                  <a:lnTo>
                    <a:pt x="387" y="168"/>
                  </a:lnTo>
                  <a:lnTo>
                    <a:pt x="390" y="168"/>
                  </a:lnTo>
                  <a:lnTo>
                    <a:pt x="387" y="171"/>
                  </a:lnTo>
                  <a:lnTo>
                    <a:pt x="384" y="171"/>
                  </a:lnTo>
                  <a:lnTo>
                    <a:pt x="382" y="174"/>
                  </a:lnTo>
                  <a:lnTo>
                    <a:pt x="382" y="176"/>
                  </a:lnTo>
                  <a:lnTo>
                    <a:pt x="382" y="179"/>
                  </a:lnTo>
                  <a:lnTo>
                    <a:pt x="382" y="182"/>
                  </a:lnTo>
                  <a:lnTo>
                    <a:pt x="382" y="182"/>
                  </a:lnTo>
                  <a:lnTo>
                    <a:pt x="379" y="179"/>
                  </a:lnTo>
                  <a:lnTo>
                    <a:pt x="379" y="176"/>
                  </a:lnTo>
                  <a:lnTo>
                    <a:pt x="376" y="176"/>
                  </a:lnTo>
                  <a:lnTo>
                    <a:pt x="376" y="179"/>
                  </a:lnTo>
                  <a:lnTo>
                    <a:pt x="376" y="182"/>
                  </a:lnTo>
                  <a:lnTo>
                    <a:pt x="376" y="182"/>
                  </a:lnTo>
                  <a:lnTo>
                    <a:pt x="379" y="182"/>
                  </a:lnTo>
                  <a:lnTo>
                    <a:pt x="379" y="184"/>
                  </a:lnTo>
                  <a:lnTo>
                    <a:pt x="382" y="187"/>
                  </a:lnTo>
                  <a:lnTo>
                    <a:pt x="382" y="187"/>
                  </a:lnTo>
                  <a:lnTo>
                    <a:pt x="382" y="190"/>
                  </a:lnTo>
                  <a:lnTo>
                    <a:pt x="384" y="190"/>
                  </a:lnTo>
                  <a:lnTo>
                    <a:pt x="387" y="195"/>
                  </a:lnTo>
                  <a:lnTo>
                    <a:pt x="390" y="198"/>
                  </a:lnTo>
                  <a:lnTo>
                    <a:pt x="392" y="200"/>
                  </a:lnTo>
                  <a:lnTo>
                    <a:pt x="392" y="200"/>
                  </a:lnTo>
                  <a:lnTo>
                    <a:pt x="392" y="198"/>
                  </a:lnTo>
                  <a:lnTo>
                    <a:pt x="390" y="192"/>
                  </a:lnTo>
                  <a:lnTo>
                    <a:pt x="390" y="190"/>
                  </a:lnTo>
                  <a:lnTo>
                    <a:pt x="392" y="192"/>
                  </a:lnTo>
                  <a:lnTo>
                    <a:pt x="400" y="198"/>
                  </a:lnTo>
                  <a:lnTo>
                    <a:pt x="403" y="200"/>
                  </a:lnTo>
                  <a:lnTo>
                    <a:pt x="403" y="200"/>
                  </a:lnTo>
                  <a:lnTo>
                    <a:pt x="406" y="200"/>
                  </a:lnTo>
                  <a:lnTo>
                    <a:pt x="408" y="203"/>
                  </a:lnTo>
                  <a:lnTo>
                    <a:pt x="411" y="208"/>
                  </a:lnTo>
                  <a:lnTo>
                    <a:pt x="414" y="208"/>
                  </a:lnTo>
                  <a:lnTo>
                    <a:pt x="414" y="206"/>
                  </a:lnTo>
                  <a:lnTo>
                    <a:pt x="414" y="203"/>
                  </a:lnTo>
                  <a:lnTo>
                    <a:pt x="414" y="200"/>
                  </a:lnTo>
                  <a:lnTo>
                    <a:pt x="414" y="200"/>
                  </a:lnTo>
                  <a:lnTo>
                    <a:pt x="414" y="198"/>
                  </a:lnTo>
                  <a:lnTo>
                    <a:pt x="411" y="198"/>
                  </a:lnTo>
                  <a:lnTo>
                    <a:pt x="414" y="195"/>
                  </a:lnTo>
                  <a:lnTo>
                    <a:pt x="416" y="190"/>
                  </a:lnTo>
                  <a:lnTo>
                    <a:pt x="416" y="187"/>
                  </a:lnTo>
                  <a:lnTo>
                    <a:pt x="419" y="190"/>
                  </a:lnTo>
                  <a:lnTo>
                    <a:pt x="419" y="192"/>
                  </a:lnTo>
                  <a:lnTo>
                    <a:pt x="416" y="195"/>
                  </a:lnTo>
                  <a:lnTo>
                    <a:pt x="416" y="195"/>
                  </a:lnTo>
                  <a:lnTo>
                    <a:pt x="416" y="198"/>
                  </a:lnTo>
                  <a:lnTo>
                    <a:pt x="419" y="198"/>
                  </a:lnTo>
                  <a:lnTo>
                    <a:pt x="419" y="198"/>
                  </a:lnTo>
                  <a:lnTo>
                    <a:pt x="419" y="200"/>
                  </a:lnTo>
                  <a:lnTo>
                    <a:pt x="419" y="200"/>
                  </a:lnTo>
                  <a:lnTo>
                    <a:pt x="422" y="203"/>
                  </a:lnTo>
                  <a:lnTo>
                    <a:pt x="422" y="203"/>
                  </a:lnTo>
                  <a:lnTo>
                    <a:pt x="422" y="203"/>
                  </a:lnTo>
                  <a:lnTo>
                    <a:pt x="422" y="203"/>
                  </a:lnTo>
                  <a:lnTo>
                    <a:pt x="422" y="195"/>
                  </a:lnTo>
                  <a:lnTo>
                    <a:pt x="424" y="192"/>
                  </a:lnTo>
                  <a:lnTo>
                    <a:pt x="427" y="184"/>
                  </a:lnTo>
                  <a:lnTo>
                    <a:pt x="427" y="184"/>
                  </a:lnTo>
                  <a:lnTo>
                    <a:pt x="427" y="182"/>
                  </a:lnTo>
                  <a:lnTo>
                    <a:pt x="427" y="182"/>
                  </a:lnTo>
                  <a:lnTo>
                    <a:pt x="427" y="179"/>
                  </a:lnTo>
                  <a:lnTo>
                    <a:pt x="430" y="179"/>
                  </a:lnTo>
                  <a:lnTo>
                    <a:pt x="430" y="182"/>
                  </a:lnTo>
                  <a:lnTo>
                    <a:pt x="430" y="182"/>
                  </a:lnTo>
                  <a:lnTo>
                    <a:pt x="430" y="184"/>
                  </a:lnTo>
                  <a:lnTo>
                    <a:pt x="430" y="187"/>
                  </a:lnTo>
                  <a:lnTo>
                    <a:pt x="427" y="192"/>
                  </a:lnTo>
                  <a:lnTo>
                    <a:pt x="427" y="198"/>
                  </a:lnTo>
                  <a:lnTo>
                    <a:pt x="427" y="200"/>
                  </a:lnTo>
                  <a:lnTo>
                    <a:pt x="430" y="203"/>
                  </a:lnTo>
                  <a:lnTo>
                    <a:pt x="430" y="203"/>
                  </a:lnTo>
                  <a:lnTo>
                    <a:pt x="435" y="203"/>
                  </a:lnTo>
                  <a:lnTo>
                    <a:pt x="438" y="203"/>
                  </a:lnTo>
                  <a:lnTo>
                    <a:pt x="435" y="206"/>
                  </a:lnTo>
                  <a:lnTo>
                    <a:pt x="430" y="208"/>
                  </a:lnTo>
                  <a:lnTo>
                    <a:pt x="427" y="211"/>
                  </a:lnTo>
                  <a:lnTo>
                    <a:pt x="427" y="216"/>
                  </a:lnTo>
                  <a:lnTo>
                    <a:pt x="427" y="219"/>
                  </a:lnTo>
                  <a:lnTo>
                    <a:pt x="427" y="219"/>
                  </a:lnTo>
                  <a:lnTo>
                    <a:pt x="430" y="219"/>
                  </a:lnTo>
                  <a:lnTo>
                    <a:pt x="430" y="219"/>
                  </a:lnTo>
                  <a:lnTo>
                    <a:pt x="430" y="219"/>
                  </a:lnTo>
                  <a:lnTo>
                    <a:pt x="430" y="216"/>
                  </a:lnTo>
                  <a:lnTo>
                    <a:pt x="430" y="216"/>
                  </a:lnTo>
                  <a:lnTo>
                    <a:pt x="432" y="214"/>
                  </a:lnTo>
                  <a:lnTo>
                    <a:pt x="438" y="214"/>
                  </a:lnTo>
                  <a:lnTo>
                    <a:pt x="440" y="214"/>
                  </a:lnTo>
                  <a:lnTo>
                    <a:pt x="440" y="214"/>
                  </a:lnTo>
                  <a:lnTo>
                    <a:pt x="443" y="211"/>
                  </a:lnTo>
                  <a:lnTo>
                    <a:pt x="443" y="214"/>
                  </a:lnTo>
                  <a:lnTo>
                    <a:pt x="446" y="214"/>
                  </a:lnTo>
                  <a:lnTo>
                    <a:pt x="443" y="214"/>
                  </a:lnTo>
                  <a:lnTo>
                    <a:pt x="440" y="216"/>
                  </a:lnTo>
                  <a:lnTo>
                    <a:pt x="440" y="216"/>
                  </a:lnTo>
                  <a:lnTo>
                    <a:pt x="440" y="216"/>
                  </a:lnTo>
                  <a:lnTo>
                    <a:pt x="440" y="219"/>
                  </a:lnTo>
                  <a:lnTo>
                    <a:pt x="440" y="219"/>
                  </a:lnTo>
                  <a:lnTo>
                    <a:pt x="438" y="222"/>
                  </a:lnTo>
                  <a:lnTo>
                    <a:pt x="438" y="222"/>
                  </a:lnTo>
                  <a:lnTo>
                    <a:pt x="438" y="224"/>
                  </a:lnTo>
                  <a:lnTo>
                    <a:pt x="438" y="224"/>
                  </a:lnTo>
                  <a:lnTo>
                    <a:pt x="438" y="224"/>
                  </a:lnTo>
                  <a:lnTo>
                    <a:pt x="438" y="224"/>
                  </a:lnTo>
                  <a:lnTo>
                    <a:pt x="440" y="224"/>
                  </a:lnTo>
                  <a:lnTo>
                    <a:pt x="440" y="222"/>
                  </a:lnTo>
                  <a:lnTo>
                    <a:pt x="443" y="222"/>
                  </a:lnTo>
                  <a:lnTo>
                    <a:pt x="446" y="222"/>
                  </a:lnTo>
                  <a:lnTo>
                    <a:pt x="446" y="222"/>
                  </a:lnTo>
                  <a:lnTo>
                    <a:pt x="446" y="219"/>
                  </a:lnTo>
                  <a:lnTo>
                    <a:pt x="448" y="216"/>
                  </a:lnTo>
                  <a:lnTo>
                    <a:pt x="448" y="216"/>
                  </a:lnTo>
                  <a:lnTo>
                    <a:pt x="448" y="222"/>
                  </a:lnTo>
                  <a:lnTo>
                    <a:pt x="446" y="227"/>
                  </a:lnTo>
                  <a:lnTo>
                    <a:pt x="443" y="227"/>
                  </a:lnTo>
                  <a:lnTo>
                    <a:pt x="443" y="230"/>
                  </a:lnTo>
                  <a:lnTo>
                    <a:pt x="440" y="230"/>
                  </a:lnTo>
                  <a:lnTo>
                    <a:pt x="440" y="230"/>
                  </a:lnTo>
                  <a:lnTo>
                    <a:pt x="440" y="232"/>
                  </a:lnTo>
                  <a:lnTo>
                    <a:pt x="438" y="238"/>
                  </a:lnTo>
                  <a:lnTo>
                    <a:pt x="438" y="238"/>
                  </a:lnTo>
                  <a:lnTo>
                    <a:pt x="438" y="238"/>
                  </a:lnTo>
                  <a:lnTo>
                    <a:pt x="438" y="238"/>
                  </a:lnTo>
                  <a:lnTo>
                    <a:pt x="438" y="238"/>
                  </a:lnTo>
                  <a:lnTo>
                    <a:pt x="438" y="238"/>
                  </a:lnTo>
                  <a:lnTo>
                    <a:pt x="440" y="238"/>
                  </a:lnTo>
                  <a:lnTo>
                    <a:pt x="440" y="238"/>
                  </a:lnTo>
                  <a:lnTo>
                    <a:pt x="440" y="238"/>
                  </a:lnTo>
                  <a:lnTo>
                    <a:pt x="440" y="235"/>
                  </a:lnTo>
                  <a:lnTo>
                    <a:pt x="443" y="235"/>
                  </a:lnTo>
                  <a:lnTo>
                    <a:pt x="443" y="238"/>
                  </a:lnTo>
                  <a:lnTo>
                    <a:pt x="440" y="240"/>
                  </a:lnTo>
                  <a:lnTo>
                    <a:pt x="440" y="240"/>
                  </a:lnTo>
                  <a:lnTo>
                    <a:pt x="440" y="240"/>
                  </a:lnTo>
                  <a:lnTo>
                    <a:pt x="440" y="243"/>
                  </a:lnTo>
                  <a:lnTo>
                    <a:pt x="440" y="243"/>
                  </a:lnTo>
                  <a:lnTo>
                    <a:pt x="440" y="243"/>
                  </a:lnTo>
                  <a:lnTo>
                    <a:pt x="440" y="246"/>
                  </a:lnTo>
                  <a:lnTo>
                    <a:pt x="443" y="246"/>
                  </a:lnTo>
                  <a:lnTo>
                    <a:pt x="443" y="243"/>
                  </a:lnTo>
                  <a:lnTo>
                    <a:pt x="446" y="240"/>
                  </a:lnTo>
                  <a:lnTo>
                    <a:pt x="448" y="238"/>
                  </a:lnTo>
                  <a:lnTo>
                    <a:pt x="451" y="235"/>
                  </a:lnTo>
                  <a:lnTo>
                    <a:pt x="462" y="235"/>
                  </a:lnTo>
                  <a:lnTo>
                    <a:pt x="464" y="235"/>
                  </a:lnTo>
                  <a:lnTo>
                    <a:pt x="464" y="235"/>
                  </a:lnTo>
                  <a:lnTo>
                    <a:pt x="464" y="232"/>
                  </a:lnTo>
                  <a:lnTo>
                    <a:pt x="467" y="230"/>
                  </a:lnTo>
                  <a:lnTo>
                    <a:pt x="467" y="230"/>
                  </a:lnTo>
                  <a:lnTo>
                    <a:pt x="470" y="230"/>
                  </a:lnTo>
                  <a:lnTo>
                    <a:pt x="472" y="227"/>
                  </a:lnTo>
                  <a:lnTo>
                    <a:pt x="478" y="227"/>
                  </a:lnTo>
                  <a:lnTo>
                    <a:pt x="483" y="224"/>
                  </a:lnTo>
                  <a:lnTo>
                    <a:pt x="488" y="222"/>
                  </a:lnTo>
                  <a:lnTo>
                    <a:pt x="491" y="222"/>
                  </a:lnTo>
                  <a:lnTo>
                    <a:pt x="491" y="222"/>
                  </a:lnTo>
                  <a:lnTo>
                    <a:pt x="491" y="219"/>
                  </a:lnTo>
                  <a:lnTo>
                    <a:pt x="494" y="211"/>
                  </a:lnTo>
                  <a:lnTo>
                    <a:pt x="491" y="211"/>
                  </a:lnTo>
                  <a:lnTo>
                    <a:pt x="494" y="211"/>
                  </a:lnTo>
                  <a:lnTo>
                    <a:pt x="494" y="208"/>
                  </a:lnTo>
                  <a:lnTo>
                    <a:pt x="494" y="206"/>
                  </a:lnTo>
                  <a:lnTo>
                    <a:pt x="496" y="206"/>
                  </a:lnTo>
                  <a:lnTo>
                    <a:pt x="499" y="206"/>
                  </a:lnTo>
                  <a:lnTo>
                    <a:pt x="499" y="206"/>
                  </a:lnTo>
                  <a:lnTo>
                    <a:pt x="499" y="206"/>
                  </a:lnTo>
                  <a:lnTo>
                    <a:pt x="499" y="200"/>
                  </a:lnTo>
                  <a:lnTo>
                    <a:pt x="499" y="200"/>
                  </a:lnTo>
                  <a:lnTo>
                    <a:pt x="502" y="198"/>
                  </a:lnTo>
                  <a:lnTo>
                    <a:pt x="499" y="190"/>
                  </a:lnTo>
                  <a:lnTo>
                    <a:pt x="502" y="187"/>
                  </a:lnTo>
                  <a:lnTo>
                    <a:pt x="502" y="187"/>
                  </a:lnTo>
                  <a:lnTo>
                    <a:pt x="505" y="184"/>
                  </a:lnTo>
                  <a:lnTo>
                    <a:pt x="505" y="187"/>
                  </a:lnTo>
                  <a:lnTo>
                    <a:pt x="505" y="187"/>
                  </a:lnTo>
                  <a:lnTo>
                    <a:pt x="510" y="187"/>
                  </a:lnTo>
                  <a:lnTo>
                    <a:pt x="510" y="184"/>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39" name="Freeform 36">
              <a:extLst>
                <a:ext uri="{FF2B5EF4-FFF2-40B4-BE49-F238E27FC236}">
                  <a16:creationId xmlns="" xmlns:a16="http://schemas.microsoft.com/office/drawing/2014/main" id="{EC6114B9-6C29-4C81-89B1-72179032312C}"/>
                </a:ext>
              </a:extLst>
            </p:cNvPr>
            <p:cNvSpPr>
              <a:spLocks noEditPoints="1"/>
            </p:cNvSpPr>
            <p:nvPr/>
          </p:nvSpPr>
          <p:spPr bwMode="auto">
            <a:xfrm>
              <a:off x="6442" y="708"/>
              <a:ext cx="397" cy="206"/>
            </a:xfrm>
            <a:custGeom>
              <a:avLst/>
              <a:gdLst>
                <a:gd name="T0" fmla="*/ 384 w 397"/>
                <a:gd name="T1" fmla="*/ 187 h 206"/>
                <a:gd name="T2" fmla="*/ 381 w 397"/>
                <a:gd name="T3" fmla="*/ 192 h 206"/>
                <a:gd name="T4" fmla="*/ 394 w 397"/>
                <a:gd name="T5" fmla="*/ 187 h 206"/>
                <a:gd name="T6" fmla="*/ 344 w 397"/>
                <a:gd name="T7" fmla="*/ 190 h 206"/>
                <a:gd name="T8" fmla="*/ 325 w 397"/>
                <a:gd name="T9" fmla="*/ 179 h 206"/>
                <a:gd name="T10" fmla="*/ 312 w 397"/>
                <a:gd name="T11" fmla="*/ 198 h 206"/>
                <a:gd name="T12" fmla="*/ 312 w 397"/>
                <a:gd name="T13" fmla="*/ 203 h 206"/>
                <a:gd name="T14" fmla="*/ 384 w 397"/>
                <a:gd name="T15" fmla="*/ 142 h 206"/>
                <a:gd name="T16" fmla="*/ 381 w 397"/>
                <a:gd name="T17" fmla="*/ 120 h 206"/>
                <a:gd name="T18" fmla="*/ 378 w 397"/>
                <a:gd name="T19" fmla="*/ 115 h 206"/>
                <a:gd name="T20" fmla="*/ 346 w 397"/>
                <a:gd name="T21" fmla="*/ 85 h 206"/>
                <a:gd name="T22" fmla="*/ 341 w 397"/>
                <a:gd name="T23" fmla="*/ 93 h 206"/>
                <a:gd name="T24" fmla="*/ 357 w 397"/>
                <a:gd name="T25" fmla="*/ 93 h 206"/>
                <a:gd name="T26" fmla="*/ 368 w 397"/>
                <a:gd name="T27" fmla="*/ 104 h 206"/>
                <a:gd name="T28" fmla="*/ 370 w 397"/>
                <a:gd name="T29" fmla="*/ 123 h 206"/>
                <a:gd name="T30" fmla="*/ 346 w 397"/>
                <a:gd name="T31" fmla="*/ 139 h 206"/>
                <a:gd name="T32" fmla="*/ 309 w 397"/>
                <a:gd name="T33" fmla="*/ 115 h 206"/>
                <a:gd name="T34" fmla="*/ 296 w 397"/>
                <a:gd name="T35" fmla="*/ 104 h 206"/>
                <a:gd name="T36" fmla="*/ 304 w 397"/>
                <a:gd name="T37" fmla="*/ 109 h 206"/>
                <a:gd name="T38" fmla="*/ 285 w 397"/>
                <a:gd name="T39" fmla="*/ 91 h 206"/>
                <a:gd name="T40" fmla="*/ 261 w 397"/>
                <a:gd name="T41" fmla="*/ 77 h 206"/>
                <a:gd name="T42" fmla="*/ 261 w 397"/>
                <a:gd name="T43" fmla="*/ 85 h 206"/>
                <a:gd name="T44" fmla="*/ 256 w 397"/>
                <a:gd name="T45" fmla="*/ 83 h 206"/>
                <a:gd name="T46" fmla="*/ 248 w 397"/>
                <a:gd name="T47" fmla="*/ 77 h 206"/>
                <a:gd name="T48" fmla="*/ 248 w 397"/>
                <a:gd name="T49" fmla="*/ 72 h 206"/>
                <a:gd name="T50" fmla="*/ 250 w 397"/>
                <a:gd name="T51" fmla="*/ 64 h 206"/>
                <a:gd name="T52" fmla="*/ 256 w 397"/>
                <a:gd name="T53" fmla="*/ 56 h 206"/>
                <a:gd name="T54" fmla="*/ 258 w 397"/>
                <a:gd name="T55" fmla="*/ 48 h 206"/>
                <a:gd name="T56" fmla="*/ 261 w 397"/>
                <a:gd name="T57" fmla="*/ 40 h 206"/>
                <a:gd name="T58" fmla="*/ 280 w 397"/>
                <a:gd name="T59" fmla="*/ 29 h 206"/>
                <a:gd name="T60" fmla="*/ 280 w 397"/>
                <a:gd name="T61" fmla="*/ 21 h 206"/>
                <a:gd name="T62" fmla="*/ 272 w 397"/>
                <a:gd name="T63" fmla="*/ 27 h 206"/>
                <a:gd name="T64" fmla="*/ 256 w 397"/>
                <a:gd name="T65" fmla="*/ 16 h 206"/>
                <a:gd name="T66" fmla="*/ 250 w 397"/>
                <a:gd name="T67" fmla="*/ 8 h 206"/>
                <a:gd name="T68" fmla="*/ 240 w 397"/>
                <a:gd name="T69" fmla="*/ 0 h 206"/>
                <a:gd name="T70" fmla="*/ 224 w 397"/>
                <a:gd name="T71" fmla="*/ 16 h 206"/>
                <a:gd name="T72" fmla="*/ 216 w 397"/>
                <a:gd name="T73" fmla="*/ 24 h 206"/>
                <a:gd name="T74" fmla="*/ 208 w 397"/>
                <a:gd name="T75" fmla="*/ 37 h 206"/>
                <a:gd name="T76" fmla="*/ 146 w 397"/>
                <a:gd name="T77" fmla="*/ 51 h 206"/>
                <a:gd name="T78" fmla="*/ 88 w 397"/>
                <a:gd name="T79" fmla="*/ 64 h 206"/>
                <a:gd name="T80" fmla="*/ 88 w 397"/>
                <a:gd name="T81" fmla="*/ 64 h 206"/>
                <a:gd name="T82" fmla="*/ 34 w 397"/>
                <a:gd name="T83" fmla="*/ 75 h 206"/>
                <a:gd name="T84" fmla="*/ 2 w 397"/>
                <a:gd name="T85" fmla="*/ 128 h 206"/>
                <a:gd name="T86" fmla="*/ 56 w 397"/>
                <a:gd name="T87" fmla="*/ 168 h 206"/>
                <a:gd name="T88" fmla="*/ 98 w 397"/>
                <a:gd name="T89" fmla="*/ 160 h 206"/>
                <a:gd name="T90" fmla="*/ 197 w 397"/>
                <a:gd name="T91" fmla="*/ 136 h 206"/>
                <a:gd name="T92" fmla="*/ 229 w 397"/>
                <a:gd name="T93" fmla="*/ 144 h 206"/>
                <a:gd name="T94" fmla="*/ 234 w 397"/>
                <a:gd name="T95" fmla="*/ 158 h 206"/>
                <a:gd name="T96" fmla="*/ 248 w 397"/>
                <a:gd name="T97" fmla="*/ 166 h 206"/>
                <a:gd name="T98" fmla="*/ 253 w 397"/>
                <a:gd name="T99" fmla="*/ 168 h 206"/>
                <a:gd name="T100" fmla="*/ 266 w 397"/>
                <a:gd name="T101" fmla="*/ 190 h 206"/>
                <a:gd name="T102" fmla="*/ 272 w 397"/>
                <a:gd name="T103" fmla="*/ 187 h 206"/>
                <a:gd name="T104" fmla="*/ 285 w 397"/>
                <a:gd name="T105" fmla="*/ 174 h 206"/>
                <a:gd name="T106" fmla="*/ 290 w 397"/>
                <a:gd name="T107" fmla="*/ 168 h 206"/>
                <a:gd name="T108" fmla="*/ 301 w 397"/>
                <a:gd name="T109" fmla="*/ 158 h 206"/>
                <a:gd name="T110" fmla="*/ 309 w 397"/>
                <a:gd name="T111" fmla="*/ 147 h 206"/>
                <a:gd name="T112" fmla="*/ 309 w 397"/>
                <a:gd name="T113" fmla="*/ 155 h 206"/>
                <a:gd name="T114" fmla="*/ 330 w 397"/>
                <a:gd name="T115" fmla="*/ 163 h 206"/>
                <a:gd name="T116" fmla="*/ 346 w 397"/>
                <a:gd name="T117" fmla="*/ 150 h 206"/>
                <a:gd name="T118" fmla="*/ 360 w 397"/>
                <a:gd name="T119" fmla="*/ 14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7" h="206">
                  <a:moveTo>
                    <a:pt x="394" y="187"/>
                  </a:moveTo>
                  <a:lnTo>
                    <a:pt x="389" y="182"/>
                  </a:lnTo>
                  <a:lnTo>
                    <a:pt x="386" y="176"/>
                  </a:lnTo>
                  <a:lnTo>
                    <a:pt x="386" y="176"/>
                  </a:lnTo>
                  <a:lnTo>
                    <a:pt x="384" y="174"/>
                  </a:lnTo>
                  <a:lnTo>
                    <a:pt x="384" y="174"/>
                  </a:lnTo>
                  <a:lnTo>
                    <a:pt x="384" y="174"/>
                  </a:lnTo>
                  <a:lnTo>
                    <a:pt x="384" y="179"/>
                  </a:lnTo>
                  <a:lnTo>
                    <a:pt x="384" y="182"/>
                  </a:lnTo>
                  <a:lnTo>
                    <a:pt x="384" y="187"/>
                  </a:lnTo>
                  <a:lnTo>
                    <a:pt x="384" y="187"/>
                  </a:lnTo>
                  <a:lnTo>
                    <a:pt x="386" y="182"/>
                  </a:lnTo>
                  <a:lnTo>
                    <a:pt x="389" y="182"/>
                  </a:lnTo>
                  <a:lnTo>
                    <a:pt x="389" y="184"/>
                  </a:lnTo>
                  <a:lnTo>
                    <a:pt x="386" y="184"/>
                  </a:lnTo>
                  <a:lnTo>
                    <a:pt x="386" y="187"/>
                  </a:lnTo>
                  <a:lnTo>
                    <a:pt x="384" y="190"/>
                  </a:lnTo>
                  <a:lnTo>
                    <a:pt x="384" y="190"/>
                  </a:lnTo>
                  <a:lnTo>
                    <a:pt x="384" y="190"/>
                  </a:lnTo>
                  <a:lnTo>
                    <a:pt x="381" y="192"/>
                  </a:lnTo>
                  <a:lnTo>
                    <a:pt x="381" y="190"/>
                  </a:lnTo>
                  <a:lnTo>
                    <a:pt x="378" y="190"/>
                  </a:lnTo>
                  <a:lnTo>
                    <a:pt x="376" y="192"/>
                  </a:lnTo>
                  <a:lnTo>
                    <a:pt x="368" y="195"/>
                  </a:lnTo>
                  <a:lnTo>
                    <a:pt x="368" y="195"/>
                  </a:lnTo>
                  <a:lnTo>
                    <a:pt x="381" y="198"/>
                  </a:lnTo>
                  <a:lnTo>
                    <a:pt x="386" y="195"/>
                  </a:lnTo>
                  <a:lnTo>
                    <a:pt x="392" y="195"/>
                  </a:lnTo>
                  <a:lnTo>
                    <a:pt x="397" y="190"/>
                  </a:lnTo>
                  <a:lnTo>
                    <a:pt x="394" y="187"/>
                  </a:lnTo>
                  <a:close/>
                  <a:moveTo>
                    <a:pt x="341" y="184"/>
                  </a:moveTo>
                  <a:lnTo>
                    <a:pt x="338" y="182"/>
                  </a:lnTo>
                  <a:lnTo>
                    <a:pt x="338" y="184"/>
                  </a:lnTo>
                  <a:lnTo>
                    <a:pt x="338" y="187"/>
                  </a:lnTo>
                  <a:lnTo>
                    <a:pt x="336" y="190"/>
                  </a:lnTo>
                  <a:lnTo>
                    <a:pt x="336" y="190"/>
                  </a:lnTo>
                  <a:lnTo>
                    <a:pt x="338" y="192"/>
                  </a:lnTo>
                  <a:lnTo>
                    <a:pt x="341" y="192"/>
                  </a:lnTo>
                  <a:lnTo>
                    <a:pt x="341" y="192"/>
                  </a:lnTo>
                  <a:lnTo>
                    <a:pt x="344" y="190"/>
                  </a:lnTo>
                  <a:lnTo>
                    <a:pt x="341" y="190"/>
                  </a:lnTo>
                  <a:lnTo>
                    <a:pt x="341" y="184"/>
                  </a:lnTo>
                  <a:close/>
                  <a:moveTo>
                    <a:pt x="330" y="187"/>
                  </a:moveTo>
                  <a:lnTo>
                    <a:pt x="328" y="187"/>
                  </a:lnTo>
                  <a:lnTo>
                    <a:pt x="328" y="187"/>
                  </a:lnTo>
                  <a:lnTo>
                    <a:pt x="328" y="184"/>
                  </a:lnTo>
                  <a:lnTo>
                    <a:pt x="330" y="184"/>
                  </a:lnTo>
                  <a:lnTo>
                    <a:pt x="330" y="182"/>
                  </a:lnTo>
                  <a:lnTo>
                    <a:pt x="328" y="179"/>
                  </a:lnTo>
                  <a:lnTo>
                    <a:pt x="325" y="179"/>
                  </a:lnTo>
                  <a:lnTo>
                    <a:pt x="325" y="182"/>
                  </a:lnTo>
                  <a:lnTo>
                    <a:pt x="325" y="184"/>
                  </a:lnTo>
                  <a:lnTo>
                    <a:pt x="322" y="184"/>
                  </a:lnTo>
                  <a:lnTo>
                    <a:pt x="322" y="182"/>
                  </a:lnTo>
                  <a:lnTo>
                    <a:pt x="322" y="182"/>
                  </a:lnTo>
                  <a:lnTo>
                    <a:pt x="317" y="184"/>
                  </a:lnTo>
                  <a:lnTo>
                    <a:pt x="314" y="190"/>
                  </a:lnTo>
                  <a:lnTo>
                    <a:pt x="314" y="190"/>
                  </a:lnTo>
                  <a:lnTo>
                    <a:pt x="312" y="192"/>
                  </a:lnTo>
                  <a:lnTo>
                    <a:pt x="312" y="198"/>
                  </a:lnTo>
                  <a:lnTo>
                    <a:pt x="312" y="198"/>
                  </a:lnTo>
                  <a:lnTo>
                    <a:pt x="309" y="200"/>
                  </a:lnTo>
                  <a:lnTo>
                    <a:pt x="301" y="203"/>
                  </a:lnTo>
                  <a:lnTo>
                    <a:pt x="304" y="203"/>
                  </a:lnTo>
                  <a:lnTo>
                    <a:pt x="304" y="203"/>
                  </a:lnTo>
                  <a:lnTo>
                    <a:pt x="306" y="206"/>
                  </a:lnTo>
                  <a:lnTo>
                    <a:pt x="309" y="206"/>
                  </a:lnTo>
                  <a:lnTo>
                    <a:pt x="309" y="206"/>
                  </a:lnTo>
                  <a:lnTo>
                    <a:pt x="312" y="206"/>
                  </a:lnTo>
                  <a:lnTo>
                    <a:pt x="312" y="203"/>
                  </a:lnTo>
                  <a:lnTo>
                    <a:pt x="314" y="203"/>
                  </a:lnTo>
                  <a:lnTo>
                    <a:pt x="317" y="200"/>
                  </a:lnTo>
                  <a:lnTo>
                    <a:pt x="320" y="198"/>
                  </a:lnTo>
                  <a:lnTo>
                    <a:pt x="336" y="195"/>
                  </a:lnTo>
                  <a:lnTo>
                    <a:pt x="336" y="192"/>
                  </a:lnTo>
                  <a:lnTo>
                    <a:pt x="333" y="187"/>
                  </a:lnTo>
                  <a:lnTo>
                    <a:pt x="330" y="187"/>
                  </a:lnTo>
                  <a:close/>
                  <a:moveTo>
                    <a:pt x="381" y="152"/>
                  </a:moveTo>
                  <a:lnTo>
                    <a:pt x="381" y="144"/>
                  </a:lnTo>
                  <a:lnTo>
                    <a:pt x="384" y="142"/>
                  </a:lnTo>
                  <a:lnTo>
                    <a:pt x="384" y="142"/>
                  </a:lnTo>
                  <a:lnTo>
                    <a:pt x="384" y="139"/>
                  </a:lnTo>
                  <a:lnTo>
                    <a:pt x="381" y="139"/>
                  </a:lnTo>
                  <a:lnTo>
                    <a:pt x="381" y="139"/>
                  </a:lnTo>
                  <a:lnTo>
                    <a:pt x="381" y="142"/>
                  </a:lnTo>
                  <a:lnTo>
                    <a:pt x="381" y="155"/>
                  </a:lnTo>
                  <a:lnTo>
                    <a:pt x="381" y="152"/>
                  </a:lnTo>
                  <a:close/>
                  <a:moveTo>
                    <a:pt x="384" y="136"/>
                  </a:moveTo>
                  <a:lnTo>
                    <a:pt x="381" y="126"/>
                  </a:lnTo>
                  <a:lnTo>
                    <a:pt x="381" y="120"/>
                  </a:lnTo>
                  <a:lnTo>
                    <a:pt x="378" y="118"/>
                  </a:lnTo>
                  <a:lnTo>
                    <a:pt x="376" y="118"/>
                  </a:lnTo>
                  <a:lnTo>
                    <a:pt x="376" y="120"/>
                  </a:lnTo>
                  <a:lnTo>
                    <a:pt x="376" y="118"/>
                  </a:lnTo>
                  <a:lnTo>
                    <a:pt x="373" y="115"/>
                  </a:lnTo>
                  <a:lnTo>
                    <a:pt x="373" y="112"/>
                  </a:lnTo>
                  <a:lnTo>
                    <a:pt x="376" y="112"/>
                  </a:lnTo>
                  <a:lnTo>
                    <a:pt x="378" y="115"/>
                  </a:lnTo>
                  <a:lnTo>
                    <a:pt x="378" y="115"/>
                  </a:lnTo>
                  <a:lnTo>
                    <a:pt x="378" y="115"/>
                  </a:lnTo>
                  <a:lnTo>
                    <a:pt x="378" y="112"/>
                  </a:lnTo>
                  <a:lnTo>
                    <a:pt x="378" y="112"/>
                  </a:lnTo>
                  <a:lnTo>
                    <a:pt x="376" y="109"/>
                  </a:lnTo>
                  <a:lnTo>
                    <a:pt x="368" y="96"/>
                  </a:lnTo>
                  <a:lnTo>
                    <a:pt x="365" y="93"/>
                  </a:lnTo>
                  <a:lnTo>
                    <a:pt x="357" y="88"/>
                  </a:lnTo>
                  <a:lnTo>
                    <a:pt x="354" y="88"/>
                  </a:lnTo>
                  <a:lnTo>
                    <a:pt x="349" y="85"/>
                  </a:lnTo>
                  <a:lnTo>
                    <a:pt x="346" y="85"/>
                  </a:lnTo>
                  <a:lnTo>
                    <a:pt x="346" y="85"/>
                  </a:lnTo>
                  <a:lnTo>
                    <a:pt x="341" y="88"/>
                  </a:lnTo>
                  <a:lnTo>
                    <a:pt x="338" y="88"/>
                  </a:lnTo>
                  <a:lnTo>
                    <a:pt x="338" y="88"/>
                  </a:lnTo>
                  <a:lnTo>
                    <a:pt x="338" y="88"/>
                  </a:lnTo>
                  <a:lnTo>
                    <a:pt x="338" y="91"/>
                  </a:lnTo>
                  <a:lnTo>
                    <a:pt x="338" y="91"/>
                  </a:lnTo>
                  <a:lnTo>
                    <a:pt x="338" y="91"/>
                  </a:lnTo>
                  <a:lnTo>
                    <a:pt x="338" y="91"/>
                  </a:lnTo>
                  <a:lnTo>
                    <a:pt x="338" y="91"/>
                  </a:lnTo>
                  <a:lnTo>
                    <a:pt x="341" y="93"/>
                  </a:lnTo>
                  <a:lnTo>
                    <a:pt x="344" y="96"/>
                  </a:lnTo>
                  <a:lnTo>
                    <a:pt x="344" y="96"/>
                  </a:lnTo>
                  <a:lnTo>
                    <a:pt x="346" y="93"/>
                  </a:lnTo>
                  <a:lnTo>
                    <a:pt x="346" y="93"/>
                  </a:lnTo>
                  <a:lnTo>
                    <a:pt x="346" y="93"/>
                  </a:lnTo>
                  <a:lnTo>
                    <a:pt x="344" y="93"/>
                  </a:lnTo>
                  <a:lnTo>
                    <a:pt x="346" y="91"/>
                  </a:lnTo>
                  <a:lnTo>
                    <a:pt x="349" y="88"/>
                  </a:lnTo>
                  <a:lnTo>
                    <a:pt x="354" y="91"/>
                  </a:lnTo>
                  <a:lnTo>
                    <a:pt x="357" y="93"/>
                  </a:lnTo>
                  <a:lnTo>
                    <a:pt x="357" y="96"/>
                  </a:lnTo>
                  <a:lnTo>
                    <a:pt x="360" y="101"/>
                  </a:lnTo>
                  <a:lnTo>
                    <a:pt x="360" y="104"/>
                  </a:lnTo>
                  <a:lnTo>
                    <a:pt x="362" y="109"/>
                  </a:lnTo>
                  <a:lnTo>
                    <a:pt x="362" y="107"/>
                  </a:lnTo>
                  <a:lnTo>
                    <a:pt x="362" y="104"/>
                  </a:lnTo>
                  <a:lnTo>
                    <a:pt x="362" y="101"/>
                  </a:lnTo>
                  <a:lnTo>
                    <a:pt x="365" y="101"/>
                  </a:lnTo>
                  <a:lnTo>
                    <a:pt x="365" y="104"/>
                  </a:lnTo>
                  <a:lnTo>
                    <a:pt x="368" y="104"/>
                  </a:lnTo>
                  <a:lnTo>
                    <a:pt x="370" y="104"/>
                  </a:lnTo>
                  <a:lnTo>
                    <a:pt x="370" y="104"/>
                  </a:lnTo>
                  <a:lnTo>
                    <a:pt x="368" y="107"/>
                  </a:lnTo>
                  <a:lnTo>
                    <a:pt x="368" y="107"/>
                  </a:lnTo>
                  <a:lnTo>
                    <a:pt x="368" y="107"/>
                  </a:lnTo>
                  <a:lnTo>
                    <a:pt x="370" y="109"/>
                  </a:lnTo>
                  <a:lnTo>
                    <a:pt x="370" y="112"/>
                  </a:lnTo>
                  <a:lnTo>
                    <a:pt x="373" y="118"/>
                  </a:lnTo>
                  <a:lnTo>
                    <a:pt x="370" y="123"/>
                  </a:lnTo>
                  <a:lnTo>
                    <a:pt x="370" y="123"/>
                  </a:lnTo>
                  <a:lnTo>
                    <a:pt x="365" y="126"/>
                  </a:lnTo>
                  <a:lnTo>
                    <a:pt x="362" y="128"/>
                  </a:lnTo>
                  <a:lnTo>
                    <a:pt x="354" y="134"/>
                  </a:lnTo>
                  <a:lnTo>
                    <a:pt x="352" y="136"/>
                  </a:lnTo>
                  <a:lnTo>
                    <a:pt x="346" y="139"/>
                  </a:lnTo>
                  <a:lnTo>
                    <a:pt x="344" y="142"/>
                  </a:lnTo>
                  <a:lnTo>
                    <a:pt x="341" y="142"/>
                  </a:lnTo>
                  <a:lnTo>
                    <a:pt x="341" y="139"/>
                  </a:lnTo>
                  <a:lnTo>
                    <a:pt x="341" y="139"/>
                  </a:lnTo>
                  <a:lnTo>
                    <a:pt x="346" y="139"/>
                  </a:lnTo>
                  <a:lnTo>
                    <a:pt x="346" y="136"/>
                  </a:lnTo>
                  <a:lnTo>
                    <a:pt x="333" y="139"/>
                  </a:lnTo>
                  <a:lnTo>
                    <a:pt x="330" y="139"/>
                  </a:lnTo>
                  <a:lnTo>
                    <a:pt x="322" y="136"/>
                  </a:lnTo>
                  <a:lnTo>
                    <a:pt x="317" y="134"/>
                  </a:lnTo>
                  <a:lnTo>
                    <a:pt x="317" y="131"/>
                  </a:lnTo>
                  <a:lnTo>
                    <a:pt x="317" y="126"/>
                  </a:lnTo>
                  <a:lnTo>
                    <a:pt x="314" y="120"/>
                  </a:lnTo>
                  <a:lnTo>
                    <a:pt x="312" y="118"/>
                  </a:lnTo>
                  <a:lnTo>
                    <a:pt x="309" y="115"/>
                  </a:lnTo>
                  <a:lnTo>
                    <a:pt x="304" y="118"/>
                  </a:lnTo>
                  <a:lnTo>
                    <a:pt x="304" y="118"/>
                  </a:lnTo>
                  <a:lnTo>
                    <a:pt x="301" y="118"/>
                  </a:lnTo>
                  <a:lnTo>
                    <a:pt x="293" y="112"/>
                  </a:lnTo>
                  <a:lnTo>
                    <a:pt x="293" y="112"/>
                  </a:lnTo>
                  <a:lnTo>
                    <a:pt x="296" y="109"/>
                  </a:lnTo>
                  <a:lnTo>
                    <a:pt x="296" y="109"/>
                  </a:lnTo>
                  <a:lnTo>
                    <a:pt x="296" y="112"/>
                  </a:lnTo>
                  <a:lnTo>
                    <a:pt x="296" y="104"/>
                  </a:lnTo>
                  <a:lnTo>
                    <a:pt x="296" y="104"/>
                  </a:lnTo>
                  <a:lnTo>
                    <a:pt x="298" y="104"/>
                  </a:lnTo>
                  <a:lnTo>
                    <a:pt x="298" y="104"/>
                  </a:lnTo>
                  <a:lnTo>
                    <a:pt x="301" y="109"/>
                  </a:lnTo>
                  <a:lnTo>
                    <a:pt x="301" y="109"/>
                  </a:lnTo>
                  <a:lnTo>
                    <a:pt x="301" y="109"/>
                  </a:lnTo>
                  <a:lnTo>
                    <a:pt x="298" y="109"/>
                  </a:lnTo>
                  <a:lnTo>
                    <a:pt x="301" y="109"/>
                  </a:lnTo>
                  <a:lnTo>
                    <a:pt x="301" y="109"/>
                  </a:lnTo>
                  <a:lnTo>
                    <a:pt x="304" y="109"/>
                  </a:lnTo>
                  <a:lnTo>
                    <a:pt x="304" y="109"/>
                  </a:lnTo>
                  <a:lnTo>
                    <a:pt x="304" y="107"/>
                  </a:lnTo>
                  <a:lnTo>
                    <a:pt x="304" y="107"/>
                  </a:lnTo>
                  <a:lnTo>
                    <a:pt x="304" y="107"/>
                  </a:lnTo>
                  <a:lnTo>
                    <a:pt x="298" y="104"/>
                  </a:lnTo>
                  <a:lnTo>
                    <a:pt x="298" y="101"/>
                  </a:lnTo>
                  <a:lnTo>
                    <a:pt x="298" y="99"/>
                  </a:lnTo>
                  <a:lnTo>
                    <a:pt x="293" y="99"/>
                  </a:lnTo>
                  <a:lnTo>
                    <a:pt x="290" y="93"/>
                  </a:lnTo>
                  <a:lnTo>
                    <a:pt x="288" y="91"/>
                  </a:lnTo>
                  <a:lnTo>
                    <a:pt x="285" y="91"/>
                  </a:lnTo>
                  <a:lnTo>
                    <a:pt x="285" y="91"/>
                  </a:lnTo>
                  <a:lnTo>
                    <a:pt x="285" y="91"/>
                  </a:lnTo>
                  <a:lnTo>
                    <a:pt x="285" y="85"/>
                  </a:lnTo>
                  <a:lnTo>
                    <a:pt x="285" y="85"/>
                  </a:lnTo>
                  <a:lnTo>
                    <a:pt x="280" y="83"/>
                  </a:lnTo>
                  <a:lnTo>
                    <a:pt x="277" y="83"/>
                  </a:lnTo>
                  <a:lnTo>
                    <a:pt x="274" y="80"/>
                  </a:lnTo>
                  <a:lnTo>
                    <a:pt x="269" y="80"/>
                  </a:lnTo>
                  <a:lnTo>
                    <a:pt x="266" y="80"/>
                  </a:lnTo>
                  <a:lnTo>
                    <a:pt x="261" y="77"/>
                  </a:lnTo>
                  <a:lnTo>
                    <a:pt x="261" y="77"/>
                  </a:lnTo>
                  <a:lnTo>
                    <a:pt x="264" y="80"/>
                  </a:lnTo>
                  <a:lnTo>
                    <a:pt x="264" y="80"/>
                  </a:lnTo>
                  <a:lnTo>
                    <a:pt x="266" y="83"/>
                  </a:lnTo>
                  <a:lnTo>
                    <a:pt x="266" y="83"/>
                  </a:lnTo>
                  <a:lnTo>
                    <a:pt x="266" y="85"/>
                  </a:lnTo>
                  <a:lnTo>
                    <a:pt x="266" y="85"/>
                  </a:lnTo>
                  <a:lnTo>
                    <a:pt x="264" y="83"/>
                  </a:lnTo>
                  <a:lnTo>
                    <a:pt x="264" y="85"/>
                  </a:lnTo>
                  <a:lnTo>
                    <a:pt x="261" y="85"/>
                  </a:lnTo>
                  <a:lnTo>
                    <a:pt x="261" y="88"/>
                  </a:lnTo>
                  <a:lnTo>
                    <a:pt x="258" y="88"/>
                  </a:lnTo>
                  <a:lnTo>
                    <a:pt x="258" y="88"/>
                  </a:lnTo>
                  <a:lnTo>
                    <a:pt x="258" y="88"/>
                  </a:lnTo>
                  <a:lnTo>
                    <a:pt x="258" y="88"/>
                  </a:lnTo>
                  <a:lnTo>
                    <a:pt x="258" y="88"/>
                  </a:lnTo>
                  <a:lnTo>
                    <a:pt x="256" y="88"/>
                  </a:lnTo>
                  <a:lnTo>
                    <a:pt x="258" y="85"/>
                  </a:lnTo>
                  <a:lnTo>
                    <a:pt x="258" y="85"/>
                  </a:lnTo>
                  <a:lnTo>
                    <a:pt x="256" y="83"/>
                  </a:lnTo>
                  <a:lnTo>
                    <a:pt x="253" y="83"/>
                  </a:lnTo>
                  <a:lnTo>
                    <a:pt x="253" y="83"/>
                  </a:lnTo>
                  <a:lnTo>
                    <a:pt x="253" y="80"/>
                  </a:lnTo>
                  <a:lnTo>
                    <a:pt x="250" y="83"/>
                  </a:lnTo>
                  <a:lnTo>
                    <a:pt x="250" y="83"/>
                  </a:lnTo>
                  <a:lnTo>
                    <a:pt x="248" y="83"/>
                  </a:lnTo>
                  <a:lnTo>
                    <a:pt x="245" y="80"/>
                  </a:lnTo>
                  <a:lnTo>
                    <a:pt x="245" y="77"/>
                  </a:lnTo>
                  <a:lnTo>
                    <a:pt x="248" y="77"/>
                  </a:lnTo>
                  <a:lnTo>
                    <a:pt x="248" y="77"/>
                  </a:lnTo>
                  <a:lnTo>
                    <a:pt x="248" y="75"/>
                  </a:lnTo>
                  <a:lnTo>
                    <a:pt x="248" y="75"/>
                  </a:lnTo>
                  <a:lnTo>
                    <a:pt x="245" y="75"/>
                  </a:lnTo>
                  <a:lnTo>
                    <a:pt x="245" y="75"/>
                  </a:lnTo>
                  <a:lnTo>
                    <a:pt x="245" y="72"/>
                  </a:lnTo>
                  <a:lnTo>
                    <a:pt x="248" y="72"/>
                  </a:lnTo>
                  <a:lnTo>
                    <a:pt x="250" y="75"/>
                  </a:lnTo>
                  <a:lnTo>
                    <a:pt x="250" y="72"/>
                  </a:lnTo>
                  <a:lnTo>
                    <a:pt x="250" y="72"/>
                  </a:lnTo>
                  <a:lnTo>
                    <a:pt x="248" y="72"/>
                  </a:lnTo>
                  <a:lnTo>
                    <a:pt x="248" y="72"/>
                  </a:lnTo>
                  <a:lnTo>
                    <a:pt x="250" y="72"/>
                  </a:lnTo>
                  <a:lnTo>
                    <a:pt x="250" y="72"/>
                  </a:lnTo>
                  <a:lnTo>
                    <a:pt x="253" y="72"/>
                  </a:lnTo>
                  <a:lnTo>
                    <a:pt x="256" y="72"/>
                  </a:lnTo>
                  <a:lnTo>
                    <a:pt x="253" y="72"/>
                  </a:lnTo>
                  <a:lnTo>
                    <a:pt x="253" y="69"/>
                  </a:lnTo>
                  <a:lnTo>
                    <a:pt x="250" y="67"/>
                  </a:lnTo>
                  <a:lnTo>
                    <a:pt x="250" y="64"/>
                  </a:lnTo>
                  <a:lnTo>
                    <a:pt x="250" y="64"/>
                  </a:lnTo>
                  <a:lnTo>
                    <a:pt x="250" y="61"/>
                  </a:lnTo>
                  <a:lnTo>
                    <a:pt x="253" y="61"/>
                  </a:lnTo>
                  <a:lnTo>
                    <a:pt x="256" y="64"/>
                  </a:lnTo>
                  <a:lnTo>
                    <a:pt x="258" y="61"/>
                  </a:lnTo>
                  <a:lnTo>
                    <a:pt x="256" y="61"/>
                  </a:lnTo>
                  <a:lnTo>
                    <a:pt x="256" y="61"/>
                  </a:lnTo>
                  <a:lnTo>
                    <a:pt x="253" y="59"/>
                  </a:lnTo>
                  <a:lnTo>
                    <a:pt x="253" y="59"/>
                  </a:lnTo>
                  <a:lnTo>
                    <a:pt x="256" y="56"/>
                  </a:lnTo>
                  <a:lnTo>
                    <a:pt x="256" y="56"/>
                  </a:lnTo>
                  <a:lnTo>
                    <a:pt x="256" y="56"/>
                  </a:lnTo>
                  <a:lnTo>
                    <a:pt x="258" y="56"/>
                  </a:lnTo>
                  <a:lnTo>
                    <a:pt x="258" y="53"/>
                  </a:lnTo>
                  <a:lnTo>
                    <a:pt x="258" y="53"/>
                  </a:lnTo>
                  <a:lnTo>
                    <a:pt x="261" y="51"/>
                  </a:lnTo>
                  <a:lnTo>
                    <a:pt x="261" y="51"/>
                  </a:lnTo>
                  <a:lnTo>
                    <a:pt x="261" y="51"/>
                  </a:lnTo>
                  <a:lnTo>
                    <a:pt x="261" y="51"/>
                  </a:lnTo>
                  <a:lnTo>
                    <a:pt x="258" y="48"/>
                  </a:lnTo>
                  <a:lnTo>
                    <a:pt x="258" y="48"/>
                  </a:lnTo>
                  <a:lnTo>
                    <a:pt x="258" y="48"/>
                  </a:lnTo>
                  <a:lnTo>
                    <a:pt x="256" y="51"/>
                  </a:lnTo>
                  <a:lnTo>
                    <a:pt x="256" y="51"/>
                  </a:lnTo>
                  <a:lnTo>
                    <a:pt x="256" y="51"/>
                  </a:lnTo>
                  <a:lnTo>
                    <a:pt x="256" y="48"/>
                  </a:lnTo>
                  <a:lnTo>
                    <a:pt x="256" y="48"/>
                  </a:lnTo>
                  <a:lnTo>
                    <a:pt x="256" y="48"/>
                  </a:lnTo>
                  <a:lnTo>
                    <a:pt x="256" y="45"/>
                  </a:lnTo>
                  <a:lnTo>
                    <a:pt x="258" y="45"/>
                  </a:lnTo>
                  <a:lnTo>
                    <a:pt x="261" y="40"/>
                  </a:lnTo>
                  <a:lnTo>
                    <a:pt x="272" y="35"/>
                  </a:lnTo>
                  <a:lnTo>
                    <a:pt x="274" y="35"/>
                  </a:lnTo>
                  <a:lnTo>
                    <a:pt x="274" y="32"/>
                  </a:lnTo>
                  <a:lnTo>
                    <a:pt x="274" y="32"/>
                  </a:lnTo>
                  <a:lnTo>
                    <a:pt x="274" y="29"/>
                  </a:lnTo>
                  <a:lnTo>
                    <a:pt x="277" y="29"/>
                  </a:lnTo>
                  <a:lnTo>
                    <a:pt x="277" y="32"/>
                  </a:lnTo>
                  <a:lnTo>
                    <a:pt x="277" y="32"/>
                  </a:lnTo>
                  <a:lnTo>
                    <a:pt x="280" y="32"/>
                  </a:lnTo>
                  <a:lnTo>
                    <a:pt x="280" y="29"/>
                  </a:lnTo>
                  <a:lnTo>
                    <a:pt x="280" y="29"/>
                  </a:lnTo>
                  <a:lnTo>
                    <a:pt x="280" y="29"/>
                  </a:lnTo>
                  <a:lnTo>
                    <a:pt x="280" y="27"/>
                  </a:lnTo>
                  <a:lnTo>
                    <a:pt x="282" y="27"/>
                  </a:lnTo>
                  <a:lnTo>
                    <a:pt x="282" y="27"/>
                  </a:lnTo>
                  <a:lnTo>
                    <a:pt x="282" y="24"/>
                  </a:lnTo>
                  <a:lnTo>
                    <a:pt x="282" y="24"/>
                  </a:lnTo>
                  <a:lnTo>
                    <a:pt x="282" y="21"/>
                  </a:lnTo>
                  <a:lnTo>
                    <a:pt x="282" y="21"/>
                  </a:lnTo>
                  <a:lnTo>
                    <a:pt x="280" y="21"/>
                  </a:lnTo>
                  <a:lnTo>
                    <a:pt x="280" y="21"/>
                  </a:lnTo>
                  <a:lnTo>
                    <a:pt x="277" y="21"/>
                  </a:lnTo>
                  <a:lnTo>
                    <a:pt x="277" y="21"/>
                  </a:lnTo>
                  <a:lnTo>
                    <a:pt x="277" y="19"/>
                  </a:lnTo>
                  <a:lnTo>
                    <a:pt x="274" y="21"/>
                  </a:lnTo>
                  <a:lnTo>
                    <a:pt x="274" y="21"/>
                  </a:lnTo>
                  <a:lnTo>
                    <a:pt x="272" y="24"/>
                  </a:lnTo>
                  <a:lnTo>
                    <a:pt x="274" y="27"/>
                  </a:lnTo>
                  <a:lnTo>
                    <a:pt x="274" y="29"/>
                  </a:lnTo>
                  <a:lnTo>
                    <a:pt x="272" y="27"/>
                  </a:lnTo>
                  <a:lnTo>
                    <a:pt x="272" y="27"/>
                  </a:lnTo>
                  <a:lnTo>
                    <a:pt x="266" y="27"/>
                  </a:lnTo>
                  <a:lnTo>
                    <a:pt x="264" y="24"/>
                  </a:lnTo>
                  <a:lnTo>
                    <a:pt x="264" y="24"/>
                  </a:lnTo>
                  <a:lnTo>
                    <a:pt x="264" y="24"/>
                  </a:lnTo>
                  <a:lnTo>
                    <a:pt x="266" y="24"/>
                  </a:lnTo>
                  <a:lnTo>
                    <a:pt x="258" y="21"/>
                  </a:lnTo>
                  <a:lnTo>
                    <a:pt x="256" y="21"/>
                  </a:lnTo>
                  <a:lnTo>
                    <a:pt x="256" y="16"/>
                  </a:lnTo>
                  <a:lnTo>
                    <a:pt x="256" y="16"/>
                  </a:lnTo>
                  <a:lnTo>
                    <a:pt x="261" y="21"/>
                  </a:lnTo>
                  <a:lnTo>
                    <a:pt x="261" y="19"/>
                  </a:lnTo>
                  <a:lnTo>
                    <a:pt x="256" y="11"/>
                  </a:lnTo>
                  <a:lnTo>
                    <a:pt x="256" y="11"/>
                  </a:lnTo>
                  <a:lnTo>
                    <a:pt x="253" y="11"/>
                  </a:lnTo>
                  <a:lnTo>
                    <a:pt x="253" y="8"/>
                  </a:lnTo>
                  <a:lnTo>
                    <a:pt x="253" y="8"/>
                  </a:lnTo>
                  <a:lnTo>
                    <a:pt x="253" y="11"/>
                  </a:lnTo>
                  <a:lnTo>
                    <a:pt x="253" y="11"/>
                  </a:lnTo>
                  <a:lnTo>
                    <a:pt x="250" y="8"/>
                  </a:lnTo>
                  <a:lnTo>
                    <a:pt x="248" y="8"/>
                  </a:lnTo>
                  <a:lnTo>
                    <a:pt x="248" y="8"/>
                  </a:lnTo>
                  <a:lnTo>
                    <a:pt x="250" y="8"/>
                  </a:lnTo>
                  <a:lnTo>
                    <a:pt x="253" y="5"/>
                  </a:lnTo>
                  <a:lnTo>
                    <a:pt x="253" y="5"/>
                  </a:lnTo>
                  <a:lnTo>
                    <a:pt x="250" y="0"/>
                  </a:lnTo>
                  <a:lnTo>
                    <a:pt x="250" y="0"/>
                  </a:lnTo>
                  <a:lnTo>
                    <a:pt x="248" y="3"/>
                  </a:lnTo>
                  <a:lnTo>
                    <a:pt x="245" y="3"/>
                  </a:lnTo>
                  <a:lnTo>
                    <a:pt x="240" y="0"/>
                  </a:lnTo>
                  <a:lnTo>
                    <a:pt x="240" y="0"/>
                  </a:lnTo>
                  <a:lnTo>
                    <a:pt x="240" y="3"/>
                  </a:lnTo>
                  <a:lnTo>
                    <a:pt x="229" y="8"/>
                  </a:lnTo>
                  <a:lnTo>
                    <a:pt x="229" y="11"/>
                  </a:lnTo>
                  <a:lnTo>
                    <a:pt x="229" y="11"/>
                  </a:lnTo>
                  <a:lnTo>
                    <a:pt x="226" y="13"/>
                  </a:lnTo>
                  <a:lnTo>
                    <a:pt x="226" y="13"/>
                  </a:lnTo>
                  <a:lnTo>
                    <a:pt x="226" y="13"/>
                  </a:lnTo>
                  <a:lnTo>
                    <a:pt x="224" y="16"/>
                  </a:lnTo>
                  <a:lnTo>
                    <a:pt x="224" y="16"/>
                  </a:lnTo>
                  <a:lnTo>
                    <a:pt x="224" y="16"/>
                  </a:lnTo>
                  <a:lnTo>
                    <a:pt x="221" y="16"/>
                  </a:lnTo>
                  <a:lnTo>
                    <a:pt x="221" y="16"/>
                  </a:lnTo>
                  <a:lnTo>
                    <a:pt x="218" y="16"/>
                  </a:lnTo>
                  <a:lnTo>
                    <a:pt x="218" y="16"/>
                  </a:lnTo>
                  <a:lnTo>
                    <a:pt x="218" y="19"/>
                  </a:lnTo>
                  <a:lnTo>
                    <a:pt x="218" y="19"/>
                  </a:lnTo>
                  <a:lnTo>
                    <a:pt x="218" y="19"/>
                  </a:lnTo>
                  <a:lnTo>
                    <a:pt x="216" y="21"/>
                  </a:lnTo>
                  <a:lnTo>
                    <a:pt x="216" y="24"/>
                  </a:lnTo>
                  <a:lnTo>
                    <a:pt x="216" y="24"/>
                  </a:lnTo>
                  <a:lnTo>
                    <a:pt x="216" y="27"/>
                  </a:lnTo>
                  <a:lnTo>
                    <a:pt x="216" y="27"/>
                  </a:lnTo>
                  <a:lnTo>
                    <a:pt x="213" y="29"/>
                  </a:lnTo>
                  <a:lnTo>
                    <a:pt x="213" y="29"/>
                  </a:lnTo>
                  <a:lnTo>
                    <a:pt x="210" y="29"/>
                  </a:lnTo>
                  <a:lnTo>
                    <a:pt x="210" y="32"/>
                  </a:lnTo>
                  <a:lnTo>
                    <a:pt x="210" y="35"/>
                  </a:lnTo>
                  <a:lnTo>
                    <a:pt x="208" y="35"/>
                  </a:lnTo>
                  <a:lnTo>
                    <a:pt x="208" y="37"/>
                  </a:lnTo>
                  <a:lnTo>
                    <a:pt x="205" y="37"/>
                  </a:lnTo>
                  <a:lnTo>
                    <a:pt x="205" y="37"/>
                  </a:lnTo>
                  <a:lnTo>
                    <a:pt x="197" y="40"/>
                  </a:lnTo>
                  <a:lnTo>
                    <a:pt x="189" y="40"/>
                  </a:lnTo>
                  <a:lnTo>
                    <a:pt x="181" y="43"/>
                  </a:lnTo>
                  <a:lnTo>
                    <a:pt x="176" y="43"/>
                  </a:lnTo>
                  <a:lnTo>
                    <a:pt x="168" y="45"/>
                  </a:lnTo>
                  <a:lnTo>
                    <a:pt x="160" y="48"/>
                  </a:lnTo>
                  <a:lnTo>
                    <a:pt x="152" y="48"/>
                  </a:lnTo>
                  <a:lnTo>
                    <a:pt x="146" y="51"/>
                  </a:lnTo>
                  <a:lnTo>
                    <a:pt x="138" y="53"/>
                  </a:lnTo>
                  <a:lnTo>
                    <a:pt x="122" y="56"/>
                  </a:lnTo>
                  <a:lnTo>
                    <a:pt x="117" y="56"/>
                  </a:lnTo>
                  <a:lnTo>
                    <a:pt x="109" y="59"/>
                  </a:lnTo>
                  <a:lnTo>
                    <a:pt x="101" y="61"/>
                  </a:lnTo>
                  <a:lnTo>
                    <a:pt x="93" y="61"/>
                  </a:lnTo>
                  <a:lnTo>
                    <a:pt x="88" y="64"/>
                  </a:lnTo>
                  <a:lnTo>
                    <a:pt x="88" y="64"/>
                  </a:lnTo>
                  <a:lnTo>
                    <a:pt x="88" y="64"/>
                  </a:lnTo>
                  <a:lnTo>
                    <a:pt x="88" y="64"/>
                  </a:lnTo>
                  <a:lnTo>
                    <a:pt x="88" y="64"/>
                  </a:lnTo>
                  <a:lnTo>
                    <a:pt x="88" y="64"/>
                  </a:lnTo>
                  <a:lnTo>
                    <a:pt x="88" y="64"/>
                  </a:lnTo>
                  <a:lnTo>
                    <a:pt x="88" y="64"/>
                  </a:lnTo>
                  <a:lnTo>
                    <a:pt x="88" y="64"/>
                  </a:lnTo>
                  <a:lnTo>
                    <a:pt x="88" y="64"/>
                  </a:lnTo>
                  <a:lnTo>
                    <a:pt x="88" y="64"/>
                  </a:lnTo>
                  <a:lnTo>
                    <a:pt x="88" y="64"/>
                  </a:lnTo>
                  <a:lnTo>
                    <a:pt x="88" y="64"/>
                  </a:lnTo>
                  <a:lnTo>
                    <a:pt x="88" y="64"/>
                  </a:lnTo>
                  <a:lnTo>
                    <a:pt x="82" y="64"/>
                  </a:lnTo>
                  <a:lnTo>
                    <a:pt x="77" y="67"/>
                  </a:lnTo>
                  <a:lnTo>
                    <a:pt x="72" y="67"/>
                  </a:lnTo>
                  <a:lnTo>
                    <a:pt x="66" y="69"/>
                  </a:lnTo>
                  <a:lnTo>
                    <a:pt x="61" y="69"/>
                  </a:lnTo>
                  <a:lnTo>
                    <a:pt x="56" y="69"/>
                  </a:lnTo>
                  <a:lnTo>
                    <a:pt x="50" y="72"/>
                  </a:lnTo>
                  <a:lnTo>
                    <a:pt x="45" y="72"/>
                  </a:lnTo>
                  <a:lnTo>
                    <a:pt x="40" y="72"/>
                  </a:lnTo>
                  <a:lnTo>
                    <a:pt x="34" y="75"/>
                  </a:lnTo>
                  <a:lnTo>
                    <a:pt x="32" y="75"/>
                  </a:lnTo>
                  <a:lnTo>
                    <a:pt x="26" y="77"/>
                  </a:lnTo>
                  <a:lnTo>
                    <a:pt x="21" y="77"/>
                  </a:lnTo>
                  <a:lnTo>
                    <a:pt x="5" y="80"/>
                  </a:lnTo>
                  <a:lnTo>
                    <a:pt x="5" y="83"/>
                  </a:lnTo>
                  <a:lnTo>
                    <a:pt x="5" y="88"/>
                  </a:lnTo>
                  <a:lnTo>
                    <a:pt x="2" y="96"/>
                  </a:lnTo>
                  <a:lnTo>
                    <a:pt x="2" y="107"/>
                  </a:lnTo>
                  <a:lnTo>
                    <a:pt x="2" y="118"/>
                  </a:lnTo>
                  <a:lnTo>
                    <a:pt x="2" y="128"/>
                  </a:lnTo>
                  <a:lnTo>
                    <a:pt x="2" y="139"/>
                  </a:lnTo>
                  <a:lnTo>
                    <a:pt x="2" y="160"/>
                  </a:lnTo>
                  <a:lnTo>
                    <a:pt x="2" y="171"/>
                  </a:lnTo>
                  <a:lnTo>
                    <a:pt x="0" y="174"/>
                  </a:lnTo>
                  <a:lnTo>
                    <a:pt x="0" y="176"/>
                  </a:lnTo>
                  <a:lnTo>
                    <a:pt x="5" y="179"/>
                  </a:lnTo>
                  <a:lnTo>
                    <a:pt x="18" y="176"/>
                  </a:lnTo>
                  <a:lnTo>
                    <a:pt x="29" y="174"/>
                  </a:lnTo>
                  <a:lnTo>
                    <a:pt x="42" y="171"/>
                  </a:lnTo>
                  <a:lnTo>
                    <a:pt x="56" y="168"/>
                  </a:lnTo>
                  <a:lnTo>
                    <a:pt x="64" y="168"/>
                  </a:lnTo>
                  <a:lnTo>
                    <a:pt x="69" y="166"/>
                  </a:lnTo>
                  <a:lnTo>
                    <a:pt x="74" y="166"/>
                  </a:lnTo>
                  <a:lnTo>
                    <a:pt x="77" y="168"/>
                  </a:lnTo>
                  <a:lnTo>
                    <a:pt x="80" y="168"/>
                  </a:lnTo>
                  <a:lnTo>
                    <a:pt x="80" y="166"/>
                  </a:lnTo>
                  <a:lnTo>
                    <a:pt x="93" y="160"/>
                  </a:lnTo>
                  <a:lnTo>
                    <a:pt x="96" y="160"/>
                  </a:lnTo>
                  <a:lnTo>
                    <a:pt x="98" y="160"/>
                  </a:lnTo>
                  <a:lnTo>
                    <a:pt x="98" y="160"/>
                  </a:lnTo>
                  <a:lnTo>
                    <a:pt x="101" y="160"/>
                  </a:lnTo>
                  <a:lnTo>
                    <a:pt x="106" y="158"/>
                  </a:lnTo>
                  <a:lnTo>
                    <a:pt x="122" y="155"/>
                  </a:lnTo>
                  <a:lnTo>
                    <a:pt x="136" y="150"/>
                  </a:lnTo>
                  <a:lnTo>
                    <a:pt x="152" y="147"/>
                  </a:lnTo>
                  <a:lnTo>
                    <a:pt x="168" y="144"/>
                  </a:lnTo>
                  <a:lnTo>
                    <a:pt x="178" y="142"/>
                  </a:lnTo>
                  <a:lnTo>
                    <a:pt x="178" y="142"/>
                  </a:lnTo>
                  <a:lnTo>
                    <a:pt x="189" y="139"/>
                  </a:lnTo>
                  <a:lnTo>
                    <a:pt x="197" y="136"/>
                  </a:lnTo>
                  <a:lnTo>
                    <a:pt x="208" y="134"/>
                  </a:lnTo>
                  <a:lnTo>
                    <a:pt x="216" y="131"/>
                  </a:lnTo>
                  <a:lnTo>
                    <a:pt x="221" y="131"/>
                  </a:lnTo>
                  <a:lnTo>
                    <a:pt x="224" y="131"/>
                  </a:lnTo>
                  <a:lnTo>
                    <a:pt x="224" y="136"/>
                  </a:lnTo>
                  <a:lnTo>
                    <a:pt x="226" y="144"/>
                  </a:lnTo>
                  <a:lnTo>
                    <a:pt x="226" y="144"/>
                  </a:lnTo>
                  <a:lnTo>
                    <a:pt x="226" y="147"/>
                  </a:lnTo>
                  <a:lnTo>
                    <a:pt x="229" y="147"/>
                  </a:lnTo>
                  <a:lnTo>
                    <a:pt x="229" y="144"/>
                  </a:lnTo>
                  <a:lnTo>
                    <a:pt x="232" y="144"/>
                  </a:lnTo>
                  <a:lnTo>
                    <a:pt x="232" y="147"/>
                  </a:lnTo>
                  <a:lnTo>
                    <a:pt x="232" y="147"/>
                  </a:lnTo>
                  <a:lnTo>
                    <a:pt x="232" y="147"/>
                  </a:lnTo>
                  <a:lnTo>
                    <a:pt x="232" y="150"/>
                  </a:lnTo>
                  <a:lnTo>
                    <a:pt x="232" y="150"/>
                  </a:lnTo>
                  <a:lnTo>
                    <a:pt x="232" y="150"/>
                  </a:lnTo>
                  <a:lnTo>
                    <a:pt x="234" y="152"/>
                  </a:lnTo>
                  <a:lnTo>
                    <a:pt x="234" y="158"/>
                  </a:lnTo>
                  <a:lnTo>
                    <a:pt x="234" y="158"/>
                  </a:lnTo>
                  <a:lnTo>
                    <a:pt x="234" y="158"/>
                  </a:lnTo>
                  <a:lnTo>
                    <a:pt x="234" y="160"/>
                  </a:lnTo>
                  <a:lnTo>
                    <a:pt x="237" y="160"/>
                  </a:lnTo>
                  <a:lnTo>
                    <a:pt x="240" y="160"/>
                  </a:lnTo>
                  <a:lnTo>
                    <a:pt x="240" y="160"/>
                  </a:lnTo>
                  <a:lnTo>
                    <a:pt x="242" y="160"/>
                  </a:lnTo>
                  <a:lnTo>
                    <a:pt x="245" y="163"/>
                  </a:lnTo>
                  <a:lnTo>
                    <a:pt x="248" y="168"/>
                  </a:lnTo>
                  <a:lnTo>
                    <a:pt x="248" y="166"/>
                  </a:lnTo>
                  <a:lnTo>
                    <a:pt x="248" y="166"/>
                  </a:lnTo>
                  <a:lnTo>
                    <a:pt x="250" y="163"/>
                  </a:lnTo>
                  <a:lnTo>
                    <a:pt x="250" y="163"/>
                  </a:lnTo>
                  <a:lnTo>
                    <a:pt x="253" y="163"/>
                  </a:lnTo>
                  <a:lnTo>
                    <a:pt x="253" y="163"/>
                  </a:lnTo>
                  <a:lnTo>
                    <a:pt x="256" y="163"/>
                  </a:lnTo>
                  <a:lnTo>
                    <a:pt x="256" y="155"/>
                  </a:lnTo>
                  <a:lnTo>
                    <a:pt x="256" y="152"/>
                  </a:lnTo>
                  <a:lnTo>
                    <a:pt x="258" y="152"/>
                  </a:lnTo>
                  <a:lnTo>
                    <a:pt x="258" y="158"/>
                  </a:lnTo>
                  <a:lnTo>
                    <a:pt x="253" y="168"/>
                  </a:lnTo>
                  <a:lnTo>
                    <a:pt x="253" y="174"/>
                  </a:lnTo>
                  <a:lnTo>
                    <a:pt x="253" y="176"/>
                  </a:lnTo>
                  <a:lnTo>
                    <a:pt x="256" y="182"/>
                  </a:lnTo>
                  <a:lnTo>
                    <a:pt x="256" y="187"/>
                  </a:lnTo>
                  <a:lnTo>
                    <a:pt x="258" y="192"/>
                  </a:lnTo>
                  <a:lnTo>
                    <a:pt x="258" y="192"/>
                  </a:lnTo>
                  <a:lnTo>
                    <a:pt x="258" y="195"/>
                  </a:lnTo>
                  <a:lnTo>
                    <a:pt x="261" y="195"/>
                  </a:lnTo>
                  <a:lnTo>
                    <a:pt x="261" y="198"/>
                  </a:lnTo>
                  <a:lnTo>
                    <a:pt x="266" y="190"/>
                  </a:lnTo>
                  <a:lnTo>
                    <a:pt x="269" y="187"/>
                  </a:lnTo>
                  <a:lnTo>
                    <a:pt x="269" y="187"/>
                  </a:lnTo>
                  <a:lnTo>
                    <a:pt x="266" y="187"/>
                  </a:lnTo>
                  <a:lnTo>
                    <a:pt x="272" y="184"/>
                  </a:lnTo>
                  <a:lnTo>
                    <a:pt x="272" y="184"/>
                  </a:lnTo>
                  <a:lnTo>
                    <a:pt x="272" y="182"/>
                  </a:lnTo>
                  <a:lnTo>
                    <a:pt x="274" y="182"/>
                  </a:lnTo>
                  <a:lnTo>
                    <a:pt x="274" y="184"/>
                  </a:lnTo>
                  <a:lnTo>
                    <a:pt x="274" y="187"/>
                  </a:lnTo>
                  <a:lnTo>
                    <a:pt x="272" y="187"/>
                  </a:lnTo>
                  <a:lnTo>
                    <a:pt x="277" y="190"/>
                  </a:lnTo>
                  <a:lnTo>
                    <a:pt x="280" y="187"/>
                  </a:lnTo>
                  <a:lnTo>
                    <a:pt x="282" y="182"/>
                  </a:lnTo>
                  <a:lnTo>
                    <a:pt x="282" y="184"/>
                  </a:lnTo>
                  <a:lnTo>
                    <a:pt x="282" y="184"/>
                  </a:lnTo>
                  <a:lnTo>
                    <a:pt x="282" y="184"/>
                  </a:lnTo>
                  <a:lnTo>
                    <a:pt x="285" y="182"/>
                  </a:lnTo>
                  <a:lnTo>
                    <a:pt x="285" y="179"/>
                  </a:lnTo>
                  <a:lnTo>
                    <a:pt x="285" y="176"/>
                  </a:lnTo>
                  <a:lnTo>
                    <a:pt x="285" y="174"/>
                  </a:lnTo>
                  <a:lnTo>
                    <a:pt x="285" y="171"/>
                  </a:lnTo>
                  <a:lnTo>
                    <a:pt x="285" y="168"/>
                  </a:lnTo>
                  <a:lnTo>
                    <a:pt x="288" y="168"/>
                  </a:lnTo>
                  <a:lnTo>
                    <a:pt x="288" y="168"/>
                  </a:lnTo>
                  <a:lnTo>
                    <a:pt x="290" y="168"/>
                  </a:lnTo>
                  <a:lnTo>
                    <a:pt x="290" y="171"/>
                  </a:lnTo>
                  <a:lnTo>
                    <a:pt x="293" y="171"/>
                  </a:lnTo>
                  <a:lnTo>
                    <a:pt x="293" y="171"/>
                  </a:lnTo>
                  <a:lnTo>
                    <a:pt x="293" y="171"/>
                  </a:lnTo>
                  <a:lnTo>
                    <a:pt x="290" y="168"/>
                  </a:lnTo>
                  <a:lnTo>
                    <a:pt x="293" y="166"/>
                  </a:lnTo>
                  <a:lnTo>
                    <a:pt x="293" y="166"/>
                  </a:lnTo>
                  <a:lnTo>
                    <a:pt x="296" y="163"/>
                  </a:lnTo>
                  <a:lnTo>
                    <a:pt x="296" y="163"/>
                  </a:lnTo>
                  <a:lnTo>
                    <a:pt x="296" y="163"/>
                  </a:lnTo>
                  <a:lnTo>
                    <a:pt x="296" y="163"/>
                  </a:lnTo>
                  <a:lnTo>
                    <a:pt x="296" y="160"/>
                  </a:lnTo>
                  <a:lnTo>
                    <a:pt x="298" y="163"/>
                  </a:lnTo>
                  <a:lnTo>
                    <a:pt x="301" y="160"/>
                  </a:lnTo>
                  <a:lnTo>
                    <a:pt x="301" y="158"/>
                  </a:lnTo>
                  <a:lnTo>
                    <a:pt x="301" y="155"/>
                  </a:lnTo>
                  <a:lnTo>
                    <a:pt x="304" y="155"/>
                  </a:lnTo>
                  <a:lnTo>
                    <a:pt x="301" y="155"/>
                  </a:lnTo>
                  <a:lnTo>
                    <a:pt x="301" y="152"/>
                  </a:lnTo>
                  <a:lnTo>
                    <a:pt x="301" y="147"/>
                  </a:lnTo>
                  <a:lnTo>
                    <a:pt x="301" y="147"/>
                  </a:lnTo>
                  <a:lnTo>
                    <a:pt x="304" y="147"/>
                  </a:lnTo>
                  <a:lnTo>
                    <a:pt x="309" y="150"/>
                  </a:lnTo>
                  <a:lnTo>
                    <a:pt x="309" y="150"/>
                  </a:lnTo>
                  <a:lnTo>
                    <a:pt x="309" y="147"/>
                  </a:lnTo>
                  <a:lnTo>
                    <a:pt x="309" y="147"/>
                  </a:lnTo>
                  <a:lnTo>
                    <a:pt x="309" y="147"/>
                  </a:lnTo>
                  <a:lnTo>
                    <a:pt x="312" y="147"/>
                  </a:lnTo>
                  <a:lnTo>
                    <a:pt x="312" y="147"/>
                  </a:lnTo>
                  <a:lnTo>
                    <a:pt x="309" y="150"/>
                  </a:lnTo>
                  <a:lnTo>
                    <a:pt x="312" y="150"/>
                  </a:lnTo>
                  <a:lnTo>
                    <a:pt x="312" y="152"/>
                  </a:lnTo>
                  <a:lnTo>
                    <a:pt x="309" y="152"/>
                  </a:lnTo>
                  <a:lnTo>
                    <a:pt x="309" y="155"/>
                  </a:lnTo>
                  <a:lnTo>
                    <a:pt x="309" y="155"/>
                  </a:lnTo>
                  <a:lnTo>
                    <a:pt x="312" y="158"/>
                  </a:lnTo>
                  <a:lnTo>
                    <a:pt x="314" y="168"/>
                  </a:lnTo>
                  <a:lnTo>
                    <a:pt x="314" y="174"/>
                  </a:lnTo>
                  <a:lnTo>
                    <a:pt x="312" y="176"/>
                  </a:lnTo>
                  <a:lnTo>
                    <a:pt x="314" y="174"/>
                  </a:lnTo>
                  <a:lnTo>
                    <a:pt x="320" y="171"/>
                  </a:lnTo>
                  <a:lnTo>
                    <a:pt x="322" y="168"/>
                  </a:lnTo>
                  <a:lnTo>
                    <a:pt x="328" y="168"/>
                  </a:lnTo>
                  <a:lnTo>
                    <a:pt x="330" y="166"/>
                  </a:lnTo>
                  <a:lnTo>
                    <a:pt x="330" y="163"/>
                  </a:lnTo>
                  <a:lnTo>
                    <a:pt x="333" y="160"/>
                  </a:lnTo>
                  <a:lnTo>
                    <a:pt x="336" y="155"/>
                  </a:lnTo>
                  <a:lnTo>
                    <a:pt x="336" y="152"/>
                  </a:lnTo>
                  <a:lnTo>
                    <a:pt x="336" y="152"/>
                  </a:lnTo>
                  <a:lnTo>
                    <a:pt x="338" y="155"/>
                  </a:lnTo>
                  <a:lnTo>
                    <a:pt x="341" y="155"/>
                  </a:lnTo>
                  <a:lnTo>
                    <a:pt x="341" y="152"/>
                  </a:lnTo>
                  <a:lnTo>
                    <a:pt x="344" y="152"/>
                  </a:lnTo>
                  <a:lnTo>
                    <a:pt x="346" y="152"/>
                  </a:lnTo>
                  <a:lnTo>
                    <a:pt x="346" y="150"/>
                  </a:lnTo>
                  <a:lnTo>
                    <a:pt x="349" y="150"/>
                  </a:lnTo>
                  <a:lnTo>
                    <a:pt x="352" y="147"/>
                  </a:lnTo>
                  <a:lnTo>
                    <a:pt x="352" y="152"/>
                  </a:lnTo>
                  <a:lnTo>
                    <a:pt x="352" y="152"/>
                  </a:lnTo>
                  <a:lnTo>
                    <a:pt x="352" y="152"/>
                  </a:lnTo>
                  <a:lnTo>
                    <a:pt x="354" y="150"/>
                  </a:lnTo>
                  <a:lnTo>
                    <a:pt x="354" y="147"/>
                  </a:lnTo>
                  <a:lnTo>
                    <a:pt x="354" y="147"/>
                  </a:lnTo>
                  <a:lnTo>
                    <a:pt x="357" y="147"/>
                  </a:lnTo>
                  <a:lnTo>
                    <a:pt x="360" y="144"/>
                  </a:lnTo>
                  <a:lnTo>
                    <a:pt x="365" y="142"/>
                  </a:lnTo>
                  <a:lnTo>
                    <a:pt x="378" y="136"/>
                  </a:lnTo>
                  <a:lnTo>
                    <a:pt x="384" y="136"/>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40" name="Freeform 37">
              <a:extLst>
                <a:ext uri="{FF2B5EF4-FFF2-40B4-BE49-F238E27FC236}">
                  <a16:creationId xmlns="" xmlns:a16="http://schemas.microsoft.com/office/drawing/2014/main" id="{70245E28-C0D0-49E4-B830-6DCE46271407}"/>
                </a:ext>
              </a:extLst>
            </p:cNvPr>
            <p:cNvSpPr>
              <a:spLocks noEditPoints="1"/>
            </p:cNvSpPr>
            <p:nvPr/>
          </p:nvSpPr>
          <p:spPr bwMode="auto">
            <a:xfrm>
              <a:off x="4350" y="2447"/>
              <a:ext cx="659" cy="556"/>
            </a:xfrm>
            <a:custGeom>
              <a:avLst/>
              <a:gdLst>
                <a:gd name="T0" fmla="*/ 301 w 659"/>
                <a:gd name="T1" fmla="*/ 497 h 556"/>
                <a:gd name="T2" fmla="*/ 440 w 659"/>
                <a:gd name="T3" fmla="*/ 551 h 556"/>
                <a:gd name="T4" fmla="*/ 643 w 659"/>
                <a:gd name="T5" fmla="*/ 452 h 556"/>
                <a:gd name="T6" fmla="*/ 619 w 659"/>
                <a:gd name="T7" fmla="*/ 476 h 556"/>
                <a:gd name="T8" fmla="*/ 600 w 659"/>
                <a:gd name="T9" fmla="*/ 396 h 556"/>
                <a:gd name="T10" fmla="*/ 611 w 659"/>
                <a:gd name="T11" fmla="*/ 380 h 556"/>
                <a:gd name="T12" fmla="*/ 597 w 659"/>
                <a:gd name="T13" fmla="*/ 417 h 556"/>
                <a:gd name="T14" fmla="*/ 643 w 659"/>
                <a:gd name="T15" fmla="*/ 513 h 556"/>
                <a:gd name="T16" fmla="*/ 621 w 659"/>
                <a:gd name="T17" fmla="*/ 497 h 556"/>
                <a:gd name="T18" fmla="*/ 597 w 659"/>
                <a:gd name="T19" fmla="*/ 492 h 556"/>
                <a:gd name="T20" fmla="*/ 579 w 659"/>
                <a:gd name="T21" fmla="*/ 481 h 556"/>
                <a:gd name="T22" fmla="*/ 560 w 659"/>
                <a:gd name="T23" fmla="*/ 457 h 556"/>
                <a:gd name="T24" fmla="*/ 565 w 659"/>
                <a:gd name="T25" fmla="*/ 449 h 556"/>
                <a:gd name="T26" fmla="*/ 595 w 659"/>
                <a:gd name="T27" fmla="*/ 433 h 556"/>
                <a:gd name="T28" fmla="*/ 587 w 659"/>
                <a:gd name="T29" fmla="*/ 420 h 556"/>
                <a:gd name="T30" fmla="*/ 589 w 659"/>
                <a:gd name="T31" fmla="*/ 398 h 556"/>
                <a:gd name="T32" fmla="*/ 568 w 659"/>
                <a:gd name="T33" fmla="*/ 406 h 556"/>
                <a:gd name="T34" fmla="*/ 536 w 659"/>
                <a:gd name="T35" fmla="*/ 404 h 556"/>
                <a:gd name="T36" fmla="*/ 547 w 659"/>
                <a:gd name="T37" fmla="*/ 390 h 556"/>
                <a:gd name="T38" fmla="*/ 525 w 659"/>
                <a:gd name="T39" fmla="*/ 390 h 556"/>
                <a:gd name="T40" fmla="*/ 509 w 659"/>
                <a:gd name="T41" fmla="*/ 369 h 556"/>
                <a:gd name="T42" fmla="*/ 560 w 659"/>
                <a:gd name="T43" fmla="*/ 385 h 556"/>
                <a:gd name="T44" fmla="*/ 528 w 659"/>
                <a:gd name="T45" fmla="*/ 321 h 556"/>
                <a:gd name="T46" fmla="*/ 341 w 659"/>
                <a:gd name="T47" fmla="*/ 286 h 556"/>
                <a:gd name="T48" fmla="*/ 314 w 659"/>
                <a:gd name="T49" fmla="*/ 235 h 556"/>
                <a:gd name="T50" fmla="*/ 349 w 659"/>
                <a:gd name="T51" fmla="*/ 147 h 556"/>
                <a:gd name="T52" fmla="*/ 349 w 659"/>
                <a:gd name="T53" fmla="*/ 75 h 556"/>
                <a:gd name="T54" fmla="*/ 349 w 659"/>
                <a:gd name="T55" fmla="*/ 16 h 556"/>
                <a:gd name="T56" fmla="*/ 2 w 659"/>
                <a:gd name="T57" fmla="*/ 75 h 556"/>
                <a:gd name="T58" fmla="*/ 34 w 659"/>
                <a:gd name="T59" fmla="*/ 201 h 556"/>
                <a:gd name="T60" fmla="*/ 48 w 659"/>
                <a:gd name="T61" fmla="*/ 233 h 556"/>
                <a:gd name="T62" fmla="*/ 56 w 659"/>
                <a:gd name="T63" fmla="*/ 254 h 556"/>
                <a:gd name="T64" fmla="*/ 72 w 659"/>
                <a:gd name="T65" fmla="*/ 286 h 556"/>
                <a:gd name="T66" fmla="*/ 66 w 659"/>
                <a:gd name="T67" fmla="*/ 345 h 556"/>
                <a:gd name="T68" fmla="*/ 58 w 659"/>
                <a:gd name="T69" fmla="*/ 412 h 556"/>
                <a:gd name="T70" fmla="*/ 53 w 659"/>
                <a:gd name="T71" fmla="*/ 484 h 556"/>
                <a:gd name="T72" fmla="*/ 216 w 659"/>
                <a:gd name="T73" fmla="*/ 497 h 556"/>
                <a:gd name="T74" fmla="*/ 250 w 659"/>
                <a:gd name="T75" fmla="*/ 476 h 556"/>
                <a:gd name="T76" fmla="*/ 290 w 659"/>
                <a:gd name="T77" fmla="*/ 454 h 556"/>
                <a:gd name="T78" fmla="*/ 325 w 659"/>
                <a:gd name="T79" fmla="*/ 478 h 556"/>
                <a:gd name="T80" fmla="*/ 362 w 659"/>
                <a:gd name="T81" fmla="*/ 492 h 556"/>
                <a:gd name="T82" fmla="*/ 384 w 659"/>
                <a:gd name="T83" fmla="*/ 524 h 556"/>
                <a:gd name="T84" fmla="*/ 365 w 659"/>
                <a:gd name="T85" fmla="*/ 529 h 556"/>
                <a:gd name="T86" fmla="*/ 419 w 659"/>
                <a:gd name="T87" fmla="*/ 535 h 556"/>
                <a:gd name="T88" fmla="*/ 445 w 659"/>
                <a:gd name="T89" fmla="*/ 532 h 556"/>
                <a:gd name="T90" fmla="*/ 459 w 659"/>
                <a:gd name="T91" fmla="*/ 516 h 556"/>
                <a:gd name="T92" fmla="*/ 488 w 659"/>
                <a:gd name="T93" fmla="*/ 519 h 556"/>
                <a:gd name="T94" fmla="*/ 512 w 659"/>
                <a:gd name="T95" fmla="*/ 521 h 556"/>
                <a:gd name="T96" fmla="*/ 512 w 659"/>
                <a:gd name="T97" fmla="*/ 489 h 556"/>
                <a:gd name="T98" fmla="*/ 509 w 659"/>
                <a:gd name="T99" fmla="*/ 478 h 556"/>
                <a:gd name="T100" fmla="*/ 547 w 659"/>
                <a:gd name="T101" fmla="*/ 494 h 556"/>
                <a:gd name="T102" fmla="*/ 581 w 659"/>
                <a:gd name="T103" fmla="*/ 511 h 556"/>
                <a:gd name="T104" fmla="*/ 611 w 659"/>
                <a:gd name="T105" fmla="*/ 524 h 556"/>
                <a:gd name="T106" fmla="*/ 616 w 659"/>
                <a:gd name="T107" fmla="*/ 535 h 556"/>
                <a:gd name="T108" fmla="*/ 637 w 659"/>
                <a:gd name="T109" fmla="*/ 527 h 556"/>
                <a:gd name="T110" fmla="*/ 587 w 659"/>
                <a:gd name="T111" fmla="*/ 441 h 556"/>
                <a:gd name="T112" fmla="*/ 651 w 659"/>
                <a:gd name="T113" fmla="*/ 393 h 556"/>
                <a:gd name="T114" fmla="*/ 477 w 659"/>
                <a:gd name="T115" fmla="*/ 540 h 556"/>
                <a:gd name="T116" fmla="*/ 488 w 659"/>
                <a:gd name="T117" fmla="*/ 543 h 556"/>
                <a:gd name="T118" fmla="*/ 517 w 659"/>
                <a:gd name="T119" fmla="*/ 489 h 556"/>
                <a:gd name="T120" fmla="*/ 651 w 659"/>
                <a:gd name="T121" fmla="*/ 420 h 556"/>
                <a:gd name="T122" fmla="*/ 576 w 659"/>
                <a:gd name="T123" fmla="*/ 449 h 556"/>
                <a:gd name="T124" fmla="*/ 605 w 659"/>
                <a:gd name="T125" fmla="*/ 409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9" h="556">
                  <a:moveTo>
                    <a:pt x="306" y="489"/>
                  </a:moveTo>
                  <a:lnTo>
                    <a:pt x="304" y="489"/>
                  </a:lnTo>
                  <a:lnTo>
                    <a:pt x="298" y="486"/>
                  </a:lnTo>
                  <a:lnTo>
                    <a:pt x="298" y="486"/>
                  </a:lnTo>
                  <a:lnTo>
                    <a:pt x="296" y="486"/>
                  </a:lnTo>
                  <a:lnTo>
                    <a:pt x="293" y="484"/>
                  </a:lnTo>
                  <a:lnTo>
                    <a:pt x="290" y="481"/>
                  </a:lnTo>
                  <a:lnTo>
                    <a:pt x="282" y="481"/>
                  </a:lnTo>
                  <a:lnTo>
                    <a:pt x="282" y="481"/>
                  </a:lnTo>
                  <a:lnTo>
                    <a:pt x="282" y="481"/>
                  </a:lnTo>
                  <a:lnTo>
                    <a:pt x="280" y="484"/>
                  </a:lnTo>
                  <a:lnTo>
                    <a:pt x="280" y="484"/>
                  </a:lnTo>
                  <a:lnTo>
                    <a:pt x="277" y="486"/>
                  </a:lnTo>
                  <a:lnTo>
                    <a:pt x="274" y="486"/>
                  </a:lnTo>
                  <a:lnTo>
                    <a:pt x="272" y="486"/>
                  </a:lnTo>
                  <a:lnTo>
                    <a:pt x="269" y="489"/>
                  </a:lnTo>
                  <a:lnTo>
                    <a:pt x="269" y="492"/>
                  </a:lnTo>
                  <a:lnTo>
                    <a:pt x="272" y="492"/>
                  </a:lnTo>
                  <a:lnTo>
                    <a:pt x="285" y="497"/>
                  </a:lnTo>
                  <a:lnTo>
                    <a:pt x="285" y="500"/>
                  </a:lnTo>
                  <a:lnTo>
                    <a:pt x="288" y="500"/>
                  </a:lnTo>
                  <a:lnTo>
                    <a:pt x="296" y="502"/>
                  </a:lnTo>
                  <a:lnTo>
                    <a:pt x="298" y="502"/>
                  </a:lnTo>
                  <a:lnTo>
                    <a:pt x="301" y="502"/>
                  </a:lnTo>
                  <a:lnTo>
                    <a:pt x="301" y="502"/>
                  </a:lnTo>
                  <a:lnTo>
                    <a:pt x="301" y="500"/>
                  </a:lnTo>
                  <a:lnTo>
                    <a:pt x="301" y="497"/>
                  </a:lnTo>
                  <a:lnTo>
                    <a:pt x="301" y="497"/>
                  </a:lnTo>
                  <a:lnTo>
                    <a:pt x="304" y="494"/>
                  </a:lnTo>
                  <a:lnTo>
                    <a:pt x="309" y="492"/>
                  </a:lnTo>
                  <a:lnTo>
                    <a:pt x="309" y="489"/>
                  </a:lnTo>
                  <a:lnTo>
                    <a:pt x="309" y="489"/>
                  </a:lnTo>
                  <a:lnTo>
                    <a:pt x="306" y="489"/>
                  </a:lnTo>
                  <a:close/>
                  <a:moveTo>
                    <a:pt x="408" y="553"/>
                  </a:moveTo>
                  <a:lnTo>
                    <a:pt x="408" y="553"/>
                  </a:lnTo>
                  <a:lnTo>
                    <a:pt x="408" y="553"/>
                  </a:lnTo>
                  <a:lnTo>
                    <a:pt x="408" y="553"/>
                  </a:lnTo>
                  <a:close/>
                  <a:moveTo>
                    <a:pt x="408" y="553"/>
                  </a:moveTo>
                  <a:lnTo>
                    <a:pt x="413" y="556"/>
                  </a:lnTo>
                  <a:lnTo>
                    <a:pt x="416" y="553"/>
                  </a:lnTo>
                  <a:lnTo>
                    <a:pt x="413" y="553"/>
                  </a:lnTo>
                  <a:lnTo>
                    <a:pt x="408" y="553"/>
                  </a:lnTo>
                  <a:close/>
                  <a:moveTo>
                    <a:pt x="424" y="553"/>
                  </a:moveTo>
                  <a:lnTo>
                    <a:pt x="421" y="553"/>
                  </a:lnTo>
                  <a:lnTo>
                    <a:pt x="421" y="553"/>
                  </a:lnTo>
                  <a:lnTo>
                    <a:pt x="421" y="556"/>
                  </a:lnTo>
                  <a:lnTo>
                    <a:pt x="421" y="556"/>
                  </a:lnTo>
                  <a:lnTo>
                    <a:pt x="424" y="556"/>
                  </a:lnTo>
                  <a:lnTo>
                    <a:pt x="424" y="556"/>
                  </a:lnTo>
                  <a:lnTo>
                    <a:pt x="424" y="556"/>
                  </a:lnTo>
                  <a:lnTo>
                    <a:pt x="424" y="553"/>
                  </a:lnTo>
                  <a:close/>
                  <a:moveTo>
                    <a:pt x="445" y="551"/>
                  </a:moveTo>
                  <a:lnTo>
                    <a:pt x="445" y="551"/>
                  </a:lnTo>
                  <a:lnTo>
                    <a:pt x="443" y="551"/>
                  </a:lnTo>
                  <a:lnTo>
                    <a:pt x="443" y="551"/>
                  </a:lnTo>
                  <a:lnTo>
                    <a:pt x="440" y="551"/>
                  </a:lnTo>
                  <a:lnTo>
                    <a:pt x="440" y="551"/>
                  </a:lnTo>
                  <a:lnTo>
                    <a:pt x="437" y="551"/>
                  </a:lnTo>
                  <a:lnTo>
                    <a:pt x="437" y="551"/>
                  </a:lnTo>
                  <a:lnTo>
                    <a:pt x="437" y="551"/>
                  </a:lnTo>
                  <a:lnTo>
                    <a:pt x="435" y="553"/>
                  </a:lnTo>
                  <a:lnTo>
                    <a:pt x="435" y="553"/>
                  </a:lnTo>
                  <a:lnTo>
                    <a:pt x="432" y="553"/>
                  </a:lnTo>
                  <a:lnTo>
                    <a:pt x="432" y="556"/>
                  </a:lnTo>
                  <a:lnTo>
                    <a:pt x="432" y="556"/>
                  </a:lnTo>
                  <a:lnTo>
                    <a:pt x="443" y="551"/>
                  </a:lnTo>
                  <a:lnTo>
                    <a:pt x="445" y="551"/>
                  </a:lnTo>
                  <a:lnTo>
                    <a:pt x="445" y="551"/>
                  </a:lnTo>
                  <a:lnTo>
                    <a:pt x="445" y="548"/>
                  </a:lnTo>
                  <a:lnTo>
                    <a:pt x="445" y="551"/>
                  </a:lnTo>
                  <a:lnTo>
                    <a:pt x="445" y="551"/>
                  </a:lnTo>
                  <a:close/>
                  <a:moveTo>
                    <a:pt x="475" y="548"/>
                  </a:moveTo>
                  <a:lnTo>
                    <a:pt x="472" y="548"/>
                  </a:lnTo>
                  <a:lnTo>
                    <a:pt x="469" y="548"/>
                  </a:lnTo>
                  <a:lnTo>
                    <a:pt x="461" y="548"/>
                  </a:lnTo>
                  <a:lnTo>
                    <a:pt x="461" y="548"/>
                  </a:lnTo>
                  <a:lnTo>
                    <a:pt x="467" y="551"/>
                  </a:lnTo>
                  <a:lnTo>
                    <a:pt x="475" y="551"/>
                  </a:lnTo>
                  <a:lnTo>
                    <a:pt x="475" y="551"/>
                  </a:lnTo>
                  <a:lnTo>
                    <a:pt x="475" y="551"/>
                  </a:lnTo>
                  <a:lnTo>
                    <a:pt x="475" y="548"/>
                  </a:lnTo>
                  <a:close/>
                  <a:moveTo>
                    <a:pt x="643" y="452"/>
                  </a:moveTo>
                  <a:lnTo>
                    <a:pt x="643" y="449"/>
                  </a:lnTo>
                  <a:lnTo>
                    <a:pt x="643" y="452"/>
                  </a:lnTo>
                  <a:lnTo>
                    <a:pt x="643" y="452"/>
                  </a:lnTo>
                  <a:lnTo>
                    <a:pt x="643" y="452"/>
                  </a:lnTo>
                  <a:lnTo>
                    <a:pt x="643" y="452"/>
                  </a:lnTo>
                  <a:close/>
                  <a:moveTo>
                    <a:pt x="605" y="414"/>
                  </a:moveTo>
                  <a:lnTo>
                    <a:pt x="605" y="414"/>
                  </a:lnTo>
                  <a:lnTo>
                    <a:pt x="605" y="412"/>
                  </a:lnTo>
                  <a:lnTo>
                    <a:pt x="605" y="412"/>
                  </a:lnTo>
                  <a:lnTo>
                    <a:pt x="605" y="412"/>
                  </a:lnTo>
                  <a:lnTo>
                    <a:pt x="603" y="412"/>
                  </a:lnTo>
                  <a:lnTo>
                    <a:pt x="600" y="412"/>
                  </a:lnTo>
                  <a:lnTo>
                    <a:pt x="600" y="414"/>
                  </a:lnTo>
                  <a:lnTo>
                    <a:pt x="600" y="414"/>
                  </a:lnTo>
                  <a:lnTo>
                    <a:pt x="600" y="414"/>
                  </a:lnTo>
                  <a:lnTo>
                    <a:pt x="603" y="414"/>
                  </a:lnTo>
                  <a:lnTo>
                    <a:pt x="605" y="414"/>
                  </a:lnTo>
                  <a:lnTo>
                    <a:pt x="605" y="414"/>
                  </a:lnTo>
                  <a:close/>
                  <a:moveTo>
                    <a:pt x="619" y="476"/>
                  </a:moveTo>
                  <a:lnTo>
                    <a:pt x="621" y="476"/>
                  </a:lnTo>
                  <a:lnTo>
                    <a:pt x="621" y="473"/>
                  </a:lnTo>
                  <a:lnTo>
                    <a:pt x="621" y="473"/>
                  </a:lnTo>
                  <a:lnTo>
                    <a:pt x="621" y="473"/>
                  </a:lnTo>
                  <a:lnTo>
                    <a:pt x="621" y="473"/>
                  </a:lnTo>
                  <a:lnTo>
                    <a:pt x="621" y="473"/>
                  </a:lnTo>
                  <a:lnTo>
                    <a:pt x="621" y="473"/>
                  </a:lnTo>
                  <a:lnTo>
                    <a:pt x="619" y="476"/>
                  </a:lnTo>
                  <a:lnTo>
                    <a:pt x="613" y="478"/>
                  </a:lnTo>
                  <a:lnTo>
                    <a:pt x="616" y="478"/>
                  </a:lnTo>
                  <a:lnTo>
                    <a:pt x="619" y="476"/>
                  </a:lnTo>
                  <a:close/>
                  <a:moveTo>
                    <a:pt x="467" y="524"/>
                  </a:moveTo>
                  <a:lnTo>
                    <a:pt x="469" y="521"/>
                  </a:lnTo>
                  <a:lnTo>
                    <a:pt x="469" y="521"/>
                  </a:lnTo>
                  <a:lnTo>
                    <a:pt x="469" y="521"/>
                  </a:lnTo>
                  <a:lnTo>
                    <a:pt x="467" y="521"/>
                  </a:lnTo>
                  <a:lnTo>
                    <a:pt x="467" y="524"/>
                  </a:lnTo>
                  <a:lnTo>
                    <a:pt x="467" y="527"/>
                  </a:lnTo>
                  <a:lnTo>
                    <a:pt x="467" y="524"/>
                  </a:lnTo>
                  <a:lnTo>
                    <a:pt x="467" y="524"/>
                  </a:lnTo>
                  <a:close/>
                  <a:moveTo>
                    <a:pt x="629" y="468"/>
                  </a:moveTo>
                  <a:lnTo>
                    <a:pt x="635" y="462"/>
                  </a:lnTo>
                  <a:lnTo>
                    <a:pt x="635" y="462"/>
                  </a:lnTo>
                  <a:lnTo>
                    <a:pt x="635" y="462"/>
                  </a:lnTo>
                  <a:lnTo>
                    <a:pt x="632" y="462"/>
                  </a:lnTo>
                  <a:lnTo>
                    <a:pt x="629" y="468"/>
                  </a:lnTo>
                  <a:lnTo>
                    <a:pt x="629" y="468"/>
                  </a:lnTo>
                  <a:lnTo>
                    <a:pt x="629" y="468"/>
                  </a:lnTo>
                  <a:close/>
                  <a:moveTo>
                    <a:pt x="592" y="398"/>
                  </a:moveTo>
                  <a:lnTo>
                    <a:pt x="595" y="398"/>
                  </a:lnTo>
                  <a:lnTo>
                    <a:pt x="595" y="396"/>
                  </a:lnTo>
                  <a:lnTo>
                    <a:pt x="595" y="396"/>
                  </a:lnTo>
                  <a:lnTo>
                    <a:pt x="597" y="396"/>
                  </a:lnTo>
                  <a:lnTo>
                    <a:pt x="597" y="396"/>
                  </a:lnTo>
                  <a:lnTo>
                    <a:pt x="597" y="396"/>
                  </a:lnTo>
                  <a:lnTo>
                    <a:pt x="597" y="396"/>
                  </a:lnTo>
                  <a:lnTo>
                    <a:pt x="600" y="396"/>
                  </a:lnTo>
                  <a:lnTo>
                    <a:pt x="600" y="396"/>
                  </a:lnTo>
                  <a:lnTo>
                    <a:pt x="600" y="396"/>
                  </a:lnTo>
                  <a:lnTo>
                    <a:pt x="600" y="396"/>
                  </a:lnTo>
                  <a:lnTo>
                    <a:pt x="600" y="393"/>
                  </a:lnTo>
                  <a:lnTo>
                    <a:pt x="603" y="393"/>
                  </a:lnTo>
                  <a:lnTo>
                    <a:pt x="603" y="393"/>
                  </a:lnTo>
                  <a:lnTo>
                    <a:pt x="603" y="396"/>
                  </a:lnTo>
                  <a:lnTo>
                    <a:pt x="603" y="396"/>
                  </a:lnTo>
                  <a:lnTo>
                    <a:pt x="603" y="396"/>
                  </a:lnTo>
                  <a:lnTo>
                    <a:pt x="605" y="398"/>
                  </a:lnTo>
                  <a:lnTo>
                    <a:pt x="605" y="398"/>
                  </a:lnTo>
                  <a:lnTo>
                    <a:pt x="608" y="398"/>
                  </a:lnTo>
                  <a:lnTo>
                    <a:pt x="608" y="398"/>
                  </a:lnTo>
                  <a:lnTo>
                    <a:pt x="611" y="396"/>
                  </a:lnTo>
                  <a:lnTo>
                    <a:pt x="611" y="393"/>
                  </a:lnTo>
                  <a:lnTo>
                    <a:pt x="611" y="393"/>
                  </a:lnTo>
                  <a:lnTo>
                    <a:pt x="608" y="393"/>
                  </a:lnTo>
                  <a:lnTo>
                    <a:pt x="608" y="393"/>
                  </a:lnTo>
                  <a:lnTo>
                    <a:pt x="608" y="393"/>
                  </a:lnTo>
                  <a:lnTo>
                    <a:pt x="608" y="396"/>
                  </a:lnTo>
                  <a:lnTo>
                    <a:pt x="608" y="396"/>
                  </a:lnTo>
                  <a:lnTo>
                    <a:pt x="608" y="396"/>
                  </a:lnTo>
                  <a:lnTo>
                    <a:pt x="605" y="393"/>
                  </a:lnTo>
                  <a:lnTo>
                    <a:pt x="605" y="390"/>
                  </a:lnTo>
                  <a:lnTo>
                    <a:pt x="605" y="390"/>
                  </a:lnTo>
                  <a:lnTo>
                    <a:pt x="603" y="390"/>
                  </a:lnTo>
                  <a:lnTo>
                    <a:pt x="603" y="388"/>
                  </a:lnTo>
                  <a:lnTo>
                    <a:pt x="608" y="382"/>
                  </a:lnTo>
                  <a:lnTo>
                    <a:pt x="608" y="382"/>
                  </a:lnTo>
                  <a:lnTo>
                    <a:pt x="611" y="380"/>
                  </a:lnTo>
                  <a:lnTo>
                    <a:pt x="611" y="380"/>
                  </a:lnTo>
                  <a:lnTo>
                    <a:pt x="608" y="380"/>
                  </a:lnTo>
                  <a:lnTo>
                    <a:pt x="605" y="382"/>
                  </a:lnTo>
                  <a:lnTo>
                    <a:pt x="605" y="385"/>
                  </a:lnTo>
                  <a:lnTo>
                    <a:pt x="603" y="388"/>
                  </a:lnTo>
                  <a:lnTo>
                    <a:pt x="600" y="388"/>
                  </a:lnTo>
                  <a:lnTo>
                    <a:pt x="597" y="390"/>
                  </a:lnTo>
                  <a:lnTo>
                    <a:pt x="600" y="390"/>
                  </a:lnTo>
                  <a:lnTo>
                    <a:pt x="597" y="393"/>
                  </a:lnTo>
                  <a:lnTo>
                    <a:pt x="597" y="393"/>
                  </a:lnTo>
                  <a:lnTo>
                    <a:pt x="595" y="393"/>
                  </a:lnTo>
                  <a:lnTo>
                    <a:pt x="595" y="393"/>
                  </a:lnTo>
                  <a:lnTo>
                    <a:pt x="595" y="396"/>
                  </a:lnTo>
                  <a:lnTo>
                    <a:pt x="592" y="396"/>
                  </a:lnTo>
                  <a:lnTo>
                    <a:pt x="592" y="396"/>
                  </a:lnTo>
                  <a:lnTo>
                    <a:pt x="592" y="398"/>
                  </a:lnTo>
                  <a:lnTo>
                    <a:pt x="592" y="398"/>
                  </a:lnTo>
                  <a:close/>
                  <a:moveTo>
                    <a:pt x="597" y="414"/>
                  </a:moveTo>
                  <a:lnTo>
                    <a:pt x="600" y="412"/>
                  </a:lnTo>
                  <a:lnTo>
                    <a:pt x="600" y="409"/>
                  </a:lnTo>
                  <a:lnTo>
                    <a:pt x="600" y="406"/>
                  </a:lnTo>
                  <a:lnTo>
                    <a:pt x="600" y="406"/>
                  </a:lnTo>
                  <a:lnTo>
                    <a:pt x="600" y="409"/>
                  </a:lnTo>
                  <a:lnTo>
                    <a:pt x="597" y="412"/>
                  </a:lnTo>
                  <a:lnTo>
                    <a:pt x="597" y="414"/>
                  </a:lnTo>
                  <a:lnTo>
                    <a:pt x="597" y="414"/>
                  </a:lnTo>
                  <a:lnTo>
                    <a:pt x="595" y="417"/>
                  </a:lnTo>
                  <a:lnTo>
                    <a:pt x="597" y="417"/>
                  </a:lnTo>
                  <a:lnTo>
                    <a:pt x="597" y="414"/>
                  </a:lnTo>
                  <a:close/>
                  <a:moveTo>
                    <a:pt x="603" y="430"/>
                  </a:moveTo>
                  <a:lnTo>
                    <a:pt x="603" y="430"/>
                  </a:lnTo>
                  <a:lnTo>
                    <a:pt x="600" y="430"/>
                  </a:lnTo>
                  <a:lnTo>
                    <a:pt x="600" y="430"/>
                  </a:lnTo>
                  <a:lnTo>
                    <a:pt x="595" y="430"/>
                  </a:lnTo>
                  <a:lnTo>
                    <a:pt x="595" y="433"/>
                  </a:lnTo>
                  <a:lnTo>
                    <a:pt x="603" y="436"/>
                  </a:lnTo>
                  <a:lnTo>
                    <a:pt x="603" y="430"/>
                  </a:lnTo>
                  <a:close/>
                  <a:moveTo>
                    <a:pt x="427" y="553"/>
                  </a:moveTo>
                  <a:lnTo>
                    <a:pt x="427" y="553"/>
                  </a:lnTo>
                  <a:lnTo>
                    <a:pt x="427" y="556"/>
                  </a:lnTo>
                  <a:lnTo>
                    <a:pt x="427" y="556"/>
                  </a:lnTo>
                  <a:lnTo>
                    <a:pt x="427" y="556"/>
                  </a:lnTo>
                  <a:lnTo>
                    <a:pt x="429" y="553"/>
                  </a:lnTo>
                  <a:lnTo>
                    <a:pt x="429" y="553"/>
                  </a:lnTo>
                  <a:lnTo>
                    <a:pt x="429" y="553"/>
                  </a:lnTo>
                  <a:lnTo>
                    <a:pt x="427" y="553"/>
                  </a:lnTo>
                  <a:close/>
                  <a:moveTo>
                    <a:pt x="640" y="516"/>
                  </a:moveTo>
                  <a:lnTo>
                    <a:pt x="640" y="519"/>
                  </a:lnTo>
                  <a:lnTo>
                    <a:pt x="640" y="519"/>
                  </a:lnTo>
                  <a:lnTo>
                    <a:pt x="640" y="516"/>
                  </a:lnTo>
                  <a:lnTo>
                    <a:pt x="643" y="516"/>
                  </a:lnTo>
                  <a:lnTo>
                    <a:pt x="645" y="516"/>
                  </a:lnTo>
                  <a:lnTo>
                    <a:pt x="643" y="516"/>
                  </a:lnTo>
                  <a:lnTo>
                    <a:pt x="643" y="516"/>
                  </a:lnTo>
                  <a:lnTo>
                    <a:pt x="643" y="516"/>
                  </a:lnTo>
                  <a:lnTo>
                    <a:pt x="643" y="513"/>
                  </a:lnTo>
                  <a:lnTo>
                    <a:pt x="643" y="513"/>
                  </a:lnTo>
                  <a:lnTo>
                    <a:pt x="643" y="511"/>
                  </a:lnTo>
                  <a:lnTo>
                    <a:pt x="640" y="511"/>
                  </a:lnTo>
                  <a:lnTo>
                    <a:pt x="640" y="511"/>
                  </a:lnTo>
                  <a:lnTo>
                    <a:pt x="637" y="511"/>
                  </a:lnTo>
                  <a:lnTo>
                    <a:pt x="637" y="513"/>
                  </a:lnTo>
                  <a:lnTo>
                    <a:pt x="637" y="513"/>
                  </a:lnTo>
                  <a:lnTo>
                    <a:pt x="637" y="513"/>
                  </a:lnTo>
                  <a:lnTo>
                    <a:pt x="635" y="513"/>
                  </a:lnTo>
                  <a:lnTo>
                    <a:pt x="632" y="513"/>
                  </a:lnTo>
                  <a:lnTo>
                    <a:pt x="632" y="511"/>
                  </a:lnTo>
                  <a:lnTo>
                    <a:pt x="627" y="511"/>
                  </a:lnTo>
                  <a:lnTo>
                    <a:pt x="627" y="508"/>
                  </a:lnTo>
                  <a:lnTo>
                    <a:pt x="627" y="508"/>
                  </a:lnTo>
                  <a:lnTo>
                    <a:pt x="629" y="508"/>
                  </a:lnTo>
                  <a:lnTo>
                    <a:pt x="629" y="505"/>
                  </a:lnTo>
                  <a:lnTo>
                    <a:pt x="629" y="505"/>
                  </a:lnTo>
                  <a:lnTo>
                    <a:pt x="629" y="505"/>
                  </a:lnTo>
                  <a:lnTo>
                    <a:pt x="629" y="502"/>
                  </a:lnTo>
                  <a:lnTo>
                    <a:pt x="629" y="502"/>
                  </a:lnTo>
                  <a:lnTo>
                    <a:pt x="627" y="500"/>
                  </a:lnTo>
                  <a:lnTo>
                    <a:pt x="627" y="500"/>
                  </a:lnTo>
                  <a:lnTo>
                    <a:pt x="624" y="502"/>
                  </a:lnTo>
                  <a:lnTo>
                    <a:pt x="624" y="500"/>
                  </a:lnTo>
                  <a:lnTo>
                    <a:pt x="624" y="500"/>
                  </a:lnTo>
                  <a:lnTo>
                    <a:pt x="624" y="500"/>
                  </a:lnTo>
                  <a:lnTo>
                    <a:pt x="621" y="497"/>
                  </a:lnTo>
                  <a:lnTo>
                    <a:pt x="621" y="497"/>
                  </a:lnTo>
                  <a:lnTo>
                    <a:pt x="621" y="497"/>
                  </a:lnTo>
                  <a:lnTo>
                    <a:pt x="621" y="497"/>
                  </a:lnTo>
                  <a:lnTo>
                    <a:pt x="621" y="494"/>
                  </a:lnTo>
                  <a:lnTo>
                    <a:pt x="619" y="494"/>
                  </a:lnTo>
                  <a:lnTo>
                    <a:pt x="619" y="494"/>
                  </a:lnTo>
                  <a:lnTo>
                    <a:pt x="619" y="494"/>
                  </a:lnTo>
                  <a:lnTo>
                    <a:pt x="619" y="494"/>
                  </a:lnTo>
                  <a:lnTo>
                    <a:pt x="619" y="494"/>
                  </a:lnTo>
                  <a:lnTo>
                    <a:pt x="619" y="494"/>
                  </a:lnTo>
                  <a:lnTo>
                    <a:pt x="619" y="497"/>
                  </a:lnTo>
                  <a:lnTo>
                    <a:pt x="616" y="497"/>
                  </a:lnTo>
                  <a:lnTo>
                    <a:pt x="613" y="500"/>
                  </a:lnTo>
                  <a:lnTo>
                    <a:pt x="613" y="500"/>
                  </a:lnTo>
                  <a:lnTo>
                    <a:pt x="611" y="497"/>
                  </a:lnTo>
                  <a:lnTo>
                    <a:pt x="611" y="494"/>
                  </a:lnTo>
                  <a:lnTo>
                    <a:pt x="611" y="494"/>
                  </a:lnTo>
                  <a:lnTo>
                    <a:pt x="608" y="494"/>
                  </a:lnTo>
                  <a:lnTo>
                    <a:pt x="608" y="494"/>
                  </a:lnTo>
                  <a:lnTo>
                    <a:pt x="605" y="494"/>
                  </a:lnTo>
                  <a:lnTo>
                    <a:pt x="605" y="494"/>
                  </a:lnTo>
                  <a:lnTo>
                    <a:pt x="603" y="497"/>
                  </a:lnTo>
                  <a:lnTo>
                    <a:pt x="603" y="497"/>
                  </a:lnTo>
                  <a:lnTo>
                    <a:pt x="600" y="497"/>
                  </a:lnTo>
                  <a:lnTo>
                    <a:pt x="597" y="494"/>
                  </a:lnTo>
                  <a:lnTo>
                    <a:pt x="597" y="494"/>
                  </a:lnTo>
                  <a:lnTo>
                    <a:pt x="597" y="494"/>
                  </a:lnTo>
                  <a:lnTo>
                    <a:pt x="597" y="494"/>
                  </a:lnTo>
                  <a:lnTo>
                    <a:pt x="597" y="492"/>
                  </a:lnTo>
                  <a:lnTo>
                    <a:pt x="597" y="492"/>
                  </a:lnTo>
                  <a:lnTo>
                    <a:pt x="600" y="492"/>
                  </a:lnTo>
                  <a:lnTo>
                    <a:pt x="600" y="492"/>
                  </a:lnTo>
                  <a:lnTo>
                    <a:pt x="603" y="492"/>
                  </a:lnTo>
                  <a:lnTo>
                    <a:pt x="603" y="489"/>
                  </a:lnTo>
                  <a:lnTo>
                    <a:pt x="600" y="489"/>
                  </a:lnTo>
                  <a:lnTo>
                    <a:pt x="597" y="489"/>
                  </a:lnTo>
                  <a:lnTo>
                    <a:pt x="597" y="489"/>
                  </a:lnTo>
                  <a:lnTo>
                    <a:pt x="597" y="492"/>
                  </a:lnTo>
                  <a:lnTo>
                    <a:pt x="595" y="492"/>
                  </a:lnTo>
                  <a:lnTo>
                    <a:pt x="595" y="492"/>
                  </a:lnTo>
                  <a:lnTo>
                    <a:pt x="595" y="492"/>
                  </a:lnTo>
                  <a:lnTo>
                    <a:pt x="592" y="492"/>
                  </a:lnTo>
                  <a:lnTo>
                    <a:pt x="592" y="492"/>
                  </a:lnTo>
                  <a:lnTo>
                    <a:pt x="589" y="489"/>
                  </a:lnTo>
                  <a:lnTo>
                    <a:pt x="587" y="489"/>
                  </a:lnTo>
                  <a:lnTo>
                    <a:pt x="579" y="492"/>
                  </a:lnTo>
                  <a:lnTo>
                    <a:pt x="579" y="492"/>
                  </a:lnTo>
                  <a:lnTo>
                    <a:pt x="576" y="492"/>
                  </a:lnTo>
                  <a:lnTo>
                    <a:pt x="576" y="489"/>
                  </a:lnTo>
                  <a:lnTo>
                    <a:pt x="576" y="489"/>
                  </a:lnTo>
                  <a:lnTo>
                    <a:pt x="579" y="489"/>
                  </a:lnTo>
                  <a:lnTo>
                    <a:pt x="579" y="489"/>
                  </a:lnTo>
                  <a:lnTo>
                    <a:pt x="579" y="486"/>
                  </a:lnTo>
                  <a:lnTo>
                    <a:pt x="576" y="486"/>
                  </a:lnTo>
                  <a:lnTo>
                    <a:pt x="576" y="486"/>
                  </a:lnTo>
                  <a:lnTo>
                    <a:pt x="576" y="484"/>
                  </a:lnTo>
                  <a:lnTo>
                    <a:pt x="579" y="481"/>
                  </a:lnTo>
                  <a:lnTo>
                    <a:pt x="579" y="481"/>
                  </a:lnTo>
                  <a:lnTo>
                    <a:pt x="576" y="481"/>
                  </a:lnTo>
                  <a:lnTo>
                    <a:pt x="571" y="478"/>
                  </a:lnTo>
                  <a:lnTo>
                    <a:pt x="571" y="478"/>
                  </a:lnTo>
                  <a:lnTo>
                    <a:pt x="571" y="478"/>
                  </a:lnTo>
                  <a:lnTo>
                    <a:pt x="571" y="478"/>
                  </a:lnTo>
                  <a:lnTo>
                    <a:pt x="571" y="478"/>
                  </a:lnTo>
                  <a:lnTo>
                    <a:pt x="568" y="478"/>
                  </a:lnTo>
                  <a:lnTo>
                    <a:pt x="565" y="478"/>
                  </a:lnTo>
                  <a:lnTo>
                    <a:pt x="563" y="476"/>
                  </a:lnTo>
                  <a:lnTo>
                    <a:pt x="560" y="476"/>
                  </a:lnTo>
                  <a:lnTo>
                    <a:pt x="557" y="476"/>
                  </a:lnTo>
                  <a:lnTo>
                    <a:pt x="557" y="473"/>
                  </a:lnTo>
                  <a:lnTo>
                    <a:pt x="557" y="470"/>
                  </a:lnTo>
                  <a:lnTo>
                    <a:pt x="555" y="468"/>
                  </a:lnTo>
                  <a:lnTo>
                    <a:pt x="552" y="465"/>
                  </a:lnTo>
                  <a:lnTo>
                    <a:pt x="552" y="462"/>
                  </a:lnTo>
                  <a:lnTo>
                    <a:pt x="552" y="462"/>
                  </a:lnTo>
                  <a:lnTo>
                    <a:pt x="552" y="462"/>
                  </a:lnTo>
                  <a:lnTo>
                    <a:pt x="552" y="462"/>
                  </a:lnTo>
                  <a:lnTo>
                    <a:pt x="549" y="462"/>
                  </a:lnTo>
                  <a:lnTo>
                    <a:pt x="547" y="460"/>
                  </a:lnTo>
                  <a:lnTo>
                    <a:pt x="552" y="460"/>
                  </a:lnTo>
                  <a:lnTo>
                    <a:pt x="563" y="462"/>
                  </a:lnTo>
                  <a:lnTo>
                    <a:pt x="563" y="460"/>
                  </a:lnTo>
                  <a:lnTo>
                    <a:pt x="560" y="457"/>
                  </a:lnTo>
                  <a:lnTo>
                    <a:pt x="560" y="457"/>
                  </a:lnTo>
                  <a:lnTo>
                    <a:pt x="560" y="457"/>
                  </a:lnTo>
                  <a:lnTo>
                    <a:pt x="560" y="457"/>
                  </a:lnTo>
                  <a:lnTo>
                    <a:pt x="557" y="454"/>
                  </a:lnTo>
                  <a:lnTo>
                    <a:pt x="557" y="454"/>
                  </a:lnTo>
                  <a:lnTo>
                    <a:pt x="560" y="454"/>
                  </a:lnTo>
                  <a:lnTo>
                    <a:pt x="557" y="452"/>
                  </a:lnTo>
                  <a:lnTo>
                    <a:pt x="555" y="452"/>
                  </a:lnTo>
                  <a:lnTo>
                    <a:pt x="552" y="449"/>
                  </a:lnTo>
                  <a:lnTo>
                    <a:pt x="557" y="452"/>
                  </a:lnTo>
                  <a:lnTo>
                    <a:pt x="563" y="454"/>
                  </a:lnTo>
                  <a:lnTo>
                    <a:pt x="565" y="454"/>
                  </a:lnTo>
                  <a:lnTo>
                    <a:pt x="571" y="454"/>
                  </a:lnTo>
                  <a:lnTo>
                    <a:pt x="573" y="454"/>
                  </a:lnTo>
                  <a:lnTo>
                    <a:pt x="576" y="454"/>
                  </a:lnTo>
                  <a:lnTo>
                    <a:pt x="576" y="457"/>
                  </a:lnTo>
                  <a:lnTo>
                    <a:pt x="579" y="457"/>
                  </a:lnTo>
                  <a:lnTo>
                    <a:pt x="581" y="457"/>
                  </a:lnTo>
                  <a:lnTo>
                    <a:pt x="581" y="457"/>
                  </a:lnTo>
                  <a:lnTo>
                    <a:pt x="576" y="454"/>
                  </a:lnTo>
                  <a:lnTo>
                    <a:pt x="573" y="452"/>
                  </a:lnTo>
                  <a:lnTo>
                    <a:pt x="573" y="452"/>
                  </a:lnTo>
                  <a:lnTo>
                    <a:pt x="576" y="452"/>
                  </a:lnTo>
                  <a:lnTo>
                    <a:pt x="576" y="452"/>
                  </a:lnTo>
                  <a:lnTo>
                    <a:pt x="576" y="452"/>
                  </a:lnTo>
                  <a:lnTo>
                    <a:pt x="576" y="452"/>
                  </a:lnTo>
                  <a:lnTo>
                    <a:pt x="573" y="452"/>
                  </a:lnTo>
                  <a:lnTo>
                    <a:pt x="571" y="452"/>
                  </a:lnTo>
                  <a:lnTo>
                    <a:pt x="568" y="452"/>
                  </a:lnTo>
                  <a:lnTo>
                    <a:pt x="565" y="449"/>
                  </a:lnTo>
                  <a:lnTo>
                    <a:pt x="565" y="446"/>
                  </a:lnTo>
                  <a:lnTo>
                    <a:pt x="565" y="444"/>
                  </a:lnTo>
                  <a:lnTo>
                    <a:pt x="565" y="444"/>
                  </a:lnTo>
                  <a:lnTo>
                    <a:pt x="568" y="441"/>
                  </a:lnTo>
                  <a:lnTo>
                    <a:pt x="571" y="441"/>
                  </a:lnTo>
                  <a:lnTo>
                    <a:pt x="571" y="441"/>
                  </a:lnTo>
                  <a:lnTo>
                    <a:pt x="573" y="441"/>
                  </a:lnTo>
                  <a:lnTo>
                    <a:pt x="573" y="441"/>
                  </a:lnTo>
                  <a:lnTo>
                    <a:pt x="573" y="438"/>
                  </a:lnTo>
                  <a:lnTo>
                    <a:pt x="576" y="436"/>
                  </a:lnTo>
                  <a:lnTo>
                    <a:pt x="579" y="433"/>
                  </a:lnTo>
                  <a:lnTo>
                    <a:pt x="579" y="433"/>
                  </a:lnTo>
                  <a:lnTo>
                    <a:pt x="579" y="430"/>
                  </a:lnTo>
                  <a:lnTo>
                    <a:pt x="579" y="430"/>
                  </a:lnTo>
                  <a:lnTo>
                    <a:pt x="581" y="430"/>
                  </a:lnTo>
                  <a:lnTo>
                    <a:pt x="581" y="430"/>
                  </a:lnTo>
                  <a:lnTo>
                    <a:pt x="584" y="433"/>
                  </a:lnTo>
                  <a:lnTo>
                    <a:pt x="584" y="433"/>
                  </a:lnTo>
                  <a:lnTo>
                    <a:pt x="587" y="436"/>
                  </a:lnTo>
                  <a:lnTo>
                    <a:pt x="587" y="436"/>
                  </a:lnTo>
                  <a:lnTo>
                    <a:pt x="587" y="436"/>
                  </a:lnTo>
                  <a:lnTo>
                    <a:pt x="587" y="438"/>
                  </a:lnTo>
                  <a:lnTo>
                    <a:pt x="587" y="438"/>
                  </a:lnTo>
                  <a:lnTo>
                    <a:pt x="589" y="438"/>
                  </a:lnTo>
                  <a:lnTo>
                    <a:pt x="589" y="436"/>
                  </a:lnTo>
                  <a:lnTo>
                    <a:pt x="589" y="433"/>
                  </a:lnTo>
                  <a:lnTo>
                    <a:pt x="592" y="433"/>
                  </a:lnTo>
                  <a:lnTo>
                    <a:pt x="595" y="433"/>
                  </a:lnTo>
                  <a:lnTo>
                    <a:pt x="595" y="433"/>
                  </a:lnTo>
                  <a:lnTo>
                    <a:pt x="592" y="433"/>
                  </a:lnTo>
                  <a:lnTo>
                    <a:pt x="592" y="433"/>
                  </a:lnTo>
                  <a:lnTo>
                    <a:pt x="592" y="430"/>
                  </a:lnTo>
                  <a:lnTo>
                    <a:pt x="589" y="428"/>
                  </a:lnTo>
                  <a:lnTo>
                    <a:pt x="592" y="428"/>
                  </a:lnTo>
                  <a:lnTo>
                    <a:pt x="592" y="428"/>
                  </a:lnTo>
                  <a:lnTo>
                    <a:pt x="592" y="425"/>
                  </a:lnTo>
                  <a:lnTo>
                    <a:pt x="595" y="425"/>
                  </a:lnTo>
                  <a:lnTo>
                    <a:pt x="595" y="425"/>
                  </a:lnTo>
                  <a:lnTo>
                    <a:pt x="595" y="425"/>
                  </a:lnTo>
                  <a:lnTo>
                    <a:pt x="592" y="425"/>
                  </a:lnTo>
                  <a:lnTo>
                    <a:pt x="592" y="422"/>
                  </a:lnTo>
                  <a:lnTo>
                    <a:pt x="592" y="422"/>
                  </a:lnTo>
                  <a:lnTo>
                    <a:pt x="595" y="422"/>
                  </a:lnTo>
                  <a:lnTo>
                    <a:pt x="592" y="420"/>
                  </a:lnTo>
                  <a:lnTo>
                    <a:pt x="592" y="420"/>
                  </a:lnTo>
                  <a:lnTo>
                    <a:pt x="589" y="420"/>
                  </a:lnTo>
                  <a:lnTo>
                    <a:pt x="589" y="422"/>
                  </a:lnTo>
                  <a:lnTo>
                    <a:pt x="587" y="422"/>
                  </a:lnTo>
                  <a:lnTo>
                    <a:pt x="587" y="422"/>
                  </a:lnTo>
                  <a:lnTo>
                    <a:pt x="589" y="420"/>
                  </a:lnTo>
                  <a:lnTo>
                    <a:pt x="592" y="417"/>
                  </a:lnTo>
                  <a:lnTo>
                    <a:pt x="589" y="417"/>
                  </a:lnTo>
                  <a:lnTo>
                    <a:pt x="589" y="417"/>
                  </a:lnTo>
                  <a:lnTo>
                    <a:pt x="587" y="417"/>
                  </a:lnTo>
                  <a:lnTo>
                    <a:pt x="587" y="417"/>
                  </a:lnTo>
                  <a:lnTo>
                    <a:pt x="587" y="420"/>
                  </a:lnTo>
                  <a:lnTo>
                    <a:pt x="584" y="420"/>
                  </a:lnTo>
                  <a:lnTo>
                    <a:pt x="584" y="420"/>
                  </a:lnTo>
                  <a:lnTo>
                    <a:pt x="584" y="420"/>
                  </a:lnTo>
                  <a:lnTo>
                    <a:pt x="584" y="420"/>
                  </a:lnTo>
                  <a:lnTo>
                    <a:pt x="584" y="417"/>
                  </a:lnTo>
                  <a:lnTo>
                    <a:pt x="581" y="417"/>
                  </a:lnTo>
                  <a:lnTo>
                    <a:pt x="581" y="414"/>
                  </a:lnTo>
                  <a:lnTo>
                    <a:pt x="584" y="412"/>
                  </a:lnTo>
                  <a:lnTo>
                    <a:pt x="587" y="414"/>
                  </a:lnTo>
                  <a:lnTo>
                    <a:pt x="589" y="414"/>
                  </a:lnTo>
                  <a:lnTo>
                    <a:pt x="589" y="412"/>
                  </a:lnTo>
                  <a:lnTo>
                    <a:pt x="587" y="409"/>
                  </a:lnTo>
                  <a:lnTo>
                    <a:pt x="587" y="409"/>
                  </a:lnTo>
                  <a:lnTo>
                    <a:pt x="581" y="409"/>
                  </a:lnTo>
                  <a:lnTo>
                    <a:pt x="581" y="409"/>
                  </a:lnTo>
                  <a:lnTo>
                    <a:pt x="579" y="409"/>
                  </a:lnTo>
                  <a:lnTo>
                    <a:pt x="579" y="409"/>
                  </a:lnTo>
                  <a:lnTo>
                    <a:pt x="581" y="409"/>
                  </a:lnTo>
                  <a:lnTo>
                    <a:pt x="581" y="406"/>
                  </a:lnTo>
                  <a:lnTo>
                    <a:pt x="581" y="406"/>
                  </a:lnTo>
                  <a:lnTo>
                    <a:pt x="581" y="406"/>
                  </a:lnTo>
                  <a:lnTo>
                    <a:pt x="581" y="404"/>
                  </a:lnTo>
                  <a:lnTo>
                    <a:pt x="581" y="404"/>
                  </a:lnTo>
                  <a:lnTo>
                    <a:pt x="581" y="401"/>
                  </a:lnTo>
                  <a:lnTo>
                    <a:pt x="587" y="401"/>
                  </a:lnTo>
                  <a:lnTo>
                    <a:pt x="587" y="401"/>
                  </a:lnTo>
                  <a:lnTo>
                    <a:pt x="589" y="398"/>
                  </a:lnTo>
                  <a:lnTo>
                    <a:pt x="589" y="398"/>
                  </a:lnTo>
                  <a:lnTo>
                    <a:pt x="589" y="398"/>
                  </a:lnTo>
                  <a:lnTo>
                    <a:pt x="587" y="398"/>
                  </a:lnTo>
                  <a:lnTo>
                    <a:pt x="587" y="398"/>
                  </a:lnTo>
                  <a:lnTo>
                    <a:pt x="584" y="398"/>
                  </a:lnTo>
                  <a:lnTo>
                    <a:pt x="581" y="401"/>
                  </a:lnTo>
                  <a:lnTo>
                    <a:pt x="581" y="401"/>
                  </a:lnTo>
                  <a:lnTo>
                    <a:pt x="581" y="401"/>
                  </a:lnTo>
                  <a:lnTo>
                    <a:pt x="581" y="401"/>
                  </a:lnTo>
                  <a:lnTo>
                    <a:pt x="581" y="401"/>
                  </a:lnTo>
                  <a:lnTo>
                    <a:pt x="581" y="398"/>
                  </a:lnTo>
                  <a:lnTo>
                    <a:pt x="581" y="398"/>
                  </a:lnTo>
                  <a:lnTo>
                    <a:pt x="581" y="398"/>
                  </a:lnTo>
                  <a:lnTo>
                    <a:pt x="581" y="398"/>
                  </a:lnTo>
                  <a:lnTo>
                    <a:pt x="581" y="398"/>
                  </a:lnTo>
                  <a:lnTo>
                    <a:pt x="579" y="396"/>
                  </a:lnTo>
                  <a:lnTo>
                    <a:pt x="576" y="396"/>
                  </a:lnTo>
                  <a:lnTo>
                    <a:pt x="576" y="396"/>
                  </a:lnTo>
                  <a:lnTo>
                    <a:pt x="576" y="396"/>
                  </a:lnTo>
                  <a:lnTo>
                    <a:pt x="573" y="396"/>
                  </a:lnTo>
                  <a:lnTo>
                    <a:pt x="573" y="396"/>
                  </a:lnTo>
                  <a:lnTo>
                    <a:pt x="573" y="398"/>
                  </a:lnTo>
                  <a:lnTo>
                    <a:pt x="573" y="398"/>
                  </a:lnTo>
                  <a:lnTo>
                    <a:pt x="573" y="401"/>
                  </a:lnTo>
                  <a:lnTo>
                    <a:pt x="573" y="401"/>
                  </a:lnTo>
                  <a:lnTo>
                    <a:pt x="573" y="404"/>
                  </a:lnTo>
                  <a:lnTo>
                    <a:pt x="571" y="404"/>
                  </a:lnTo>
                  <a:lnTo>
                    <a:pt x="571" y="404"/>
                  </a:lnTo>
                  <a:lnTo>
                    <a:pt x="568" y="406"/>
                  </a:lnTo>
                  <a:lnTo>
                    <a:pt x="568" y="406"/>
                  </a:lnTo>
                  <a:lnTo>
                    <a:pt x="565" y="406"/>
                  </a:lnTo>
                  <a:lnTo>
                    <a:pt x="565" y="409"/>
                  </a:lnTo>
                  <a:lnTo>
                    <a:pt x="565" y="414"/>
                  </a:lnTo>
                  <a:lnTo>
                    <a:pt x="565" y="417"/>
                  </a:lnTo>
                  <a:lnTo>
                    <a:pt x="565" y="420"/>
                  </a:lnTo>
                  <a:lnTo>
                    <a:pt x="563" y="422"/>
                  </a:lnTo>
                  <a:lnTo>
                    <a:pt x="560" y="425"/>
                  </a:lnTo>
                  <a:lnTo>
                    <a:pt x="557" y="425"/>
                  </a:lnTo>
                  <a:lnTo>
                    <a:pt x="555" y="425"/>
                  </a:lnTo>
                  <a:lnTo>
                    <a:pt x="552" y="425"/>
                  </a:lnTo>
                  <a:lnTo>
                    <a:pt x="549" y="422"/>
                  </a:lnTo>
                  <a:lnTo>
                    <a:pt x="547" y="420"/>
                  </a:lnTo>
                  <a:lnTo>
                    <a:pt x="547" y="420"/>
                  </a:lnTo>
                  <a:lnTo>
                    <a:pt x="549" y="417"/>
                  </a:lnTo>
                  <a:lnTo>
                    <a:pt x="549" y="414"/>
                  </a:lnTo>
                  <a:lnTo>
                    <a:pt x="547" y="414"/>
                  </a:lnTo>
                  <a:lnTo>
                    <a:pt x="544" y="417"/>
                  </a:lnTo>
                  <a:lnTo>
                    <a:pt x="541" y="417"/>
                  </a:lnTo>
                  <a:lnTo>
                    <a:pt x="539" y="417"/>
                  </a:lnTo>
                  <a:lnTo>
                    <a:pt x="536" y="417"/>
                  </a:lnTo>
                  <a:lnTo>
                    <a:pt x="536" y="417"/>
                  </a:lnTo>
                  <a:lnTo>
                    <a:pt x="533" y="414"/>
                  </a:lnTo>
                  <a:lnTo>
                    <a:pt x="533" y="412"/>
                  </a:lnTo>
                  <a:lnTo>
                    <a:pt x="533" y="409"/>
                  </a:lnTo>
                  <a:lnTo>
                    <a:pt x="533" y="406"/>
                  </a:lnTo>
                  <a:lnTo>
                    <a:pt x="533" y="404"/>
                  </a:lnTo>
                  <a:lnTo>
                    <a:pt x="536" y="404"/>
                  </a:lnTo>
                  <a:lnTo>
                    <a:pt x="539" y="404"/>
                  </a:lnTo>
                  <a:lnTo>
                    <a:pt x="544" y="404"/>
                  </a:lnTo>
                  <a:lnTo>
                    <a:pt x="547" y="406"/>
                  </a:lnTo>
                  <a:lnTo>
                    <a:pt x="547" y="404"/>
                  </a:lnTo>
                  <a:lnTo>
                    <a:pt x="547" y="404"/>
                  </a:lnTo>
                  <a:lnTo>
                    <a:pt x="547" y="401"/>
                  </a:lnTo>
                  <a:lnTo>
                    <a:pt x="547" y="401"/>
                  </a:lnTo>
                  <a:lnTo>
                    <a:pt x="547" y="398"/>
                  </a:lnTo>
                  <a:lnTo>
                    <a:pt x="549" y="398"/>
                  </a:lnTo>
                  <a:lnTo>
                    <a:pt x="552" y="396"/>
                  </a:lnTo>
                  <a:lnTo>
                    <a:pt x="552" y="393"/>
                  </a:lnTo>
                  <a:lnTo>
                    <a:pt x="552" y="390"/>
                  </a:lnTo>
                  <a:lnTo>
                    <a:pt x="555" y="388"/>
                  </a:lnTo>
                  <a:lnTo>
                    <a:pt x="552" y="388"/>
                  </a:lnTo>
                  <a:lnTo>
                    <a:pt x="552" y="385"/>
                  </a:lnTo>
                  <a:lnTo>
                    <a:pt x="549" y="385"/>
                  </a:lnTo>
                  <a:lnTo>
                    <a:pt x="547" y="388"/>
                  </a:lnTo>
                  <a:lnTo>
                    <a:pt x="547" y="388"/>
                  </a:lnTo>
                  <a:lnTo>
                    <a:pt x="547" y="388"/>
                  </a:lnTo>
                  <a:lnTo>
                    <a:pt x="547" y="388"/>
                  </a:lnTo>
                  <a:lnTo>
                    <a:pt x="547" y="388"/>
                  </a:lnTo>
                  <a:lnTo>
                    <a:pt x="547" y="388"/>
                  </a:lnTo>
                  <a:lnTo>
                    <a:pt x="549" y="388"/>
                  </a:lnTo>
                  <a:lnTo>
                    <a:pt x="549" y="388"/>
                  </a:lnTo>
                  <a:lnTo>
                    <a:pt x="549" y="388"/>
                  </a:lnTo>
                  <a:lnTo>
                    <a:pt x="549" y="390"/>
                  </a:lnTo>
                  <a:lnTo>
                    <a:pt x="549" y="390"/>
                  </a:lnTo>
                  <a:lnTo>
                    <a:pt x="547" y="390"/>
                  </a:lnTo>
                  <a:lnTo>
                    <a:pt x="547" y="390"/>
                  </a:lnTo>
                  <a:lnTo>
                    <a:pt x="544" y="390"/>
                  </a:lnTo>
                  <a:lnTo>
                    <a:pt x="544" y="390"/>
                  </a:lnTo>
                  <a:lnTo>
                    <a:pt x="544" y="393"/>
                  </a:lnTo>
                  <a:lnTo>
                    <a:pt x="541" y="396"/>
                  </a:lnTo>
                  <a:lnTo>
                    <a:pt x="541" y="396"/>
                  </a:lnTo>
                  <a:lnTo>
                    <a:pt x="541" y="393"/>
                  </a:lnTo>
                  <a:lnTo>
                    <a:pt x="541" y="393"/>
                  </a:lnTo>
                  <a:lnTo>
                    <a:pt x="541" y="393"/>
                  </a:lnTo>
                  <a:lnTo>
                    <a:pt x="541" y="393"/>
                  </a:lnTo>
                  <a:lnTo>
                    <a:pt x="541" y="388"/>
                  </a:lnTo>
                  <a:lnTo>
                    <a:pt x="544" y="388"/>
                  </a:lnTo>
                  <a:lnTo>
                    <a:pt x="541" y="385"/>
                  </a:lnTo>
                  <a:lnTo>
                    <a:pt x="541" y="385"/>
                  </a:lnTo>
                  <a:lnTo>
                    <a:pt x="541" y="388"/>
                  </a:lnTo>
                  <a:lnTo>
                    <a:pt x="541" y="388"/>
                  </a:lnTo>
                  <a:lnTo>
                    <a:pt x="539" y="390"/>
                  </a:lnTo>
                  <a:lnTo>
                    <a:pt x="539" y="393"/>
                  </a:lnTo>
                  <a:lnTo>
                    <a:pt x="536" y="396"/>
                  </a:lnTo>
                  <a:lnTo>
                    <a:pt x="536" y="396"/>
                  </a:lnTo>
                  <a:lnTo>
                    <a:pt x="536" y="396"/>
                  </a:lnTo>
                  <a:lnTo>
                    <a:pt x="533" y="396"/>
                  </a:lnTo>
                  <a:lnTo>
                    <a:pt x="533" y="396"/>
                  </a:lnTo>
                  <a:lnTo>
                    <a:pt x="531" y="393"/>
                  </a:lnTo>
                  <a:lnTo>
                    <a:pt x="531" y="393"/>
                  </a:lnTo>
                  <a:lnTo>
                    <a:pt x="528" y="390"/>
                  </a:lnTo>
                  <a:lnTo>
                    <a:pt x="528" y="390"/>
                  </a:lnTo>
                  <a:lnTo>
                    <a:pt x="525" y="390"/>
                  </a:lnTo>
                  <a:lnTo>
                    <a:pt x="523" y="393"/>
                  </a:lnTo>
                  <a:lnTo>
                    <a:pt x="520" y="398"/>
                  </a:lnTo>
                  <a:lnTo>
                    <a:pt x="512" y="404"/>
                  </a:lnTo>
                  <a:lnTo>
                    <a:pt x="509" y="406"/>
                  </a:lnTo>
                  <a:lnTo>
                    <a:pt x="507" y="406"/>
                  </a:lnTo>
                  <a:lnTo>
                    <a:pt x="499" y="409"/>
                  </a:lnTo>
                  <a:lnTo>
                    <a:pt x="496" y="412"/>
                  </a:lnTo>
                  <a:lnTo>
                    <a:pt x="493" y="412"/>
                  </a:lnTo>
                  <a:lnTo>
                    <a:pt x="485" y="409"/>
                  </a:lnTo>
                  <a:lnTo>
                    <a:pt x="480" y="406"/>
                  </a:lnTo>
                  <a:lnTo>
                    <a:pt x="472" y="406"/>
                  </a:lnTo>
                  <a:lnTo>
                    <a:pt x="467" y="406"/>
                  </a:lnTo>
                  <a:lnTo>
                    <a:pt x="461" y="401"/>
                  </a:lnTo>
                  <a:lnTo>
                    <a:pt x="459" y="396"/>
                  </a:lnTo>
                  <a:lnTo>
                    <a:pt x="459" y="390"/>
                  </a:lnTo>
                  <a:lnTo>
                    <a:pt x="461" y="385"/>
                  </a:lnTo>
                  <a:lnTo>
                    <a:pt x="469" y="377"/>
                  </a:lnTo>
                  <a:lnTo>
                    <a:pt x="472" y="372"/>
                  </a:lnTo>
                  <a:lnTo>
                    <a:pt x="475" y="366"/>
                  </a:lnTo>
                  <a:lnTo>
                    <a:pt x="477" y="364"/>
                  </a:lnTo>
                  <a:lnTo>
                    <a:pt x="480" y="361"/>
                  </a:lnTo>
                  <a:lnTo>
                    <a:pt x="485" y="358"/>
                  </a:lnTo>
                  <a:lnTo>
                    <a:pt x="491" y="361"/>
                  </a:lnTo>
                  <a:lnTo>
                    <a:pt x="496" y="361"/>
                  </a:lnTo>
                  <a:lnTo>
                    <a:pt x="501" y="364"/>
                  </a:lnTo>
                  <a:lnTo>
                    <a:pt x="507" y="366"/>
                  </a:lnTo>
                  <a:lnTo>
                    <a:pt x="509" y="366"/>
                  </a:lnTo>
                  <a:lnTo>
                    <a:pt x="509" y="369"/>
                  </a:lnTo>
                  <a:lnTo>
                    <a:pt x="512" y="374"/>
                  </a:lnTo>
                  <a:lnTo>
                    <a:pt x="512" y="374"/>
                  </a:lnTo>
                  <a:lnTo>
                    <a:pt x="517" y="374"/>
                  </a:lnTo>
                  <a:lnTo>
                    <a:pt x="520" y="374"/>
                  </a:lnTo>
                  <a:lnTo>
                    <a:pt x="523" y="374"/>
                  </a:lnTo>
                  <a:lnTo>
                    <a:pt x="523" y="374"/>
                  </a:lnTo>
                  <a:lnTo>
                    <a:pt x="525" y="374"/>
                  </a:lnTo>
                  <a:lnTo>
                    <a:pt x="531" y="377"/>
                  </a:lnTo>
                  <a:lnTo>
                    <a:pt x="533" y="377"/>
                  </a:lnTo>
                  <a:lnTo>
                    <a:pt x="539" y="377"/>
                  </a:lnTo>
                  <a:lnTo>
                    <a:pt x="539" y="377"/>
                  </a:lnTo>
                  <a:lnTo>
                    <a:pt x="541" y="380"/>
                  </a:lnTo>
                  <a:lnTo>
                    <a:pt x="541" y="380"/>
                  </a:lnTo>
                  <a:lnTo>
                    <a:pt x="541" y="380"/>
                  </a:lnTo>
                  <a:lnTo>
                    <a:pt x="541" y="382"/>
                  </a:lnTo>
                  <a:lnTo>
                    <a:pt x="541" y="382"/>
                  </a:lnTo>
                  <a:lnTo>
                    <a:pt x="541" y="382"/>
                  </a:lnTo>
                  <a:lnTo>
                    <a:pt x="544" y="385"/>
                  </a:lnTo>
                  <a:lnTo>
                    <a:pt x="547" y="385"/>
                  </a:lnTo>
                  <a:lnTo>
                    <a:pt x="547" y="382"/>
                  </a:lnTo>
                  <a:lnTo>
                    <a:pt x="549" y="382"/>
                  </a:lnTo>
                  <a:lnTo>
                    <a:pt x="555" y="385"/>
                  </a:lnTo>
                  <a:lnTo>
                    <a:pt x="555" y="382"/>
                  </a:lnTo>
                  <a:lnTo>
                    <a:pt x="557" y="382"/>
                  </a:lnTo>
                  <a:lnTo>
                    <a:pt x="560" y="382"/>
                  </a:lnTo>
                  <a:lnTo>
                    <a:pt x="560" y="382"/>
                  </a:lnTo>
                  <a:lnTo>
                    <a:pt x="560" y="385"/>
                  </a:lnTo>
                  <a:lnTo>
                    <a:pt x="560" y="385"/>
                  </a:lnTo>
                  <a:lnTo>
                    <a:pt x="557" y="385"/>
                  </a:lnTo>
                  <a:lnTo>
                    <a:pt x="560" y="385"/>
                  </a:lnTo>
                  <a:lnTo>
                    <a:pt x="563" y="385"/>
                  </a:lnTo>
                  <a:lnTo>
                    <a:pt x="565" y="382"/>
                  </a:lnTo>
                  <a:lnTo>
                    <a:pt x="568" y="380"/>
                  </a:lnTo>
                  <a:lnTo>
                    <a:pt x="568" y="380"/>
                  </a:lnTo>
                  <a:lnTo>
                    <a:pt x="565" y="380"/>
                  </a:lnTo>
                  <a:lnTo>
                    <a:pt x="563" y="380"/>
                  </a:lnTo>
                  <a:lnTo>
                    <a:pt x="563" y="380"/>
                  </a:lnTo>
                  <a:lnTo>
                    <a:pt x="560" y="377"/>
                  </a:lnTo>
                  <a:lnTo>
                    <a:pt x="555" y="369"/>
                  </a:lnTo>
                  <a:lnTo>
                    <a:pt x="552" y="366"/>
                  </a:lnTo>
                  <a:lnTo>
                    <a:pt x="552" y="361"/>
                  </a:lnTo>
                  <a:lnTo>
                    <a:pt x="552" y="358"/>
                  </a:lnTo>
                  <a:lnTo>
                    <a:pt x="547" y="353"/>
                  </a:lnTo>
                  <a:lnTo>
                    <a:pt x="547" y="350"/>
                  </a:lnTo>
                  <a:lnTo>
                    <a:pt x="547" y="350"/>
                  </a:lnTo>
                  <a:lnTo>
                    <a:pt x="547" y="348"/>
                  </a:lnTo>
                  <a:lnTo>
                    <a:pt x="547" y="345"/>
                  </a:lnTo>
                  <a:lnTo>
                    <a:pt x="547" y="345"/>
                  </a:lnTo>
                  <a:lnTo>
                    <a:pt x="544" y="342"/>
                  </a:lnTo>
                  <a:lnTo>
                    <a:pt x="539" y="340"/>
                  </a:lnTo>
                  <a:lnTo>
                    <a:pt x="539" y="334"/>
                  </a:lnTo>
                  <a:lnTo>
                    <a:pt x="536" y="334"/>
                  </a:lnTo>
                  <a:lnTo>
                    <a:pt x="531" y="332"/>
                  </a:lnTo>
                  <a:lnTo>
                    <a:pt x="531" y="332"/>
                  </a:lnTo>
                  <a:lnTo>
                    <a:pt x="525" y="323"/>
                  </a:lnTo>
                  <a:lnTo>
                    <a:pt x="528" y="321"/>
                  </a:lnTo>
                  <a:lnTo>
                    <a:pt x="525" y="318"/>
                  </a:lnTo>
                  <a:lnTo>
                    <a:pt x="525" y="318"/>
                  </a:lnTo>
                  <a:lnTo>
                    <a:pt x="523" y="315"/>
                  </a:lnTo>
                  <a:lnTo>
                    <a:pt x="523" y="313"/>
                  </a:lnTo>
                  <a:lnTo>
                    <a:pt x="523" y="310"/>
                  </a:lnTo>
                  <a:lnTo>
                    <a:pt x="525" y="305"/>
                  </a:lnTo>
                  <a:lnTo>
                    <a:pt x="525" y="302"/>
                  </a:lnTo>
                  <a:lnTo>
                    <a:pt x="525" y="299"/>
                  </a:lnTo>
                  <a:lnTo>
                    <a:pt x="528" y="294"/>
                  </a:lnTo>
                  <a:lnTo>
                    <a:pt x="528" y="286"/>
                  </a:lnTo>
                  <a:lnTo>
                    <a:pt x="531" y="281"/>
                  </a:lnTo>
                  <a:lnTo>
                    <a:pt x="533" y="275"/>
                  </a:lnTo>
                  <a:lnTo>
                    <a:pt x="533" y="270"/>
                  </a:lnTo>
                  <a:lnTo>
                    <a:pt x="531" y="270"/>
                  </a:lnTo>
                  <a:lnTo>
                    <a:pt x="528" y="270"/>
                  </a:lnTo>
                  <a:lnTo>
                    <a:pt x="523" y="270"/>
                  </a:lnTo>
                  <a:lnTo>
                    <a:pt x="520" y="270"/>
                  </a:lnTo>
                  <a:lnTo>
                    <a:pt x="512" y="270"/>
                  </a:lnTo>
                  <a:lnTo>
                    <a:pt x="501" y="273"/>
                  </a:lnTo>
                  <a:lnTo>
                    <a:pt x="488" y="273"/>
                  </a:lnTo>
                  <a:lnTo>
                    <a:pt x="472" y="275"/>
                  </a:lnTo>
                  <a:lnTo>
                    <a:pt x="453" y="275"/>
                  </a:lnTo>
                  <a:lnTo>
                    <a:pt x="435" y="278"/>
                  </a:lnTo>
                  <a:lnTo>
                    <a:pt x="416" y="281"/>
                  </a:lnTo>
                  <a:lnTo>
                    <a:pt x="394" y="281"/>
                  </a:lnTo>
                  <a:lnTo>
                    <a:pt x="376" y="283"/>
                  </a:lnTo>
                  <a:lnTo>
                    <a:pt x="357" y="283"/>
                  </a:lnTo>
                  <a:lnTo>
                    <a:pt x="341" y="286"/>
                  </a:lnTo>
                  <a:lnTo>
                    <a:pt x="328" y="286"/>
                  </a:lnTo>
                  <a:lnTo>
                    <a:pt x="317" y="289"/>
                  </a:lnTo>
                  <a:lnTo>
                    <a:pt x="309" y="289"/>
                  </a:lnTo>
                  <a:lnTo>
                    <a:pt x="306" y="289"/>
                  </a:lnTo>
                  <a:lnTo>
                    <a:pt x="301" y="289"/>
                  </a:lnTo>
                  <a:lnTo>
                    <a:pt x="301" y="289"/>
                  </a:lnTo>
                  <a:lnTo>
                    <a:pt x="309" y="281"/>
                  </a:lnTo>
                  <a:lnTo>
                    <a:pt x="309" y="275"/>
                  </a:lnTo>
                  <a:lnTo>
                    <a:pt x="304" y="273"/>
                  </a:lnTo>
                  <a:lnTo>
                    <a:pt x="304" y="267"/>
                  </a:lnTo>
                  <a:lnTo>
                    <a:pt x="304" y="267"/>
                  </a:lnTo>
                  <a:lnTo>
                    <a:pt x="304" y="265"/>
                  </a:lnTo>
                  <a:lnTo>
                    <a:pt x="304" y="262"/>
                  </a:lnTo>
                  <a:lnTo>
                    <a:pt x="304" y="262"/>
                  </a:lnTo>
                  <a:lnTo>
                    <a:pt x="304" y="262"/>
                  </a:lnTo>
                  <a:lnTo>
                    <a:pt x="304" y="259"/>
                  </a:lnTo>
                  <a:lnTo>
                    <a:pt x="304" y="259"/>
                  </a:lnTo>
                  <a:lnTo>
                    <a:pt x="304" y="257"/>
                  </a:lnTo>
                  <a:lnTo>
                    <a:pt x="301" y="257"/>
                  </a:lnTo>
                  <a:lnTo>
                    <a:pt x="298" y="254"/>
                  </a:lnTo>
                  <a:lnTo>
                    <a:pt x="298" y="251"/>
                  </a:lnTo>
                  <a:lnTo>
                    <a:pt x="301" y="249"/>
                  </a:lnTo>
                  <a:lnTo>
                    <a:pt x="304" y="249"/>
                  </a:lnTo>
                  <a:lnTo>
                    <a:pt x="309" y="249"/>
                  </a:lnTo>
                  <a:lnTo>
                    <a:pt x="312" y="249"/>
                  </a:lnTo>
                  <a:lnTo>
                    <a:pt x="314" y="246"/>
                  </a:lnTo>
                  <a:lnTo>
                    <a:pt x="314" y="243"/>
                  </a:lnTo>
                  <a:lnTo>
                    <a:pt x="314" y="235"/>
                  </a:lnTo>
                  <a:lnTo>
                    <a:pt x="314" y="233"/>
                  </a:lnTo>
                  <a:lnTo>
                    <a:pt x="317" y="233"/>
                  </a:lnTo>
                  <a:lnTo>
                    <a:pt x="317" y="230"/>
                  </a:lnTo>
                  <a:lnTo>
                    <a:pt x="314" y="230"/>
                  </a:lnTo>
                  <a:lnTo>
                    <a:pt x="314" y="225"/>
                  </a:lnTo>
                  <a:lnTo>
                    <a:pt x="312" y="225"/>
                  </a:lnTo>
                  <a:lnTo>
                    <a:pt x="312" y="225"/>
                  </a:lnTo>
                  <a:lnTo>
                    <a:pt x="312" y="217"/>
                  </a:lnTo>
                  <a:lnTo>
                    <a:pt x="314" y="214"/>
                  </a:lnTo>
                  <a:lnTo>
                    <a:pt x="322" y="206"/>
                  </a:lnTo>
                  <a:lnTo>
                    <a:pt x="322" y="206"/>
                  </a:lnTo>
                  <a:lnTo>
                    <a:pt x="322" y="203"/>
                  </a:lnTo>
                  <a:lnTo>
                    <a:pt x="322" y="201"/>
                  </a:lnTo>
                  <a:lnTo>
                    <a:pt x="322" y="187"/>
                  </a:lnTo>
                  <a:lnTo>
                    <a:pt x="322" y="185"/>
                  </a:lnTo>
                  <a:lnTo>
                    <a:pt x="322" y="182"/>
                  </a:lnTo>
                  <a:lnTo>
                    <a:pt x="325" y="177"/>
                  </a:lnTo>
                  <a:lnTo>
                    <a:pt x="328" y="171"/>
                  </a:lnTo>
                  <a:lnTo>
                    <a:pt x="328" y="169"/>
                  </a:lnTo>
                  <a:lnTo>
                    <a:pt x="330" y="166"/>
                  </a:lnTo>
                  <a:lnTo>
                    <a:pt x="333" y="163"/>
                  </a:lnTo>
                  <a:lnTo>
                    <a:pt x="336" y="163"/>
                  </a:lnTo>
                  <a:lnTo>
                    <a:pt x="338" y="161"/>
                  </a:lnTo>
                  <a:lnTo>
                    <a:pt x="341" y="161"/>
                  </a:lnTo>
                  <a:lnTo>
                    <a:pt x="346" y="153"/>
                  </a:lnTo>
                  <a:lnTo>
                    <a:pt x="346" y="153"/>
                  </a:lnTo>
                  <a:lnTo>
                    <a:pt x="349" y="147"/>
                  </a:lnTo>
                  <a:lnTo>
                    <a:pt x="349" y="147"/>
                  </a:lnTo>
                  <a:lnTo>
                    <a:pt x="349" y="147"/>
                  </a:lnTo>
                  <a:lnTo>
                    <a:pt x="354" y="144"/>
                  </a:lnTo>
                  <a:lnTo>
                    <a:pt x="357" y="142"/>
                  </a:lnTo>
                  <a:lnTo>
                    <a:pt x="360" y="136"/>
                  </a:lnTo>
                  <a:lnTo>
                    <a:pt x="360" y="131"/>
                  </a:lnTo>
                  <a:lnTo>
                    <a:pt x="354" y="126"/>
                  </a:lnTo>
                  <a:lnTo>
                    <a:pt x="354" y="126"/>
                  </a:lnTo>
                  <a:lnTo>
                    <a:pt x="354" y="126"/>
                  </a:lnTo>
                  <a:lnTo>
                    <a:pt x="354" y="123"/>
                  </a:lnTo>
                  <a:lnTo>
                    <a:pt x="357" y="123"/>
                  </a:lnTo>
                  <a:lnTo>
                    <a:pt x="362" y="123"/>
                  </a:lnTo>
                  <a:lnTo>
                    <a:pt x="365" y="115"/>
                  </a:lnTo>
                  <a:lnTo>
                    <a:pt x="370" y="104"/>
                  </a:lnTo>
                  <a:lnTo>
                    <a:pt x="373" y="99"/>
                  </a:lnTo>
                  <a:lnTo>
                    <a:pt x="373" y="99"/>
                  </a:lnTo>
                  <a:lnTo>
                    <a:pt x="376" y="99"/>
                  </a:lnTo>
                  <a:lnTo>
                    <a:pt x="376" y="96"/>
                  </a:lnTo>
                  <a:lnTo>
                    <a:pt x="373" y="94"/>
                  </a:lnTo>
                  <a:lnTo>
                    <a:pt x="370" y="94"/>
                  </a:lnTo>
                  <a:lnTo>
                    <a:pt x="368" y="94"/>
                  </a:lnTo>
                  <a:lnTo>
                    <a:pt x="365" y="91"/>
                  </a:lnTo>
                  <a:lnTo>
                    <a:pt x="365" y="91"/>
                  </a:lnTo>
                  <a:lnTo>
                    <a:pt x="362" y="86"/>
                  </a:lnTo>
                  <a:lnTo>
                    <a:pt x="360" y="83"/>
                  </a:lnTo>
                  <a:lnTo>
                    <a:pt x="357" y="83"/>
                  </a:lnTo>
                  <a:lnTo>
                    <a:pt x="352" y="80"/>
                  </a:lnTo>
                  <a:lnTo>
                    <a:pt x="352" y="78"/>
                  </a:lnTo>
                  <a:lnTo>
                    <a:pt x="349" y="75"/>
                  </a:lnTo>
                  <a:lnTo>
                    <a:pt x="349" y="70"/>
                  </a:lnTo>
                  <a:lnTo>
                    <a:pt x="349" y="70"/>
                  </a:lnTo>
                  <a:lnTo>
                    <a:pt x="349" y="67"/>
                  </a:lnTo>
                  <a:lnTo>
                    <a:pt x="352" y="64"/>
                  </a:lnTo>
                  <a:lnTo>
                    <a:pt x="349" y="64"/>
                  </a:lnTo>
                  <a:lnTo>
                    <a:pt x="349" y="62"/>
                  </a:lnTo>
                  <a:lnTo>
                    <a:pt x="346" y="62"/>
                  </a:lnTo>
                  <a:lnTo>
                    <a:pt x="344" y="59"/>
                  </a:lnTo>
                  <a:lnTo>
                    <a:pt x="344" y="59"/>
                  </a:lnTo>
                  <a:lnTo>
                    <a:pt x="341" y="56"/>
                  </a:lnTo>
                  <a:lnTo>
                    <a:pt x="341" y="54"/>
                  </a:lnTo>
                  <a:lnTo>
                    <a:pt x="341" y="51"/>
                  </a:lnTo>
                  <a:lnTo>
                    <a:pt x="341" y="48"/>
                  </a:lnTo>
                  <a:lnTo>
                    <a:pt x="344" y="48"/>
                  </a:lnTo>
                  <a:lnTo>
                    <a:pt x="349" y="46"/>
                  </a:lnTo>
                  <a:lnTo>
                    <a:pt x="349" y="46"/>
                  </a:lnTo>
                  <a:lnTo>
                    <a:pt x="352" y="43"/>
                  </a:lnTo>
                  <a:lnTo>
                    <a:pt x="352" y="40"/>
                  </a:lnTo>
                  <a:lnTo>
                    <a:pt x="349" y="40"/>
                  </a:lnTo>
                  <a:lnTo>
                    <a:pt x="344" y="38"/>
                  </a:lnTo>
                  <a:lnTo>
                    <a:pt x="341" y="38"/>
                  </a:lnTo>
                  <a:lnTo>
                    <a:pt x="341" y="35"/>
                  </a:lnTo>
                  <a:lnTo>
                    <a:pt x="341" y="30"/>
                  </a:lnTo>
                  <a:lnTo>
                    <a:pt x="344" y="24"/>
                  </a:lnTo>
                  <a:lnTo>
                    <a:pt x="344" y="22"/>
                  </a:lnTo>
                  <a:lnTo>
                    <a:pt x="346" y="22"/>
                  </a:lnTo>
                  <a:lnTo>
                    <a:pt x="346" y="19"/>
                  </a:lnTo>
                  <a:lnTo>
                    <a:pt x="349" y="16"/>
                  </a:lnTo>
                  <a:lnTo>
                    <a:pt x="349" y="14"/>
                  </a:lnTo>
                  <a:lnTo>
                    <a:pt x="346" y="11"/>
                  </a:lnTo>
                  <a:lnTo>
                    <a:pt x="346" y="8"/>
                  </a:lnTo>
                  <a:lnTo>
                    <a:pt x="344" y="8"/>
                  </a:lnTo>
                  <a:lnTo>
                    <a:pt x="341" y="8"/>
                  </a:lnTo>
                  <a:lnTo>
                    <a:pt x="341" y="8"/>
                  </a:lnTo>
                  <a:lnTo>
                    <a:pt x="338" y="8"/>
                  </a:lnTo>
                  <a:lnTo>
                    <a:pt x="338" y="6"/>
                  </a:lnTo>
                  <a:lnTo>
                    <a:pt x="338" y="0"/>
                  </a:lnTo>
                  <a:lnTo>
                    <a:pt x="336" y="3"/>
                  </a:lnTo>
                  <a:lnTo>
                    <a:pt x="314" y="3"/>
                  </a:lnTo>
                  <a:lnTo>
                    <a:pt x="293" y="6"/>
                  </a:lnTo>
                  <a:lnTo>
                    <a:pt x="272" y="6"/>
                  </a:lnTo>
                  <a:lnTo>
                    <a:pt x="250" y="8"/>
                  </a:lnTo>
                  <a:lnTo>
                    <a:pt x="232" y="11"/>
                  </a:lnTo>
                  <a:lnTo>
                    <a:pt x="210" y="11"/>
                  </a:lnTo>
                  <a:lnTo>
                    <a:pt x="189" y="14"/>
                  </a:lnTo>
                  <a:lnTo>
                    <a:pt x="168" y="14"/>
                  </a:lnTo>
                  <a:lnTo>
                    <a:pt x="146" y="16"/>
                  </a:lnTo>
                  <a:lnTo>
                    <a:pt x="125" y="16"/>
                  </a:lnTo>
                  <a:lnTo>
                    <a:pt x="104" y="19"/>
                  </a:lnTo>
                  <a:lnTo>
                    <a:pt x="82" y="19"/>
                  </a:lnTo>
                  <a:lnTo>
                    <a:pt x="61" y="22"/>
                  </a:lnTo>
                  <a:lnTo>
                    <a:pt x="40" y="22"/>
                  </a:lnTo>
                  <a:lnTo>
                    <a:pt x="21" y="24"/>
                  </a:lnTo>
                  <a:lnTo>
                    <a:pt x="0" y="24"/>
                  </a:lnTo>
                  <a:lnTo>
                    <a:pt x="0" y="40"/>
                  </a:lnTo>
                  <a:lnTo>
                    <a:pt x="2" y="75"/>
                  </a:lnTo>
                  <a:lnTo>
                    <a:pt x="2" y="91"/>
                  </a:lnTo>
                  <a:lnTo>
                    <a:pt x="2" y="107"/>
                  </a:lnTo>
                  <a:lnTo>
                    <a:pt x="5" y="123"/>
                  </a:lnTo>
                  <a:lnTo>
                    <a:pt x="5" y="139"/>
                  </a:lnTo>
                  <a:lnTo>
                    <a:pt x="5" y="158"/>
                  </a:lnTo>
                  <a:lnTo>
                    <a:pt x="5" y="166"/>
                  </a:lnTo>
                  <a:lnTo>
                    <a:pt x="8" y="169"/>
                  </a:lnTo>
                  <a:lnTo>
                    <a:pt x="8" y="169"/>
                  </a:lnTo>
                  <a:lnTo>
                    <a:pt x="8" y="169"/>
                  </a:lnTo>
                  <a:lnTo>
                    <a:pt x="8" y="169"/>
                  </a:lnTo>
                  <a:lnTo>
                    <a:pt x="10" y="171"/>
                  </a:lnTo>
                  <a:lnTo>
                    <a:pt x="10" y="171"/>
                  </a:lnTo>
                  <a:lnTo>
                    <a:pt x="13" y="171"/>
                  </a:lnTo>
                  <a:lnTo>
                    <a:pt x="16" y="177"/>
                  </a:lnTo>
                  <a:lnTo>
                    <a:pt x="16" y="177"/>
                  </a:lnTo>
                  <a:lnTo>
                    <a:pt x="16" y="177"/>
                  </a:lnTo>
                  <a:lnTo>
                    <a:pt x="16" y="177"/>
                  </a:lnTo>
                  <a:lnTo>
                    <a:pt x="21" y="179"/>
                  </a:lnTo>
                  <a:lnTo>
                    <a:pt x="21" y="179"/>
                  </a:lnTo>
                  <a:lnTo>
                    <a:pt x="24" y="182"/>
                  </a:lnTo>
                  <a:lnTo>
                    <a:pt x="26" y="185"/>
                  </a:lnTo>
                  <a:lnTo>
                    <a:pt x="26" y="187"/>
                  </a:lnTo>
                  <a:lnTo>
                    <a:pt x="26" y="187"/>
                  </a:lnTo>
                  <a:lnTo>
                    <a:pt x="29" y="190"/>
                  </a:lnTo>
                  <a:lnTo>
                    <a:pt x="29" y="190"/>
                  </a:lnTo>
                  <a:lnTo>
                    <a:pt x="32" y="195"/>
                  </a:lnTo>
                  <a:lnTo>
                    <a:pt x="32" y="195"/>
                  </a:lnTo>
                  <a:lnTo>
                    <a:pt x="34" y="201"/>
                  </a:lnTo>
                  <a:lnTo>
                    <a:pt x="34" y="203"/>
                  </a:lnTo>
                  <a:lnTo>
                    <a:pt x="34" y="203"/>
                  </a:lnTo>
                  <a:lnTo>
                    <a:pt x="34" y="203"/>
                  </a:lnTo>
                  <a:lnTo>
                    <a:pt x="34" y="206"/>
                  </a:lnTo>
                  <a:lnTo>
                    <a:pt x="37" y="206"/>
                  </a:lnTo>
                  <a:lnTo>
                    <a:pt x="37" y="206"/>
                  </a:lnTo>
                  <a:lnTo>
                    <a:pt x="37" y="206"/>
                  </a:lnTo>
                  <a:lnTo>
                    <a:pt x="34" y="209"/>
                  </a:lnTo>
                  <a:lnTo>
                    <a:pt x="34" y="211"/>
                  </a:lnTo>
                  <a:lnTo>
                    <a:pt x="34" y="214"/>
                  </a:lnTo>
                  <a:lnTo>
                    <a:pt x="34" y="217"/>
                  </a:lnTo>
                  <a:lnTo>
                    <a:pt x="34" y="217"/>
                  </a:lnTo>
                  <a:lnTo>
                    <a:pt x="34" y="217"/>
                  </a:lnTo>
                  <a:lnTo>
                    <a:pt x="34" y="219"/>
                  </a:lnTo>
                  <a:lnTo>
                    <a:pt x="34" y="219"/>
                  </a:lnTo>
                  <a:lnTo>
                    <a:pt x="34" y="222"/>
                  </a:lnTo>
                  <a:lnTo>
                    <a:pt x="34" y="222"/>
                  </a:lnTo>
                  <a:lnTo>
                    <a:pt x="34" y="222"/>
                  </a:lnTo>
                  <a:lnTo>
                    <a:pt x="37" y="225"/>
                  </a:lnTo>
                  <a:lnTo>
                    <a:pt x="37" y="227"/>
                  </a:lnTo>
                  <a:lnTo>
                    <a:pt x="40" y="230"/>
                  </a:lnTo>
                  <a:lnTo>
                    <a:pt x="42" y="230"/>
                  </a:lnTo>
                  <a:lnTo>
                    <a:pt x="42" y="230"/>
                  </a:lnTo>
                  <a:lnTo>
                    <a:pt x="42" y="230"/>
                  </a:lnTo>
                  <a:lnTo>
                    <a:pt x="45" y="233"/>
                  </a:lnTo>
                  <a:lnTo>
                    <a:pt x="48" y="233"/>
                  </a:lnTo>
                  <a:lnTo>
                    <a:pt x="48" y="233"/>
                  </a:lnTo>
                  <a:lnTo>
                    <a:pt x="48" y="233"/>
                  </a:lnTo>
                  <a:lnTo>
                    <a:pt x="48" y="233"/>
                  </a:lnTo>
                  <a:lnTo>
                    <a:pt x="48" y="235"/>
                  </a:lnTo>
                  <a:lnTo>
                    <a:pt x="48" y="235"/>
                  </a:lnTo>
                  <a:lnTo>
                    <a:pt x="48" y="235"/>
                  </a:lnTo>
                  <a:lnTo>
                    <a:pt x="48" y="235"/>
                  </a:lnTo>
                  <a:lnTo>
                    <a:pt x="45" y="235"/>
                  </a:lnTo>
                  <a:lnTo>
                    <a:pt x="45" y="235"/>
                  </a:lnTo>
                  <a:lnTo>
                    <a:pt x="45" y="238"/>
                  </a:lnTo>
                  <a:lnTo>
                    <a:pt x="45" y="238"/>
                  </a:lnTo>
                  <a:lnTo>
                    <a:pt x="45" y="238"/>
                  </a:lnTo>
                  <a:lnTo>
                    <a:pt x="48" y="241"/>
                  </a:lnTo>
                  <a:lnTo>
                    <a:pt x="48" y="241"/>
                  </a:lnTo>
                  <a:lnTo>
                    <a:pt x="48" y="241"/>
                  </a:lnTo>
                  <a:lnTo>
                    <a:pt x="50" y="241"/>
                  </a:lnTo>
                  <a:lnTo>
                    <a:pt x="50" y="241"/>
                  </a:lnTo>
                  <a:lnTo>
                    <a:pt x="50" y="241"/>
                  </a:lnTo>
                  <a:lnTo>
                    <a:pt x="50" y="241"/>
                  </a:lnTo>
                  <a:lnTo>
                    <a:pt x="50" y="243"/>
                  </a:lnTo>
                  <a:lnTo>
                    <a:pt x="50" y="246"/>
                  </a:lnTo>
                  <a:lnTo>
                    <a:pt x="53" y="246"/>
                  </a:lnTo>
                  <a:lnTo>
                    <a:pt x="53" y="246"/>
                  </a:lnTo>
                  <a:lnTo>
                    <a:pt x="53" y="249"/>
                  </a:lnTo>
                  <a:lnTo>
                    <a:pt x="56" y="251"/>
                  </a:lnTo>
                  <a:lnTo>
                    <a:pt x="58" y="251"/>
                  </a:lnTo>
                  <a:lnTo>
                    <a:pt x="58" y="251"/>
                  </a:lnTo>
                  <a:lnTo>
                    <a:pt x="58" y="251"/>
                  </a:lnTo>
                  <a:lnTo>
                    <a:pt x="56" y="254"/>
                  </a:lnTo>
                  <a:lnTo>
                    <a:pt x="56" y="254"/>
                  </a:lnTo>
                  <a:lnTo>
                    <a:pt x="56" y="257"/>
                  </a:lnTo>
                  <a:lnTo>
                    <a:pt x="56" y="257"/>
                  </a:lnTo>
                  <a:lnTo>
                    <a:pt x="56" y="259"/>
                  </a:lnTo>
                  <a:lnTo>
                    <a:pt x="56" y="259"/>
                  </a:lnTo>
                  <a:lnTo>
                    <a:pt x="56" y="259"/>
                  </a:lnTo>
                  <a:lnTo>
                    <a:pt x="56" y="262"/>
                  </a:lnTo>
                  <a:lnTo>
                    <a:pt x="61" y="265"/>
                  </a:lnTo>
                  <a:lnTo>
                    <a:pt x="61" y="265"/>
                  </a:lnTo>
                  <a:lnTo>
                    <a:pt x="61" y="265"/>
                  </a:lnTo>
                  <a:lnTo>
                    <a:pt x="61" y="267"/>
                  </a:lnTo>
                  <a:lnTo>
                    <a:pt x="61" y="267"/>
                  </a:lnTo>
                  <a:lnTo>
                    <a:pt x="64" y="267"/>
                  </a:lnTo>
                  <a:lnTo>
                    <a:pt x="64" y="270"/>
                  </a:lnTo>
                  <a:lnTo>
                    <a:pt x="64" y="270"/>
                  </a:lnTo>
                  <a:lnTo>
                    <a:pt x="64" y="270"/>
                  </a:lnTo>
                  <a:lnTo>
                    <a:pt x="64" y="273"/>
                  </a:lnTo>
                  <a:lnTo>
                    <a:pt x="64" y="275"/>
                  </a:lnTo>
                  <a:lnTo>
                    <a:pt x="66" y="275"/>
                  </a:lnTo>
                  <a:lnTo>
                    <a:pt x="66" y="275"/>
                  </a:lnTo>
                  <a:lnTo>
                    <a:pt x="66" y="278"/>
                  </a:lnTo>
                  <a:lnTo>
                    <a:pt x="66" y="278"/>
                  </a:lnTo>
                  <a:lnTo>
                    <a:pt x="66" y="278"/>
                  </a:lnTo>
                  <a:lnTo>
                    <a:pt x="66" y="278"/>
                  </a:lnTo>
                  <a:lnTo>
                    <a:pt x="66" y="278"/>
                  </a:lnTo>
                  <a:lnTo>
                    <a:pt x="69" y="275"/>
                  </a:lnTo>
                  <a:lnTo>
                    <a:pt x="72" y="278"/>
                  </a:lnTo>
                  <a:lnTo>
                    <a:pt x="72" y="278"/>
                  </a:lnTo>
                  <a:lnTo>
                    <a:pt x="72" y="286"/>
                  </a:lnTo>
                  <a:lnTo>
                    <a:pt x="72" y="286"/>
                  </a:lnTo>
                  <a:lnTo>
                    <a:pt x="72" y="289"/>
                  </a:lnTo>
                  <a:lnTo>
                    <a:pt x="72" y="291"/>
                  </a:lnTo>
                  <a:lnTo>
                    <a:pt x="74" y="294"/>
                  </a:lnTo>
                  <a:lnTo>
                    <a:pt x="77" y="297"/>
                  </a:lnTo>
                  <a:lnTo>
                    <a:pt x="77" y="297"/>
                  </a:lnTo>
                  <a:lnTo>
                    <a:pt x="77" y="299"/>
                  </a:lnTo>
                  <a:lnTo>
                    <a:pt x="77" y="299"/>
                  </a:lnTo>
                  <a:lnTo>
                    <a:pt x="72" y="302"/>
                  </a:lnTo>
                  <a:lnTo>
                    <a:pt x="72" y="302"/>
                  </a:lnTo>
                  <a:lnTo>
                    <a:pt x="69" y="302"/>
                  </a:lnTo>
                  <a:lnTo>
                    <a:pt x="72" y="307"/>
                  </a:lnTo>
                  <a:lnTo>
                    <a:pt x="74" y="310"/>
                  </a:lnTo>
                  <a:lnTo>
                    <a:pt x="74" y="310"/>
                  </a:lnTo>
                  <a:lnTo>
                    <a:pt x="74" y="313"/>
                  </a:lnTo>
                  <a:lnTo>
                    <a:pt x="74" y="313"/>
                  </a:lnTo>
                  <a:lnTo>
                    <a:pt x="74" y="313"/>
                  </a:lnTo>
                  <a:lnTo>
                    <a:pt x="72" y="315"/>
                  </a:lnTo>
                  <a:lnTo>
                    <a:pt x="72" y="318"/>
                  </a:lnTo>
                  <a:lnTo>
                    <a:pt x="72" y="318"/>
                  </a:lnTo>
                  <a:lnTo>
                    <a:pt x="72" y="321"/>
                  </a:lnTo>
                  <a:lnTo>
                    <a:pt x="72" y="323"/>
                  </a:lnTo>
                  <a:lnTo>
                    <a:pt x="72" y="323"/>
                  </a:lnTo>
                  <a:lnTo>
                    <a:pt x="72" y="326"/>
                  </a:lnTo>
                  <a:lnTo>
                    <a:pt x="72" y="326"/>
                  </a:lnTo>
                  <a:lnTo>
                    <a:pt x="72" y="329"/>
                  </a:lnTo>
                  <a:lnTo>
                    <a:pt x="69" y="337"/>
                  </a:lnTo>
                  <a:lnTo>
                    <a:pt x="66" y="345"/>
                  </a:lnTo>
                  <a:lnTo>
                    <a:pt x="66" y="348"/>
                  </a:lnTo>
                  <a:lnTo>
                    <a:pt x="61" y="350"/>
                  </a:lnTo>
                  <a:lnTo>
                    <a:pt x="61" y="353"/>
                  </a:lnTo>
                  <a:lnTo>
                    <a:pt x="61" y="358"/>
                  </a:lnTo>
                  <a:lnTo>
                    <a:pt x="61" y="361"/>
                  </a:lnTo>
                  <a:lnTo>
                    <a:pt x="58" y="361"/>
                  </a:lnTo>
                  <a:lnTo>
                    <a:pt x="56" y="364"/>
                  </a:lnTo>
                  <a:lnTo>
                    <a:pt x="56" y="366"/>
                  </a:lnTo>
                  <a:lnTo>
                    <a:pt x="56" y="369"/>
                  </a:lnTo>
                  <a:lnTo>
                    <a:pt x="56" y="369"/>
                  </a:lnTo>
                  <a:lnTo>
                    <a:pt x="56" y="369"/>
                  </a:lnTo>
                  <a:lnTo>
                    <a:pt x="56" y="372"/>
                  </a:lnTo>
                  <a:lnTo>
                    <a:pt x="56" y="374"/>
                  </a:lnTo>
                  <a:lnTo>
                    <a:pt x="56" y="374"/>
                  </a:lnTo>
                  <a:lnTo>
                    <a:pt x="58" y="377"/>
                  </a:lnTo>
                  <a:lnTo>
                    <a:pt x="58" y="380"/>
                  </a:lnTo>
                  <a:lnTo>
                    <a:pt x="58" y="382"/>
                  </a:lnTo>
                  <a:lnTo>
                    <a:pt x="58" y="385"/>
                  </a:lnTo>
                  <a:lnTo>
                    <a:pt x="56" y="388"/>
                  </a:lnTo>
                  <a:lnTo>
                    <a:pt x="53" y="390"/>
                  </a:lnTo>
                  <a:lnTo>
                    <a:pt x="53" y="393"/>
                  </a:lnTo>
                  <a:lnTo>
                    <a:pt x="53" y="398"/>
                  </a:lnTo>
                  <a:lnTo>
                    <a:pt x="56" y="401"/>
                  </a:lnTo>
                  <a:lnTo>
                    <a:pt x="58" y="404"/>
                  </a:lnTo>
                  <a:lnTo>
                    <a:pt x="58" y="406"/>
                  </a:lnTo>
                  <a:lnTo>
                    <a:pt x="61" y="409"/>
                  </a:lnTo>
                  <a:lnTo>
                    <a:pt x="58" y="409"/>
                  </a:lnTo>
                  <a:lnTo>
                    <a:pt x="58" y="412"/>
                  </a:lnTo>
                  <a:lnTo>
                    <a:pt x="58" y="414"/>
                  </a:lnTo>
                  <a:lnTo>
                    <a:pt x="58" y="414"/>
                  </a:lnTo>
                  <a:lnTo>
                    <a:pt x="61" y="417"/>
                  </a:lnTo>
                  <a:lnTo>
                    <a:pt x="61" y="420"/>
                  </a:lnTo>
                  <a:lnTo>
                    <a:pt x="61" y="422"/>
                  </a:lnTo>
                  <a:lnTo>
                    <a:pt x="61" y="422"/>
                  </a:lnTo>
                  <a:lnTo>
                    <a:pt x="61" y="425"/>
                  </a:lnTo>
                  <a:lnTo>
                    <a:pt x="61" y="428"/>
                  </a:lnTo>
                  <a:lnTo>
                    <a:pt x="58" y="430"/>
                  </a:lnTo>
                  <a:lnTo>
                    <a:pt x="58" y="433"/>
                  </a:lnTo>
                  <a:lnTo>
                    <a:pt x="61" y="436"/>
                  </a:lnTo>
                  <a:lnTo>
                    <a:pt x="53" y="444"/>
                  </a:lnTo>
                  <a:lnTo>
                    <a:pt x="50" y="446"/>
                  </a:lnTo>
                  <a:lnTo>
                    <a:pt x="50" y="446"/>
                  </a:lnTo>
                  <a:lnTo>
                    <a:pt x="53" y="446"/>
                  </a:lnTo>
                  <a:lnTo>
                    <a:pt x="56" y="449"/>
                  </a:lnTo>
                  <a:lnTo>
                    <a:pt x="56" y="449"/>
                  </a:lnTo>
                  <a:lnTo>
                    <a:pt x="56" y="460"/>
                  </a:lnTo>
                  <a:lnTo>
                    <a:pt x="50" y="470"/>
                  </a:lnTo>
                  <a:lnTo>
                    <a:pt x="48" y="470"/>
                  </a:lnTo>
                  <a:lnTo>
                    <a:pt x="42" y="470"/>
                  </a:lnTo>
                  <a:lnTo>
                    <a:pt x="40" y="473"/>
                  </a:lnTo>
                  <a:lnTo>
                    <a:pt x="40" y="476"/>
                  </a:lnTo>
                  <a:lnTo>
                    <a:pt x="42" y="481"/>
                  </a:lnTo>
                  <a:lnTo>
                    <a:pt x="45" y="486"/>
                  </a:lnTo>
                  <a:lnTo>
                    <a:pt x="48" y="486"/>
                  </a:lnTo>
                  <a:lnTo>
                    <a:pt x="50" y="486"/>
                  </a:lnTo>
                  <a:lnTo>
                    <a:pt x="53" y="484"/>
                  </a:lnTo>
                  <a:lnTo>
                    <a:pt x="56" y="484"/>
                  </a:lnTo>
                  <a:lnTo>
                    <a:pt x="58" y="481"/>
                  </a:lnTo>
                  <a:lnTo>
                    <a:pt x="61" y="478"/>
                  </a:lnTo>
                  <a:lnTo>
                    <a:pt x="66" y="478"/>
                  </a:lnTo>
                  <a:lnTo>
                    <a:pt x="77" y="476"/>
                  </a:lnTo>
                  <a:lnTo>
                    <a:pt x="77" y="476"/>
                  </a:lnTo>
                  <a:lnTo>
                    <a:pt x="77" y="476"/>
                  </a:lnTo>
                  <a:lnTo>
                    <a:pt x="77" y="476"/>
                  </a:lnTo>
                  <a:lnTo>
                    <a:pt x="90" y="476"/>
                  </a:lnTo>
                  <a:lnTo>
                    <a:pt x="93" y="476"/>
                  </a:lnTo>
                  <a:lnTo>
                    <a:pt x="96" y="476"/>
                  </a:lnTo>
                  <a:lnTo>
                    <a:pt x="101" y="476"/>
                  </a:lnTo>
                  <a:lnTo>
                    <a:pt x="104" y="476"/>
                  </a:lnTo>
                  <a:lnTo>
                    <a:pt x="106" y="473"/>
                  </a:lnTo>
                  <a:lnTo>
                    <a:pt x="112" y="473"/>
                  </a:lnTo>
                  <a:lnTo>
                    <a:pt x="120" y="470"/>
                  </a:lnTo>
                  <a:lnTo>
                    <a:pt x="125" y="473"/>
                  </a:lnTo>
                  <a:lnTo>
                    <a:pt x="138" y="476"/>
                  </a:lnTo>
                  <a:lnTo>
                    <a:pt x="146" y="478"/>
                  </a:lnTo>
                  <a:lnTo>
                    <a:pt x="162" y="481"/>
                  </a:lnTo>
                  <a:lnTo>
                    <a:pt x="170" y="486"/>
                  </a:lnTo>
                  <a:lnTo>
                    <a:pt x="173" y="489"/>
                  </a:lnTo>
                  <a:lnTo>
                    <a:pt x="186" y="494"/>
                  </a:lnTo>
                  <a:lnTo>
                    <a:pt x="208" y="497"/>
                  </a:lnTo>
                  <a:lnTo>
                    <a:pt x="210" y="494"/>
                  </a:lnTo>
                  <a:lnTo>
                    <a:pt x="213" y="497"/>
                  </a:lnTo>
                  <a:lnTo>
                    <a:pt x="213" y="494"/>
                  </a:lnTo>
                  <a:lnTo>
                    <a:pt x="216" y="497"/>
                  </a:lnTo>
                  <a:lnTo>
                    <a:pt x="237" y="500"/>
                  </a:lnTo>
                  <a:lnTo>
                    <a:pt x="240" y="497"/>
                  </a:lnTo>
                  <a:lnTo>
                    <a:pt x="242" y="497"/>
                  </a:lnTo>
                  <a:lnTo>
                    <a:pt x="250" y="492"/>
                  </a:lnTo>
                  <a:lnTo>
                    <a:pt x="256" y="492"/>
                  </a:lnTo>
                  <a:lnTo>
                    <a:pt x="264" y="492"/>
                  </a:lnTo>
                  <a:lnTo>
                    <a:pt x="266" y="492"/>
                  </a:lnTo>
                  <a:lnTo>
                    <a:pt x="266" y="489"/>
                  </a:lnTo>
                  <a:lnTo>
                    <a:pt x="264" y="489"/>
                  </a:lnTo>
                  <a:lnTo>
                    <a:pt x="266" y="486"/>
                  </a:lnTo>
                  <a:lnTo>
                    <a:pt x="266" y="486"/>
                  </a:lnTo>
                  <a:lnTo>
                    <a:pt x="272" y="484"/>
                  </a:lnTo>
                  <a:lnTo>
                    <a:pt x="269" y="484"/>
                  </a:lnTo>
                  <a:lnTo>
                    <a:pt x="266" y="484"/>
                  </a:lnTo>
                  <a:lnTo>
                    <a:pt x="264" y="484"/>
                  </a:lnTo>
                  <a:lnTo>
                    <a:pt x="261" y="486"/>
                  </a:lnTo>
                  <a:lnTo>
                    <a:pt x="261" y="486"/>
                  </a:lnTo>
                  <a:lnTo>
                    <a:pt x="258" y="484"/>
                  </a:lnTo>
                  <a:lnTo>
                    <a:pt x="256" y="476"/>
                  </a:lnTo>
                  <a:lnTo>
                    <a:pt x="258" y="476"/>
                  </a:lnTo>
                  <a:lnTo>
                    <a:pt x="261" y="473"/>
                  </a:lnTo>
                  <a:lnTo>
                    <a:pt x="258" y="473"/>
                  </a:lnTo>
                  <a:lnTo>
                    <a:pt x="258" y="473"/>
                  </a:lnTo>
                  <a:lnTo>
                    <a:pt x="258" y="473"/>
                  </a:lnTo>
                  <a:lnTo>
                    <a:pt x="256" y="476"/>
                  </a:lnTo>
                  <a:lnTo>
                    <a:pt x="253" y="476"/>
                  </a:lnTo>
                  <a:lnTo>
                    <a:pt x="253" y="476"/>
                  </a:lnTo>
                  <a:lnTo>
                    <a:pt x="250" y="476"/>
                  </a:lnTo>
                  <a:lnTo>
                    <a:pt x="250" y="473"/>
                  </a:lnTo>
                  <a:lnTo>
                    <a:pt x="248" y="470"/>
                  </a:lnTo>
                  <a:lnTo>
                    <a:pt x="248" y="468"/>
                  </a:lnTo>
                  <a:lnTo>
                    <a:pt x="250" y="468"/>
                  </a:lnTo>
                  <a:lnTo>
                    <a:pt x="250" y="468"/>
                  </a:lnTo>
                  <a:lnTo>
                    <a:pt x="250" y="468"/>
                  </a:lnTo>
                  <a:lnTo>
                    <a:pt x="253" y="465"/>
                  </a:lnTo>
                  <a:lnTo>
                    <a:pt x="253" y="465"/>
                  </a:lnTo>
                  <a:lnTo>
                    <a:pt x="256" y="465"/>
                  </a:lnTo>
                  <a:lnTo>
                    <a:pt x="256" y="468"/>
                  </a:lnTo>
                  <a:lnTo>
                    <a:pt x="256" y="468"/>
                  </a:lnTo>
                  <a:lnTo>
                    <a:pt x="253" y="470"/>
                  </a:lnTo>
                  <a:lnTo>
                    <a:pt x="256" y="470"/>
                  </a:lnTo>
                  <a:lnTo>
                    <a:pt x="258" y="470"/>
                  </a:lnTo>
                  <a:lnTo>
                    <a:pt x="261" y="465"/>
                  </a:lnTo>
                  <a:lnTo>
                    <a:pt x="261" y="465"/>
                  </a:lnTo>
                  <a:lnTo>
                    <a:pt x="272" y="460"/>
                  </a:lnTo>
                  <a:lnTo>
                    <a:pt x="272" y="460"/>
                  </a:lnTo>
                  <a:lnTo>
                    <a:pt x="274" y="457"/>
                  </a:lnTo>
                  <a:lnTo>
                    <a:pt x="274" y="457"/>
                  </a:lnTo>
                  <a:lnTo>
                    <a:pt x="274" y="454"/>
                  </a:lnTo>
                  <a:lnTo>
                    <a:pt x="274" y="454"/>
                  </a:lnTo>
                  <a:lnTo>
                    <a:pt x="277" y="454"/>
                  </a:lnTo>
                  <a:lnTo>
                    <a:pt x="277" y="457"/>
                  </a:lnTo>
                  <a:lnTo>
                    <a:pt x="280" y="457"/>
                  </a:lnTo>
                  <a:lnTo>
                    <a:pt x="282" y="454"/>
                  </a:lnTo>
                  <a:lnTo>
                    <a:pt x="285" y="454"/>
                  </a:lnTo>
                  <a:lnTo>
                    <a:pt x="290" y="454"/>
                  </a:lnTo>
                  <a:lnTo>
                    <a:pt x="290" y="454"/>
                  </a:lnTo>
                  <a:lnTo>
                    <a:pt x="293" y="457"/>
                  </a:lnTo>
                  <a:lnTo>
                    <a:pt x="293" y="457"/>
                  </a:lnTo>
                  <a:lnTo>
                    <a:pt x="293" y="460"/>
                  </a:lnTo>
                  <a:lnTo>
                    <a:pt x="290" y="460"/>
                  </a:lnTo>
                  <a:lnTo>
                    <a:pt x="290" y="460"/>
                  </a:lnTo>
                  <a:lnTo>
                    <a:pt x="290" y="457"/>
                  </a:lnTo>
                  <a:lnTo>
                    <a:pt x="288" y="460"/>
                  </a:lnTo>
                  <a:lnTo>
                    <a:pt x="288" y="462"/>
                  </a:lnTo>
                  <a:lnTo>
                    <a:pt x="288" y="465"/>
                  </a:lnTo>
                  <a:lnTo>
                    <a:pt x="288" y="465"/>
                  </a:lnTo>
                  <a:lnTo>
                    <a:pt x="288" y="468"/>
                  </a:lnTo>
                  <a:lnTo>
                    <a:pt x="288" y="468"/>
                  </a:lnTo>
                  <a:lnTo>
                    <a:pt x="290" y="470"/>
                  </a:lnTo>
                  <a:lnTo>
                    <a:pt x="293" y="470"/>
                  </a:lnTo>
                  <a:lnTo>
                    <a:pt x="298" y="465"/>
                  </a:lnTo>
                  <a:lnTo>
                    <a:pt x="298" y="465"/>
                  </a:lnTo>
                  <a:lnTo>
                    <a:pt x="312" y="465"/>
                  </a:lnTo>
                  <a:lnTo>
                    <a:pt x="314" y="465"/>
                  </a:lnTo>
                  <a:lnTo>
                    <a:pt x="317" y="465"/>
                  </a:lnTo>
                  <a:lnTo>
                    <a:pt x="317" y="468"/>
                  </a:lnTo>
                  <a:lnTo>
                    <a:pt x="317" y="473"/>
                  </a:lnTo>
                  <a:lnTo>
                    <a:pt x="317" y="476"/>
                  </a:lnTo>
                  <a:lnTo>
                    <a:pt x="317" y="478"/>
                  </a:lnTo>
                  <a:lnTo>
                    <a:pt x="317" y="481"/>
                  </a:lnTo>
                  <a:lnTo>
                    <a:pt x="320" y="481"/>
                  </a:lnTo>
                  <a:lnTo>
                    <a:pt x="322" y="478"/>
                  </a:lnTo>
                  <a:lnTo>
                    <a:pt x="325" y="478"/>
                  </a:lnTo>
                  <a:lnTo>
                    <a:pt x="325" y="478"/>
                  </a:lnTo>
                  <a:lnTo>
                    <a:pt x="328" y="478"/>
                  </a:lnTo>
                  <a:lnTo>
                    <a:pt x="328" y="481"/>
                  </a:lnTo>
                  <a:lnTo>
                    <a:pt x="328" y="481"/>
                  </a:lnTo>
                  <a:lnTo>
                    <a:pt x="328" y="484"/>
                  </a:lnTo>
                  <a:lnTo>
                    <a:pt x="330" y="486"/>
                  </a:lnTo>
                  <a:lnTo>
                    <a:pt x="330" y="489"/>
                  </a:lnTo>
                  <a:lnTo>
                    <a:pt x="330" y="492"/>
                  </a:lnTo>
                  <a:lnTo>
                    <a:pt x="328" y="492"/>
                  </a:lnTo>
                  <a:lnTo>
                    <a:pt x="330" y="494"/>
                  </a:lnTo>
                  <a:lnTo>
                    <a:pt x="336" y="492"/>
                  </a:lnTo>
                  <a:lnTo>
                    <a:pt x="341" y="489"/>
                  </a:lnTo>
                  <a:lnTo>
                    <a:pt x="344" y="489"/>
                  </a:lnTo>
                  <a:lnTo>
                    <a:pt x="346" y="489"/>
                  </a:lnTo>
                  <a:lnTo>
                    <a:pt x="346" y="489"/>
                  </a:lnTo>
                  <a:lnTo>
                    <a:pt x="344" y="492"/>
                  </a:lnTo>
                  <a:lnTo>
                    <a:pt x="344" y="492"/>
                  </a:lnTo>
                  <a:lnTo>
                    <a:pt x="344" y="494"/>
                  </a:lnTo>
                  <a:lnTo>
                    <a:pt x="346" y="494"/>
                  </a:lnTo>
                  <a:lnTo>
                    <a:pt x="349" y="494"/>
                  </a:lnTo>
                  <a:lnTo>
                    <a:pt x="352" y="494"/>
                  </a:lnTo>
                  <a:lnTo>
                    <a:pt x="357" y="497"/>
                  </a:lnTo>
                  <a:lnTo>
                    <a:pt x="360" y="497"/>
                  </a:lnTo>
                  <a:lnTo>
                    <a:pt x="360" y="497"/>
                  </a:lnTo>
                  <a:lnTo>
                    <a:pt x="362" y="494"/>
                  </a:lnTo>
                  <a:lnTo>
                    <a:pt x="362" y="492"/>
                  </a:lnTo>
                  <a:lnTo>
                    <a:pt x="362" y="492"/>
                  </a:lnTo>
                  <a:lnTo>
                    <a:pt x="362" y="492"/>
                  </a:lnTo>
                  <a:lnTo>
                    <a:pt x="362" y="489"/>
                  </a:lnTo>
                  <a:lnTo>
                    <a:pt x="362" y="489"/>
                  </a:lnTo>
                  <a:lnTo>
                    <a:pt x="365" y="484"/>
                  </a:lnTo>
                  <a:lnTo>
                    <a:pt x="365" y="484"/>
                  </a:lnTo>
                  <a:lnTo>
                    <a:pt x="365" y="478"/>
                  </a:lnTo>
                  <a:lnTo>
                    <a:pt x="365" y="478"/>
                  </a:lnTo>
                  <a:lnTo>
                    <a:pt x="368" y="481"/>
                  </a:lnTo>
                  <a:lnTo>
                    <a:pt x="368" y="481"/>
                  </a:lnTo>
                  <a:lnTo>
                    <a:pt x="370" y="484"/>
                  </a:lnTo>
                  <a:lnTo>
                    <a:pt x="370" y="486"/>
                  </a:lnTo>
                  <a:lnTo>
                    <a:pt x="368" y="486"/>
                  </a:lnTo>
                  <a:lnTo>
                    <a:pt x="368" y="486"/>
                  </a:lnTo>
                  <a:lnTo>
                    <a:pt x="365" y="489"/>
                  </a:lnTo>
                  <a:lnTo>
                    <a:pt x="365" y="492"/>
                  </a:lnTo>
                  <a:lnTo>
                    <a:pt x="365" y="497"/>
                  </a:lnTo>
                  <a:lnTo>
                    <a:pt x="365" y="500"/>
                  </a:lnTo>
                  <a:lnTo>
                    <a:pt x="368" y="502"/>
                  </a:lnTo>
                  <a:lnTo>
                    <a:pt x="368" y="502"/>
                  </a:lnTo>
                  <a:lnTo>
                    <a:pt x="370" y="502"/>
                  </a:lnTo>
                  <a:lnTo>
                    <a:pt x="370" y="505"/>
                  </a:lnTo>
                  <a:lnTo>
                    <a:pt x="370" y="505"/>
                  </a:lnTo>
                  <a:lnTo>
                    <a:pt x="370" y="508"/>
                  </a:lnTo>
                  <a:lnTo>
                    <a:pt x="370" y="508"/>
                  </a:lnTo>
                  <a:lnTo>
                    <a:pt x="373" y="511"/>
                  </a:lnTo>
                  <a:lnTo>
                    <a:pt x="376" y="511"/>
                  </a:lnTo>
                  <a:lnTo>
                    <a:pt x="384" y="516"/>
                  </a:lnTo>
                  <a:lnTo>
                    <a:pt x="386" y="519"/>
                  </a:lnTo>
                  <a:lnTo>
                    <a:pt x="384" y="524"/>
                  </a:lnTo>
                  <a:lnTo>
                    <a:pt x="384" y="524"/>
                  </a:lnTo>
                  <a:lnTo>
                    <a:pt x="384" y="524"/>
                  </a:lnTo>
                  <a:lnTo>
                    <a:pt x="384" y="527"/>
                  </a:lnTo>
                  <a:lnTo>
                    <a:pt x="386" y="527"/>
                  </a:lnTo>
                  <a:lnTo>
                    <a:pt x="384" y="527"/>
                  </a:lnTo>
                  <a:lnTo>
                    <a:pt x="384" y="529"/>
                  </a:lnTo>
                  <a:lnTo>
                    <a:pt x="381" y="529"/>
                  </a:lnTo>
                  <a:lnTo>
                    <a:pt x="381" y="527"/>
                  </a:lnTo>
                  <a:lnTo>
                    <a:pt x="381" y="527"/>
                  </a:lnTo>
                  <a:lnTo>
                    <a:pt x="378" y="527"/>
                  </a:lnTo>
                  <a:lnTo>
                    <a:pt x="378" y="527"/>
                  </a:lnTo>
                  <a:lnTo>
                    <a:pt x="378" y="524"/>
                  </a:lnTo>
                  <a:lnTo>
                    <a:pt x="378" y="521"/>
                  </a:lnTo>
                  <a:lnTo>
                    <a:pt x="378" y="516"/>
                  </a:lnTo>
                  <a:lnTo>
                    <a:pt x="376" y="519"/>
                  </a:lnTo>
                  <a:lnTo>
                    <a:pt x="373" y="516"/>
                  </a:lnTo>
                  <a:lnTo>
                    <a:pt x="370" y="513"/>
                  </a:lnTo>
                  <a:lnTo>
                    <a:pt x="370" y="513"/>
                  </a:lnTo>
                  <a:lnTo>
                    <a:pt x="368" y="513"/>
                  </a:lnTo>
                  <a:lnTo>
                    <a:pt x="368" y="513"/>
                  </a:lnTo>
                  <a:lnTo>
                    <a:pt x="365" y="516"/>
                  </a:lnTo>
                  <a:lnTo>
                    <a:pt x="365" y="519"/>
                  </a:lnTo>
                  <a:lnTo>
                    <a:pt x="362" y="521"/>
                  </a:lnTo>
                  <a:lnTo>
                    <a:pt x="360" y="521"/>
                  </a:lnTo>
                  <a:lnTo>
                    <a:pt x="360" y="521"/>
                  </a:lnTo>
                  <a:lnTo>
                    <a:pt x="357" y="519"/>
                  </a:lnTo>
                  <a:lnTo>
                    <a:pt x="360" y="524"/>
                  </a:lnTo>
                  <a:lnTo>
                    <a:pt x="365" y="529"/>
                  </a:lnTo>
                  <a:lnTo>
                    <a:pt x="373" y="532"/>
                  </a:lnTo>
                  <a:lnTo>
                    <a:pt x="384" y="532"/>
                  </a:lnTo>
                  <a:lnTo>
                    <a:pt x="386" y="535"/>
                  </a:lnTo>
                  <a:lnTo>
                    <a:pt x="389" y="535"/>
                  </a:lnTo>
                  <a:lnTo>
                    <a:pt x="392" y="537"/>
                  </a:lnTo>
                  <a:lnTo>
                    <a:pt x="392" y="537"/>
                  </a:lnTo>
                  <a:lnTo>
                    <a:pt x="394" y="535"/>
                  </a:lnTo>
                  <a:lnTo>
                    <a:pt x="394" y="535"/>
                  </a:lnTo>
                  <a:lnTo>
                    <a:pt x="394" y="532"/>
                  </a:lnTo>
                  <a:lnTo>
                    <a:pt x="397" y="532"/>
                  </a:lnTo>
                  <a:lnTo>
                    <a:pt x="397" y="532"/>
                  </a:lnTo>
                  <a:lnTo>
                    <a:pt x="400" y="532"/>
                  </a:lnTo>
                  <a:lnTo>
                    <a:pt x="403" y="535"/>
                  </a:lnTo>
                  <a:lnTo>
                    <a:pt x="400" y="535"/>
                  </a:lnTo>
                  <a:lnTo>
                    <a:pt x="400" y="535"/>
                  </a:lnTo>
                  <a:lnTo>
                    <a:pt x="400" y="537"/>
                  </a:lnTo>
                  <a:lnTo>
                    <a:pt x="400" y="537"/>
                  </a:lnTo>
                  <a:lnTo>
                    <a:pt x="403" y="537"/>
                  </a:lnTo>
                  <a:lnTo>
                    <a:pt x="405" y="537"/>
                  </a:lnTo>
                  <a:lnTo>
                    <a:pt x="411" y="537"/>
                  </a:lnTo>
                  <a:lnTo>
                    <a:pt x="416" y="543"/>
                  </a:lnTo>
                  <a:lnTo>
                    <a:pt x="416" y="543"/>
                  </a:lnTo>
                  <a:lnTo>
                    <a:pt x="416" y="543"/>
                  </a:lnTo>
                  <a:lnTo>
                    <a:pt x="416" y="543"/>
                  </a:lnTo>
                  <a:lnTo>
                    <a:pt x="419" y="540"/>
                  </a:lnTo>
                  <a:lnTo>
                    <a:pt x="421" y="540"/>
                  </a:lnTo>
                  <a:lnTo>
                    <a:pt x="421" y="537"/>
                  </a:lnTo>
                  <a:lnTo>
                    <a:pt x="419" y="535"/>
                  </a:lnTo>
                  <a:lnTo>
                    <a:pt x="421" y="537"/>
                  </a:lnTo>
                  <a:lnTo>
                    <a:pt x="424" y="537"/>
                  </a:lnTo>
                  <a:lnTo>
                    <a:pt x="427" y="537"/>
                  </a:lnTo>
                  <a:lnTo>
                    <a:pt x="429" y="537"/>
                  </a:lnTo>
                  <a:lnTo>
                    <a:pt x="429" y="540"/>
                  </a:lnTo>
                  <a:lnTo>
                    <a:pt x="429" y="540"/>
                  </a:lnTo>
                  <a:lnTo>
                    <a:pt x="427" y="543"/>
                  </a:lnTo>
                  <a:lnTo>
                    <a:pt x="424" y="543"/>
                  </a:lnTo>
                  <a:lnTo>
                    <a:pt x="427" y="543"/>
                  </a:lnTo>
                  <a:lnTo>
                    <a:pt x="432" y="545"/>
                  </a:lnTo>
                  <a:lnTo>
                    <a:pt x="432" y="545"/>
                  </a:lnTo>
                  <a:lnTo>
                    <a:pt x="432" y="543"/>
                  </a:lnTo>
                  <a:lnTo>
                    <a:pt x="435" y="543"/>
                  </a:lnTo>
                  <a:lnTo>
                    <a:pt x="437" y="543"/>
                  </a:lnTo>
                  <a:lnTo>
                    <a:pt x="437" y="543"/>
                  </a:lnTo>
                  <a:lnTo>
                    <a:pt x="437" y="543"/>
                  </a:lnTo>
                  <a:lnTo>
                    <a:pt x="440" y="543"/>
                  </a:lnTo>
                  <a:lnTo>
                    <a:pt x="440" y="543"/>
                  </a:lnTo>
                  <a:lnTo>
                    <a:pt x="440" y="540"/>
                  </a:lnTo>
                  <a:lnTo>
                    <a:pt x="440" y="540"/>
                  </a:lnTo>
                  <a:lnTo>
                    <a:pt x="440" y="537"/>
                  </a:lnTo>
                  <a:lnTo>
                    <a:pt x="440" y="537"/>
                  </a:lnTo>
                  <a:lnTo>
                    <a:pt x="443" y="537"/>
                  </a:lnTo>
                  <a:lnTo>
                    <a:pt x="443" y="537"/>
                  </a:lnTo>
                  <a:lnTo>
                    <a:pt x="445" y="537"/>
                  </a:lnTo>
                  <a:lnTo>
                    <a:pt x="445" y="540"/>
                  </a:lnTo>
                  <a:lnTo>
                    <a:pt x="445" y="537"/>
                  </a:lnTo>
                  <a:lnTo>
                    <a:pt x="445" y="532"/>
                  </a:lnTo>
                  <a:lnTo>
                    <a:pt x="445" y="532"/>
                  </a:lnTo>
                  <a:lnTo>
                    <a:pt x="445" y="532"/>
                  </a:lnTo>
                  <a:lnTo>
                    <a:pt x="445" y="527"/>
                  </a:lnTo>
                  <a:lnTo>
                    <a:pt x="445" y="527"/>
                  </a:lnTo>
                  <a:lnTo>
                    <a:pt x="445" y="524"/>
                  </a:lnTo>
                  <a:lnTo>
                    <a:pt x="448" y="527"/>
                  </a:lnTo>
                  <a:lnTo>
                    <a:pt x="448" y="527"/>
                  </a:lnTo>
                  <a:lnTo>
                    <a:pt x="451" y="529"/>
                  </a:lnTo>
                  <a:lnTo>
                    <a:pt x="451" y="527"/>
                  </a:lnTo>
                  <a:lnTo>
                    <a:pt x="448" y="524"/>
                  </a:lnTo>
                  <a:lnTo>
                    <a:pt x="451" y="524"/>
                  </a:lnTo>
                  <a:lnTo>
                    <a:pt x="451" y="521"/>
                  </a:lnTo>
                  <a:lnTo>
                    <a:pt x="451" y="519"/>
                  </a:lnTo>
                  <a:lnTo>
                    <a:pt x="448" y="519"/>
                  </a:lnTo>
                  <a:lnTo>
                    <a:pt x="448" y="519"/>
                  </a:lnTo>
                  <a:lnTo>
                    <a:pt x="448" y="516"/>
                  </a:lnTo>
                  <a:lnTo>
                    <a:pt x="448" y="516"/>
                  </a:lnTo>
                  <a:lnTo>
                    <a:pt x="448" y="516"/>
                  </a:lnTo>
                  <a:lnTo>
                    <a:pt x="451" y="516"/>
                  </a:lnTo>
                  <a:lnTo>
                    <a:pt x="451" y="516"/>
                  </a:lnTo>
                  <a:lnTo>
                    <a:pt x="451" y="513"/>
                  </a:lnTo>
                  <a:lnTo>
                    <a:pt x="451" y="513"/>
                  </a:lnTo>
                  <a:lnTo>
                    <a:pt x="453" y="513"/>
                  </a:lnTo>
                  <a:lnTo>
                    <a:pt x="453" y="516"/>
                  </a:lnTo>
                  <a:lnTo>
                    <a:pt x="451" y="516"/>
                  </a:lnTo>
                  <a:lnTo>
                    <a:pt x="453" y="516"/>
                  </a:lnTo>
                  <a:lnTo>
                    <a:pt x="456" y="519"/>
                  </a:lnTo>
                  <a:lnTo>
                    <a:pt x="459" y="516"/>
                  </a:lnTo>
                  <a:lnTo>
                    <a:pt x="459" y="516"/>
                  </a:lnTo>
                  <a:lnTo>
                    <a:pt x="461" y="516"/>
                  </a:lnTo>
                  <a:lnTo>
                    <a:pt x="464" y="516"/>
                  </a:lnTo>
                  <a:lnTo>
                    <a:pt x="464" y="513"/>
                  </a:lnTo>
                  <a:lnTo>
                    <a:pt x="467" y="511"/>
                  </a:lnTo>
                  <a:lnTo>
                    <a:pt x="467" y="511"/>
                  </a:lnTo>
                  <a:lnTo>
                    <a:pt x="467" y="508"/>
                  </a:lnTo>
                  <a:lnTo>
                    <a:pt x="467" y="508"/>
                  </a:lnTo>
                  <a:lnTo>
                    <a:pt x="469" y="508"/>
                  </a:lnTo>
                  <a:lnTo>
                    <a:pt x="469" y="508"/>
                  </a:lnTo>
                  <a:lnTo>
                    <a:pt x="469" y="511"/>
                  </a:lnTo>
                  <a:lnTo>
                    <a:pt x="472" y="513"/>
                  </a:lnTo>
                  <a:lnTo>
                    <a:pt x="475" y="516"/>
                  </a:lnTo>
                  <a:lnTo>
                    <a:pt x="475" y="524"/>
                  </a:lnTo>
                  <a:lnTo>
                    <a:pt x="477" y="519"/>
                  </a:lnTo>
                  <a:lnTo>
                    <a:pt x="477" y="516"/>
                  </a:lnTo>
                  <a:lnTo>
                    <a:pt x="477" y="516"/>
                  </a:lnTo>
                  <a:lnTo>
                    <a:pt x="477" y="513"/>
                  </a:lnTo>
                  <a:lnTo>
                    <a:pt x="480" y="513"/>
                  </a:lnTo>
                  <a:lnTo>
                    <a:pt x="480" y="513"/>
                  </a:lnTo>
                  <a:lnTo>
                    <a:pt x="480" y="513"/>
                  </a:lnTo>
                  <a:lnTo>
                    <a:pt x="480" y="516"/>
                  </a:lnTo>
                  <a:lnTo>
                    <a:pt x="485" y="519"/>
                  </a:lnTo>
                  <a:lnTo>
                    <a:pt x="488" y="521"/>
                  </a:lnTo>
                  <a:lnTo>
                    <a:pt x="488" y="524"/>
                  </a:lnTo>
                  <a:lnTo>
                    <a:pt x="488" y="521"/>
                  </a:lnTo>
                  <a:lnTo>
                    <a:pt x="488" y="519"/>
                  </a:lnTo>
                  <a:lnTo>
                    <a:pt x="488" y="519"/>
                  </a:lnTo>
                  <a:lnTo>
                    <a:pt x="491" y="519"/>
                  </a:lnTo>
                  <a:lnTo>
                    <a:pt x="491" y="519"/>
                  </a:lnTo>
                  <a:lnTo>
                    <a:pt x="491" y="521"/>
                  </a:lnTo>
                  <a:lnTo>
                    <a:pt x="491" y="521"/>
                  </a:lnTo>
                  <a:lnTo>
                    <a:pt x="491" y="524"/>
                  </a:lnTo>
                  <a:lnTo>
                    <a:pt x="491" y="527"/>
                  </a:lnTo>
                  <a:lnTo>
                    <a:pt x="491" y="527"/>
                  </a:lnTo>
                  <a:lnTo>
                    <a:pt x="491" y="529"/>
                  </a:lnTo>
                  <a:lnTo>
                    <a:pt x="491" y="529"/>
                  </a:lnTo>
                  <a:lnTo>
                    <a:pt x="491" y="532"/>
                  </a:lnTo>
                  <a:lnTo>
                    <a:pt x="491" y="532"/>
                  </a:lnTo>
                  <a:lnTo>
                    <a:pt x="493" y="535"/>
                  </a:lnTo>
                  <a:lnTo>
                    <a:pt x="493" y="537"/>
                  </a:lnTo>
                  <a:lnTo>
                    <a:pt x="496" y="537"/>
                  </a:lnTo>
                  <a:lnTo>
                    <a:pt x="496" y="540"/>
                  </a:lnTo>
                  <a:lnTo>
                    <a:pt x="496" y="543"/>
                  </a:lnTo>
                  <a:lnTo>
                    <a:pt x="493" y="543"/>
                  </a:lnTo>
                  <a:lnTo>
                    <a:pt x="496" y="543"/>
                  </a:lnTo>
                  <a:lnTo>
                    <a:pt x="499" y="540"/>
                  </a:lnTo>
                  <a:lnTo>
                    <a:pt x="507" y="537"/>
                  </a:lnTo>
                  <a:lnTo>
                    <a:pt x="507" y="535"/>
                  </a:lnTo>
                  <a:lnTo>
                    <a:pt x="509" y="535"/>
                  </a:lnTo>
                  <a:lnTo>
                    <a:pt x="512" y="532"/>
                  </a:lnTo>
                  <a:lnTo>
                    <a:pt x="512" y="529"/>
                  </a:lnTo>
                  <a:lnTo>
                    <a:pt x="515" y="529"/>
                  </a:lnTo>
                  <a:lnTo>
                    <a:pt x="515" y="524"/>
                  </a:lnTo>
                  <a:lnTo>
                    <a:pt x="517" y="521"/>
                  </a:lnTo>
                  <a:lnTo>
                    <a:pt x="512" y="521"/>
                  </a:lnTo>
                  <a:lnTo>
                    <a:pt x="509" y="519"/>
                  </a:lnTo>
                  <a:lnTo>
                    <a:pt x="509" y="513"/>
                  </a:lnTo>
                  <a:lnTo>
                    <a:pt x="515" y="513"/>
                  </a:lnTo>
                  <a:lnTo>
                    <a:pt x="512" y="511"/>
                  </a:lnTo>
                  <a:lnTo>
                    <a:pt x="512" y="511"/>
                  </a:lnTo>
                  <a:lnTo>
                    <a:pt x="515" y="511"/>
                  </a:lnTo>
                  <a:lnTo>
                    <a:pt x="517" y="513"/>
                  </a:lnTo>
                  <a:lnTo>
                    <a:pt x="520" y="511"/>
                  </a:lnTo>
                  <a:lnTo>
                    <a:pt x="520" y="511"/>
                  </a:lnTo>
                  <a:lnTo>
                    <a:pt x="517" y="508"/>
                  </a:lnTo>
                  <a:lnTo>
                    <a:pt x="515" y="508"/>
                  </a:lnTo>
                  <a:lnTo>
                    <a:pt x="515" y="505"/>
                  </a:lnTo>
                  <a:lnTo>
                    <a:pt x="515" y="502"/>
                  </a:lnTo>
                  <a:lnTo>
                    <a:pt x="515" y="502"/>
                  </a:lnTo>
                  <a:lnTo>
                    <a:pt x="515" y="502"/>
                  </a:lnTo>
                  <a:lnTo>
                    <a:pt x="517" y="505"/>
                  </a:lnTo>
                  <a:lnTo>
                    <a:pt x="517" y="505"/>
                  </a:lnTo>
                  <a:lnTo>
                    <a:pt x="517" y="502"/>
                  </a:lnTo>
                  <a:lnTo>
                    <a:pt x="517" y="500"/>
                  </a:lnTo>
                  <a:lnTo>
                    <a:pt x="515" y="500"/>
                  </a:lnTo>
                  <a:lnTo>
                    <a:pt x="515" y="500"/>
                  </a:lnTo>
                  <a:lnTo>
                    <a:pt x="515" y="497"/>
                  </a:lnTo>
                  <a:lnTo>
                    <a:pt x="515" y="497"/>
                  </a:lnTo>
                  <a:lnTo>
                    <a:pt x="515" y="494"/>
                  </a:lnTo>
                  <a:lnTo>
                    <a:pt x="515" y="494"/>
                  </a:lnTo>
                  <a:lnTo>
                    <a:pt x="517" y="492"/>
                  </a:lnTo>
                  <a:lnTo>
                    <a:pt x="515" y="489"/>
                  </a:lnTo>
                  <a:lnTo>
                    <a:pt x="512" y="489"/>
                  </a:lnTo>
                  <a:lnTo>
                    <a:pt x="509" y="489"/>
                  </a:lnTo>
                  <a:lnTo>
                    <a:pt x="504" y="489"/>
                  </a:lnTo>
                  <a:lnTo>
                    <a:pt x="504" y="489"/>
                  </a:lnTo>
                  <a:lnTo>
                    <a:pt x="501" y="486"/>
                  </a:lnTo>
                  <a:lnTo>
                    <a:pt x="496" y="484"/>
                  </a:lnTo>
                  <a:lnTo>
                    <a:pt x="496" y="481"/>
                  </a:lnTo>
                  <a:lnTo>
                    <a:pt x="493" y="484"/>
                  </a:lnTo>
                  <a:lnTo>
                    <a:pt x="493" y="484"/>
                  </a:lnTo>
                  <a:lnTo>
                    <a:pt x="493" y="484"/>
                  </a:lnTo>
                  <a:lnTo>
                    <a:pt x="493" y="481"/>
                  </a:lnTo>
                  <a:lnTo>
                    <a:pt x="493" y="481"/>
                  </a:lnTo>
                  <a:lnTo>
                    <a:pt x="496" y="481"/>
                  </a:lnTo>
                  <a:lnTo>
                    <a:pt x="496" y="481"/>
                  </a:lnTo>
                  <a:lnTo>
                    <a:pt x="496" y="478"/>
                  </a:lnTo>
                  <a:lnTo>
                    <a:pt x="496" y="478"/>
                  </a:lnTo>
                  <a:lnTo>
                    <a:pt x="493" y="478"/>
                  </a:lnTo>
                  <a:lnTo>
                    <a:pt x="493" y="478"/>
                  </a:lnTo>
                  <a:lnTo>
                    <a:pt x="496" y="476"/>
                  </a:lnTo>
                  <a:lnTo>
                    <a:pt x="496" y="473"/>
                  </a:lnTo>
                  <a:lnTo>
                    <a:pt x="499" y="476"/>
                  </a:lnTo>
                  <a:lnTo>
                    <a:pt x="501" y="478"/>
                  </a:lnTo>
                  <a:lnTo>
                    <a:pt x="504" y="481"/>
                  </a:lnTo>
                  <a:lnTo>
                    <a:pt x="504" y="478"/>
                  </a:lnTo>
                  <a:lnTo>
                    <a:pt x="501" y="478"/>
                  </a:lnTo>
                  <a:lnTo>
                    <a:pt x="504" y="478"/>
                  </a:lnTo>
                  <a:lnTo>
                    <a:pt x="504" y="476"/>
                  </a:lnTo>
                  <a:lnTo>
                    <a:pt x="507" y="478"/>
                  </a:lnTo>
                  <a:lnTo>
                    <a:pt x="509" y="478"/>
                  </a:lnTo>
                  <a:lnTo>
                    <a:pt x="523" y="486"/>
                  </a:lnTo>
                  <a:lnTo>
                    <a:pt x="528" y="486"/>
                  </a:lnTo>
                  <a:lnTo>
                    <a:pt x="531" y="484"/>
                  </a:lnTo>
                  <a:lnTo>
                    <a:pt x="536" y="489"/>
                  </a:lnTo>
                  <a:lnTo>
                    <a:pt x="536" y="489"/>
                  </a:lnTo>
                  <a:lnTo>
                    <a:pt x="539" y="486"/>
                  </a:lnTo>
                  <a:lnTo>
                    <a:pt x="539" y="484"/>
                  </a:lnTo>
                  <a:lnTo>
                    <a:pt x="539" y="484"/>
                  </a:lnTo>
                  <a:lnTo>
                    <a:pt x="539" y="484"/>
                  </a:lnTo>
                  <a:lnTo>
                    <a:pt x="541" y="484"/>
                  </a:lnTo>
                  <a:lnTo>
                    <a:pt x="541" y="484"/>
                  </a:lnTo>
                  <a:lnTo>
                    <a:pt x="541" y="486"/>
                  </a:lnTo>
                  <a:lnTo>
                    <a:pt x="541" y="486"/>
                  </a:lnTo>
                  <a:lnTo>
                    <a:pt x="541" y="486"/>
                  </a:lnTo>
                  <a:lnTo>
                    <a:pt x="541" y="489"/>
                  </a:lnTo>
                  <a:lnTo>
                    <a:pt x="541" y="489"/>
                  </a:lnTo>
                  <a:lnTo>
                    <a:pt x="541" y="489"/>
                  </a:lnTo>
                  <a:lnTo>
                    <a:pt x="541" y="489"/>
                  </a:lnTo>
                  <a:lnTo>
                    <a:pt x="541" y="489"/>
                  </a:lnTo>
                  <a:lnTo>
                    <a:pt x="541" y="489"/>
                  </a:lnTo>
                  <a:lnTo>
                    <a:pt x="541" y="492"/>
                  </a:lnTo>
                  <a:lnTo>
                    <a:pt x="541" y="492"/>
                  </a:lnTo>
                  <a:lnTo>
                    <a:pt x="544" y="492"/>
                  </a:lnTo>
                  <a:lnTo>
                    <a:pt x="544" y="492"/>
                  </a:lnTo>
                  <a:lnTo>
                    <a:pt x="547" y="492"/>
                  </a:lnTo>
                  <a:lnTo>
                    <a:pt x="547" y="492"/>
                  </a:lnTo>
                  <a:lnTo>
                    <a:pt x="549" y="492"/>
                  </a:lnTo>
                  <a:lnTo>
                    <a:pt x="547" y="494"/>
                  </a:lnTo>
                  <a:lnTo>
                    <a:pt x="547" y="494"/>
                  </a:lnTo>
                  <a:lnTo>
                    <a:pt x="547" y="494"/>
                  </a:lnTo>
                  <a:lnTo>
                    <a:pt x="547" y="497"/>
                  </a:lnTo>
                  <a:lnTo>
                    <a:pt x="549" y="497"/>
                  </a:lnTo>
                  <a:lnTo>
                    <a:pt x="549" y="494"/>
                  </a:lnTo>
                  <a:lnTo>
                    <a:pt x="549" y="494"/>
                  </a:lnTo>
                  <a:lnTo>
                    <a:pt x="549" y="494"/>
                  </a:lnTo>
                  <a:lnTo>
                    <a:pt x="549" y="497"/>
                  </a:lnTo>
                  <a:lnTo>
                    <a:pt x="552" y="497"/>
                  </a:lnTo>
                  <a:lnTo>
                    <a:pt x="552" y="500"/>
                  </a:lnTo>
                  <a:lnTo>
                    <a:pt x="549" y="502"/>
                  </a:lnTo>
                  <a:lnTo>
                    <a:pt x="549" y="502"/>
                  </a:lnTo>
                  <a:lnTo>
                    <a:pt x="547" y="505"/>
                  </a:lnTo>
                  <a:lnTo>
                    <a:pt x="544" y="505"/>
                  </a:lnTo>
                  <a:lnTo>
                    <a:pt x="560" y="505"/>
                  </a:lnTo>
                  <a:lnTo>
                    <a:pt x="560" y="505"/>
                  </a:lnTo>
                  <a:lnTo>
                    <a:pt x="565" y="502"/>
                  </a:lnTo>
                  <a:lnTo>
                    <a:pt x="565" y="500"/>
                  </a:lnTo>
                  <a:lnTo>
                    <a:pt x="568" y="502"/>
                  </a:lnTo>
                  <a:lnTo>
                    <a:pt x="568" y="502"/>
                  </a:lnTo>
                  <a:lnTo>
                    <a:pt x="565" y="508"/>
                  </a:lnTo>
                  <a:lnTo>
                    <a:pt x="568" y="508"/>
                  </a:lnTo>
                  <a:lnTo>
                    <a:pt x="568" y="511"/>
                  </a:lnTo>
                  <a:lnTo>
                    <a:pt x="571" y="513"/>
                  </a:lnTo>
                  <a:lnTo>
                    <a:pt x="573" y="513"/>
                  </a:lnTo>
                  <a:lnTo>
                    <a:pt x="576" y="513"/>
                  </a:lnTo>
                  <a:lnTo>
                    <a:pt x="584" y="513"/>
                  </a:lnTo>
                  <a:lnTo>
                    <a:pt x="581" y="511"/>
                  </a:lnTo>
                  <a:lnTo>
                    <a:pt x="584" y="511"/>
                  </a:lnTo>
                  <a:lnTo>
                    <a:pt x="587" y="511"/>
                  </a:lnTo>
                  <a:lnTo>
                    <a:pt x="589" y="511"/>
                  </a:lnTo>
                  <a:lnTo>
                    <a:pt x="587" y="513"/>
                  </a:lnTo>
                  <a:lnTo>
                    <a:pt x="587" y="513"/>
                  </a:lnTo>
                  <a:lnTo>
                    <a:pt x="595" y="524"/>
                  </a:lnTo>
                  <a:lnTo>
                    <a:pt x="597" y="524"/>
                  </a:lnTo>
                  <a:lnTo>
                    <a:pt x="597" y="527"/>
                  </a:lnTo>
                  <a:lnTo>
                    <a:pt x="597" y="527"/>
                  </a:lnTo>
                  <a:lnTo>
                    <a:pt x="597" y="529"/>
                  </a:lnTo>
                  <a:lnTo>
                    <a:pt x="597" y="532"/>
                  </a:lnTo>
                  <a:lnTo>
                    <a:pt x="600" y="532"/>
                  </a:lnTo>
                  <a:lnTo>
                    <a:pt x="603" y="532"/>
                  </a:lnTo>
                  <a:lnTo>
                    <a:pt x="605" y="529"/>
                  </a:lnTo>
                  <a:lnTo>
                    <a:pt x="605" y="529"/>
                  </a:lnTo>
                  <a:lnTo>
                    <a:pt x="605" y="527"/>
                  </a:lnTo>
                  <a:lnTo>
                    <a:pt x="605" y="524"/>
                  </a:lnTo>
                  <a:lnTo>
                    <a:pt x="605" y="521"/>
                  </a:lnTo>
                  <a:lnTo>
                    <a:pt x="605" y="521"/>
                  </a:lnTo>
                  <a:lnTo>
                    <a:pt x="605" y="519"/>
                  </a:lnTo>
                  <a:lnTo>
                    <a:pt x="608" y="519"/>
                  </a:lnTo>
                  <a:lnTo>
                    <a:pt x="608" y="521"/>
                  </a:lnTo>
                  <a:lnTo>
                    <a:pt x="608" y="524"/>
                  </a:lnTo>
                  <a:lnTo>
                    <a:pt x="608" y="527"/>
                  </a:lnTo>
                  <a:lnTo>
                    <a:pt x="608" y="527"/>
                  </a:lnTo>
                  <a:lnTo>
                    <a:pt x="611" y="527"/>
                  </a:lnTo>
                  <a:lnTo>
                    <a:pt x="611" y="524"/>
                  </a:lnTo>
                  <a:lnTo>
                    <a:pt x="611" y="524"/>
                  </a:lnTo>
                  <a:lnTo>
                    <a:pt x="611" y="521"/>
                  </a:lnTo>
                  <a:lnTo>
                    <a:pt x="613" y="521"/>
                  </a:lnTo>
                  <a:lnTo>
                    <a:pt x="613" y="524"/>
                  </a:lnTo>
                  <a:lnTo>
                    <a:pt x="611" y="527"/>
                  </a:lnTo>
                  <a:lnTo>
                    <a:pt x="611" y="529"/>
                  </a:lnTo>
                  <a:lnTo>
                    <a:pt x="608" y="535"/>
                  </a:lnTo>
                  <a:lnTo>
                    <a:pt x="608" y="535"/>
                  </a:lnTo>
                  <a:lnTo>
                    <a:pt x="605" y="535"/>
                  </a:lnTo>
                  <a:lnTo>
                    <a:pt x="605" y="537"/>
                  </a:lnTo>
                  <a:lnTo>
                    <a:pt x="605" y="537"/>
                  </a:lnTo>
                  <a:lnTo>
                    <a:pt x="605" y="540"/>
                  </a:lnTo>
                  <a:lnTo>
                    <a:pt x="605" y="540"/>
                  </a:lnTo>
                  <a:lnTo>
                    <a:pt x="605" y="543"/>
                  </a:lnTo>
                  <a:lnTo>
                    <a:pt x="603" y="545"/>
                  </a:lnTo>
                  <a:lnTo>
                    <a:pt x="600" y="548"/>
                  </a:lnTo>
                  <a:lnTo>
                    <a:pt x="600" y="548"/>
                  </a:lnTo>
                  <a:lnTo>
                    <a:pt x="597" y="551"/>
                  </a:lnTo>
                  <a:lnTo>
                    <a:pt x="597" y="551"/>
                  </a:lnTo>
                  <a:lnTo>
                    <a:pt x="597" y="556"/>
                  </a:lnTo>
                  <a:lnTo>
                    <a:pt x="600" y="556"/>
                  </a:lnTo>
                  <a:lnTo>
                    <a:pt x="603" y="553"/>
                  </a:lnTo>
                  <a:lnTo>
                    <a:pt x="608" y="543"/>
                  </a:lnTo>
                  <a:lnTo>
                    <a:pt x="608" y="543"/>
                  </a:lnTo>
                  <a:lnTo>
                    <a:pt x="608" y="540"/>
                  </a:lnTo>
                  <a:lnTo>
                    <a:pt x="608" y="537"/>
                  </a:lnTo>
                  <a:lnTo>
                    <a:pt x="611" y="537"/>
                  </a:lnTo>
                  <a:lnTo>
                    <a:pt x="613" y="535"/>
                  </a:lnTo>
                  <a:lnTo>
                    <a:pt x="616" y="535"/>
                  </a:lnTo>
                  <a:lnTo>
                    <a:pt x="616" y="535"/>
                  </a:lnTo>
                  <a:lnTo>
                    <a:pt x="616" y="532"/>
                  </a:lnTo>
                  <a:lnTo>
                    <a:pt x="616" y="532"/>
                  </a:lnTo>
                  <a:lnTo>
                    <a:pt x="616" y="529"/>
                  </a:lnTo>
                  <a:lnTo>
                    <a:pt x="616" y="529"/>
                  </a:lnTo>
                  <a:lnTo>
                    <a:pt x="616" y="529"/>
                  </a:lnTo>
                  <a:lnTo>
                    <a:pt x="619" y="529"/>
                  </a:lnTo>
                  <a:lnTo>
                    <a:pt x="619" y="532"/>
                  </a:lnTo>
                  <a:lnTo>
                    <a:pt x="624" y="535"/>
                  </a:lnTo>
                  <a:lnTo>
                    <a:pt x="624" y="537"/>
                  </a:lnTo>
                  <a:lnTo>
                    <a:pt x="624" y="540"/>
                  </a:lnTo>
                  <a:lnTo>
                    <a:pt x="629" y="543"/>
                  </a:lnTo>
                  <a:lnTo>
                    <a:pt x="629" y="543"/>
                  </a:lnTo>
                  <a:lnTo>
                    <a:pt x="632" y="543"/>
                  </a:lnTo>
                  <a:lnTo>
                    <a:pt x="629" y="537"/>
                  </a:lnTo>
                  <a:lnTo>
                    <a:pt x="629" y="535"/>
                  </a:lnTo>
                  <a:lnTo>
                    <a:pt x="632" y="532"/>
                  </a:lnTo>
                  <a:lnTo>
                    <a:pt x="632" y="529"/>
                  </a:lnTo>
                  <a:lnTo>
                    <a:pt x="635" y="529"/>
                  </a:lnTo>
                  <a:lnTo>
                    <a:pt x="635" y="529"/>
                  </a:lnTo>
                  <a:lnTo>
                    <a:pt x="635" y="529"/>
                  </a:lnTo>
                  <a:lnTo>
                    <a:pt x="637" y="532"/>
                  </a:lnTo>
                  <a:lnTo>
                    <a:pt x="637" y="529"/>
                  </a:lnTo>
                  <a:lnTo>
                    <a:pt x="635" y="527"/>
                  </a:lnTo>
                  <a:lnTo>
                    <a:pt x="635" y="527"/>
                  </a:lnTo>
                  <a:lnTo>
                    <a:pt x="635" y="524"/>
                  </a:lnTo>
                  <a:lnTo>
                    <a:pt x="637" y="524"/>
                  </a:lnTo>
                  <a:lnTo>
                    <a:pt x="637" y="527"/>
                  </a:lnTo>
                  <a:lnTo>
                    <a:pt x="637" y="527"/>
                  </a:lnTo>
                  <a:lnTo>
                    <a:pt x="640" y="529"/>
                  </a:lnTo>
                  <a:lnTo>
                    <a:pt x="640" y="527"/>
                  </a:lnTo>
                  <a:lnTo>
                    <a:pt x="643" y="521"/>
                  </a:lnTo>
                  <a:lnTo>
                    <a:pt x="635" y="521"/>
                  </a:lnTo>
                  <a:lnTo>
                    <a:pt x="635" y="521"/>
                  </a:lnTo>
                  <a:lnTo>
                    <a:pt x="635" y="519"/>
                  </a:lnTo>
                  <a:lnTo>
                    <a:pt x="635" y="519"/>
                  </a:lnTo>
                  <a:lnTo>
                    <a:pt x="637" y="516"/>
                  </a:lnTo>
                  <a:lnTo>
                    <a:pt x="640" y="516"/>
                  </a:lnTo>
                  <a:lnTo>
                    <a:pt x="640" y="516"/>
                  </a:lnTo>
                  <a:lnTo>
                    <a:pt x="640" y="516"/>
                  </a:lnTo>
                  <a:close/>
                  <a:moveTo>
                    <a:pt x="584" y="438"/>
                  </a:moveTo>
                  <a:lnTo>
                    <a:pt x="584" y="436"/>
                  </a:lnTo>
                  <a:lnTo>
                    <a:pt x="581" y="436"/>
                  </a:lnTo>
                  <a:lnTo>
                    <a:pt x="581" y="436"/>
                  </a:lnTo>
                  <a:lnTo>
                    <a:pt x="581" y="436"/>
                  </a:lnTo>
                  <a:lnTo>
                    <a:pt x="579" y="433"/>
                  </a:lnTo>
                  <a:lnTo>
                    <a:pt x="576" y="436"/>
                  </a:lnTo>
                  <a:lnTo>
                    <a:pt x="576" y="438"/>
                  </a:lnTo>
                  <a:lnTo>
                    <a:pt x="579" y="444"/>
                  </a:lnTo>
                  <a:lnTo>
                    <a:pt x="579" y="441"/>
                  </a:lnTo>
                  <a:lnTo>
                    <a:pt x="581" y="438"/>
                  </a:lnTo>
                  <a:lnTo>
                    <a:pt x="581" y="438"/>
                  </a:lnTo>
                  <a:lnTo>
                    <a:pt x="581" y="438"/>
                  </a:lnTo>
                  <a:lnTo>
                    <a:pt x="584" y="441"/>
                  </a:lnTo>
                  <a:lnTo>
                    <a:pt x="584" y="441"/>
                  </a:lnTo>
                  <a:lnTo>
                    <a:pt x="587" y="441"/>
                  </a:lnTo>
                  <a:lnTo>
                    <a:pt x="584" y="441"/>
                  </a:lnTo>
                  <a:lnTo>
                    <a:pt x="584" y="438"/>
                  </a:lnTo>
                  <a:close/>
                  <a:moveTo>
                    <a:pt x="648" y="444"/>
                  </a:moveTo>
                  <a:lnTo>
                    <a:pt x="651" y="438"/>
                  </a:lnTo>
                  <a:lnTo>
                    <a:pt x="653" y="436"/>
                  </a:lnTo>
                  <a:lnTo>
                    <a:pt x="645" y="446"/>
                  </a:lnTo>
                  <a:lnTo>
                    <a:pt x="648" y="444"/>
                  </a:lnTo>
                  <a:close/>
                  <a:moveTo>
                    <a:pt x="536" y="505"/>
                  </a:moveTo>
                  <a:lnTo>
                    <a:pt x="536" y="505"/>
                  </a:lnTo>
                  <a:lnTo>
                    <a:pt x="536" y="505"/>
                  </a:lnTo>
                  <a:lnTo>
                    <a:pt x="536" y="505"/>
                  </a:lnTo>
                  <a:lnTo>
                    <a:pt x="533" y="505"/>
                  </a:lnTo>
                  <a:lnTo>
                    <a:pt x="533" y="505"/>
                  </a:lnTo>
                  <a:lnTo>
                    <a:pt x="533" y="505"/>
                  </a:lnTo>
                  <a:lnTo>
                    <a:pt x="533" y="508"/>
                  </a:lnTo>
                  <a:lnTo>
                    <a:pt x="536" y="508"/>
                  </a:lnTo>
                  <a:lnTo>
                    <a:pt x="536" y="508"/>
                  </a:lnTo>
                  <a:lnTo>
                    <a:pt x="536" y="508"/>
                  </a:lnTo>
                  <a:lnTo>
                    <a:pt x="536" y="508"/>
                  </a:lnTo>
                  <a:lnTo>
                    <a:pt x="536" y="508"/>
                  </a:lnTo>
                  <a:lnTo>
                    <a:pt x="539" y="505"/>
                  </a:lnTo>
                  <a:lnTo>
                    <a:pt x="539" y="505"/>
                  </a:lnTo>
                  <a:lnTo>
                    <a:pt x="536" y="505"/>
                  </a:lnTo>
                  <a:lnTo>
                    <a:pt x="536" y="505"/>
                  </a:lnTo>
                  <a:close/>
                  <a:moveTo>
                    <a:pt x="656" y="401"/>
                  </a:moveTo>
                  <a:lnTo>
                    <a:pt x="653" y="398"/>
                  </a:lnTo>
                  <a:lnTo>
                    <a:pt x="653" y="396"/>
                  </a:lnTo>
                  <a:lnTo>
                    <a:pt x="651" y="393"/>
                  </a:lnTo>
                  <a:lnTo>
                    <a:pt x="648" y="390"/>
                  </a:lnTo>
                  <a:lnTo>
                    <a:pt x="651" y="393"/>
                  </a:lnTo>
                  <a:lnTo>
                    <a:pt x="653" y="393"/>
                  </a:lnTo>
                  <a:lnTo>
                    <a:pt x="653" y="398"/>
                  </a:lnTo>
                  <a:lnTo>
                    <a:pt x="653" y="401"/>
                  </a:lnTo>
                  <a:lnTo>
                    <a:pt x="653" y="401"/>
                  </a:lnTo>
                  <a:lnTo>
                    <a:pt x="656" y="404"/>
                  </a:lnTo>
                  <a:lnTo>
                    <a:pt x="656" y="406"/>
                  </a:lnTo>
                  <a:lnTo>
                    <a:pt x="656" y="409"/>
                  </a:lnTo>
                  <a:lnTo>
                    <a:pt x="656" y="412"/>
                  </a:lnTo>
                  <a:lnTo>
                    <a:pt x="659" y="417"/>
                  </a:lnTo>
                  <a:lnTo>
                    <a:pt x="656" y="420"/>
                  </a:lnTo>
                  <a:lnTo>
                    <a:pt x="653" y="428"/>
                  </a:lnTo>
                  <a:lnTo>
                    <a:pt x="653" y="428"/>
                  </a:lnTo>
                  <a:lnTo>
                    <a:pt x="656" y="430"/>
                  </a:lnTo>
                  <a:lnTo>
                    <a:pt x="656" y="430"/>
                  </a:lnTo>
                  <a:lnTo>
                    <a:pt x="656" y="430"/>
                  </a:lnTo>
                  <a:lnTo>
                    <a:pt x="659" y="425"/>
                  </a:lnTo>
                  <a:lnTo>
                    <a:pt x="659" y="422"/>
                  </a:lnTo>
                  <a:lnTo>
                    <a:pt x="659" y="409"/>
                  </a:lnTo>
                  <a:lnTo>
                    <a:pt x="656" y="401"/>
                  </a:lnTo>
                  <a:close/>
                  <a:moveTo>
                    <a:pt x="483" y="537"/>
                  </a:moveTo>
                  <a:lnTo>
                    <a:pt x="480" y="537"/>
                  </a:lnTo>
                  <a:lnTo>
                    <a:pt x="480" y="537"/>
                  </a:lnTo>
                  <a:lnTo>
                    <a:pt x="480" y="537"/>
                  </a:lnTo>
                  <a:lnTo>
                    <a:pt x="480" y="540"/>
                  </a:lnTo>
                  <a:lnTo>
                    <a:pt x="480" y="540"/>
                  </a:lnTo>
                  <a:lnTo>
                    <a:pt x="477" y="540"/>
                  </a:lnTo>
                  <a:lnTo>
                    <a:pt x="475" y="543"/>
                  </a:lnTo>
                  <a:lnTo>
                    <a:pt x="475" y="543"/>
                  </a:lnTo>
                  <a:lnTo>
                    <a:pt x="475" y="543"/>
                  </a:lnTo>
                  <a:lnTo>
                    <a:pt x="483" y="540"/>
                  </a:lnTo>
                  <a:lnTo>
                    <a:pt x="483" y="540"/>
                  </a:lnTo>
                  <a:lnTo>
                    <a:pt x="483" y="537"/>
                  </a:lnTo>
                  <a:close/>
                  <a:moveTo>
                    <a:pt x="528" y="513"/>
                  </a:moveTo>
                  <a:lnTo>
                    <a:pt x="525" y="513"/>
                  </a:lnTo>
                  <a:lnTo>
                    <a:pt x="525" y="516"/>
                  </a:lnTo>
                  <a:lnTo>
                    <a:pt x="523" y="519"/>
                  </a:lnTo>
                  <a:lnTo>
                    <a:pt x="520" y="519"/>
                  </a:lnTo>
                  <a:lnTo>
                    <a:pt x="520" y="521"/>
                  </a:lnTo>
                  <a:lnTo>
                    <a:pt x="520" y="521"/>
                  </a:lnTo>
                  <a:lnTo>
                    <a:pt x="520" y="521"/>
                  </a:lnTo>
                  <a:lnTo>
                    <a:pt x="525" y="519"/>
                  </a:lnTo>
                  <a:lnTo>
                    <a:pt x="528" y="516"/>
                  </a:lnTo>
                  <a:lnTo>
                    <a:pt x="528" y="516"/>
                  </a:lnTo>
                  <a:lnTo>
                    <a:pt x="528" y="513"/>
                  </a:lnTo>
                  <a:close/>
                  <a:moveTo>
                    <a:pt x="531" y="511"/>
                  </a:moveTo>
                  <a:lnTo>
                    <a:pt x="531" y="511"/>
                  </a:lnTo>
                  <a:lnTo>
                    <a:pt x="531" y="513"/>
                  </a:lnTo>
                  <a:lnTo>
                    <a:pt x="531" y="513"/>
                  </a:lnTo>
                  <a:lnTo>
                    <a:pt x="533" y="511"/>
                  </a:lnTo>
                  <a:lnTo>
                    <a:pt x="533" y="511"/>
                  </a:lnTo>
                  <a:lnTo>
                    <a:pt x="531" y="511"/>
                  </a:lnTo>
                  <a:lnTo>
                    <a:pt x="531" y="511"/>
                  </a:lnTo>
                  <a:close/>
                  <a:moveTo>
                    <a:pt x="488" y="543"/>
                  </a:moveTo>
                  <a:lnTo>
                    <a:pt x="488" y="543"/>
                  </a:lnTo>
                  <a:lnTo>
                    <a:pt x="485" y="545"/>
                  </a:lnTo>
                  <a:lnTo>
                    <a:pt x="485" y="545"/>
                  </a:lnTo>
                  <a:lnTo>
                    <a:pt x="483" y="548"/>
                  </a:lnTo>
                  <a:lnTo>
                    <a:pt x="491" y="545"/>
                  </a:lnTo>
                  <a:lnTo>
                    <a:pt x="491" y="543"/>
                  </a:lnTo>
                  <a:lnTo>
                    <a:pt x="488" y="543"/>
                  </a:lnTo>
                  <a:close/>
                  <a:moveTo>
                    <a:pt x="512" y="486"/>
                  </a:moveTo>
                  <a:lnTo>
                    <a:pt x="512" y="486"/>
                  </a:lnTo>
                  <a:lnTo>
                    <a:pt x="512" y="489"/>
                  </a:lnTo>
                  <a:lnTo>
                    <a:pt x="515" y="489"/>
                  </a:lnTo>
                  <a:lnTo>
                    <a:pt x="515" y="489"/>
                  </a:lnTo>
                  <a:lnTo>
                    <a:pt x="515" y="486"/>
                  </a:lnTo>
                  <a:lnTo>
                    <a:pt x="515" y="489"/>
                  </a:lnTo>
                  <a:lnTo>
                    <a:pt x="517" y="489"/>
                  </a:lnTo>
                  <a:lnTo>
                    <a:pt x="517" y="489"/>
                  </a:lnTo>
                  <a:lnTo>
                    <a:pt x="517" y="489"/>
                  </a:lnTo>
                  <a:lnTo>
                    <a:pt x="520" y="489"/>
                  </a:lnTo>
                  <a:lnTo>
                    <a:pt x="520" y="489"/>
                  </a:lnTo>
                  <a:lnTo>
                    <a:pt x="520" y="489"/>
                  </a:lnTo>
                  <a:lnTo>
                    <a:pt x="520" y="489"/>
                  </a:lnTo>
                  <a:lnTo>
                    <a:pt x="520" y="489"/>
                  </a:lnTo>
                  <a:lnTo>
                    <a:pt x="520" y="489"/>
                  </a:lnTo>
                  <a:lnTo>
                    <a:pt x="520" y="489"/>
                  </a:lnTo>
                  <a:lnTo>
                    <a:pt x="520" y="486"/>
                  </a:lnTo>
                  <a:lnTo>
                    <a:pt x="520" y="486"/>
                  </a:lnTo>
                  <a:lnTo>
                    <a:pt x="520" y="486"/>
                  </a:lnTo>
                  <a:lnTo>
                    <a:pt x="520" y="489"/>
                  </a:lnTo>
                  <a:lnTo>
                    <a:pt x="517" y="489"/>
                  </a:lnTo>
                  <a:lnTo>
                    <a:pt x="517" y="489"/>
                  </a:lnTo>
                  <a:lnTo>
                    <a:pt x="517" y="486"/>
                  </a:lnTo>
                  <a:lnTo>
                    <a:pt x="515" y="486"/>
                  </a:lnTo>
                  <a:lnTo>
                    <a:pt x="517" y="486"/>
                  </a:lnTo>
                  <a:lnTo>
                    <a:pt x="517" y="486"/>
                  </a:lnTo>
                  <a:lnTo>
                    <a:pt x="517" y="484"/>
                  </a:lnTo>
                  <a:lnTo>
                    <a:pt x="515" y="484"/>
                  </a:lnTo>
                  <a:lnTo>
                    <a:pt x="515" y="484"/>
                  </a:lnTo>
                  <a:lnTo>
                    <a:pt x="512" y="484"/>
                  </a:lnTo>
                  <a:lnTo>
                    <a:pt x="512" y="484"/>
                  </a:lnTo>
                  <a:lnTo>
                    <a:pt x="512" y="481"/>
                  </a:lnTo>
                  <a:lnTo>
                    <a:pt x="509" y="481"/>
                  </a:lnTo>
                  <a:lnTo>
                    <a:pt x="507" y="481"/>
                  </a:lnTo>
                  <a:lnTo>
                    <a:pt x="507" y="481"/>
                  </a:lnTo>
                  <a:lnTo>
                    <a:pt x="504" y="481"/>
                  </a:lnTo>
                  <a:lnTo>
                    <a:pt x="504" y="484"/>
                  </a:lnTo>
                  <a:lnTo>
                    <a:pt x="504" y="484"/>
                  </a:lnTo>
                  <a:lnTo>
                    <a:pt x="507" y="486"/>
                  </a:lnTo>
                  <a:lnTo>
                    <a:pt x="509" y="486"/>
                  </a:lnTo>
                  <a:lnTo>
                    <a:pt x="509" y="486"/>
                  </a:lnTo>
                  <a:lnTo>
                    <a:pt x="512" y="486"/>
                  </a:lnTo>
                  <a:lnTo>
                    <a:pt x="512" y="486"/>
                  </a:lnTo>
                  <a:lnTo>
                    <a:pt x="512" y="486"/>
                  </a:lnTo>
                  <a:lnTo>
                    <a:pt x="512" y="486"/>
                  </a:lnTo>
                  <a:close/>
                  <a:moveTo>
                    <a:pt x="651" y="420"/>
                  </a:moveTo>
                  <a:lnTo>
                    <a:pt x="653" y="420"/>
                  </a:lnTo>
                  <a:lnTo>
                    <a:pt x="653" y="420"/>
                  </a:lnTo>
                  <a:lnTo>
                    <a:pt x="651" y="420"/>
                  </a:lnTo>
                  <a:close/>
                  <a:moveTo>
                    <a:pt x="648" y="417"/>
                  </a:moveTo>
                  <a:lnTo>
                    <a:pt x="648" y="417"/>
                  </a:lnTo>
                  <a:lnTo>
                    <a:pt x="645" y="417"/>
                  </a:lnTo>
                  <a:lnTo>
                    <a:pt x="645" y="420"/>
                  </a:lnTo>
                  <a:lnTo>
                    <a:pt x="645" y="420"/>
                  </a:lnTo>
                  <a:lnTo>
                    <a:pt x="648" y="417"/>
                  </a:lnTo>
                  <a:lnTo>
                    <a:pt x="648" y="417"/>
                  </a:lnTo>
                  <a:close/>
                  <a:moveTo>
                    <a:pt x="648" y="414"/>
                  </a:moveTo>
                  <a:lnTo>
                    <a:pt x="651" y="414"/>
                  </a:lnTo>
                  <a:lnTo>
                    <a:pt x="651" y="414"/>
                  </a:lnTo>
                  <a:lnTo>
                    <a:pt x="648" y="414"/>
                  </a:lnTo>
                  <a:lnTo>
                    <a:pt x="648" y="417"/>
                  </a:lnTo>
                  <a:lnTo>
                    <a:pt x="648" y="417"/>
                  </a:lnTo>
                  <a:lnTo>
                    <a:pt x="648" y="417"/>
                  </a:lnTo>
                  <a:lnTo>
                    <a:pt x="648" y="414"/>
                  </a:lnTo>
                  <a:close/>
                  <a:moveTo>
                    <a:pt x="651" y="414"/>
                  </a:moveTo>
                  <a:lnTo>
                    <a:pt x="651" y="414"/>
                  </a:lnTo>
                  <a:lnTo>
                    <a:pt x="651" y="417"/>
                  </a:lnTo>
                  <a:lnTo>
                    <a:pt x="651" y="417"/>
                  </a:lnTo>
                  <a:lnTo>
                    <a:pt x="651" y="414"/>
                  </a:lnTo>
                  <a:close/>
                  <a:moveTo>
                    <a:pt x="573" y="449"/>
                  </a:moveTo>
                  <a:lnTo>
                    <a:pt x="576" y="449"/>
                  </a:lnTo>
                  <a:lnTo>
                    <a:pt x="576" y="449"/>
                  </a:lnTo>
                  <a:lnTo>
                    <a:pt x="576" y="449"/>
                  </a:lnTo>
                  <a:lnTo>
                    <a:pt x="576" y="449"/>
                  </a:lnTo>
                  <a:lnTo>
                    <a:pt x="576" y="449"/>
                  </a:lnTo>
                  <a:lnTo>
                    <a:pt x="576" y="449"/>
                  </a:lnTo>
                  <a:lnTo>
                    <a:pt x="576" y="449"/>
                  </a:lnTo>
                  <a:lnTo>
                    <a:pt x="573" y="446"/>
                  </a:lnTo>
                  <a:lnTo>
                    <a:pt x="573" y="446"/>
                  </a:lnTo>
                  <a:lnTo>
                    <a:pt x="573" y="446"/>
                  </a:lnTo>
                  <a:lnTo>
                    <a:pt x="573" y="446"/>
                  </a:lnTo>
                  <a:lnTo>
                    <a:pt x="573" y="449"/>
                  </a:lnTo>
                  <a:lnTo>
                    <a:pt x="573" y="449"/>
                  </a:lnTo>
                  <a:lnTo>
                    <a:pt x="573" y="449"/>
                  </a:lnTo>
                  <a:lnTo>
                    <a:pt x="573" y="449"/>
                  </a:lnTo>
                  <a:lnTo>
                    <a:pt x="573" y="449"/>
                  </a:lnTo>
                  <a:lnTo>
                    <a:pt x="573" y="449"/>
                  </a:lnTo>
                  <a:lnTo>
                    <a:pt x="573" y="449"/>
                  </a:lnTo>
                  <a:close/>
                  <a:moveTo>
                    <a:pt x="640" y="428"/>
                  </a:moveTo>
                  <a:lnTo>
                    <a:pt x="640" y="428"/>
                  </a:lnTo>
                  <a:lnTo>
                    <a:pt x="640" y="425"/>
                  </a:lnTo>
                  <a:lnTo>
                    <a:pt x="640" y="425"/>
                  </a:lnTo>
                  <a:lnTo>
                    <a:pt x="640" y="428"/>
                  </a:lnTo>
                  <a:lnTo>
                    <a:pt x="640" y="430"/>
                  </a:lnTo>
                  <a:lnTo>
                    <a:pt x="640" y="430"/>
                  </a:lnTo>
                  <a:lnTo>
                    <a:pt x="640" y="428"/>
                  </a:lnTo>
                  <a:close/>
                  <a:moveTo>
                    <a:pt x="608" y="409"/>
                  </a:moveTo>
                  <a:lnTo>
                    <a:pt x="608" y="406"/>
                  </a:lnTo>
                  <a:lnTo>
                    <a:pt x="605" y="406"/>
                  </a:lnTo>
                  <a:lnTo>
                    <a:pt x="605" y="409"/>
                  </a:lnTo>
                  <a:lnTo>
                    <a:pt x="603" y="412"/>
                  </a:lnTo>
                  <a:lnTo>
                    <a:pt x="603" y="412"/>
                  </a:lnTo>
                  <a:lnTo>
                    <a:pt x="603" y="412"/>
                  </a:lnTo>
                  <a:lnTo>
                    <a:pt x="605" y="412"/>
                  </a:lnTo>
                  <a:lnTo>
                    <a:pt x="605" y="409"/>
                  </a:lnTo>
                  <a:lnTo>
                    <a:pt x="605" y="409"/>
                  </a:lnTo>
                  <a:lnTo>
                    <a:pt x="608" y="409"/>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41" name="Freeform 38">
              <a:extLst>
                <a:ext uri="{FF2B5EF4-FFF2-40B4-BE49-F238E27FC236}">
                  <a16:creationId xmlns="" xmlns:a16="http://schemas.microsoft.com/office/drawing/2014/main" id="{071C5387-ABE9-456A-A76F-6037B155613A}"/>
                </a:ext>
              </a:extLst>
            </p:cNvPr>
            <p:cNvSpPr>
              <a:spLocks noEditPoints="1"/>
            </p:cNvSpPr>
            <p:nvPr/>
          </p:nvSpPr>
          <p:spPr bwMode="auto">
            <a:xfrm>
              <a:off x="4827" y="1515"/>
              <a:ext cx="835" cy="430"/>
            </a:xfrm>
            <a:custGeom>
              <a:avLst/>
              <a:gdLst>
                <a:gd name="T0" fmla="*/ 814 w 835"/>
                <a:gd name="T1" fmla="*/ 171 h 430"/>
                <a:gd name="T2" fmla="*/ 803 w 835"/>
                <a:gd name="T3" fmla="*/ 163 h 430"/>
                <a:gd name="T4" fmla="*/ 790 w 835"/>
                <a:gd name="T5" fmla="*/ 152 h 430"/>
                <a:gd name="T6" fmla="*/ 777 w 835"/>
                <a:gd name="T7" fmla="*/ 133 h 430"/>
                <a:gd name="T8" fmla="*/ 769 w 835"/>
                <a:gd name="T9" fmla="*/ 123 h 430"/>
                <a:gd name="T10" fmla="*/ 747 w 835"/>
                <a:gd name="T11" fmla="*/ 99 h 430"/>
                <a:gd name="T12" fmla="*/ 750 w 835"/>
                <a:gd name="T13" fmla="*/ 91 h 430"/>
                <a:gd name="T14" fmla="*/ 753 w 835"/>
                <a:gd name="T15" fmla="*/ 85 h 430"/>
                <a:gd name="T16" fmla="*/ 747 w 835"/>
                <a:gd name="T17" fmla="*/ 67 h 430"/>
                <a:gd name="T18" fmla="*/ 713 w 835"/>
                <a:gd name="T19" fmla="*/ 40 h 430"/>
                <a:gd name="T20" fmla="*/ 691 w 835"/>
                <a:gd name="T21" fmla="*/ 32 h 430"/>
                <a:gd name="T22" fmla="*/ 673 w 835"/>
                <a:gd name="T23" fmla="*/ 45 h 430"/>
                <a:gd name="T24" fmla="*/ 651 w 835"/>
                <a:gd name="T25" fmla="*/ 43 h 430"/>
                <a:gd name="T26" fmla="*/ 627 w 835"/>
                <a:gd name="T27" fmla="*/ 48 h 430"/>
                <a:gd name="T28" fmla="*/ 595 w 835"/>
                <a:gd name="T29" fmla="*/ 37 h 430"/>
                <a:gd name="T30" fmla="*/ 555 w 835"/>
                <a:gd name="T31" fmla="*/ 24 h 430"/>
                <a:gd name="T32" fmla="*/ 539 w 835"/>
                <a:gd name="T33" fmla="*/ 8 h 430"/>
                <a:gd name="T34" fmla="*/ 502 w 835"/>
                <a:gd name="T35" fmla="*/ 2 h 430"/>
                <a:gd name="T36" fmla="*/ 483 w 835"/>
                <a:gd name="T37" fmla="*/ 13 h 430"/>
                <a:gd name="T38" fmla="*/ 494 w 835"/>
                <a:gd name="T39" fmla="*/ 35 h 430"/>
                <a:gd name="T40" fmla="*/ 475 w 835"/>
                <a:gd name="T41" fmla="*/ 53 h 430"/>
                <a:gd name="T42" fmla="*/ 427 w 835"/>
                <a:gd name="T43" fmla="*/ 72 h 430"/>
                <a:gd name="T44" fmla="*/ 419 w 835"/>
                <a:gd name="T45" fmla="*/ 107 h 430"/>
                <a:gd name="T46" fmla="*/ 398 w 835"/>
                <a:gd name="T47" fmla="*/ 133 h 430"/>
                <a:gd name="T48" fmla="*/ 387 w 835"/>
                <a:gd name="T49" fmla="*/ 152 h 430"/>
                <a:gd name="T50" fmla="*/ 374 w 835"/>
                <a:gd name="T51" fmla="*/ 181 h 430"/>
                <a:gd name="T52" fmla="*/ 344 w 835"/>
                <a:gd name="T53" fmla="*/ 165 h 430"/>
                <a:gd name="T54" fmla="*/ 339 w 835"/>
                <a:gd name="T55" fmla="*/ 160 h 430"/>
                <a:gd name="T56" fmla="*/ 326 w 835"/>
                <a:gd name="T57" fmla="*/ 165 h 430"/>
                <a:gd name="T58" fmla="*/ 320 w 835"/>
                <a:gd name="T59" fmla="*/ 192 h 430"/>
                <a:gd name="T60" fmla="*/ 310 w 835"/>
                <a:gd name="T61" fmla="*/ 198 h 430"/>
                <a:gd name="T62" fmla="*/ 278 w 835"/>
                <a:gd name="T63" fmla="*/ 198 h 430"/>
                <a:gd name="T64" fmla="*/ 256 w 835"/>
                <a:gd name="T65" fmla="*/ 219 h 430"/>
                <a:gd name="T66" fmla="*/ 240 w 835"/>
                <a:gd name="T67" fmla="*/ 211 h 430"/>
                <a:gd name="T68" fmla="*/ 203 w 835"/>
                <a:gd name="T69" fmla="*/ 206 h 430"/>
                <a:gd name="T70" fmla="*/ 203 w 835"/>
                <a:gd name="T71" fmla="*/ 214 h 430"/>
                <a:gd name="T72" fmla="*/ 190 w 835"/>
                <a:gd name="T73" fmla="*/ 214 h 430"/>
                <a:gd name="T74" fmla="*/ 168 w 835"/>
                <a:gd name="T75" fmla="*/ 211 h 430"/>
                <a:gd name="T76" fmla="*/ 155 w 835"/>
                <a:gd name="T77" fmla="*/ 230 h 430"/>
                <a:gd name="T78" fmla="*/ 147 w 835"/>
                <a:gd name="T79" fmla="*/ 262 h 430"/>
                <a:gd name="T80" fmla="*/ 115 w 835"/>
                <a:gd name="T81" fmla="*/ 288 h 430"/>
                <a:gd name="T82" fmla="*/ 120 w 835"/>
                <a:gd name="T83" fmla="*/ 328 h 430"/>
                <a:gd name="T84" fmla="*/ 48 w 835"/>
                <a:gd name="T85" fmla="*/ 328 h 430"/>
                <a:gd name="T86" fmla="*/ 48 w 835"/>
                <a:gd name="T87" fmla="*/ 371 h 430"/>
                <a:gd name="T88" fmla="*/ 43 w 835"/>
                <a:gd name="T89" fmla="*/ 403 h 430"/>
                <a:gd name="T90" fmla="*/ 22 w 835"/>
                <a:gd name="T91" fmla="*/ 411 h 430"/>
                <a:gd name="T92" fmla="*/ 136 w 835"/>
                <a:gd name="T93" fmla="*/ 417 h 430"/>
                <a:gd name="T94" fmla="*/ 168 w 835"/>
                <a:gd name="T95" fmla="*/ 385 h 430"/>
                <a:gd name="T96" fmla="*/ 195 w 835"/>
                <a:gd name="T97" fmla="*/ 390 h 430"/>
                <a:gd name="T98" fmla="*/ 280 w 835"/>
                <a:gd name="T99" fmla="*/ 379 h 430"/>
                <a:gd name="T100" fmla="*/ 344 w 835"/>
                <a:gd name="T101" fmla="*/ 368 h 430"/>
                <a:gd name="T102" fmla="*/ 531 w 835"/>
                <a:gd name="T103" fmla="*/ 352 h 430"/>
                <a:gd name="T104" fmla="*/ 665 w 835"/>
                <a:gd name="T105" fmla="*/ 334 h 430"/>
                <a:gd name="T106" fmla="*/ 710 w 835"/>
                <a:gd name="T107" fmla="*/ 307 h 430"/>
                <a:gd name="T108" fmla="*/ 726 w 835"/>
                <a:gd name="T109" fmla="*/ 296 h 430"/>
                <a:gd name="T110" fmla="*/ 750 w 835"/>
                <a:gd name="T111" fmla="*/ 278 h 430"/>
                <a:gd name="T112" fmla="*/ 753 w 835"/>
                <a:gd name="T113" fmla="*/ 264 h 430"/>
                <a:gd name="T114" fmla="*/ 761 w 835"/>
                <a:gd name="T115" fmla="*/ 246 h 430"/>
                <a:gd name="T116" fmla="*/ 822 w 835"/>
                <a:gd name="T117" fmla="*/ 189 h 430"/>
                <a:gd name="T118" fmla="*/ 11 w 835"/>
                <a:gd name="T119" fmla="*/ 427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5" h="430">
                  <a:moveTo>
                    <a:pt x="833" y="173"/>
                  </a:moveTo>
                  <a:lnTo>
                    <a:pt x="833" y="173"/>
                  </a:lnTo>
                  <a:lnTo>
                    <a:pt x="827" y="176"/>
                  </a:lnTo>
                  <a:lnTo>
                    <a:pt x="827" y="176"/>
                  </a:lnTo>
                  <a:lnTo>
                    <a:pt x="817" y="173"/>
                  </a:lnTo>
                  <a:lnTo>
                    <a:pt x="817" y="173"/>
                  </a:lnTo>
                  <a:lnTo>
                    <a:pt x="814" y="173"/>
                  </a:lnTo>
                  <a:lnTo>
                    <a:pt x="814" y="171"/>
                  </a:lnTo>
                  <a:lnTo>
                    <a:pt x="814" y="171"/>
                  </a:lnTo>
                  <a:lnTo>
                    <a:pt x="814" y="171"/>
                  </a:lnTo>
                  <a:lnTo>
                    <a:pt x="814" y="171"/>
                  </a:lnTo>
                  <a:lnTo>
                    <a:pt x="814" y="168"/>
                  </a:lnTo>
                  <a:lnTo>
                    <a:pt x="814" y="168"/>
                  </a:lnTo>
                  <a:lnTo>
                    <a:pt x="809" y="165"/>
                  </a:lnTo>
                  <a:lnTo>
                    <a:pt x="809" y="165"/>
                  </a:lnTo>
                  <a:lnTo>
                    <a:pt x="809" y="165"/>
                  </a:lnTo>
                  <a:lnTo>
                    <a:pt x="806" y="165"/>
                  </a:lnTo>
                  <a:lnTo>
                    <a:pt x="806" y="165"/>
                  </a:lnTo>
                  <a:lnTo>
                    <a:pt x="803" y="163"/>
                  </a:lnTo>
                  <a:lnTo>
                    <a:pt x="803" y="163"/>
                  </a:lnTo>
                  <a:lnTo>
                    <a:pt x="803" y="163"/>
                  </a:lnTo>
                  <a:lnTo>
                    <a:pt x="801" y="163"/>
                  </a:lnTo>
                  <a:lnTo>
                    <a:pt x="795" y="160"/>
                  </a:lnTo>
                  <a:lnTo>
                    <a:pt x="795" y="160"/>
                  </a:lnTo>
                  <a:lnTo>
                    <a:pt x="795" y="160"/>
                  </a:lnTo>
                  <a:lnTo>
                    <a:pt x="795" y="157"/>
                  </a:lnTo>
                  <a:lnTo>
                    <a:pt x="793" y="155"/>
                  </a:lnTo>
                  <a:lnTo>
                    <a:pt x="793" y="152"/>
                  </a:lnTo>
                  <a:lnTo>
                    <a:pt x="793" y="152"/>
                  </a:lnTo>
                  <a:lnTo>
                    <a:pt x="790" y="152"/>
                  </a:lnTo>
                  <a:lnTo>
                    <a:pt x="790" y="149"/>
                  </a:lnTo>
                  <a:lnTo>
                    <a:pt x="779" y="144"/>
                  </a:lnTo>
                  <a:lnTo>
                    <a:pt x="779" y="141"/>
                  </a:lnTo>
                  <a:lnTo>
                    <a:pt x="779" y="141"/>
                  </a:lnTo>
                  <a:lnTo>
                    <a:pt x="779" y="141"/>
                  </a:lnTo>
                  <a:lnTo>
                    <a:pt x="779" y="136"/>
                  </a:lnTo>
                  <a:lnTo>
                    <a:pt x="777" y="136"/>
                  </a:lnTo>
                  <a:lnTo>
                    <a:pt x="777" y="133"/>
                  </a:lnTo>
                  <a:lnTo>
                    <a:pt x="777" y="133"/>
                  </a:lnTo>
                  <a:lnTo>
                    <a:pt x="777" y="133"/>
                  </a:lnTo>
                  <a:lnTo>
                    <a:pt x="774" y="133"/>
                  </a:lnTo>
                  <a:lnTo>
                    <a:pt x="769" y="131"/>
                  </a:lnTo>
                  <a:lnTo>
                    <a:pt x="769" y="128"/>
                  </a:lnTo>
                  <a:lnTo>
                    <a:pt x="769" y="128"/>
                  </a:lnTo>
                  <a:lnTo>
                    <a:pt x="769" y="128"/>
                  </a:lnTo>
                  <a:lnTo>
                    <a:pt x="769" y="125"/>
                  </a:lnTo>
                  <a:lnTo>
                    <a:pt x="771" y="125"/>
                  </a:lnTo>
                  <a:lnTo>
                    <a:pt x="771" y="125"/>
                  </a:lnTo>
                  <a:lnTo>
                    <a:pt x="769" y="123"/>
                  </a:lnTo>
                  <a:lnTo>
                    <a:pt x="769" y="123"/>
                  </a:lnTo>
                  <a:lnTo>
                    <a:pt x="769" y="123"/>
                  </a:lnTo>
                  <a:lnTo>
                    <a:pt x="769" y="123"/>
                  </a:lnTo>
                  <a:lnTo>
                    <a:pt x="761" y="117"/>
                  </a:lnTo>
                  <a:lnTo>
                    <a:pt x="761" y="117"/>
                  </a:lnTo>
                  <a:lnTo>
                    <a:pt x="761" y="115"/>
                  </a:lnTo>
                  <a:lnTo>
                    <a:pt x="758" y="112"/>
                  </a:lnTo>
                  <a:lnTo>
                    <a:pt x="758" y="112"/>
                  </a:lnTo>
                  <a:lnTo>
                    <a:pt x="747" y="101"/>
                  </a:lnTo>
                  <a:lnTo>
                    <a:pt x="747" y="101"/>
                  </a:lnTo>
                  <a:lnTo>
                    <a:pt x="747" y="99"/>
                  </a:lnTo>
                  <a:lnTo>
                    <a:pt x="747" y="99"/>
                  </a:lnTo>
                  <a:lnTo>
                    <a:pt x="747" y="99"/>
                  </a:lnTo>
                  <a:lnTo>
                    <a:pt x="747" y="99"/>
                  </a:lnTo>
                  <a:lnTo>
                    <a:pt x="747" y="99"/>
                  </a:lnTo>
                  <a:lnTo>
                    <a:pt x="750" y="96"/>
                  </a:lnTo>
                  <a:lnTo>
                    <a:pt x="750" y="96"/>
                  </a:lnTo>
                  <a:lnTo>
                    <a:pt x="750" y="93"/>
                  </a:lnTo>
                  <a:lnTo>
                    <a:pt x="750" y="93"/>
                  </a:lnTo>
                  <a:lnTo>
                    <a:pt x="750" y="93"/>
                  </a:lnTo>
                  <a:lnTo>
                    <a:pt x="750" y="91"/>
                  </a:lnTo>
                  <a:lnTo>
                    <a:pt x="750" y="91"/>
                  </a:lnTo>
                  <a:lnTo>
                    <a:pt x="750" y="91"/>
                  </a:lnTo>
                  <a:lnTo>
                    <a:pt x="750" y="88"/>
                  </a:lnTo>
                  <a:lnTo>
                    <a:pt x="750" y="88"/>
                  </a:lnTo>
                  <a:lnTo>
                    <a:pt x="753" y="88"/>
                  </a:lnTo>
                  <a:lnTo>
                    <a:pt x="753" y="88"/>
                  </a:lnTo>
                  <a:lnTo>
                    <a:pt x="753" y="88"/>
                  </a:lnTo>
                  <a:lnTo>
                    <a:pt x="753" y="88"/>
                  </a:lnTo>
                  <a:lnTo>
                    <a:pt x="753" y="85"/>
                  </a:lnTo>
                  <a:lnTo>
                    <a:pt x="753" y="85"/>
                  </a:lnTo>
                  <a:lnTo>
                    <a:pt x="753" y="83"/>
                  </a:lnTo>
                  <a:lnTo>
                    <a:pt x="753" y="80"/>
                  </a:lnTo>
                  <a:lnTo>
                    <a:pt x="753" y="80"/>
                  </a:lnTo>
                  <a:lnTo>
                    <a:pt x="750" y="77"/>
                  </a:lnTo>
                  <a:lnTo>
                    <a:pt x="750" y="77"/>
                  </a:lnTo>
                  <a:lnTo>
                    <a:pt x="747" y="72"/>
                  </a:lnTo>
                  <a:lnTo>
                    <a:pt x="747" y="72"/>
                  </a:lnTo>
                  <a:lnTo>
                    <a:pt x="747" y="72"/>
                  </a:lnTo>
                  <a:lnTo>
                    <a:pt x="747" y="69"/>
                  </a:lnTo>
                  <a:lnTo>
                    <a:pt x="747" y="67"/>
                  </a:lnTo>
                  <a:lnTo>
                    <a:pt x="747" y="64"/>
                  </a:lnTo>
                  <a:lnTo>
                    <a:pt x="747" y="64"/>
                  </a:lnTo>
                  <a:lnTo>
                    <a:pt x="745" y="64"/>
                  </a:lnTo>
                  <a:lnTo>
                    <a:pt x="742" y="59"/>
                  </a:lnTo>
                  <a:lnTo>
                    <a:pt x="742" y="56"/>
                  </a:lnTo>
                  <a:lnTo>
                    <a:pt x="731" y="51"/>
                  </a:lnTo>
                  <a:lnTo>
                    <a:pt x="729" y="48"/>
                  </a:lnTo>
                  <a:lnTo>
                    <a:pt x="723" y="48"/>
                  </a:lnTo>
                  <a:lnTo>
                    <a:pt x="718" y="45"/>
                  </a:lnTo>
                  <a:lnTo>
                    <a:pt x="713" y="40"/>
                  </a:lnTo>
                  <a:lnTo>
                    <a:pt x="710" y="32"/>
                  </a:lnTo>
                  <a:lnTo>
                    <a:pt x="707" y="29"/>
                  </a:lnTo>
                  <a:lnTo>
                    <a:pt x="707" y="27"/>
                  </a:lnTo>
                  <a:lnTo>
                    <a:pt x="707" y="24"/>
                  </a:lnTo>
                  <a:lnTo>
                    <a:pt x="705" y="24"/>
                  </a:lnTo>
                  <a:lnTo>
                    <a:pt x="702" y="24"/>
                  </a:lnTo>
                  <a:lnTo>
                    <a:pt x="697" y="29"/>
                  </a:lnTo>
                  <a:lnTo>
                    <a:pt x="694" y="29"/>
                  </a:lnTo>
                  <a:lnTo>
                    <a:pt x="691" y="32"/>
                  </a:lnTo>
                  <a:lnTo>
                    <a:pt x="691" y="32"/>
                  </a:lnTo>
                  <a:lnTo>
                    <a:pt x="689" y="35"/>
                  </a:lnTo>
                  <a:lnTo>
                    <a:pt x="689" y="37"/>
                  </a:lnTo>
                  <a:lnTo>
                    <a:pt x="686" y="37"/>
                  </a:lnTo>
                  <a:lnTo>
                    <a:pt x="683" y="40"/>
                  </a:lnTo>
                  <a:lnTo>
                    <a:pt x="683" y="40"/>
                  </a:lnTo>
                  <a:lnTo>
                    <a:pt x="683" y="43"/>
                  </a:lnTo>
                  <a:lnTo>
                    <a:pt x="683" y="45"/>
                  </a:lnTo>
                  <a:lnTo>
                    <a:pt x="681" y="45"/>
                  </a:lnTo>
                  <a:lnTo>
                    <a:pt x="678" y="48"/>
                  </a:lnTo>
                  <a:lnTo>
                    <a:pt x="673" y="45"/>
                  </a:lnTo>
                  <a:lnTo>
                    <a:pt x="670" y="48"/>
                  </a:lnTo>
                  <a:lnTo>
                    <a:pt x="670" y="48"/>
                  </a:lnTo>
                  <a:lnTo>
                    <a:pt x="667" y="51"/>
                  </a:lnTo>
                  <a:lnTo>
                    <a:pt x="665" y="51"/>
                  </a:lnTo>
                  <a:lnTo>
                    <a:pt x="662" y="51"/>
                  </a:lnTo>
                  <a:lnTo>
                    <a:pt x="662" y="51"/>
                  </a:lnTo>
                  <a:lnTo>
                    <a:pt x="659" y="45"/>
                  </a:lnTo>
                  <a:lnTo>
                    <a:pt x="657" y="45"/>
                  </a:lnTo>
                  <a:lnTo>
                    <a:pt x="657" y="45"/>
                  </a:lnTo>
                  <a:lnTo>
                    <a:pt x="651" y="43"/>
                  </a:lnTo>
                  <a:lnTo>
                    <a:pt x="651" y="43"/>
                  </a:lnTo>
                  <a:lnTo>
                    <a:pt x="646" y="43"/>
                  </a:lnTo>
                  <a:lnTo>
                    <a:pt x="646" y="43"/>
                  </a:lnTo>
                  <a:lnTo>
                    <a:pt x="643" y="43"/>
                  </a:lnTo>
                  <a:lnTo>
                    <a:pt x="641" y="40"/>
                  </a:lnTo>
                  <a:lnTo>
                    <a:pt x="638" y="40"/>
                  </a:lnTo>
                  <a:lnTo>
                    <a:pt x="638" y="40"/>
                  </a:lnTo>
                  <a:lnTo>
                    <a:pt x="630" y="45"/>
                  </a:lnTo>
                  <a:lnTo>
                    <a:pt x="627" y="45"/>
                  </a:lnTo>
                  <a:lnTo>
                    <a:pt x="627" y="48"/>
                  </a:lnTo>
                  <a:lnTo>
                    <a:pt x="627" y="51"/>
                  </a:lnTo>
                  <a:lnTo>
                    <a:pt x="625" y="53"/>
                  </a:lnTo>
                  <a:lnTo>
                    <a:pt x="625" y="53"/>
                  </a:lnTo>
                  <a:lnTo>
                    <a:pt x="619" y="53"/>
                  </a:lnTo>
                  <a:lnTo>
                    <a:pt x="614" y="51"/>
                  </a:lnTo>
                  <a:lnTo>
                    <a:pt x="606" y="45"/>
                  </a:lnTo>
                  <a:lnTo>
                    <a:pt x="603" y="43"/>
                  </a:lnTo>
                  <a:lnTo>
                    <a:pt x="601" y="40"/>
                  </a:lnTo>
                  <a:lnTo>
                    <a:pt x="601" y="37"/>
                  </a:lnTo>
                  <a:lnTo>
                    <a:pt x="595" y="37"/>
                  </a:lnTo>
                  <a:lnTo>
                    <a:pt x="590" y="37"/>
                  </a:lnTo>
                  <a:lnTo>
                    <a:pt x="587" y="37"/>
                  </a:lnTo>
                  <a:lnTo>
                    <a:pt x="577" y="40"/>
                  </a:lnTo>
                  <a:lnTo>
                    <a:pt x="574" y="40"/>
                  </a:lnTo>
                  <a:lnTo>
                    <a:pt x="563" y="37"/>
                  </a:lnTo>
                  <a:lnTo>
                    <a:pt x="561" y="35"/>
                  </a:lnTo>
                  <a:lnTo>
                    <a:pt x="558" y="32"/>
                  </a:lnTo>
                  <a:lnTo>
                    <a:pt x="558" y="29"/>
                  </a:lnTo>
                  <a:lnTo>
                    <a:pt x="558" y="27"/>
                  </a:lnTo>
                  <a:lnTo>
                    <a:pt x="555" y="24"/>
                  </a:lnTo>
                  <a:lnTo>
                    <a:pt x="555" y="24"/>
                  </a:lnTo>
                  <a:lnTo>
                    <a:pt x="553" y="21"/>
                  </a:lnTo>
                  <a:lnTo>
                    <a:pt x="553" y="21"/>
                  </a:lnTo>
                  <a:lnTo>
                    <a:pt x="550" y="18"/>
                  </a:lnTo>
                  <a:lnTo>
                    <a:pt x="550" y="16"/>
                  </a:lnTo>
                  <a:lnTo>
                    <a:pt x="547" y="16"/>
                  </a:lnTo>
                  <a:lnTo>
                    <a:pt x="547" y="13"/>
                  </a:lnTo>
                  <a:lnTo>
                    <a:pt x="547" y="10"/>
                  </a:lnTo>
                  <a:lnTo>
                    <a:pt x="545" y="8"/>
                  </a:lnTo>
                  <a:lnTo>
                    <a:pt x="539" y="8"/>
                  </a:lnTo>
                  <a:lnTo>
                    <a:pt x="537" y="5"/>
                  </a:lnTo>
                  <a:lnTo>
                    <a:pt x="534" y="5"/>
                  </a:lnTo>
                  <a:lnTo>
                    <a:pt x="534" y="5"/>
                  </a:lnTo>
                  <a:lnTo>
                    <a:pt x="531" y="2"/>
                  </a:lnTo>
                  <a:lnTo>
                    <a:pt x="529" y="0"/>
                  </a:lnTo>
                  <a:lnTo>
                    <a:pt x="526" y="0"/>
                  </a:lnTo>
                  <a:lnTo>
                    <a:pt x="523" y="0"/>
                  </a:lnTo>
                  <a:lnTo>
                    <a:pt x="513" y="8"/>
                  </a:lnTo>
                  <a:lnTo>
                    <a:pt x="510" y="8"/>
                  </a:lnTo>
                  <a:lnTo>
                    <a:pt x="502" y="2"/>
                  </a:lnTo>
                  <a:lnTo>
                    <a:pt x="502" y="2"/>
                  </a:lnTo>
                  <a:lnTo>
                    <a:pt x="499" y="0"/>
                  </a:lnTo>
                  <a:lnTo>
                    <a:pt x="499" y="0"/>
                  </a:lnTo>
                  <a:lnTo>
                    <a:pt x="497" y="0"/>
                  </a:lnTo>
                  <a:lnTo>
                    <a:pt x="497" y="0"/>
                  </a:lnTo>
                  <a:lnTo>
                    <a:pt x="494" y="0"/>
                  </a:lnTo>
                  <a:lnTo>
                    <a:pt x="494" y="2"/>
                  </a:lnTo>
                  <a:lnTo>
                    <a:pt x="489" y="8"/>
                  </a:lnTo>
                  <a:lnTo>
                    <a:pt x="486" y="8"/>
                  </a:lnTo>
                  <a:lnTo>
                    <a:pt x="483" y="13"/>
                  </a:lnTo>
                  <a:lnTo>
                    <a:pt x="483" y="16"/>
                  </a:lnTo>
                  <a:lnTo>
                    <a:pt x="489" y="18"/>
                  </a:lnTo>
                  <a:lnTo>
                    <a:pt x="489" y="21"/>
                  </a:lnTo>
                  <a:lnTo>
                    <a:pt x="491" y="24"/>
                  </a:lnTo>
                  <a:lnTo>
                    <a:pt x="489" y="27"/>
                  </a:lnTo>
                  <a:lnTo>
                    <a:pt x="486" y="32"/>
                  </a:lnTo>
                  <a:lnTo>
                    <a:pt x="486" y="32"/>
                  </a:lnTo>
                  <a:lnTo>
                    <a:pt x="486" y="35"/>
                  </a:lnTo>
                  <a:lnTo>
                    <a:pt x="489" y="35"/>
                  </a:lnTo>
                  <a:lnTo>
                    <a:pt x="494" y="35"/>
                  </a:lnTo>
                  <a:lnTo>
                    <a:pt x="497" y="35"/>
                  </a:lnTo>
                  <a:lnTo>
                    <a:pt x="497" y="37"/>
                  </a:lnTo>
                  <a:lnTo>
                    <a:pt x="494" y="40"/>
                  </a:lnTo>
                  <a:lnTo>
                    <a:pt x="494" y="40"/>
                  </a:lnTo>
                  <a:lnTo>
                    <a:pt x="494" y="45"/>
                  </a:lnTo>
                  <a:lnTo>
                    <a:pt x="497" y="48"/>
                  </a:lnTo>
                  <a:lnTo>
                    <a:pt x="494" y="51"/>
                  </a:lnTo>
                  <a:lnTo>
                    <a:pt x="486" y="51"/>
                  </a:lnTo>
                  <a:lnTo>
                    <a:pt x="481" y="51"/>
                  </a:lnTo>
                  <a:lnTo>
                    <a:pt x="475" y="53"/>
                  </a:lnTo>
                  <a:lnTo>
                    <a:pt x="459" y="67"/>
                  </a:lnTo>
                  <a:lnTo>
                    <a:pt x="456" y="69"/>
                  </a:lnTo>
                  <a:lnTo>
                    <a:pt x="454" y="67"/>
                  </a:lnTo>
                  <a:lnTo>
                    <a:pt x="448" y="64"/>
                  </a:lnTo>
                  <a:lnTo>
                    <a:pt x="446" y="61"/>
                  </a:lnTo>
                  <a:lnTo>
                    <a:pt x="440" y="64"/>
                  </a:lnTo>
                  <a:lnTo>
                    <a:pt x="427" y="67"/>
                  </a:lnTo>
                  <a:lnTo>
                    <a:pt x="424" y="67"/>
                  </a:lnTo>
                  <a:lnTo>
                    <a:pt x="427" y="69"/>
                  </a:lnTo>
                  <a:lnTo>
                    <a:pt x="427" y="72"/>
                  </a:lnTo>
                  <a:lnTo>
                    <a:pt x="427" y="75"/>
                  </a:lnTo>
                  <a:lnTo>
                    <a:pt x="430" y="83"/>
                  </a:lnTo>
                  <a:lnTo>
                    <a:pt x="432" y="88"/>
                  </a:lnTo>
                  <a:lnTo>
                    <a:pt x="432" y="91"/>
                  </a:lnTo>
                  <a:lnTo>
                    <a:pt x="432" y="93"/>
                  </a:lnTo>
                  <a:lnTo>
                    <a:pt x="427" y="99"/>
                  </a:lnTo>
                  <a:lnTo>
                    <a:pt x="424" y="101"/>
                  </a:lnTo>
                  <a:lnTo>
                    <a:pt x="424" y="104"/>
                  </a:lnTo>
                  <a:lnTo>
                    <a:pt x="422" y="104"/>
                  </a:lnTo>
                  <a:lnTo>
                    <a:pt x="419" y="107"/>
                  </a:lnTo>
                  <a:lnTo>
                    <a:pt x="416" y="107"/>
                  </a:lnTo>
                  <a:lnTo>
                    <a:pt x="414" y="109"/>
                  </a:lnTo>
                  <a:lnTo>
                    <a:pt x="411" y="123"/>
                  </a:lnTo>
                  <a:lnTo>
                    <a:pt x="411" y="128"/>
                  </a:lnTo>
                  <a:lnTo>
                    <a:pt x="406" y="131"/>
                  </a:lnTo>
                  <a:lnTo>
                    <a:pt x="406" y="133"/>
                  </a:lnTo>
                  <a:lnTo>
                    <a:pt x="400" y="136"/>
                  </a:lnTo>
                  <a:lnTo>
                    <a:pt x="400" y="136"/>
                  </a:lnTo>
                  <a:lnTo>
                    <a:pt x="398" y="133"/>
                  </a:lnTo>
                  <a:lnTo>
                    <a:pt x="398" y="133"/>
                  </a:lnTo>
                  <a:lnTo>
                    <a:pt x="398" y="133"/>
                  </a:lnTo>
                  <a:lnTo>
                    <a:pt x="395" y="133"/>
                  </a:lnTo>
                  <a:lnTo>
                    <a:pt x="392" y="133"/>
                  </a:lnTo>
                  <a:lnTo>
                    <a:pt x="392" y="136"/>
                  </a:lnTo>
                  <a:lnTo>
                    <a:pt x="390" y="141"/>
                  </a:lnTo>
                  <a:lnTo>
                    <a:pt x="390" y="141"/>
                  </a:lnTo>
                  <a:lnTo>
                    <a:pt x="387" y="144"/>
                  </a:lnTo>
                  <a:lnTo>
                    <a:pt x="387" y="147"/>
                  </a:lnTo>
                  <a:lnTo>
                    <a:pt x="387" y="149"/>
                  </a:lnTo>
                  <a:lnTo>
                    <a:pt x="387" y="152"/>
                  </a:lnTo>
                  <a:lnTo>
                    <a:pt x="387" y="165"/>
                  </a:lnTo>
                  <a:lnTo>
                    <a:pt x="387" y="171"/>
                  </a:lnTo>
                  <a:lnTo>
                    <a:pt x="384" y="171"/>
                  </a:lnTo>
                  <a:lnTo>
                    <a:pt x="384" y="173"/>
                  </a:lnTo>
                  <a:lnTo>
                    <a:pt x="384" y="173"/>
                  </a:lnTo>
                  <a:lnTo>
                    <a:pt x="382" y="173"/>
                  </a:lnTo>
                  <a:lnTo>
                    <a:pt x="376" y="176"/>
                  </a:lnTo>
                  <a:lnTo>
                    <a:pt x="376" y="176"/>
                  </a:lnTo>
                  <a:lnTo>
                    <a:pt x="374" y="179"/>
                  </a:lnTo>
                  <a:lnTo>
                    <a:pt x="374" y="181"/>
                  </a:lnTo>
                  <a:lnTo>
                    <a:pt x="371" y="179"/>
                  </a:lnTo>
                  <a:lnTo>
                    <a:pt x="366" y="176"/>
                  </a:lnTo>
                  <a:lnTo>
                    <a:pt x="363" y="176"/>
                  </a:lnTo>
                  <a:lnTo>
                    <a:pt x="358" y="176"/>
                  </a:lnTo>
                  <a:lnTo>
                    <a:pt x="355" y="173"/>
                  </a:lnTo>
                  <a:lnTo>
                    <a:pt x="352" y="173"/>
                  </a:lnTo>
                  <a:lnTo>
                    <a:pt x="350" y="171"/>
                  </a:lnTo>
                  <a:lnTo>
                    <a:pt x="347" y="171"/>
                  </a:lnTo>
                  <a:lnTo>
                    <a:pt x="344" y="168"/>
                  </a:lnTo>
                  <a:lnTo>
                    <a:pt x="344" y="165"/>
                  </a:lnTo>
                  <a:lnTo>
                    <a:pt x="344" y="160"/>
                  </a:lnTo>
                  <a:lnTo>
                    <a:pt x="344" y="157"/>
                  </a:lnTo>
                  <a:lnTo>
                    <a:pt x="336" y="155"/>
                  </a:lnTo>
                  <a:lnTo>
                    <a:pt x="336" y="155"/>
                  </a:lnTo>
                  <a:lnTo>
                    <a:pt x="334" y="155"/>
                  </a:lnTo>
                  <a:lnTo>
                    <a:pt x="331" y="155"/>
                  </a:lnTo>
                  <a:lnTo>
                    <a:pt x="334" y="157"/>
                  </a:lnTo>
                  <a:lnTo>
                    <a:pt x="336" y="160"/>
                  </a:lnTo>
                  <a:lnTo>
                    <a:pt x="339" y="160"/>
                  </a:lnTo>
                  <a:lnTo>
                    <a:pt x="339" y="160"/>
                  </a:lnTo>
                  <a:lnTo>
                    <a:pt x="336" y="163"/>
                  </a:lnTo>
                  <a:lnTo>
                    <a:pt x="334" y="165"/>
                  </a:lnTo>
                  <a:lnTo>
                    <a:pt x="331" y="165"/>
                  </a:lnTo>
                  <a:lnTo>
                    <a:pt x="328" y="165"/>
                  </a:lnTo>
                  <a:lnTo>
                    <a:pt x="328" y="165"/>
                  </a:lnTo>
                  <a:lnTo>
                    <a:pt x="328" y="163"/>
                  </a:lnTo>
                  <a:lnTo>
                    <a:pt x="326" y="163"/>
                  </a:lnTo>
                  <a:lnTo>
                    <a:pt x="326" y="163"/>
                  </a:lnTo>
                  <a:lnTo>
                    <a:pt x="326" y="165"/>
                  </a:lnTo>
                  <a:lnTo>
                    <a:pt x="326" y="165"/>
                  </a:lnTo>
                  <a:lnTo>
                    <a:pt x="328" y="168"/>
                  </a:lnTo>
                  <a:lnTo>
                    <a:pt x="328" y="171"/>
                  </a:lnTo>
                  <a:lnTo>
                    <a:pt x="328" y="173"/>
                  </a:lnTo>
                  <a:lnTo>
                    <a:pt x="326" y="173"/>
                  </a:lnTo>
                  <a:lnTo>
                    <a:pt x="323" y="176"/>
                  </a:lnTo>
                  <a:lnTo>
                    <a:pt x="320" y="176"/>
                  </a:lnTo>
                  <a:lnTo>
                    <a:pt x="320" y="179"/>
                  </a:lnTo>
                  <a:lnTo>
                    <a:pt x="320" y="181"/>
                  </a:lnTo>
                  <a:lnTo>
                    <a:pt x="320" y="189"/>
                  </a:lnTo>
                  <a:lnTo>
                    <a:pt x="320" y="192"/>
                  </a:lnTo>
                  <a:lnTo>
                    <a:pt x="320" y="192"/>
                  </a:lnTo>
                  <a:lnTo>
                    <a:pt x="315" y="195"/>
                  </a:lnTo>
                  <a:lnTo>
                    <a:pt x="315" y="198"/>
                  </a:lnTo>
                  <a:lnTo>
                    <a:pt x="315" y="200"/>
                  </a:lnTo>
                  <a:lnTo>
                    <a:pt x="315" y="203"/>
                  </a:lnTo>
                  <a:lnTo>
                    <a:pt x="312" y="206"/>
                  </a:lnTo>
                  <a:lnTo>
                    <a:pt x="310" y="206"/>
                  </a:lnTo>
                  <a:lnTo>
                    <a:pt x="307" y="203"/>
                  </a:lnTo>
                  <a:lnTo>
                    <a:pt x="307" y="203"/>
                  </a:lnTo>
                  <a:lnTo>
                    <a:pt x="310" y="198"/>
                  </a:lnTo>
                  <a:lnTo>
                    <a:pt x="307" y="198"/>
                  </a:lnTo>
                  <a:lnTo>
                    <a:pt x="302" y="200"/>
                  </a:lnTo>
                  <a:lnTo>
                    <a:pt x="299" y="200"/>
                  </a:lnTo>
                  <a:lnTo>
                    <a:pt x="294" y="198"/>
                  </a:lnTo>
                  <a:lnTo>
                    <a:pt x="291" y="195"/>
                  </a:lnTo>
                  <a:lnTo>
                    <a:pt x="291" y="189"/>
                  </a:lnTo>
                  <a:lnTo>
                    <a:pt x="288" y="187"/>
                  </a:lnTo>
                  <a:lnTo>
                    <a:pt x="283" y="189"/>
                  </a:lnTo>
                  <a:lnTo>
                    <a:pt x="280" y="195"/>
                  </a:lnTo>
                  <a:lnTo>
                    <a:pt x="278" y="198"/>
                  </a:lnTo>
                  <a:lnTo>
                    <a:pt x="278" y="198"/>
                  </a:lnTo>
                  <a:lnTo>
                    <a:pt x="270" y="198"/>
                  </a:lnTo>
                  <a:lnTo>
                    <a:pt x="267" y="200"/>
                  </a:lnTo>
                  <a:lnTo>
                    <a:pt x="267" y="200"/>
                  </a:lnTo>
                  <a:lnTo>
                    <a:pt x="267" y="203"/>
                  </a:lnTo>
                  <a:lnTo>
                    <a:pt x="264" y="206"/>
                  </a:lnTo>
                  <a:lnTo>
                    <a:pt x="262" y="214"/>
                  </a:lnTo>
                  <a:lnTo>
                    <a:pt x="262" y="219"/>
                  </a:lnTo>
                  <a:lnTo>
                    <a:pt x="259" y="222"/>
                  </a:lnTo>
                  <a:lnTo>
                    <a:pt x="256" y="219"/>
                  </a:lnTo>
                  <a:lnTo>
                    <a:pt x="256" y="219"/>
                  </a:lnTo>
                  <a:lnTo>
                    <a:pt x="254" y="216"/>
                  </a:lnTo>
                  <a:lnTo>
                    <a:pt x="254" y="216"/>
                  </a:lnTo>
                  <a:lnTo>
                    <a:pt x="254" y="214"/>
                  </a:lnTo>
                  <a:lnTo>
                    <a:pt x="251" y="214"/>
                  </a:lnTo>
                  <a:lnTo>
                    <a:pt x="251" y="214"/>
                  </a:lnTo>
                  <a:lnTo>
                    <a:pt x="248" y="214"/>
                  </a:lnTo>
                  <a:lnTo>
                    <a:pt x="246" y="214"/>
                  </a:lnTo>
                  <a:lnTo>
                    <a:pt x="246" y="211"/>
                  </a:lnTo>
                  <a:lnTo>
                    <a:pt x="240" y="211"/>
                  </a:lnTo>
                  <a:lnTo>
                    <a:pt x="232" y="208"/>
                  </a:lnTo>
                  <a:lnTo>
                    <a:pt x="232" y="206"/>
                  </a:lnTo>
                  <a:lnTo>
                    <a:pt x="230" y="206"/>
                  </a:lnTo>
                  <a:lnTo>
                    <a:pt x="227" y="203"/>
                  </a:lnTo>
                  <a:lnTo>
                    <a:pt x="224" y="203"/>
                  </a:lnTo>
                  <a:lnTo>
                    <a:pt x="222" y="203"/>
                  </a:lnTo>
                  <a:lnTo>
                    <a:pt x="216" y="206"/>
                  </a:lnTo>
                  <a:lnTo>
                    <a:pt x="214" y="208"/>
                  </a:lnTo>
                  <a:lnTo>
                    <a:pt x="208" y="208"/>
                  </a:lnTo>
                  <a:lnTo>
                    <a:pt x="203" y="206"/>
                  </a:lnTo>
                  <a:lnTo>
                    <a:pt x="203" y="203"/>
                  </a:lnTo>
                  <a:lnTo>
                    <a:pt x="203" y="203"/>
                  </a:lnTo>
                  <a:lnTo>
                    <a:pt x="203" y="200"/>
                  </a:lnTo>
                  <a:lnTo>
                    <a:pt x="200" y="200"/>
                  </a:lnTo>
                  <a:lnTo>
                    <a:pt x="200" y="200"/>
                  </a:lnTo>
                  <a:lnTo>
                    <a:pt x="200" y="203"/>
                  </a:lnTo>
                  <a:lnTo>
                    <a:pt x="200" y="203"/>
                  </a:lnTo>
                  <a:lnTo>
                    <a:pt x="200" y="206"/>
                  </a:lnTo>
                  <a:lnTo>
                    <a:pt x="203" y="211"/>
                  </a:lnTo>
                  <a:lnTo>
                    <a:pt x="203" y="214"/>
                  </a:lnTo>
                  <a:lnTo>
                    <a:pt x="203" y="216"/>
                  </a:lnTo>
                  <a:lnTo>
                    <a:pt x="200" y="222"/>
                  </a:lnTo>
                  <a:lnTo>
                    <a:pt x="198" y="222"/>
                  </a:lnTo>
                  <a:lnTo>
                    <a:pt x="195" y="222"/>
                  </a:lnTo>
                  <a:lnTo>
                    <a:pt x="195" y="219"/>
                  </a:lnTo>
                  <a:lnTo>
                    <a:pt x="195" y="214"/>
                  </a:lnTo>
                  <a:lnTo>
                    <a:pt x="195" y="214"/>
                  </a:lnTo>
                  <a:lnTo>
                    <a:pt x="192" y="211"/>
                  </a:lnTo>
                  <a:lnTo>
                    <a:pt x="192" y="211"/>
                  </a:lnTo>
                  <a:lnTo>
                    <a:pt x="190" y="214"/>
                  </a:lnTo>
                  <a:lnTo>
                    <a:pt x="190" y="214"/>
                  </a:lnTo>
                  <a:lnTo>
                    <a:pt x="187" y="214"/>
                  </a:lnTo>
                  <a:lnTo>
                    <a:pt x="184" y="216"/>
                  </a:lnTo>
                  <a:lnTo>
                    <a:pt x="182" y="216"/>
                  </a:lnTo>
                  <a:lnTo>
                    <a:pt x="179" y="216"/>
                  </a:lnTo>
                  <a:lnTo>
                    <a:pt x="176" y="216"/>
                  </a:lnTo>
                  <a:lnTo>
                    <a:pt x="174" y="214"/>
                  </a:lnTo>
                  <a:lnTo>
                    <a:pt x="174" y="214"/>
                  </a:lnTo>
                  <a:lnTo>
                    <a:pt x="171" y="211"/>
                  </a:lnTo>
                  <a:lnTo>
                    <a:pt x="168" y="211"/>
                  </a:lnTo>
                  <a:lnTo>
                    <a:pt x="166" y="211"/>
                  </a:lnTo>
                  <a:lnTo>
                    <a:pt x="166" y="216"/>
                  </a:lnTo>
                  <a:lnTo>
                    <a:pt x="166" y="216"/>
                  </a:lnTo>
                  <a:lnTo>
                    <a:pt x="171" y="224"/>
                  </a:lnTo>
                  <a:lnTo>
                    <a:pt x="166" y="232"/>
                  </a:lnTo>
                  <a:lnTo>
                    <a:pt x="166" y="232"/>
                  </a:lnTo>
                  <a:lnTo>
                    <a:pt x="163" y="232"/>
                  </a:lnTo>
                  <a:lnTo>
                    <a:pt x="160" y="230"/>
                  </a:lnTo>
                  <a:lnTo>
                    <a:pt x="158" y="230"/>
                  </a:lnTo>
                  <a:lnTo>
                    <a:pt x="155" y="230"/>
                  </a:lnTo>
                  <a:lnTo>
                    <a:pt x="155" y="232"/>
                  </a:lnTo>
                  <a:lnTo>
                    <a:pt x="155" y="235"/>
                  </a:lnTo>
                  <a:lnTo>
                    <a:pt x="155" y="238"/>
                  </a:lnTo>
                  <a:lnTo>
                    <a:pt x="152" y="240"/>
                  </a:lnTo>
                  <a:lnTo>
                    <a:pt x="147" y="246"/>
                  </a:lnTo>
                  <a:lnTo>
                    <a:pt x="144" y="248"/>
                  </a:lnTo>
                  <a:lnTo>
                    <a:pt x="144" y="251"/>
                  </a:lnTo>
                  <a:lnTo>
                    <a:pt x="144" y="254"/>
                  </a:lnTo>
                  <a:lnTo>
                    <a:pt x="144" y="256"/>
                  </a:lnTo>
                  <a:lnTo>
                    <a:pt x="147" y="262"/>
                  </a:lnTo>
                  <a:lnTo>
                    <a:pt x="147" y="262"/>
                  </a:lnTo>
                  <a:lnTo>
                    <a:pt x="152" y="264"/>
                  </a:lnTo>
                  <a:lnTo>
                    <a:pt x="155" y="270"/>
                  </a:lnTo>
                  <a:lnTo>
                    <a:pt x="155" y="275"/>
                  </a:lnTo>
                  <a:lnTo>
                    <a:pt x="150" y="278"/>
                  </a:lnTo>
                  <a:lnTo>
                    <a:pt x="131" y="283"/>
                  </a:lnTo>
                  <a:lnTo>
                    <a:pt x="126" y="288"/>
                  </a:lnTo>
                  <a:lnTo>
                    <a:pt x="123" y="288"/>
                  </a:lnTo>
                  <a:lnTo>
                    <a:pt x="118" y="288"/>
                  </a:lnTo>
                  <a:lnTo>
                    <a:pt x="115" y="288"/>
                  </a:lnTo>
                  <a:lnTo>
                    <a:pt x="112" y="291"/>
                  </a:lnTo>
                  <a:lnTo>
                    <a:pt x="112" y="291"/>
                  </a:lnTo>
                  <a:lnTo>
                    <a:pt x="112" y="294"/>
                  </a:lnTo>
                  <a:lnTo>
                    <a:pt x="110" y="299"/>
                  </a:lnTo>
                  <a:lnTo>
                    <a:pt x="110" y="304"/>
                  </a:lnTo>
                  <a:lnTo>
                    <a:pt x="112" y="310"/>
                  </a:lnTo>
                  <a:lnTo>
                    <a:pt x="115" y="315"/>
                  </a:lnTo>
                  <a:lnTo>
                    <a:pt x="118" y="320"/>
                  </a:lnTo>
                  <a:lnTo>
                    <a:pt x="120" y="323"/>
                  </a:lnTo>
                  <a:lnTo>
                    <a:pt x="120" y="328"/>
                  </a:lnTo>
                  <a:lnTo>
                    <a:pt x="120" y="334"/>
                  </a:lnTo>
                  <a:lnTo>
                    <a:pt x="118" y="336"/>
                  </a:lnTo>
                  <a:lnTo>
                    <a:pt x="112" y="339"/>
                  </a:lnTo>
                  <a:lnTo>
                    <a:pt x="107" y="336"/>
                  </a:lnTo>
                  <a:lnTo>
                    <a:pt x="99" y="334"/>
                  </a:lnTo>
                  <a:lnTo>
                    <a:pt x="67" y="320"/>
                  </a:lnTo>
                  <a:lnTo>
                    <a:pt x="62" y="320"/>
                  </a:lnTo>
                  <a:lnTo>
                    <a:pt x="56" y="323"/>
                  </a:lnTo>
                  <a:lnTo>
                    <a:pt x="51" y="326"/>
                  </a:lnTo>
                  <a:lnTo>
                    <a:pt x="48" y="328"/>
                  </a:lnTo>
                  <a:lnTo>
                    <a:pt x="48" y="331"/>
                  </a:lnTo>
                  <a:lnTo>
                    <a:pt x="43" y="336"/>
                  </a:lnTo>
                  <a:lnTo>
                    <a:pt x="40" y="342"/>
                  </a:lnTo>
                  <a:lnTo>
                    <a:pt x="38" y="347"/>
                  </a:lnTo>
                  <a:lnTo>
                    <a:pt x="40" y="350"/>
                  </a:lnTo>
                  <a:lnTo>
                    <a:pt x="40" y="352"/>
                  </a:lnTo>
                  <a:lnTo>
                    <a:pt x="46" y="358"/>
                  </a:lnTo>
                  <a:lnTo>
                    <a:pt x="46" y="360"/>
                  </a:lnTo>
                  <a:lnTo>
                    <a:pt x="46" y="366"/>
                  </a:lnTo>
                  <a:lnTo>
                    <a:pt x="48" y="371"/>
                  </a:lnTo>
                  <a:lnTo>
                    <a:pt x="48" y="371"/>
                  </a:lnTo>
                  <a:lnTo>
                    <a:pt x="46" y="374"/>
                  </a:lnTo>
                  <a:lnTo>
                    <a:pt x="46" y="374"/>
                  </a:lnTo>
                  <a:lnTo>
                    <a:pt x="46" y="377"/>
                  </a:lnTo>
                  <a:lnTo>
                    <a:pt x="46" y="377"/>
                  </a:lnTo>
                  <a:lnTo>
                    <a:pt x="46" y="379"/>
                  </a:lnTo>
                  <a:lnTo>
                    <a:pt x="48" y="385"/>
                  </a:lnTo>
                  <a:lnTo>
                    <a:pt x="48" y="387"/>
                  </a:lnTo>
                  <a:lnTo>
                    <a:pt x="48" y="393"/>
                  </a:lnTo>
                  <a:lnTo>
                    <a:pt x="43" y="403"/>
                  </a:lnTo>
                  <a:lnTo>
                    <a:pt x="43" y="411"/>
                  </a:lnTo>
                  <a:lnTo>
                    <a:pt x="40" y="414"/>
                  </a:lnTo>
                  <a:lnTo>
                    <a:pt x="38" y="417"/>
                  </a:lnTo>
                  <a:lnTo>
                    <a:pt x="32" y="414"/>
                  </a:lnTo>
                  <a:lnTo>
                    <a:pt x="30" y="414"/>
                  </a:lnTo>
                  <a:lnTo>
                    <a:pt x="27" y="409"/>
                  </a:lnTo>
                  <a:lnTo>
                    <a:pt x="24" y="409"/>
                  </a:lnTo>
                  <a:lnTo>
                    <a:pt x="22" y="409"/>
                  </a:lnTo>
                  <a:lnTo>
                    <a:pt x="22" y="409"/>
                  </a:lnTo>
                  <a:lnTo>
                    <a:pt x="22" y="411"/>
                  </a:lnTo>
                  <a:lnTo>
                    <a:pt x="19" y="417"/>
                  </a:lnTo>
                  <a:lnTo>
                    <a:pt x="19" y="419"/>
                  </a:lnTo>
                  <a:lnTo>
                    <a:pt x="19" y="427"/>
                  </a:lnTo>
                  <a:lnTo>
                    <a:pt x="19" y="427"/>
                  </a:lnTo>
                  <a:lnTo>
                    <a:pt x="38" y="425"/>
                  </a:lnTo>
                  <a:lnTo>
                    <a:pt x="56" y="425"/>
                  </a:lnTo>
                  <a:lnTo>
                    <a:pt x="78" y="422"/>
                  </a:lnTo>
                  <a:lnTo>
                    <a:pt x="96" y="419"/>
                  </a:lnTo>
                  <a:lnTo>
                    <a:pt x="115" y="419"/>
                  </a:lnTo>
                  <a:lnTo>
                    <a:pt x="136" y="417"/>
                  </a:lnTo>
                  <a:lnTo>
                    <a:pt x="155" y="414"/>
                  </a:lnTo>
                  <a:lnTo>
                    <a:pt x="174" y="411"/>
                  </a:lnTo>
                  <a:lnTo>
                    <a:pt x="174" y="409"/>
                  </a:lnTo>
                  <a:lnTo>
                    <a:pt x="174" y="403"/>
                  </a:lnTo>
                  <a:lnTo>
                    <a:pt x="174" y="401"/>
                  </a:lnTo>
                  <a:lnTo>
                    <a:pt x="171" y="395"/>
                  </a:lnTo>
                  <a:lnTo>
                    <a:pt x="168" y="387"/>
                  </a:lnTo>
                  <a:lnTo>
                    <a:pt x="168" y="387"/>
                  </a:lnTo>
                  <a:lnTo>
                    <a:pt x="168" y="385"/>
                  </a:lnTo>
                  <a:lnTo>
                    <a:pt x="168" y="385"/>
                  </a:lnTo>
                  <a:lnTo>
                    <a:pt x="168" y="385"/>
                  </a:lnTo>
                  <a:lnTo>
                    <a:pt x="176" y="385"/>
                  </a:lnTo>
                  <a:lnTo>
                    <a:pt x="184" y="385"/>
                  </a:lnTo>
                  <a:lnTo>
                    <a:pt x="192" y="385"/>
                  </a:lnTo>
                  <a:lnTo>
                    <a:pt x="192" y="385"/>
                  </a:lnTo>
                  <a:lnTo>
                    <a:pt x="192" y="387"/>
                  </a:lnTo>
                  <a:lnTo>
                    <a:pt x="195" y="387"/>
                  </a:lnTo>
                  <a:lnTo>
                    <a:pt x="195" y="390"/>
                  </a:lnTo>
                  <a:lnTo>
                    <a:pt x="195" y="390"/>
                  </a:lnTo>
                  <a:lnTo>
                    <a:pt x="195" y="390"/>
                  </a:lnTo>
                  <a:lnTo>
                    <a:pt x="200" y="387"/>
                  </a:lnTo>
                  <a:lnTo>
                    <a:pt x="203" y="387"/>
                  </a:lnTo>
                  <a:lnTo>
                    <a:pt x="206" y="387"/>
                  </a:lnTo>
                  <a:lnTo>
                    <a:pt x="214" y="387"/>
                  </a:lnTo>
                  <a:lnTo>
                    <a:pt x="222" y="385"/>
                  </a:lnTo>
                  <a:lnTo>
                    <a:pt x="232" y="385"/>
                  </a:lnTo>
                  <a:lnTo>
                    <a:pt x="243" y="382"/>
                  </a:lnTo>
                  <a:lnTo>
                    <a:pt x="256" y="382"/>
                  </a:lnTo>
                  <a:lnTo>
                    <a:pt x="267" y="379"/>
                  </a:lnTo>
                  <a:lnTo>
                    <a:pt x="280" y="379"/>
                  </a:lnTo>
                  <a:lnTo>
                    <a:pt x="294" y="377"/>
                  </a:lnTo>
                  <a:lnTo>
                    <a:pt x="304" y="377"/>
                  </a:lnTo>
                  <a:lnTo>
                    <a:pt x="315" y="374"/>
                  </a:lnTo>
                  <a:lnTo>
                    <a:pt x="323" y="374"/>
                  </a:lnTo>
                  <a:lnTo>
                    <a:pt x="328" y="371"/>
                  </a:lnTo>
                  <a:lnTo>
                    <a:pt x="334" y="371"/>
                  </a:lnTo>
                  <a:lnTo>
                    <a:pt x="336" y="371"/>
                  </a:lnTo>
                  <a:lnTo>
                    <a:pt x="339" y="371"/>
                  </a:lnTo>
                  <a:lnTo>
                    <a:pt x="344" y="368"/>
                  </a:lnTo>
                  <a:lnTo>
                    <a:pt x="344" y="368"/>
                  </a:lnTo>
                  <a:lnTo>
                    <a:pt x="350" y="368"/>
                  </a:lnTo>
                  <a:lnTo>
                    <a:pt x="352" y="368"/>
                  </a:lnTo>
                  <a:lnTo>
                    <a:pt x="363" y="368"/>
                  </a:lnTo>
                  <a:lnTo>
                    <a:pt x="379" y="366"/>
                  </a:lnTo>
                  <a:lnTo>
                    <a:pt x="398" y="363"/>
                  </a:lnTo>
                  <a:lnTo>
                    <a:pt x="419" y="363"/>
                  </a:lnTo>
                  <a:lnTo>
                    <a:pt x="446" y="360"/>
                  </a:lnTo>
                  <a:lnTo>
                    <a:pt x="473" y="358"/>
                  </a:lnTo>
                  <a:lnTo>
                    <a:pt x="502" y="355"/>
                  </a:lnTo>
                  <a:lnTo>
                    <a:pt x="531" y="352"/>
                  </a:lnTo>
                  <a:lnTo>
                    <a:pt x="558" y="347"/>
                  </a:lnTo>
                  <a:lnTo>
                    <a:pt x="582" y="344"/>
                  </a:lnTo>
                  <a:lnTo>
                    <a:pt x="606" y="344"/>
                  </a:lnTo>
                  <a:lnTo>
                    <a:pt x="625" y="342"/>
                  </a:lnTo>
                  <a:lnTo>
                    <a:pt x="641" y="339"/>
                  </a:lnTo>
                  <a:lnTo>
                    <a:pt x="649" y="339"/>
                  </a:lnTo>
                  <a:lnTo>
                    <a:pt x="654" y="339"/>
                  </a:lnTo>
                  <a:lnTo>
                    <a:pt x="659" y="336"/>
                  </a:lnTo>
                  <a:lnTo>
                    <a:pt x="662" y="336"/>
                  </a:lnTo>
                  <a:lnTo>
                    <a:pt x="665" y="334"/>
                  </a:lnTo>
                  <a:lnTo>
                    <a:pt x="670" y="328"/>
                  </a:lnTo>
                  <a:lnTo>
                    <a:pt x="673" y="328"/>
                  </a:lnTo>
                  <a:lnTo>
                    <a:pt x="673" y="328"/>
                  </a:lnTo>
                  <a:lnTo>
                    <a:pt x="681" y="323"/>
                  </a:lnTo>
                  <a:lnTo>
                    <a:pt x="691" y="320"/>
                  </a:lnTo>
                  <a:lnTo>
                    <a:pt x="694" y="318"/>
                  </a:lnTo>
                  <a:lnTo>
                    <a:pt x="694" y="318"/>
                  </a:lnTo>
                  <a:lnTo>
                    <a:pt x="697" y="318"/>
                  </a:lnTo>
                  <a:lnTo>
                    <a:pt x="699" y="312"/>
                  </a:lnTo>
                  <a:lnTo>
                    <a:pt x="710" y="307"/>
                  </a:lnTo>
                  <a:lnTo>
                    <a:pt x="721" y="304"/>
                  </a:lnTo>
                  <a:lnTo>
                    <a:pt x="723" y="304"/>
                  </a:lnTo>
                  <a:lnTo>
                    <a:pt x="723" y="304"/>
                  </a:lnTo>
                  <a:lnTo>
                    <a:pt x="723" y="302"/>
                  </a:lnTo>
                  <a:lnTo>
                    <a:pt x="723" y="302"/>
                  </a:lnTo>
                  <a:lnTo>
                    <a:pt x="723" y="302"/>
                  </a:lnTo>
                  <a:lnTo>
                    <a:pt x="723" y="299"/>
                  </a:lnTo>
                  <a:lnTo>
                    <a:pt x="723" y="299"/>
                  </a:lnTo>
                  <a:lnTo>
                    <a:pt x="723" y="299"/>
                  </a:lnTo>
                  <a:lnTo>
                    <a:pt x="726" y="296"/>
                  </a:lnTo>
                  <a:lnTo>
                    <a:pt x="726" y="291"/>
                  </a:lnTo>
                  <a:lnTo>
                    <a:pt x="729" y="288"/>
                  </a:lnTo>
                  <a:lnTo>
                    <a:pt x="729" y="288"/>
                  </a:lnTo>
                  <a:lnTo>
                    <a:pt x="729" y="288"/>
                  </a:lnTo>
                  <a:lnTo>
                    <a:pt x="734" y="288"/>
                  </a:lnTo>
                  <a:lnTo>
                    <a:pt x="739" y="283"/>
                  </a:lnTo>
                  <a:lnTo>
                    <a:pt x="747" y="280"/>
                  </a:lnTo>
                  <a:lnTo>
                    <a:pt x="747" y="280"/>
                  </a:lnTo>
                  <a:lnTo>
                    <a:pt x="750" y="278"/>
                  </a:lnTo>
                  <a:lnTo>
                    <a:pt x="750" y="278"/>
                  </a:lnTo>
                  <a:lnTo>
                    <a:pt x="750" y="278"/>
                  </a:lnTo>
                  <a:lnTo>
                    <a:pt x="750" y="275"/>
                  </a:lnTo>
                  <a:lnTo>
                    <a:pt x="750" y="275"/>
                  </a:lnTo>
                  <a:lnTo>
                    <a:pt x="750" y="272"/>
                  </a:lnTo>
                  <a:lnTo>
                    <a:pt x="750" y="272"/>
                  </a:lnTo>
                  <a:lnTo>
                    <a:pt x="750" y="272"/>
                  </a:lnTo>
                  <a:lnTo>
                    <a:pt x="747" y="270"/>
                  </a:lnTo>
                  <a:lnTo>
                    <a:pt x="750" y="267"/>
                  </a:lnTo>
                  <a:lnTo>
                    <a:pt x="750" y="267"/>
                  </a:lnTo>
                  <a:lnTo>
                    <a:pt x="753" y="264"/>
                  </a:lnTo>
                  <a:lnTo>
                    <a:pt x="761" y="256"/>
                  </a:lnTo>
                  <a:lnTo>
                    <a:pt x="763" y="256"/>
                  </a:lnTo>
                  <a:lnTo>
                    <a:pt x="763" y="256"/>
                  </a:lnTo>
                  <a:lnTo>
                    <a:pt x="763" y="256"/>
                  </a:lnTo>
                  <a:lnTo>
                    <a:pt x="763" y="254"/>
                  </a:lnTo>
                  <a:lnTo>
                    <a:pt x="763" y="254"/>
                  </a:lnTo>
                  <a:lnTo>
                    <a:pt x="763" y="254"/>
                  </a:lnTo>
                  <a:lnTo>
                    <a:pt x="763" y="251"/>
                  </a:lnTo>
                  <a:lnTo>
                    <a:pt x="763" y="248"/>
                  </a:lnTo>
                  <a:lnTo>
                    <a:pt x="761" y="246"/>
                  </a:lnTo>
                  <a:lnTo>
                    <a:pt x="763" y="246"/>
                  </a:lnTo>
                  <a:lnTo>
                    <a:pt x="763" y="243"/>
                  </a:lnTo>
                  <a:lnTo>
                    <a:pt x="769" y="238"/>
                  </a:lnTo>
                  <a:lnTo>
                    <a:pt x="779" y="230"/>
                  </a:lnTo>
                  <a:lnTo>
                    <a:pt x="787" y="224"/>
                  </a:lnTo>
                  <a:lnTo>
                    <a:pt x="795" y="219"/>
                  </a:lnTo>
                  <a:lnTo>
                    <a:pt x="798" y="219"/>
                  </a:lnTo>
                  <a:lnTo>
                    <a:pt x="806" y="208"/>
                  </a:lnTo>
                  <a:lnTo>
                    <a:pt x="817" y="198"/>
                  </a:lnTo>
                  <a:lnTo>
                    <a:pt x="822" y="189"/>
                  </a:lnTo>
                  <a:lnTo>
                    <a:pt x="830" y="181"/>
                  </a:lnTo>
                  <a:lnTo>
                    <a:pt x="835" y="173"/>
                  </a:lnTo>
                  <a:lnTo>
                    <a:pt x="833" y="173"/>
                  </a:lnTo>
                  <a:close/>
                  <a:moveTo>
                    <a:pt x="6" y="419"/>
                  </a:moveTo>
                  <a:lnTo>
                    <a:pt x="0" y="422"/>
                  </a:lnTo>
                  <a:lnTo>
                    <a:pt x="0" y="427"/>
                  </a:lnTo>
                  <a:lnTo>
                    <a:pt x="3" y="427"/>
                  </a:lnTo>
                  <a:lnTo>
                    <a:pt x="3" y="430"/>
                  </a:lnTo>
                  <a:lnTo>
                    <a:pt x="11" y="427"/>
                  </a:lnTo>
                  <a:lnTo>
                    <a:pt x="11" y="427"/>
                  </a:lnTo>
                  <a:lnTo>
                    <a:pt x="8" y="422"/>
                  </a:lnTo>
                  <a:lnTo>
                    <a:pt x="6" y="419"/>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42" name="Freeform 39">
              <a:extLst>
                <a:ext uri="{FF2B5EF4-FFF2-40B4-BE49-F238E27FC236}">
                  <a16:creationId xmlns="" xmlns:a16="http://schemas.microsoft.com/office/drawing/2014/main" id="{BC2BAB45-2F83-462F-ADD7-3BD11E1D291A}"/>
                </a:ext>
              </a:extLst>
            </p:cNvPr>
            <p:cNvSpPr>
              <a:spLocks/>
            </p:cNvSpPr>
            <p:nvPr/>
          </p:nvSpPr>
          <p:spPr bwMode="auto">
            <a:xfrm>
              <a:off x="3418" y="1499"/>
              <a:ext cx="836" cy="430"/>
            </a:xfrm>
            <a:custGeom>
              <a:avLst/>
              <a:gdLst>
                <a:gd name="T0" fmla="*/ 758 w 836"/>
                <a:gd name="T1" fmla="*/ 419 h 430"/>
                <a:gd name="T2" fmla="*/ 654 w 836"/>
                <a:gd name="T3" fmla="*/ 425 h 430"/>
                <a:gd name="T4" fmla="*/ 547 w 836"/>
                <a:gd name="T5" fmla="*/ 427 h 430"/>
                <a:gd name="T6" fmla="*/ 443 w 836"/>
                <a:gd name="T7" fmla="*/ 430 h 430"/>
                <a:gd name="T8" fmla="*/ 339 w 836"/>
                <a:gd name="T9" fmla="*/ 430 h 430"/>
                <a:gd name="T10" fmla="*/ 235 w 836"/>
                <a:gd name="T11" fmla="*/ 430 h 430"/>
                <a:gd name="T12" fmla="*/ 131 w 836"/>
                <a:gd name="T13" fmla="*/ 430 h 430"/>
                <a:gd name="T14" fmla="*/ 27 w 836"/>
                <a:gd name="T15" fmla="*/ 430 h 430"/>
                <a:gd name="T16" fmla="*/ 0 w 836"/>
                <a:gd name="T17" fmla="*/ 390 h 430"/>
                <a:gd name="T18" fmla="*/ 3 w 836"/>
                <a:gd name="T19" fmla="*/ 336 h 430"/>
                <a:gd name="T20" fmla="*/ 3 w 836"/>
                <a:gd name="T21" fmla="*/ 286 h 430"/>
                <a:gd name="T22" fmla="*/ 3 w 836"/>
                <a:gd name="T23" fmla="*/ 232 h 430"/>
                <a:gd name="T24" fmla="*/ 3 w 836"/>
                <a:gd name="T25" fmla="*/ 179 h 430"/>
                <a:gd name="T26" fmla="*/ 6 w 836"/>
                <a:gd name="T27" fmla="*/ 128 h 430"/>
                <a:gd name="T28" fmla="*/ 6 w 836"/>
                <a:gd name="T29" fmla="*/ 75 h 430"/>
                <a:gd name="T30" fmla="*/ 6 w 836"/>
                <a:gd name="T31" fmla="*/ 24 h 430"/>
                <a:gd name="T32" fmla="*/ 75 w 836"/>
                <a:gd name="T33" fmla="*/ 10 h 430"/>
                <a:gd name="T34" fmla="*/ 166 w 836"/>
                <a:gd name="T35" fmla="*/ 10 h 430"/>
                <a:gd name="T36" fmla="*/ 259 w 836"/>
                <a:gd name="T37" fmla="*/ 10 h 430"/>
                <a:gd name="T38" fmla="*/ 350 w 836"/>
                <a:gd name="T39" fmla="*/ 10 h 430"/>
                <a:gd name="T40" fmla="*/ 441 w 836"/>
                <a:gd name="T41" fmla="*/ 10 h 430"/>
                <a:gd name="T42" fmla="*/ 534 w 836"/>
                <a:gd name="T43" fmla="*/ 8 h 430"/>
                <a:gd name="T44" fmla="*/ 625 w 836"/>
                <a:gd name="T45" fmla="*/ 5 h 430"/>
                <a:gd name="T46" fmla="*/ 715 w 836"/>
                <a:gd name="T47" fmla="*/ 2 h 430"/>
                <a:gd name="T48" fmla="*/ 747 w 836"/>
                <a:gd name="T49" fmla="*/ 8 h 430"/>
                <a:gd name="T50" fmla="*/ 753 w 836"/>
                <a:gd name="T51" fmla="*/ 10 h 430"/>
                <a:gd name="T52" fmla="*/ 755 w 836"/>
                <a:gd name="T53" fmla="*/ 13 h 430"/>
                <a:gd name="T54" fmla="*/ 763 w 836"/>
                <a:gd name="T55" fmla="*/ 18 h 430"/>
                <a:gd name="T56" fmla="*/ 774 w 836"/>
                <a:gd name="T57" fmla="*/ 13 h 430"/>
                <a:gd name="T58" fmla="*/ 779 w 836"/>
                <a:gd name="T59" fmla="*/ 16 h 430"/>
                <a:gd name="T60" fmla="*/ 788 w 836"/>
                <a:gd name="T61" fmla="*/ 21 h 430"/>
                <a:gd name="T62" fmla="*/ 788 w 836"/>
                <a:gd name="T63" fmla="*/ 29 h 430"/>
                <a:gd name="T64" fmla="*/ 790 w 836"/>
                <a:gd name="T65" fmla="*/ 34 h 430"/>
                <a:gd name="T66" fmla="*/ 779 w 836"/>
                <a:gd name="T67" fmla="*/ 34 h 430"/>
                <a:gd name="T68" fmla="*/ 777 w 836"/>
                <a:gd name="T69" fmla="*/ 43 h 430"/>
                <a:gd name="T70" fmla="*/ 769 w 836"/>
                <a:gd name="T71" fmla="*/ 51 h 430"/>
                <a:gd name="T72" fmla="*/ 769 w 836"/>
                <a:gd name="T73" fmla="*/ 59 h 430"/>
                <a:gd name="T74" fmla="*/ 763 w 836"/>
                <a:gd name="T75" fmla="*/ 64 h 430"/>
                <a:gd name="T76" fmla="*/ 771 w 836"/>
                <a:gd name="T77" fmla="*/ 69 h 430"/>
                <a:gd name="T78" fmla="*/ 777 w 836"/>
                <a:gd name="T79" fmla="*/ 77 h 430"/>
                <a:gd name="T80" fmla="*/ 785 w 836"/>
                <a:gd name="T81" fmla="*/ 83 h 430"/>
                <a:gd name="T82" fmla="*/ 790 w 836"/>
                <a:gd name="T83" fmla="*/ 99 h 430"/>
                <a:gd name="T84" fmla="*/ 798 w 836"/>
                <a:gd name="T85" fmla="*/ 107 h 430"/>
                <a:gd name="T86" fmla="*/ 809 w 836"/>
                <a:gd name="T87" fmla="*/ 112 h 430"/>
                <a:gd name="T88" fmla="*/ 817 w 836"/>
                <a:gd name="T89" fmla="*/ 112 h 430"/>
                <a:gd name="T90" fmla="*/ 820 w 836"/>
                <a:gd name="T91" fmla="*/ 115 h 430"/>
                <a:gd name="T92" fmla="*/ 820 w 836"/>
                <a:gd name="T93" fmla="*/ 117 h 430"/>
                <a:gd name="T94" fmla="*/ 822 w 836"/>
                <a:gd name="T95" fmla="*/ 120 h 430"/>
                <a:gd name="T96" fmla="*/ 825 w 836"/>
                <a:gd name="T97" fmla="*/ 184 h 430"/>
                <a:gd name="T98" fmla="*/ 828 w 836"/>
                <a:gd name="T99" fmla="*/ 256 h 430"/>
                <a:gd name="T100" fmla="*/ 830 w 836"/>
                <a:gd name="T101" fmla="*/ 326 h 430"/>
                <a:gd name="T102" fmla="*/ 836 w 836"/>
                <a:gd name="T103" fmla="*/ 39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36" h="430">
                  <a:moveTo>
                    <a:pt x="836" y="417"/>
                  </a:moveTo>
                  <a:lnTo>
                    <a:pt x="809" y="417"/>
                  </a:lnTo>
                  <a:lnTo>
                    <a:pt x="782" y="419"/>
                  </a:lnTo>
                  <a:lnTo>
                    <a:pt x="758" y="419"/>
                  </a:lnTo>
                  <a:lnTo>
                    <a:pt x="731" y="422"/>
                  </a:lnTo>
                  <a:lnTo>
                    <a:pt x="705" y="422"/>
                  </a:lnTo>
                  <a:lnTo>
                    <a:pt x="678" y="422"/>
                  </a:lnTo>
                  <a:lnTo>
                    <a:pt x="654" y="425"/>
                  </a:lnTo>
                  <a:lnTo>
                    <a:pt x="627" y="425"/>
                  </a:lnTo>
                  <a:lnTo>
                    <a:pt x="601" y="425"/>
                  </a:lnTo>
                  <a:lnTo>
                    <a:pt x="574" y="427"/>
                  </a:lnTo>
                  <a:lnTo>
                    <a:pt x="547" y="427"/>
                  </a:lnTo>
                  <a:lnTo>
                    <a:pt x="523" y="427"/>
                  </a:lnTo>
                  <a:lnTo>
                    <a:pt x="497" y="427"/>
                  </a:lnTo>
                  <a:lnTo>
                    <a:pt x="470" y="430"/>
                  </a:lnTo>
                  <a:lnTo>
                    <a:pt x="443" y="430"/>
                  </a:lnTo>
                  <a:lnTo>
                    <a:pt x="419" y="430"/>
                  </a:lnTo>
                  <a:lnTo>
                    <a:pt x="393" y="430"/>
                  </a:lnTo>
                  <a:lnTo>
                    <a:pt x="366" y="430"/>
                  </a:lnTo>
                  <a:lnTo>
                    <a:pt x="339" y="430"/>
                  </a:lnTo>
                  <a:lnTo>
                    <a:pt x="313" y="430"/>
                  </a:lnTo>
                  <a:lnTo>
                    <a:pt x="289" y="430"/>
                  </a:lnTo>
                  <a:lnTo>
                    <a:pt x="262" y="430"/>
                  </a:lnTo>
                  <a:lnTo>
                    <a:pt x="235" y="430"/>
                  </a:lnTo>
                  <a:lnTo>
                    <a:pt x="208" y="430"/>
                  </a:lnTo>
                  <a:lnTo>
                    <a:pt x="182" y="430"/>
                  </a:lnTo>
                  <a:lnTo>
                    <a:pt x="158" y="430"/>
                  </a:lnTo>
                  <a:lnTo>
                    <a:pt x="131" y="430"/>
                  </a:lnTo>
                  <a:lnTo>
                    <a:pt x="104" y="430"/>
                  </a:lnTo>
                  <a:lnTo>
                    <a:pt x="78" y="430"/>
                  </a:lnTo>
                  <a:lnTo>
                    <a:pt x="54" y="430"/>
                  </a:lnTo>
                  <a:lnTo>
                    <a:pt x="27" y="430"/>
                  </a:lnTo>
                  <a:lnTo>
                    <a:pt x="0" y="430"/>
                  </a:lnTo>
                  <a:lnTo>
                    <a:pt x="0" y="417"/>
                  </a:lnTo>
                  <a:lnTo>
                    <a:pt x="0" y="403"/>
                  </a:lnTo>
                  <a:lnTo>
                    <a:pt x="0" y="390"/>
                  </a:lnTo>
                  <a:lnTo>
                    <a:pt x="0" y="376"/>
                  </a:lnTo>
                  <a:lnTo>
                    <a:pt x="0" y="363"/>
                  </a:lnTo>
                  <a:lnTo>
                    <a:pt x="0" y="350"/>
                  </a:lnTo>
                  <a:lnTo>
                    <a:pt x="3" y="336"/>
                  </a:lnTo>
                  <a:lnTo>
                    <a:pt x="3" y="323"/>
                  </a:lnTo>
                  <a:lnTo>
                    <a:pt x="3" y="310"/>
                  </a:lnTo>
                  <a:lnTo>
                    <a:pt x="3" y="296"/>
                  </a:lnTo>
                  <a:lnTo>
                    <a:pt x="3" y="286"/>
                  </a:lnTo>
                  <a:lnTo>
                    <a:pt x="3" y="272"/>
                  </a:lnTo>
                  <a:lnTo>
                    <a:pt x="3" y="259"/>
                  </a:lnTo>
                  <a:lnTo>
                    <a:pt x="3" y="246"/>
                  </a:lnTo>
                  <a:lnTo>
                    <a:pt x="3" y="232"/>
                  </a:lnTo>
                  <a:lnTo>
                    <a:pt x="3" y="219"/>
                  </a:lnTo>
                  <a:lnTo>
                    <a:pt x="3" y="205"/>
                  </a:lnTo>
                  <a:lnTo>
                    <a:pt x="3" y="192"/>
                  </a:lnTo>
                  <a:lnTo>
                    <a:pt x="3" y="179"/>
                  </a:lnTo>
                  <a:lnTo>
                    <a:pt x="3" y="165"/>
                  </a:lnTo>
                  <a:lnTo>
                    <a:pt x="6" y="155"/>
                  </a:lnTo>
                  <a:lnTo>
                    <a:pt x="6" y="141"/>
                  </a:lnTo>
                  <a:lnTo>
                    <a:pt x="6" y="128"/>
                  </a:lnTo>
                  <a:lnTo>
                    <a:pt x="6" y="115"/>
                  </a:lnTo>
                  <a:lnTo>
                    <a:pt x="6" y="101"/>
                  </a:lnTo>
                  <a:lnTo>
                    <a:pt x="6" y="88"/>
                  </a:lnTo>
                  <a:lnTo>
                    <a:pt x="6" y="75"/>
                  </a:lnTo>
                  <a:lnTo>
                    <a:pt x="6" y="61"/>
                  </a:lnTo>
                  <a:lnTo>
                    <a:pt x="6" y="48"/>
                  </a:lnTo>
                  <a:lnTo>
                    <a:pt x="6" y="34"/>
                  </a:lnTo>
                  <a:lnTo>
                    <a:pt x="6" y="24"/>
                  </a:lnTo>
                  <a:lnTo>
                    <a:pt x="6" y="10"/>
                  </a:lnTo>
                  <a:lnTo>
                    <a:pt x="30" y="10"/>
                  </a:lnTo>
                  <a:lnTo>
                    <a:pt x="54" y="10"/>
                  </a:lnTo>
                  <a:lnTo>
                    <a:pt x="75" y="10"/>
                  </a:lnTo>
                  <a:lnTo>
                    <a:pt x="99" y="10"/>
                  </a:lnTo>
                  <a:lnTo>
                    <a:pt x="120" y="10"/>
                  </a:lnTo>
                  <a:lnTo>
                    <a:pt x="144" y="10"/>
                  </a:lnTo>
                  <a:lnTo>
                    <a:pt x="166" y="10"/>
                  </a:lnTo>
                  <a:lnTo>
                    <a:pt x="190" y="10"/>
                  </a:lnTo>
                  <a:lnTo>
                    <a:pt x="214" y="10"/>
                  </a:lnTo>
                  <a:lnTo>
                    <a:pt x="235" y="10"/>
                  </a:lnTo>
                  <a:lnTo>
                    <a:pt x="259" y="10"/>
                  </a:lnTo>
                  <a:lnTo>
                    <a:pt x="281" y="10"/>
                  </a:lnTo>
                  <a:lnTo>
                    <a:pt x="305" y="10"/>
                  </a:lnTo>
                  <a:lnTo>
                    <a:pt x="326" y="10"/>
                  </a:lnTo>
                  <a:lnTo>
                    <a:pt x="350" y="10"/>
                  </a:lnTo>
                  <a:lnTo>
                    <a:pt x="374" y="10"/>
                  </a:lnTo>
                  <a:lnTo>
                    <a:pt x="395" y="10"/>
                  </a:lnTo>
                  <a:lnTo>
                    <a:pt x="419" y="10"/>
                  </a:lnTo>
                  <a:lnTo>
                    <a:pt x="441" y="10"/>
                  </a:lnTo>
                  <a:lnTo>
                    <a:pt x="465" y="10"/>
                  </a:lnTo>
                  <a:lnTo>
                    <a:pt x="486" y="8"/>
                  </a:lnTo>
                  <a:lnTo>
                    <a:pt x="510" y="8"/>
                  </a:lnTo>
                  <a:lnTo>
                    <a:pt x="534" y="8"/>
                  </a:lnTo>
                  <a:lnTo>
                    <a:pt x="555" y="8"/>
                  </a:lnTo>
                  <a:lnTo>
                    <a:pt x="579" y="8"/>
                  </a:lnTo>
                  <a:lnTo>
                    <a:pt x="601" y="5"/>
                  </a:lnTo>
                  <a:lnTo>
                    <a:pt x="625" y="5"/>
                  </a:lnTo>
                  <a:lnTo>
                    <a:pt x="649" y="5"/>
                  </a:lnTo>
                  <a:lnTo>
                    <a:pt x="670" y="2"/>
                  </a:lnTo>
                  <a:lnTo>
                    <a:pt x="694" y="2"/>
                  </a:lnTo>
                  <a:lnTo>
                    <a:pt x="715" y="2"/>
                  </a:lnTo>
                  <a:lnTo>
                    <a:pt x="739" y="0"/>
                  </a:lnTo>
                  <a:lnTo>
                    <a:pt x="745" y="5"/>
                  </a:lnTo>
                  <a:lnTo>
                    <a:pt x="747" y="8"/>
                  </a:lnTo>
                  <a:lnTo>
                    <a:pt x="747" y="8"/>
                  </a:lnTo>
                  <a:lnTo>
                    <a:pt x="750" y="8"/>
                  </a:lnTo>
                  <a:lnTo>
                    <a:pt x="750" y="10"/>
                  </a:lnTo>
                  <a:lnTo>
                    <a:pt x="750" y="10"/>
                  </a:lnTo>
                  <a:lnTo>
                    <a:pt x="753" y="10"/>
                  </a:lnTo>
                  <a:lnTo>
                    <a:pt x="753" y="13"/>
                  </a:lnTo>
                  <a:lnTo>
                    <a:pt x="753" y="13"/>
                  </a:lnTo>
                  <a:lnTo>
                    <a:pt x="755" y="13"/>
                  </a:lnTo>
                  <a:lnTo>
                    <a:pt x="755" y="13"/>
                  </a:lnTo>
                  <a:lnTo>
                    <a:pt x="758" y="13"/>
                  </a:lnTo>
                  <a:lnTo>
                    <a:pt x="758" y="16"/>
                  </a:lnTo>
                  <a:lnTo>
                    <a:pt x="761" y="18"/>
                  </a:lnTo>
                  <a:lnTo>
                    <a:pt x="763" y="18"/>
                  </a:lnTo>
                  <a:lnTo>
                    <a:pt x="766" y="18"/>
                  </a:lnTo>
                  <a:lnTo>
                    <a:pt x="769" y="16"/>
                  </a:lnTo>
                  <a:lnTo>
                    <a:pt x="771" y="13"/>
                  </a:lnTo>
                  <a:lnTo>
                    <a:pt x="774" y="13"/>
                  </a:lnTo>
                  <a:lnTo>
                    <a:pt x="777" y="13"/>
                  </a:lnTo>
                  <a:lnTo>
                    <a:pt x="779" y="13"/>
                  </a:lnTo>
                  <a:lnTo>
                    <a:pt x="779" y="13"/>
                  </a:lnTo>
                  <a:lnTo>
                    <a:pt x="779" y="16"/>
                  </a:lnTo>
                  <a:lnTo>
                    <a:pt x="779" y="16"/>
                  </a:lnTo>
                  <a:lnTo>
                    <a:pt x="779" y="18"/>
                  </a:lnTo>
                  <a:lnTo>
                    <a:pt x="782" y="18"/>
                  </a:lnTo>
                  <a:lnTo>
                    <a:pt x="788" y="21"/>
                  </a:lnTo>
                  <a:lnTo>
                    <a:pt x="788" y="24"/>
                  </a:lnTo>
                  <a:lnTo>
                    <a:pt x="788" y="24"/>
                  </a:lnTo>
                  <a:lnTo>
                    <a:pt x="788" y="29"/>
                  </a:lnTo>
                  <a:lnTo>
                    <a:pt x="788" y="29"/>
                  </a:lnTo>
                  <a:lnTo>
                    <a:pt x="788" y="32"/>
                  </a:lnTo>
                  <a:lnTo>
                    <a:pt x="788" y="32"/>
                  </a:lnTo>
                  <a:lnTo>
                    <a:pt x="790" y="32"/>
                  </a:lnTo>
                  <a:lnTo>
                    <a:pt x="790" y="34"/>
                  </a:lnTo>
                  <a:lnTo>
                    <a:pt x="788" y="37"/>
                  </a:lnTo>
                  <a:lnTo>
                    <a:pt x="785" y="37"/>
                  </a:lnTo>
                  <a:lnTo>
                    <a:pt x="779" y="34"/>
                  </a:lnTo>
                  <a:lnTo>
                    <a:pt x="779" y="34"/>
                  </a:lnTo>
                  <a:lnTo>
                    <a:pt x="777" y="37"/>
                  </a:lnTo>
                  <a:lnTo>
                    <a:pt x="777" y="37"/>
                  </a:lnTo>
                  <a:lnTo>
                    <a:pt x="777" y="43"/>
                  </a:lnTo>
                  <a:lnTo>
                    <a:pt x="777" y="43"/>
                  </a:lnTo>
                  <a:lnTo>
                    <a:pt x="777" y="43"/>
                  </a:lnTo>
                  <a:lnTo>
                    <a:pt x="774" y="45"/>
                  </a:lnTo>
                  <a:lnTo>
                    <a:pt x="771" y="48"/>
                  </a:lnTo>
                  <a:lnTo>
                    <a:pt x="769" y="51"/>
                  </a:lnTo>
                  <a:lnTo>
                    <a:pt x="769" y="53"/>
                  </a:lnTo>
                  <a:lnTo>
                    <a:pt x="769" y="56"/>
                  </a:lnTo>
                  <a:lnTo>
                    <a:pt x="769" y="56"/>
                  </a:lnTo>
                  <a:lnTo>
                    <a:pt x="769" y="59"/>
                  </a:lnTo>
                  <a:lnTo>
                    <a:pt x="769" y="59"/>
                  </a:lnTo>
                  <a:lnTo>
                    <a:pt x="766" y="59"/>
                  </a:lnTo>
                  <a:lnTo>
                    <a:pt x="763" y="59"/>
                  </a:lnTo>
                  <a:lnTo>
                    <a:pt x="763" y="64"/>
                  </a:lnTo>
                  <a:lnTo>
                    <a:pt x="766" y="67"/>
                  </a:lnTo>
                  <a:lnTo>
                    <a:pt x="769" y="67"/>
                  </a:lnTo>
                  <a:lnTo>
                    <a:pt x="769" y="69"/>
                  </a:lnTo>
                  <a:lnTo>
                    <a:pt x="771" y="69"/>
                  </a:lnTo>
                  <a:lnTo>
                    <a:pt x="774" y="75"/>
                  </a:lnTo>
                  <a:lnTo>
                    <a:pt x="774" y="75"/>
                  </a:lnTo>
                  <a:lnTo>
                    <a:pt x="774" y="77"/>
                  </a:lnTo>
                  <a:lnTo>
                    <a:pt x="777" y="77"/>
                  </a:lnTo>
                  <a:lnTo>
                    <a:pt x="782" y="80"/>
                  </a:lnTo>
                  <a:lnTo>
                    <a:pt x="782" y="80"/>
                  </a:lnTo>
                  <a:lnTo>
                    <a:pt x="782" y="83"/>
                  </a:lnTo>
                  <a:lnTo>
                    <a:pt x="785" y="83"/>
                  </a:lnTo>
                  <a:lnTo>
                    <a:pt x="788" y="85"/>
                  </a:lnTo>
                  <a:lnTo>
                    <a:pt x="788" y="88"/>
                  </a:lnTo>
                  <a:lnTo>
                    <a:pt x="788" y="93"/>
                  </a:lnTo>
                  <a:lnTo>
                    <a:pt x="790" y="99"/>
                  </a:lnTo>
                  <a:lnTo>
                    <a:pt x="796" y="101"/>
                  </a:lnTo>
                  <a:lnTo>
                    <a:pt x="796" y="101"/>
                  </a:lnTo>
                  <a:lnTo>
                    <a:pt x="796" y="104"/>
                  </a:lnTo>
                  <a:lnTo>
                    <a:pt x="798" y="107"/>
                  </a:lnTo>
                  <a:lnTo>
                    <a:pt x="798" y="109"/>
                  </a:lnTo>
                  <a:lnTo>
                    <a:pt x="801" y="109"/>
                  </a:lnTo>
                  <a:lnTo>
                    <a:pt x="806" y="112"/>
                  </a:lnTo>
                  <a:lnTo>
                    <a:pt x="809" y="112"/>
                  </a:lnTo>
                  <a:lnTo>
                    <a:pt x="812" y="112"/>
                  </a:lnTo>
                  <a:lnTo>
                    <a:pt x="814" y="112"/>
                  </a:lnTo>
                  <a:lnTo>
                    <a:pt x="814" y="112"/>
                  </a:lnTo>
                  <a:lnTo>
                    <a:pt x="817" y="112"/>
                  </a:lnTo>
                  <a:lnTo>
                    <a:pt x="817" y="112"/>
                  </a:lnTo>
                  <a:lnTo>
                    <a:pt x="817" y="115"/>
                  </a:lnTo>
                  <a:lnTo>
                    <a:pt x="817" y="115"/>
                  </a:lnTo>
                  <a:lnTo>
                    <a:pt x="820" y="115"/>
                  </a:lnTo>
                  <a:lnTo>
                    <a:pt x="822" y="115"/>
                  </a:lnTo>
                  <a:lnTo>
                    <a:pt x="822" y="117"/>
                  </a:lnTo>
                  <a:lnTo>
                    <a:pt x="820" y="117"/>
                  </a:lnTo>
                  <a:lnTo>
                    <a:pt x="820" y="117"/>
                  </a:lnTo>
                  <a:lnTo>
                    <a:pt x="820" y="120"/>
                  </a:lnTo>
                  <a:lnTo>
                    <a:pt x="820" y="120"/>
                  </a:lnTo>
                  <a:lnTo>
                    <a:pt x="822" y="120"/>
                  </a:lnTo>
                  <a:lnTo>
                    <a:pt x="822" y="120"/>
                  </a:lnTo>
                  <a:lnTo>
                    <a:pt x="822" y="131"/>
                  </a:lnTo>
                  <a:lnTo>
                    <a:pt x="822" y="149"/>
                  </a:lnTo>
                  <a:lnTo>
                    <a:pt x="822" y="165"/>
                  </a:lnTo>
                  <a:lnTo>
                    <a:pt x="825" y="184"/>
                  </a:lnTo>
                  <a:lnTo>
                    <a:pt x="825" y="203"/>
                  </a:lnTo>
                  <a:lnTo>
                    <a:pt x="825" y="219"/>
                  </a:lnTo>
                  <a:lnTo>
                    <a:pt x="828" y="238"/>
                  </a:lnTo>
                  <a:lnTo>
                    <a:pt x="828" y="256"/>
                  </a:lnTo>
                  <a:lnTo>
                    <a:pt x="828" y="272"/>
                  </a:lnTo>
                  <a:lnTo>
                    <a:pt x="830" y="291"/>
                  </a:lnTo>
                  <a:lnTo>
                    <a:pt x="830" y="310"/>
                  </a:lnTo>
                  <a:lnTo>
                    <a:pt x="830" y="326"/>
                  </a:lnTo>
                  <a:lnTo>
                    <a:pt x="833" y="344"/>
                  </a:lnTo>
                  <a:lnTo>
                    <a:pt x="833" y="363"/>
                  </a:lnTo>
                  <a:lnTo>
                    <a:pt x="833" y="379"/>
                  </a:lnTo>
                  <a:lnTo>
                    <a:pt x="836" y="398"/>
                  </a:lnTo>
                  <a:lnTo>
                    <a:pt x="836" y="417"/>
                  </a:lnTo>
                  <a:lnTo>
                    <a:pt x="836" y="417"/>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43" name="Freeform 40">
              <a:extLst>
                <a:ext uri="{FF2B5EF4-FFF2-40B4-BE49-F238E27FC236}">
                  <a16:creationId xmlns="" xmlns:a16="http://schemas.microsoft.com/office/drawing/2014/main" id="{0258255B-0A6E-4375-8040-FC7B6994C10C}"/>
                </a:ext>
              </a:extLst>
            </p:cNvPr>
            <p:cNvSpPr>
              <a:spLocks/>
            </p:cNvSpPr>
            <p:nvPr/>
          </p:nvSpPr>
          <p:spPr bwMode="auto">
            <a:xfrm>
              <a:off x="4974" y="1154"/>
              <a:ext cx="350" cy="593"/>
            </a:xfrm>
            <a:custGeom>
              <a:avLst/>
              <a:gdLst>
                <a:gd name="T0" fmla="*/ 339 w 350"/>
                <a:gd name="T1" fmla="*/ 393 h 593"/>
                <a:gd name="T2" fmla="*/ 336 w 350"/>
                <a:gd name="T3" fmla="*/ 374 h 593"/>
                <a:gd name="T4" fmla="*/ 334 w 350"/>
                <a:gd name="T5" fmla="*/ 313 h 593"/>
                <a:gd name="T6" fmla="*/ 323 w 350"/>
                <a:gd name="T7" fmla="*/ 233 h 593"/>
                <a:gd name="T8" fmla="*/ 312 w 350"/>
                <a:gd name="T9" fmla="*/ 155 h 593"/>
                <a:gd name="T10" fmla="*/ 304 w 350"/>
                <a:gd name="T11" fmla="*/ 75 h 593"/>
                <a:gd name="T12" fmla="*/ 285 w 350"/>
                <a:gd name="T13" fmla="*/ 3 h 593"/>
                <a:gd name="T14" fmla="*/ 227 w 350"/>
                <a:gd name="T15" fmla="*/ 11 h 593"/>
                <a:gd name="T16" fmla="*/ 163 w 350"/>
                <a:gd name="T17" fmla="*/ 19 h 593"/>
                <a:gd name="T18" fmla="*/ 96 w 350"/>
                <a:gd name="T19" fmla="*/ 27 h 593"/>
                <a:gd name="T20" fmla="*/ 21 w 350"/>
                <a:gd name="T21" fmla="*/ 51 h 593"/>
                <a:gd name="T22" fmla="*/ 5 w 350"/>
                <a:gd name="T23" fmla="*/ 43 h 593"/>
                <a:gd name="T24" fmla="*/ 19 w 350"/>
                <a:gd name="T25" fmla="*/ 163 h 593"/>
                <a:gd name="T26" fmla="*/ 35 w 350"/>
                <a:gd name="T27" fmla="*/ 323 h 593"/>
                <a:gd name="T28" fmla="*/ 32 w 350"/>
                <a:gd name="T29" fmla="*/ 379 h 593"/>
                <a:gd name="T30" fmla="*/ 32 w 350"/>
                <a:gd name="T31" fmla="*/ 406 h 593"/>
                <a:gd name="T32" fmla="*/ 45 w 350"/>
                <a:gd name="T33" fmla="*/ 422 h 593"/>
                <a:gd name="T34" fmla="*/ 51 w 350"/>
                <a:gd name="T35" fmla="*/ 446 h 593"/>
                <a:gd name="T36" fmla="*/ 43 w 350"/>
                <a:gd name="T37" fmla="*/ 465 h 593"/>
                <a:gd name="T38" fmla="*/ 40 w 350"/>
                <a:gd name="T39" fmla="*/ 476 h 593"/>
                <a:gd name="T40" fmla="*/ 40 w 350"/>
                <a:gd name="T41" fmla="*/ 486 h 593"/>
                <a:gd name="T42" fmla="*/ 37 w 350"/>
                <a:gd name="T43" fmla="*/ 492 h 593"/>
                <a:gd name="T44" fmla="*/ 29 w 350"/>
                <a:gd name="T45" fmla="*/ 505 h 593"/>
                <a:gd name="T46" fmla="*/ 21 w 350"/>
                <a:gd name="T47" fmla="*/ 516 h 593"/>
                <a:gd name="T48" fmla="*/ 19 w 350"/>
                <a:gd name="T49" fmla="*/ 518 h 593"/>
                <a:gd name="T50" fmla="*/ 13 w 350"/>
                <a:gd name="T51" fmla="*/ 521 h 593"/>
                <a:gd name="T52" fmla="*/ 8 w 350"/>
                <a:gd name="T53" fmla="*/ 529 h 593"/>
                <a:gd name="T54" fmla="*/ 11 w 350"/>
                <a:gd name="T55" fmla="*/ 537 h 593"/>
                <a:gd name="T56" fmla="*/ 8 w 350"/>
                <a:gd name="T57" fmla="*/ 548 h 593"/>
                <a:gd name="T58" fmla="*/ 8 w 350"/>
                <a:gd name="T59" fmla="*/ 556 h 593"/>
                <a:gd name="T60" fmla="*/ 5 w 350"/>
                <a:gd name="T61" fmla="*/ 567 h 593"/>
                <a:gd name="T62" fmla="*/ 5 w 350"/>
                <a:gd name="T63" fmla="*/ 577 h 593"/>
                <a:gd name="T64" fmla="*/ 8 w 350"/>
                <a:gd name="T65" fmla="*/ 588 h 593"/>
                <a:gd name="T66" fmla="*/ 5 w 350"/>
                <a:gd name="T67" fmla="*/ 591 h 593"/>
                <a:gd name="T68" fmla="*/ 24 w 350"/>
                <a:gd name="T69" fmla="*/ 585 h 593"/>
                <a:gd name="T70" fmla="*/ 27 w 350"/>
                <a:gd name="T71" fmla="*/ 575 h 593"/>
                <a:gd name="T72" fmla="*/ 43 w 350"/>
                <a:gd name="T73" fmla="*/ 575 h 593"/>
                <a:gd name="T74" fmla="*/ 51 w 350"/>
                <a:gd name="T75" fmla="*/ 583 h 593"/>
                <a:gd name="T76" fmla="*/ 53 w 350"/>
                <a:gd name="T77" fmla="*/ 564 h 593"/>
                <a:gd name="T78" fmla="*/ 61 w 350"/>
                <a:gd name="T79" fmla="*/ 569 h 593"/>
                <a:gd name="T80" fmla="*/ 85 w 350"/>
                <a:gd name="T81" fmla="*/ 567 h 593"/>
                <a:gd name="T82" fmla="*/ 104 w 350"/>
                <a:gd name="T83" fmla="*/ 575 h 593"/>
                <a:gd name="T84" fmla="*/ 115 w 350"/>
                <a:gd name="T85" fmla="*/ 580 h 593"/>
                <a:gd name="T86" fmla="*/ 131 w 350"/>
                <a:gd name="T87" fmla="*/ 559 h 593"/>
                <a:gd name="T88" fmla="*/ 147 w 350"/>
                <a:gd name="T89" fmla="*/ 559 h 593"/>
                <a:gd name="T90" fmla="*/ 163 w 350"/>
                <a:gd name="T91" fmla="*/ 567 h 593"/>
                <a:gd name="T92" fmla="*/ 173 w 350"/>
                <a:gd name="T93" fmla="*/ 553 h 593"/>
                <a:gd name="T94" fmla="*/ 181 w 350"/>
                <a:gd name="T95" fmla="*/ 534 h 593"/>
                <a:gd name="T96" fmla="*/ 181 w 350"/>
                <a:gd name="T97" fmla="*/ 524 h 593"/>
                <a:gd name="T98" fmla="*/ 192 w 350"/>
                <a:gd name="T99" fmla="*/ 521 h 593"/>
                <a:gd name="T100" fmla="*/ 197 w 350"/>
                <a:gd name="T101" fmla="*/ 518 h 593"/>
                <a:gd name="T102" fmla="*/ 208 w 350"/>
                <a:gd name="T103" fmla="*/ 534 h 593"/>
                <a:gd name="T104" fmla="*/ 229 w 350"/>
                <a:gd name="T105" fmla="*/ 537 h 593"/>
                <a:gd name="T106" fmla="*/ 240 w 350"/>
                <a:gd name="T107" fmla="*/ 526 h 593"/>
                <a:gd name="T108" fmla="*/ 245 w 350"/>
                <a:gd name="T109" fmla="*/ 497 h 593"/>
                <a:gd name="T110" fmla="*/ 253 w 350"/>
                <a:gd name="T111" fmla="*/ 497 h 593"/>
                <a:gd name="T112" fmla="*/ 272 w 350"/>
                <a:gd name="T113" fmla="*/ 468 h 593"/>
                <a:gd name="T114" fmla="*/ 285 w 350"/>
                <a:gd name="T115" fmla="*/ 449 h 593"/>
                <a:gd name="T116" fmla="*/ 293 w 350"/>
                <a:gd name="T117" fmla="*/ 425 h 593"/>
                <a:gd name="T118" fmla="*/ 334 w 350"/>
                <a:gd name="T119" fmla="*/ 41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0" h="593">
                  <a:moveTo>
                    <a:pt x="347" y="401"/>
                  </a:moveTo>
                  <a:lnTo>
                    <a:pt x="350" y="398"/>
                  </a:lnTo>
                  <a:lnTo>
                    <a:pt x="350" y="396"/>
                  </a:lnTo>
                  <a:lnTo>
                    <a:pt x="347" y="396"/>
                  </a:lnTo>
                  <a:lnTo>
                    <a:pt x="342" y="396"/>
                  </a:lnTo>
                  <a:lnTo>
                    <a:pt x="339" y="396"/>
                  </a:lnTo>
                  <a:lnTo>
                    <a:pt x="339" y="393"/>
                  </a:lnTo>
                  <a:lnTo>
                    <a:pt x="339" y="393"/>
                  </a:lnTo>
                  <a:lnTo>
                    <a:pt x="342" y="388"/>
                  </a:lnTo>
                  <a:lnTo>
                    <a:pt x="344" y="385"/>
                  </a:lnTo>
                  <a:lnTo>
                    <a:pt x="342" y="382"/>
                  </a:lnTo>
                  <a:lnTo>
                    <a:pt x="342" y="379"/>
                  </a:lnTo>
                  <a:lnTo>
                    <a:pt x="336" y="377"/>
                  </a:lnTo>
                  <a:lnTo>
                    <a:pt x="336" y="374"/>
                  </a:lnTo>
                  <a:lnTo>
                    <a:pt x="339" y="369"/>
                  </a:lnTo>
                  <a:lnTo>
                    <a:pt x="342" y="369"/>
                  </a:lnTo>
                  <a:lnTo>
                    <a:pt x="339" y="355"/>
                  </a:lnTo>
                  <a:lnTo>
                    <a:pt x="339" y="345"/>
                  </a:lnTo>
                  <a:lnTo>
                    <a:pt x="336" y="334"/>
                  </a:lnTo>
                  <a:lnTo>
                    <a:pt x="336" y="323"/>
                  </a:lnTo>
                  <a:lnTo>
                    <a:pt x="334" y="313"/>
                  </a:lnTo>
                  <a:lnTo>
                    <a:pt x="331" y="299"/>
                  </a:lnTo>
                  <a:lnTo>
                    <a:pt x="331" y="289"/>
                  </a:lnTo>
                  <a:lnTo>
                    <a:pt x="328" y="278"/>
                  </a:lnTo>
                  <a:lnTo>
                    <a:pt x="328" y="267"/>
                  </a:lnTo>
                  <a:lnTo>
                    <a:pt x="326" y="257"/>
                  </a:lnTo>
                  <a:lnTo>
                    <a:pt x="326" y="243"/>
                  </a:lnTo>
                  <a:lnTo>
                    <a:pt x="323" y="233"/>
                  </a:lnTo>
                  <a:lnTo>
                    <a:pt x="323" y="222"/>
                  </a:lnTo>
                  <a:lnTo>
                    <a:pt x="320" y="211"/>
                  </a:lnTo>
                  <a:lnTo>
                    <a:pt x="320" y="200"/>
                  </a:lnTo>
                  <a:lnTo>
                    <a:pt x="318" y="187"/>
                  </a:lnTo>
                  <a:lnTo>
                    <a:pt x="318" y="176"/>
                  </a:lnTo>
                  <a:lnTo>
                    <a:pt x="315" y="166"/>
                  </a:lnTo>
                  <a:lnTo>
                    <a:pt x="312" y="155"/>
                  </a:lnTo>
                  <a:lnTo>
                    <a:pt x="312" y="144"/>
                  </a:lnTo>
                  <a:lnTo>
                    <a:pt x="309" y="131"/>
                  </a:lnTo>
                  <a:lnTo>
                    <a:pt x="309" y="120"/>
                  </a:lnTo>
                  <a:lnTo>
                    <a:pt x="307" y="110"/>
                  </a:lnTo>
                  <a:lnTo>
                    <a:pt x="307" y="99"/>
                  </a:lnTo>
                  <a:lnTo>
                    <a:pt x="304" y="88"/>
                  </a:lnTo>
                  <a:lnTo>
                    <a:pt x="304" y="75"/>
                  </a:lnTo>
                  <a:lnTo>
                    <a:pt x="301" y="64"/>
                  </a:lnTo>
                  <a:lnTo>
                    <a:pt x="301" y="54"/>
                  </a:lnTo>
                  <a:lnTo>
                    <a:pt x="296" y="32"/>
                  </a:lnTo>
                  <a:lnTo>
                    <a:pt x="296" y="19"/>
                  </a:lnTo>
                  <a:lnTo>
                    <a:pt x="293" y="8"/>
                  </a:lnTo>
                  <a:lnTo>
                    <a:pt x="293" y="0"/>
                  </a:lnTo>
                  <a:lnTo>
                    <a:pt x="285" y="3"/>
                  </a:lnTo>
                  <a:lnTo>
                    <a:pt x="277" y="3"/>
                  </a:lnTo>
                  <a:lnTo>
                    <a:pt x="269" y="5"/>
                  </a:lnTo>
                  <a:lnTo>
                    <a:pt x="261" y="5"/>
                  </a:lnTo>
                  <a:lnTo>
                    <a:pt x="253" y="5"/>
                  </a:lnTo>
                  <a:lnTo>
                    <a:pt x="243" y="8"/>
                  </a:lnTo>
                  <a:lnTo>
                    <a:pt x="235" y="8"/>
                  </a:lnTo>
                  <a:lnTo>
                    <a:pt x="227" y="11"/>
                  </a:lnTo>
                  <a:lnTo>
                    <a:pt x="219" y="11"/>
                  </a:lnTo>
                  <a:lnTo>
                    <a:pt x="211" y="11"/>
                  </a:lnTo>
                  <a:lnTo>
                    <a:pt x="203" y="13"/>
                  </a:lnTo>
                  <a:lnTo>
                    <a:pt x="195" y="13"/>
                  </a:lnTo>
                  <a:lnTo>
                    <a:pt x="187" y="16"/>
                  </a:lnTo>
                  <a:lnTo>
                    <a:pt x="171" y="16"/>
                  </a:lnTo>
                  <a:lnTo>
                    <a:pt x="163" y="19"/>
                  </a:lnTo>
                  <a:lnTo>
                    <a:pt x="155" y="19"/>
                  </a:lnTo>
                  <a:lnTo>
                    <a:pt x="144" y="21"/>
                  </a:lnTo>
                  <a:lnTo>
                    <a:pt x="136" y="21"/>
                  </a:lnTo>
                  <a:lnTo>
                    <a:pt x="120" y="24"/>
                  </a:lnTo>
                  <a:lnTo>
                    <a:pt x="112" y="24"/>
                  </a:lnTo>
                  <a:lnTo>
                    <a:pt x="104" y="24"/>
                  </a:lnTo>
                  <a:lnTo>
                    <a:pt x="96" y="27"/>
                  </a:lnTo>
                  <a:lnTo>
                    <a:pt x="88" y="27"/>
                  </a:lnTo>
                  <a:lnTo>
                    <a:pt x="80" y="30"/>
                  </a:lnTo>
                  <a:lnTo>
                    <a:pt x="77" y="30"/>
                  </a:lnTo>
                  <a:lnTo>
                    <a:pt x="59" y="43"/>
                  </a:lnTo>
                  <a:lnTo>
                    <a:pt x="40" y="51"/>
                  </a:lnTo>
                  <a:lnTo>
                    <a:pt x="29" y="54"/>
                  </a:lnTo>
                  <a:lnTo>
                    <a:pt x="21" y="51"/>
                  </a:lnTo>
                  <a:lnTo>
                    <a:pt x="19" y="51"/>
                  </a:lnTo>
                  <a:lnTo>
                    <a:pt x="16" y="51"/>
                  </a:lnTo>
                  <a:lnTo>
                    <a:pt x="16" y="48"/>
                  </a:lnTo>
                  <a:lnTo>
                    <a:pt x="16" y="46"/>
                  </a:lnTo>
                  <a:lnTo>
                    <a:pt x="11" y="48"/>
                  </a:lnTo>
                  <a:lnTo>
                    <a:pt x="8" y="46"/>
                  </a:lnTo>
                  <a:lnTo>
                    <a:pt x="5" y="43"/>
                  </a:lnTo>
                  <a:lnTo>
                    <a:pt x="5" y="43"/>
                  </a:lnTo>
                  <a:lnTo>
                    <a:pt x="8" y="64"/>
                  </a:lnTo>
                  <a:lnTo>
                    <a:pt x="8" y="83"/>
                  </a:lnTo>
                  <a:lnTo>
                    <a:pt x="11" y="102"/>
                  </a:lnTo>
                  <a:lnTo>
                    <a:pt x="13" y="123"/>
                  </a:lnTo>
                  <a:lnTo>
                    <a:pt x="16" y="142"/>
                  </a:lnTo>
                  <a:lnTo>
                    <a:pt x="19" y="163"/>
                  </a:lnTo>
                  <a:lnTo>
                    <a:pt x="19" y="182"/>
                  </a:lnTo>
                  <a:lnTo>
                    <a:pt x="21" y="203"/>
                  </a:lnTo>
                  <a:lnTo>
                    <a:pt x="24" y="222"/>
                  </a:lnTo>
                  <a:lnTo>
                    <a:pt x="27" y="243"/>
                  </a:lnTo>
                  <a:lnTo>
                    <a:pt x="29" y="262"/>
                  </a:lnTo>
                  <a:lnTo>
                    <a:pt x="32" y="302"/>
                  </a:lnTo>
                  <a:lnTo>
                    <a:pt x="35" y="323"/>
                  </a:lnTo>
                  <a:lnTo>
                    <a:pt x="37" y="342"/>
                  </a:lnTo>
                  <a:lnTo>
                    <a:pt x="40" y="363"/>
                  </a:lnTo>
                  <a:lnTo>
                    <a:pt x="40" y="369"/>
                  </a:lnTo>
                  <a:lnTo>
                    <a:pt x="40" y="369"/>
                  </a:lnTo>
                  <a:lnTo>
                    <a:pt x="35" y="374"/>
                  </a:lnTo>
                  <a:lnTo>
                    <a:pt x="32" y="374"/>
                  </a:lnTo>
                  <a:lnTo>
                    <a:pt x="32" y="379"/>
                  </a:lnTo>
                  <a:lnTo>
                    <a:pt x="32" y="379"/>
                  </a:lnTo>
                  <a:lnTo>
                    <a:pt x="35" y="385"/>
                  </a:lnTo>
                  <a:lnTo>
                    <a:pt x="35" y="390"/>
                  </a:lnTo>
                  <a:lnTo>
                    <a:pt x="29" y="398"/>
                  </a:lnTo>
                  <a:lnTo>
                    <a:pt x="29" y="404"/>
                  </a:lnTo>
                  <a:lnTo>
                    <a:pt x="29" y="406"/>
                  </a:lnTo>
                  <a:lnTo>
                    <a:pt x="32" y="406"/>
                  </a:lnTo>
                  <a:lnTo>
                    <a:pt x="32" y="406"/>
                  </a:lnTo>
                  <a:lnTo>
                    <a:pt x="37" y="409"/>
                  </a:lnTo>
                  <a:lnTo>
                    <a:pt x="37" y="412"/>
                  </a:lnTo>
                  <a:lnTo>
                    <a:pt x="40" y="417"/>
                  </a:lnTo>
                  <a:lnTo>
                    <a:pt x="40" y="420"/>
                  </a:lnTo>
                  <a:lnTo>
                    <a:pt x="43" y="420"/>
                  </a:lnTo>
                  <a:lnTo>
                    <a:pt x="45" y="422"/>
                  </a:lnTo>
                  <a:lnTo>
                    <a:pt x="45" y="425"/>
                  </a:lnTo>
                  <a:lnTo>
                    <a:pt x="48" y="430"/>
                  </a:lnTo>
                  <a:lnTo>
                    <a:pt x="45" y="433"/>
                  </a:lnTo>
                  <a:lnTo>
                    <a:pt x="45" y="433"/>
                  </a:lnTo>
                  <a:lnTo>
                    <a:pt x="45" y="436"/>
                  </a:lnTo>
                  <a:lnTo>
                    <a:pt x="48" y="441"/>
                  </a:lnTo>
                  <a:lnTo>
                    <a:pt x="51" y="446"/>
                  </a:lnTo>
                  <a:lnTo>
                    <a:pt x="51" y="452"/>
                  </a:lnTo>
                  <a:lnTo>
                    <a:pt x="51" y="462"/>
                  </a:lnTo>
                  <a:lnTo>
                    <a:pt x="48" y="462"/>
                  </a:lnTo>
                  <a:lnTo>
                    <a:pt x="48" y="462"/>
                  </a:lnTo>
                  <a:lnTo>
                    <a:pt x="45" y="462"/>
                  </a:lnTo>
                  <a:lnTo>
                    <a:pt x="45" y="465"/>
                  </a:lnTo>
                  <a:lnTo>
                    <a:pt x="43" y="465"/>
                  </a:lnTo>
                  <a:lnTo>
                    <a:pt x="43" y="468"/>
                  </a:lnTo>
                  <a:lnTo>
                    <a:pt x="43" y="470"/>
                  </a:lnTo>
                  <a:lnTo>
                    <a:pt x="43" y="473"/>
                  </a:lnTo>
                  <a:lnTo>
                    <a:pt x="43" y="473"/>
                  </a:lnTo>
                  <a:lnTo>
                    <a:pt x="43" y="476"/>
                  </a:lnTo>
                  <a:lnTo>
                    <a:pt x="43" y="476"/>
                  </a:lnTo>
                  <a:lnTo>
                    <a:pt x="40" y="476"/>
                  </a:lnTo>
                  <a:lnTo>
                    <a:pt x="43" y="476"/>
                  </a:lnTo>
                  <a:lnTo>
                    <a:pt x="40" y="476"/>
                  </a:lnTo>
                  <a:lnTo>
                    <a:pt x="40" y="478"/>
                  </a:lnTo>
                  <a:lnTo>
                    <a:pt x="37" y="478"/>
                  </a:lnTo>
                  <a:lnTo>
                    <a:pt x="37" y="481"/>
                  </a:lnTo>
                  <a:lnTo>
                    <a:pt x="37" y="484"/>
                  </a:lnTo>
                  <a:lnTo>
                    <a:pt x="40" y="486"/>
                  </a:lnTo>
                  <a:lnTo>
                    <a:pt x="40" y="489"/>
                  </a:lnTo>
                  <a:lnTo>
                    <a:pt x="40" y="489"/>
                  </a:lnTo>
                  <a:lnTo>
                    <a:pt x="40" y="489"/>
                  </a:lnTo>
                  <a:lnTo>
                    <a:pt x="40" y="489"/>
                  </a:lnTo>
                  <a:lnTo>
                    <a:pt x="37" y="489"/>
                  </a:lnTo>
                  <a:lnTo>
                    <a:pt x="37" y="489"/>
                  </a:lnTo>
                  <a:lnTo>
                    <a:pt x="37" y="492"/>
                  </a:lnTo>
                  <a:lnTo>
                    <a:pt x="35" y="492"/>
                  </a:lnTo>
                  <a:lnTo>
                    <a:pt x="32" y="494"/>
                  </a:lnTo>
                  <a:lnTo>
                    <a:pt x="29" y="497"/>
                  </a:lnTo>
                  <a:lnTo>
                    <a:pt x="29" y="497"/>
                  </a:lnTo>
                  <a:lnTo>
                    <a:pt x="32" y="500"/>
                  </a:lnTo>
                  <a:lnTo>
                    <a:pt x="32" y="502"/>
                  </a:lnTo>
                  <a:lnTo>
                    <a:pt x="29" y="505"/>
                  </a:lnTo>
                  <a:lnTo>
                    <a:pt x="27" y="508"/>
                  </a:lnTo>
                  <a:lnTo>
                    <a:pt x="27" y="508"/>
                  </a:lnTo>
                  <a:lnTo>
                    <a:pt x="24" y="508"/>
                  </a:lnTo>
                  <a:lnTo>
                    <a:pt x="24" y="510"/>
                  </a:lnTo>
                  <a:lnTo>
                    <a:pt x="24" y="510"/>
                  </a:lnTo>
                  <a:lnTo>
                    <a:pt x="24" y="513"/>
                  </a:lnTo>
                  <a:lnTo>
                    <a:pt x="21" y="516"/>
                  </a:lnTo>
                  <a:lnTo>
                    <a:pt x="21" y="518"/>
                  </a:lnTo>
                  <a:lnTo>
                    <a:pt x="21" y="518"/>
                  </a:lnTo>
                  <a:lnTo>
                    <a:pt x="21" y="521"/>
                  </a:lnTo>
                  <a:lnTo>
                    <a:pt x="21" y="521"/>
                  </a:lnTo>
                  <a:lnTo>
                    <a:pt x="21" y="521"/>
                  </a:lnTo>
                  <a:lnTo>
                    <a:pt x="19" y="518"/>
                  </a:lnTo>
                  <a:lnTo>
                    <a:pt x="19" y="518"/>
                  </a:lnTo>
                  <a:lnTo>
                    <a:pt x="19" y="518"/>
                  </a:lnTo>
                  <a:lnTo>
                    <a:pt x="19" y="518"/>
                  </a:lnTo>
                  <a:lnTo>
                    <a:pt x="16" y="518"/>
                  </a:lnTo>
                  <a:lnTo>
                    <a:pt x="16" y="521"/>
                  </a:lnTo>
                  <a:lnTo>
                    <a:pt x="16" y="524"/>
                  </a:lnTo>
                  <a:lnTo>
                    <a:pt x="16" y="524"/>
                  </a:lnTo>
                  <a:lnTo>
                    <a:pt x="13" y="521"/>
                  </a:lnTo>
                  <a:lnTo>
                    <a:pt x="13" y="521"/>
                  </a:lnTo>
                  <a:lnTo>
                    <a:pt x="11" y="521"/>
                  </a:lnTo>
                  <a:lnTo>
                    <a:pt x="11" y="524"/>
                  </a:lnTo>
                  <a:lnTo>
                    <a:pt x="11" y="526"/>
                  </a:lnTo>
                  <a:lnTo>
                    <a:pt x="11" y="526"/>
                  </a:lnTo>
                  <a:lnTo>
                    <a:pt x="8" y="529"/>
                  </a:lnTo>
                  <a:lnTo>
                    <a:pt x="8" y="529"/>
                  </a:lnTo>
                  <a:lnTo>
                    <a:pt x="8" y="532"/>
                  </a:lnTo>
                  <a:lnTo>
                    <a:pt x="8" y="532"/>
                  </a:lnTo>
                  <a:lnTo>
                    <a:pt x="8" y="534"/>
                  </a:lnTo>
                  <a:lnTo>
                    <a:pt x="8" y="534"/>
                  </a:lnTo>
                  <a:lnTo>
                    <a:pt x="8" y="534"/>
                  </a:lnTo>
                  <a:lnTo>
                    <a:pt x="11" y="537"/>
                  </a:lnTo>
                  <a:lnTo>
                    <a:pt x="11" y="537"/>
                  </a:lnTo>
                  <a:lnTo>
                    <a:pt x="13" y="540"/>
                  </a:lnTo>
                  <a:lnTo>
                    <a:pt x="13" y="540"/>
                  </a:lnTo>
                  <a:lnTo>
                    <a:pt x="13" y="542"/>
                  </a:lnTo>
                  <a:lnTo>
                    <a:pt x="13" y="542"/>
                  </a:lnTo>
                  <a:lnTo>
                    <a:pt x="11" y="545"/>
                  </a:lnTo>
                  <a:lnTo>
                    <a:pt x="11" y="545"/>
                  </a:lnTo>
                  <a:lnTo>
                    <a:pt x="8" y="548"/>
                  </a:lnTo>
                  <a:lnTo>
                    <a:pt x="5" y="550"/>
                  </a:lnTo>
                  <a:lnTo>
                    <a:pt x="8" y="550"/>
                  </a:lnTo>
                  <a:lnTo>
                    <a:pt x="11" y="550"/>
                  </a:lnTo>
                  <a:lnTo>
                    <a:pt x="13" y="550"/>
                  </a:lnTo>
                  <a:lnTo>
                    <a:pt x="11" y="553"/>
                  </a:lnTo>
                  <a:lnTo>
                    <a:pt x="8" y="553"/>
                  </a:lnTo>
                  <a:lnTo>
                    <a:pt x="8" y="556"/>
                  </a:lnTo>
                  <a:lnTo>
                    <a:pt x="5" y="556"/>
                  </a:lnTo>
                  <a:lnTo>
                    <a:pt x="3" y="556"/>
                  </a:lnTo>
                  <a:lnTo>
                    <a:pt x="5" y="559"/>
                  </a:lnTo>
                  <a:lnTo>
                    <a:pt x="5" y="561"/>
                  </a:lnTo>
                  <a:lnTo>
                    <a:pt x="5" y="564"/>
                  </a:lnTo>
                  <a:lnTo>
                    <a:pt x="5" y="564"/>
                  </a:lnTo>
                  <a:lnTo>
                    <a:pt x="5" y="567"/>
                  </a:lnTo>
                  <a:lnTo>
                    <a:pt x="5" y="569"/>
                  </a:lnTo>
                  <a:lnTo>
                    <a:pt x="5" y="569"/>
                  </a:lnTo>
                  <a:lnTo>
                    <a:pt x="5" y="572"/>
                  </a:lnTo>
                  <a:lnTo>
                    <a:pt x="5" y="575"/>
                  </a:lnTo>
                  <a:lnTo>
                    <a:pt x="5" y="575"/>
                  </a:lnTo>
                  <a:lnTo>
                    <a:pt x="8" y="577"/>
                  </a:lnTo>
                  <a:lnTo>
                    <a:pt x="5" y="577"/>
                  </a:lnTo>
                  <a:lnTo>
                    <a:pt x="5" y="580"/>
                  </a:lnTo>
                  <a:lnTo>
                    <a:pt x="3" y="580"/>
                  </a:lnTo>
                  <a:lnTo>
                    <a:pt x="0" y="580"/>
                  </a:lnTo>
                  <a:lnTo>
                    <a:pt x="0" y="580"/>
                  </a:lnTo>
                  <a:lnTo>
                    <a:pt x="8" y="585"/>
                  </a:lnTo>
                  <a:lnTo>
                    <a:pt x="8" y="588"/>
                  </a:lnTo>
                  <a:lnTo>
                    <a:pt x="8" y="588"/>
                  </a:lnTo>
                  <a:lnTo>
                    <a:pt x="5" y="588"/>
                  </a:lnTo>
                  <a:lnTo>
                    <a:pt x="3" y="588"/>
                  </a:lnTo>
                  <a:lnTo>
                    <a:pt x="3" y="588"/>
                  </a:lnTo>
                  <a:lnTo>
                    <a:pt x="3" y="588"/>
                  </a:lnTo>
                  <a:lnTo>
                    <a:pt x="3" y="591"/>
                  </a:lnTo>
                  <a:lnTo>
                    <a:pt x="3" y="591"/>
                  </a:lnTo>
                  <a:lnTo>
                    <a:pt x="5" y="591"/>
                  </a:lnTo>
                  <a:lnTo>
                    <a:pt x="8" y="591"/>
                  </a:lnTo>
                  <a:lnTo>
                    <a:pt x="11" y="591"/>
                  </a:lnTo>
                  <a:lnTo>
                    <a:pt x="13" y="591"/>
                  </a:lnTo>
                  <a:lnTo>
                    <a:pt x="16" y="593"/>
                  </a:lnTo>
                  <a:lnTo>
                    <a:pt x="19" y="593"/>
                  </a:lnTo>
                  <a:lnTo>
                    <a:pt x="19" y="593"/>
                  </a:lnTo>
                  <a:lnTo>
                    <a:pt x="24" y="585"/>
                  </a:lnTo>
                  <a:lnTo>
                    <a:pt x="19" y="577"/>
                  </a:lnTo>
                  <a:lnTo>
                    <a:pt x="19" y="577"/>
                  </a:lnTo>
                  <a:lnTo>
                    <a:pt x="19" y="572"/>
                  </a:lnTo>
                  <a:lnTo>
                    <a:pt x="21" y="572"/>
                  </a:lnTo>
                  <a:lnTo>
                    <a:pt x="24" y="572"/>
                  </a:lnTo>
                  <a:lnTo>
                    <a:pt x="27" y="575"/>
                  </a:lnTo>
                  <a:lnTo>
                    <a:pt x="27" y="575"/>
                  </a:lnTo>
                  <a:lnTo>
                    <a:pt x="29" y="577"/>
                  </a:lnTo>
                  <a:lnTo>
                    <a:pt x="32" y="577"/>
                  </a:lnTo>
                  <a:lnTo>
                    <a:pt x="35" y="577"/>
                  </a:lnTo>
                  <a:lnTo>
                    <a:pt x="37" y="577"/>
                  </a:lnTo>
                  <a:lnTo>
                    <a:pt x="40" y="575"/>
                  </a:lnTo>
                  <a:lnTo>
                    <a:pt x="43" y="575"/>
                  </a:lnTo>
                  <a:lnTo>
                    <a:pt x="43" y="575"/>
                  </a:lnTo>
                  <a:lnTo>
                    <a:pt x="45" y="572"/>
                  </a:lnTo>
                  <a:lnTo>
                    <a:pt x="45" y="572"/>
                  </a:lnTo>
                  <a:lnTo>
                    <a:pt x="48" y="575"/>
                  </a:lnTo>
                  <a:lnTo>
                    <a:pt x="48" y="575"/>
                  </a:lnTo>
                  <a:lnTo>
                    <a:pt x="48" y="580"/>
                  </a:lnTo>
                  <a:lnTo>
                    <a:pt x="48" y="583"/>
                  </a:lnTo>
                  <a:lnTo>
                    <a:pt x="51" y="583"/>
                  </a:lnTo>
                  <a:lnTo>
                    <a:pt x="53" y="583"/>
                  </a:lnTo>
                  <a:lnTo>
                    <a:pt x="56" y="577"/>
                  </a:lnTo>
                  <a:lnTo>
                    <a:pt x="56" y="575"/>
                  </a:lnTo>
                  <a:lnTo>
                    <a:pt x="56" y="572"/>
                  </a:lnTo>
                  <a:lnTo>
                    <a:pt x="53" y="567"/>
                  </a:lnTo>
                  <a:lnTo>
                    <a:pt x="53" y="564"/>
                  </a:lnTo>
                  <a:lnTo>
                    <a:pt x="53" y="564"/>
                  </a:lnTo>
                  <a:lnTo>
                    <a:pt x="53" y="561"/>
                  </a:lnTo>
                  <a:lnTo>
                    <a:pt x="53" y="561"/>
                  </a:lnTo>
                  <a:lnTo>
                    <a:pt x="56" y="561"/>
                  </a:lnTo>
                  <a:lnTo>
                    <a:pt x="56" y="564"/>
                  </a:lnTo>
                  <a:lnTo>
                    <a:pt x="56" y="564"/>
                  </a:lnTo>
                  <a:lnTo>
                    <a:pt x="56" y="567"/>
                  </a:lnTo>
                  <a:lnTo>
                    <a:pt x="61" y="569"/>
                  </a:lnTo>
                  <a:lnTo>
                    <a:pt x="67" y="569"/>
                  </a:lnTo>
                  <a:lnTo>
                    <a:pt x="69" y="567"/>
                  </a:lnTo>
                  <a:lnTo>
                    <a:pt x="75" y="564"/>
                  </a:lnTo>
                  <a:lnTo>
                    <a:pt x="77" y="564"/>
                  </a:lnTo>
                  <a:lnTo>
                    <a:pt x="80" y="564"/>
                  </a:lnTo>
                  <a:lnTo>
                    <a:pt x="83" y="567"/>
                  </a:lnTo>
                  <a:lnTo>
                    <a:pt x="85" y="567"/>
                  </a:lnTo>
                  <a:lnTo>
                    <a:pt x="85" y="569"/>
                  </a:lnTo>
                  <a:lnTo>
                    <a:pt x="93" y="572"/>
                  </a:lnTo>
                  <a:lnTo>
                    <a:pt x="99" y="572"/>
                  </a:lnTo>
                  <a:lnTo>
                    <a:pt x="99" y="575"/>
                  </a:lnTo>
                  <a:lnTo>
                    <a:pt x="101" y="575"/>
                  </a:lnTo>
                  <a:lnTo>
                    <a:pt x="104" y="575"/>
                  </a:lnTo>
                  <a:lnTo>
                    <a:pt x="104" y="575"/>
                  </a:lnTo>
                  <a:lnTo>
                    <a:pt x="107" y="575"/>
                  </a:lnTo>
                  <a:lnTo>
                    <a:pt x="107" y="577"/>
                  </a:lnTo>
                  <a:lnTo>
                    <a:pt x="107" y="577"/>
                  </a:lnTo>
                  <a:lnTo>
                    <a:pt x="109" y="580"/>
                  </a:lnTo>
                  <a:lnTo>
                    <a:pt x="109" y="580"/>
                  </a:lnTo>
                  <a:lnTo>
                    <a:pt x="112" y="583"/>
                  </a:lnTo>
                  <a:lnTo>
                    <a:pt x="115" y="580"/>
                  </a:lnTo>
                  <a:lnTo>
                    <a:pt x="115" y="575"/>
                  </a:lnTo>
                  <a:lnTo>
                    <a:pt x="117" y="567"/>
                  </a:lnTo>
                  <a:lnTo>
                    <a:pt x="120" y="564"/>
                  </a:lnTo>
                  <a:lnTo>
                    <a:pt x="120" y="561"/>
                  </a:lnTo>
                  <a:lnTo>
                    <a:pt x="120" y="561"/>
                  </a:lnTo>
                  <a:lnTo>
                    <a:pt x="123" y="559"/>
                  </a:lnTo>
                  <a:lnTo>
                    <a:pt x="131" y="559"/>
                  </a:lnTo>
                  <a:lnTo>
                    <a:pt x="131" y="559"/>
                  </a:lnTo>
                  <a:lnTo>
                    <a:pt x="133" y="556"/>
                  </a:lnTo>
                  <a:lnTo>
                    <a:pt x="136" y="550"/>
                  </a:lnTo>
                  <a:lnTo>
                    <a:pt x="141" y="548"/>
                  </a:lnTo>
                  <a:lnTo>
                    <a:pt x="144" y="550"/>
                  </a:lnTo>
                  <a:lnTo>
                    <a:pt x="144" y="556"/>
                  </a:lnTo>
                  <a:lnTo>
                    <a:pt x="147" y="559"/>
                  </a:lnTo>
                  <a:lnTo>
                    <a:pt x="152" y="561"/>
                  </a:lnTo>
                  <a:lnTo>
                    <a:pt x="155" y="561"/>
                  </a:lnTo>
                  <a:lnTo>
                    <a:pt x="160" y="559"/>
                  </a:lnTo>
                  <a:lnTo>
                    <a:pt x="163" y="559"/>
                  </a:lnTo>
                  <a:lnTo>
                    <a:pt x="160" y="564"/>
                  </a:lnTo>
                  <a:lnTo>
                    <a:pt x="160" y="564"/>
                  </a:lnTo>
                  <a:lnTo>
                    <a:pt x="163" y="567"/>
                  </a:lnTo>
                  <a:lnTo>
                    <a:pt x="165" y="567"/>
                  </a:lnTo>
                  <a:lnTo>
                    <a:pt x="168" y="564"/>
                  </a:lnTo>
                  <a:lnTo>
                    <a:pt x="168" y="561"/>
                  </a:lnTo>
                  <a:lnTo>
                    <a:pt x="168" y="559"/>
                  </a:lnTo>
                  <a:lnTo>
                    <a:pt x="168" y="556"/>
                  </a:lnTo>
                  <a:lnTo>
                    <a:pt x="173" y="553"/>
                  </a:lnTo>
                  <a:lnTo>
                    <a:pt x="173" y="553"/>
                  </a:lnTo>
                  <a:lnTo>
                    <a:pt x="173" y="550"/>
                  </a:lnTo>
                  <a:lnTo>
                    <a:pt x="173" y="542"/>
                  </a:lnTo>
                  <a:lnTo>
                    <a:pt x="173" y="540"/>
                  </a:lnTo>
                  <a:lnTo>
                    <a:pt x="173" y="537"/>
                  </a:lnTo>
                  <a:lnTo>
                    <a:pt x="176" y="537"/>
                  </a:lnTo>
                  <a:lnTo>
                    <a:pt x="179" y="534"/>
                  </a:lnTo>
                  <a:lnTo>
                    <a:pt x="181" y="534"/>
                  </a:lnTo>
                  <a:lnTo>
                    <a:pt x="181" y="532"/>
                  </a:lnTo>
                  <a:lnTo>
                    <a:pt x="181" y="529"/>
                  </a:lnTo>
                  <a:lnTo>
                    <a:pt x="179" y="526"/>
                  </a:lnTo>
                  <a:lnTo>
                    <a:pt x="179" y="526"/>
                  </a:lnTo>
                  <a:lnTo>
                    <a:pt x="179" y="524"/>
                  </a:lnTo>
                  <a:lnTo>
                    <a:pt x="179" y="524"/>
                  </a:lnTo>
                  <a:lnTo>
                    <a:pt x="181" y="524"/>
                  </a:lnTo>
                  <a:lnTo>
                    <a:pt x="181" y="526"/>
                  </a:lnTo>
                  <a:lnTo>
                    <a:pt x="181" y="526"/>
                  </a:lnTo>
                  <a:lnTo>
                    <a:pt x="184" y="526"/>
                  </a:lnTo>
                  <a:lnTo>
                    <a:pt x="187" y="526"/>
                  </a:lnTo>
                  <a:lnTo>
                    <a:pt x="189" y="524"/>
                  </a:lnTo>
                  <a:lnTo>
                    <a:pt x="192" y="521"/>
                  </a:lnTo>
                  <a:lnTo>
                    <a:pt x="192" y="521"/>
                  </a:lnTo>
                  <a:lnTo>
                    <a:pt x="189" y="521"/>
                  </a:lnTo>
                  <a:lnTo>
                    <a:pt x="187" y="518"/>
                  </a:lnTo>
                  <a:lnTo>
                    <a:pt x="184" y="516"/>
                  </a:lnTo>
                  <a:lnTo>
                    <a:pt x="187" y="516"/>
                  </a:lnTo>
                  <a:lnTo>
                    <a:pt x="189" y="516"/>
                  </a:lnTo>
                  <a:lnTo>
                    <a:pt x="189" y="516"/>
                  </a:lnTo>
                  <a:lnTo>
                    <a:pt x="197" y="518"/>
                  </a:lnTo>
                  <a:lnTo>
                    <a:pt x="197" y="521"/>
                  </a:lnTo>
                  <a:lnTo>
                    <a:pt x="197" y="526"/>
                  </a:lnTo>
                  <a:lnTo>
                    <a:pt x="197" y="529"/>
                  </a:lnTo>
                  <a:lnTo>
                    <a:pt x="200" y="532"/>
                  </a:lnTo>
                  <a:lnTo>
                    <a:pt x="203" y="532"/>
                  </a:lnTo>
                  <a:lnTo>
                    <a:pt x="205" y="534"/>
                  </a:lnTo>
                  <a:lnTo>
                    <a:pt x="208" y="534"/>
                  </a:lnTo>
                  <a:lnTo>
                    <a:pt x="211" y="537"/>
                  </a:lnTo>
                  <a:lnTo>
                    <a:pt x="216" y="537"/>
                  </a:lnTo>
                  <a:lnTo>
                    <a:pt x="219" y="537"/>
                  </a:lnTo>
                  <a:lnTo>
                    <a:pt x="224" y="540"/>
                  </a:lnTo>
                  <a:lnTo>
                    <a:pt x="227" y="542"/>
                  </a:lnTo>
                  <a:lnTo>
                    <a:pt x="227" y="540"/>
                  </a:lnTo>
                  <a:lnTo>
                    <a:pt x="229" y="537"/>
                  </a:lnTo>
                  <a:lnTo>
                    <a:pt x="229" y="537"/>
                  </a:lnTo>
                  <a:lnTo>
                    <a:pt x="235" y="534"/>
                  </a:lnTo>
                  <a:lnTo>
                    <a:pt x="237" y="534"/>
                  </a:lnTo>
                  <a:lnTo>
                    <a:pt x="237" y="534"/>
                  </a:lnTo>
                  <a:lnTo>
                    <a:pt x="237" y="532"/>
                  </a:lnTo>
                  <a:lnTo>
                    <a:pt x="240" y="532"/>
                  </a:lnTo>
                  <a:lnTo>
                    <a:pt x="240" y="526"/>
                  </a:lnTo>
                  <a:lnTo>
                    <a:pt x="240" y="513"/>
                  </a:lnTo>
                  <a:lnTo>
                    <a:pt x="240" y="510"/>
                  </a:lnTo>
                  <a:lnTo>
                    <a:pt x="240" y="508"/>
                  </a:lnTo>
                  <a:lnTo>
                    <a:pt x="240" y="505"/>
                  </a:lnTo>
                  <a:lnTo>
                    <a:pt x="243" y="502"/>
                  </a:lnTo>
                  <a:lnTo>
                    <a:pt x="243" y="502"/>
                  </a:lnTo>
                  <a:lnTo>
                    <a:pt x="245" y="497"/>
                  </a:lnTo>
                  <a:lnTo>
                    <a:pt x="245" y="494"/>
                  </a:lnTo>
                  <a:lnTo>
                    <a:pt x="248" y="494"/>
                  </a:lnTo>
                  <a:lnTo>
                    <a:pt x="251" y="494"/>
                  </a:lnTo>
                  <a:lnTo>
                    <a:pt x="251" y="494"/>
                  </a:lnTo>
                  <a:lnTo>
                    <a:pt x="251" y="494"/>
                  </a:lnTo>
                  <a:lnTo>
                    <a:pt x="253" y="497"/>
                  </a:lnTo>
                  <a:lnTo>
                    <a:pt x="253" y="497"/>
                  </a:lnTo>
                  <a:lnTo>
                    <a:pt x="259" y="494"/>
                  </a:lnTo>
                  <a:lnTo>
                    <a:pt x="259" y="492"/>
                  </a:lnTo>
                  <a:lnTo>
                    <a:pt x="264" y="489"/>
                  </a:lnTo>
                  <a:lnTo>
                    <a:pt x="264" y="484"/>
                  </a:lnTo>
                  <a:lnTo>
                    <a:pt x="267" y="470"/>
                  </a:lnTo>
                  <a:lnTo>
                    <a:pt x="269" y="468"/>
                  </a:lnTo>
                  <a:lnTo>
                    <a:pt x="272" y="468"/>
                  </a:lnTo>
                  <a:lnTo>
                    <a:pt x="275" y="465"/>
                  </a:lnTo>
                  <a:lnTo>
                    <a:pt x="277" y="465"/>
                  </a:lnTo>
                  <a:lnTo>
                    <a:pt x="277" y="462"/>
                  </a:lnTo>
                  <a:lnTo>
                    <a:pt x="280" y="460"/>
                  </a:lnTo>
                  <a:lnTo>
                    <a:pt x="285" y="454"/>
                  </a:lnTo>
                  <a:lnTo>
                    <a:pt x="285" y="452"/>
                  </a:lnTo>
                  <a:lnTo>
                    <a:pt x="285" y="449"/>
                  </a:lnTo>
                  <a:lnTo>
                    <a:pt x="283" y="444"/>
                  </a:lnTo>
                  <a:lnTo>
                    <a:pt x="280" y="436"/>
                  </a:lnTo>
                  <a:lnTo>
                    <a:pt x="280" y="433"/>
                  </a:lnTo>
                  <a:lnTo>
                    <a:pt x="280" y="430"/>
                  </a:lnTo>
                  <a:lnTo>
                    <a:pt x="277" y="428"/>
                  </a:lnTo>
                  <a:lnTo>
                    <a:pt x="280" y="428"/>
                  </a:lnTo>
                  <a:lnTo>
                    <a:pt x="293" y="425"/>
                  </a:lnTo>
                  <a:lnTo>
                    <a:pt x="299" y="422"/>
                  </a:lnTo>
                  <a:lnTo>
                    <a:pt x="301" y="425"/>
                  </a:lnTo>
                  <a:lnTo>
                    <a:pt x="307" y="428"/>
                  </a:lnTo>
                  <a:lnTo>
                    <a:pt x="309" y="430"/>
                  </a:lnTo>
                  <a:lnTo>
                    <a:pt x="312" y="428"/>
                  </a:lnTo>
                  <a:lnTo>
                    <a:pt x="328" y="414"/>
                  </a:lnTo>
                  <a:lnTo>
                    <a:pt x="334" y="412"/>
                  </a:lnTo>
                  <a:lnTo>
                    <a:pt x="339" y="412"/>
                  </a:lnTo>
                  <a:lnTo>
                    <a:pt x="347" y="412"/>
                  </a:lnTo>
                  <a:lnTo>
                    <a:pt x="350" y="409"/>
                  </a:lnTo>
                  <a:lnTo>
                    <a:pt x="347" y="406"/>
                  </a:lnTo>
                  <a:lnTo>
                    <a:pt x="347" y="401"/>
                  </a:lnTo>
                  <a:lnTo>
                    <a:pt x="347" y="401"/>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44" name="Freeform 41">
              <a:extLst>
                <a:ext uri="{FF2B5EF4-FFF2-40B4-BE49-F238E27FC236}">
                  <a16:creationId xmlns="" xmlns:a16="http://schemas.microsoft.com/office/drawing/2014/main" id="{D3C877FC-B40D-4E00-9B3A-1024F40185ED}"/>
                </a:ext>
              </a:extLst>
            </p:cNvPr>
            <p:cNvSpPr>
              <a:spLocks/>
            </p:cNvSpPr>
            <p:nvPr/>
          </p:nvSpPr>
          <p:spPr bwMode="auto">
            <a:xfrm>
              <a:off x="4568" y="1095"/>
              <a:ext cx="457" cy="778"/>
            </a:xfrm>
            <a:custGeom>
              <a:avLst/>
              <a:gdLst>
                <a:gd name="T0" fmla="*/ 446 w 457"/>
                <a:gd name="T1" fmla="*/ 479 h 778"/>
                <a:gd name="T2" fmla="*/ 441 w 457"/>
                <a:gd name="T3" fmla="*/ 449 h 778"/>
                <a:gd name="T4" fmla="*/ 443 w 457"/>
                <a:gd name="T5" fmla="*/ 401 h 778"/>
                <a:gd name="T6" fmla="*/ 422 w 457"/>
                <a:gd name="T7" fmla="*/ 201 h 778"/>
                <a:gd name="T8" fmla="*/ 398 w 457"/>
                <a:gd name="T9" fmla="*/ 78 h 778"/>
                <a:gd name="T10" fmla="*/ 382 w 457"/>
                <a:gd name="T11" fmla="*/ 51 h 778"/>
                <a:gd name="T12" fmla="*/ 369 w 457"/>
                <a:gd name="T13" fmla="*/ 19 h 778"/>
                <a:gd name="T14" fmla="*/ 313 w 457"/>
                <a:gd name="T15" fmla="*/ 6 h 778"/>
                <a:gd name="T16" fmla="*/ 144 w 457"/>
                <a:gd name="T17" fmla="*/ 19 h 778"/>
                <a:gd name="T18" fmla="*/ 70 w 457"/>
                <a:gd name="T19" fmla="*/ 24 h 778"/>
                <a:gd name="T20" fmla="*/ 70 w 457"/>
                <a:gd name="T21" fmla="*/ 24 h 778"/>
                <a:gd name="T22" fmla="*/ 96 w 457"/>
                <a:gd name="T23" fmla="*/ 51 h 778"/>
                <a:gd name="T24" fmla="*/ 118 w 457"/>
                <a:gd name="T25" fmla="*/ 70 h 778"/>
                <a:gd name="T26" fmla="*/ 128 w 457"/>
                <a:gd name="T27" fmla="*/ 89 h 778"/>
                <a:gd name="T28" fmla="*/ 115 w 457"/>
                <a:gd name="T29" fmla="*/ 126 h 778"/>
                <a:gd name="T30" fmla="*/ 112 w 457"/>
                <a:gd name="T31" fmla="*/ 145 h 778"/>
                <a:gd name="T32" fmla="*/ 86 w 457"/>
                <a:gd name="T33" fmla="*/ 163 h 778"/>
                <a:gd name="T34" fmla="*/ 35 w 457"/>
                <a:gd name="T35" fmla="*/ 195 h 778"/>
                <a:gd name="T36" fmla="*/ 54 w 457"/>
                <a:gd name="T37" fmla="*/ 227 h 778"/>
                <a:gd name="T38" fmla="*/ 40 w 457"/>
                <a:gd name="T39" fmla="*/ 273 h 778"/>
                <a:gd name="T40" fmla="*/ 8 w 457"/>
                <a:gd name="T41" fmla="*/ 300 h 778"/>
                <a:gd name="T42" fmla="*/ 14 w 457"/>
                <a:gd name="T43" fmla="*/ 318 h 778"/>
                <a:gd name="T44" fmla="*/ 0 w 457"/>
                <a:gd name="T45" fmla="*/ 356 h 778"/>
                <a:gd name="T46" fmla="*/ 11 w 457"/>
                <a:gd name="T47" fmla="*/ 393 h 778"/>
                <a:gd name="T48" fmla="*/ 19 w 457"/>
                <a:gd name="T49" fmla="*/ 412 h 778"/>
                <a:gd name="T50" fmla="*/ 86 w 457"/>
                <a:gd name="T51" fmla="*/ 468 h 778"/>
                <a:gd name="T52" fmla="*/ 99 w 457"/>
                <a:gd name="T53" fmla="*/ 495 h 778"/>
                <a:gd name="T54" fmla="*/ 104 w 457"/>
                <a:gd name="T55" fmla="*/ 511 h 778"/>
                <a:gd name="T56" fmla="*/ 139 w 457"/>
                <a:gd name="T57" fmla="*/ 516 h 778"/>
                <a:gd name="T58" fmla="*/ 166 w 457"/>
                <a:gd name="T59" fmla="*/ 540 h 778"/>
                <a:gd name="T60" fmla="*/ 150 w 457"/>
                <a:gd name="T61" fmla="*/ 596 h 778"/>
                <a:gd name="T62" fmla="*/ 160 w 457"/>
                <a:gd name="T63" fmla="*/ 626 h 778"/>
                <a:gd name="T64" fmla="*/ 185 w 457"/>
                <a:gd name="T65" fmla="*/ 644 h 778"/>
                <a:gd name="T66" fmla="*/ 225 w 457"/>
                <a:gd name="T67" fmla="*/ 663 h 778"/>
                <a:gd name="T68" fmla="*/ 251 w 457"/>
                <a:gd name="T69" fmla="*/ 690 h 778"/>
                <a:gd name="T70" fmla="*/ 265 w 457"/>
                <a:gd name="T71" fmla="*/ 722 h 778"/>
                <a:gd name="T72" fmla="*/ 262 w 457"/>
                <a:gd name="T73" fmla="*/ 746 h 778"/>
                <a:gd name="T74" fmla="*/ 286 w 457"/>
                <a:gd name="T75" fmla="*/ 775 h 778"/>
                <a:gd name="T76" fmla="*/ 286 w 457"/>
                <a:gd name="T77" fmla="*/ 764 h 778"/>
                <a:gd name="T78" fmla="*/ 297 w 457"/>
                <a:gd name="T79" fmla="*/ 775 h 778"/>
                <a:gd name="T80" fmla="*/ 299 w 457"/>
                <a:gd name="T81" fmla="*/ 770 h 778"/>
                <a:gd name="T82" fmla="*/ 326 w 457"/>
                <a:gd name="T83" fmla="*/ 740 h 778"/>
                <a:gd name="T84" fmla="*/ 374 w 457"/>
                <a:gd name="T85" fmla="*/ 735 h 778"/>
                <a:gd name="T86" fmla="*/ 382 w 457"/>
                <a:gd name="T87" fmla="*/ 708 h 778"/>
                <a:gd name="T88" fmla="*/ 403 w 457"/>
                <a:gd name="T89" fmla="*/ 676 h 778"/>
                <a:gd name="T90" fmla="*/ 414 w 457"/>
                <a:gd name="T91" fmla="*/ 650 h 778"/>
                <a:gd name="T92" fmla="*/ 414 w 457"/>
                <a:gd name="T93" fmla="*/ 647 h 778"/>
                <a:gd name="T94" fmla="*/ 411 w 457"/>
                <a:gd name="T95" fmla="*/ 634 h 778"/>
                <a:gd name="T96" fmla="*/ 409 w 457"/>
                <a:gd name="T97" fmla="*/ 615 h 778"/>
                <a:gd name="T98" fmla="*/ 414 w 457"/>
                <a:gd name="T99" fmla="*/ 607 h 778"/>
                <a:gd name="T100" fmla="*/ 414 w 457"/>
                <a:gd name="T101" fmla="*/ 593 h 778"/>
                <a:gd name="T102" fmla="*/ 417 w 457"/>
                <a:gd name="T103" fmla="*/ 583 h 778"/>
                <a:gd name="T104" fmla="*/ 425 w 457"/>
                <a:gd name="T105" fmla="*/ 577 h 778"/>
                <a:gd name="T106" fmla="*/ 430 w 457"/>
                <a:gd name="T107" fmla="*/ 572 h 778"/>
                <a:gd name="T108" fmla="*/ 435 w 457"/>
                <a:gd name="T109" fmla="*/ 556 h 778"/>
                <a:gd name="T110" fmla="*/ 446 w 457"/>
                <a:gd name="T111" fmla="*/ 548 h 778"/>
                <a:gd name="T112" fmla="*/ 446 w 457"/>
                <a:gd name="T113" fmla="*/ 535 h 778"/>
                <a:gd name="T114" fmla="*/ 451 w 457"/>
                <a:gd name="T115" fmla="*/ 521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7" h="778">
                  <a:moveTo>
                    <a:pt x="454" y="500"/>
                  </a:moveTo>
                  <a:lnTo>
                    <a:pt x="451" y="495"/>
                  </a:lnTo>
                  <a:lnTo>
                    <a:pt x="451" y="492"/>
                  </a:lnTo>
                  <a:lnTo>
                    <a:pt x="451" y="492"/>
                  </a:lnTo>
                  <a:lnTo>
                    <a:pt x="454" y="489"/>
                  </a:lnTo>
                  <a:lnTo>
                    <a:pt x="451" y="484"/>
                  </a:lnTo>
                  <a:lnTo>
                    <a:pt x="451" y="481"/>
                  </a:lnTo>
                  <a:lnTo>
                    <a:pt x="449" y="479"/>
                  </a:lnTo>
                  <a:lnTo>
                    <a:pt x="446" y="479"/>
                  </a:lnTo>
                  <a:lnTo>
                    <a:pt x="446" y="476"/>
                  </a:lnTo>
                  <a:lnTo>
                    <a:pt x="443" y="471"/>
                  </a:lnTo>
                  <a:lnTo>
                    <a:pt x="443" y="468"/>
                  </a:lnTo>
                  <a:lnTo>
                    <a:pt x="438" y="465"/>
                  </a:lnTo>
                  <a:lnTo>
                    <a:pt x="438" y="465"/>
                  </a:lnTo>
                  <a:lnTo>
                    <a:pt x="435" y="465"/>
                  </a:lnTo>
                  <a:lnTo>
                    <a:pt x="435" y="463"/>
                  </a:lnTo>
                  <a:lnTo>
                    <a:pt x="435" y="457"/>
                  </a:lnTo>
                  <a:lnTo>
                    <a:pt x="441" y="449"/>
                  </a:lnTo>
                  <a:lnTo>
                    <a:pt x="441" y="444"/>
                  </a:lnTo>
                  <a:lnTo>
                    <a:pt x="438" y="438"/>
                  </a:lnTo>
                  <a:lnTo>
                    <a:pt x="438" y="438"/>
                  </a:lnTo>
                  <a:lnTo>
                    <a:pt x="438" y="433"/>
                  </a:lnTo>
                  <a:lnTo>
                    <a:pt x="441" y="433"/>
                  </a:lnTo>
                  <a:lnTo>
                    <a:pt x="446" y="428"/>
                  </a:lnTo>
                  <a:lnTo>
                    <a:pt x="446" y="428"/>
                  </a:lnTo>
                  <a:lnTo>
                    <a:pt x="446" y="422"/>
                  </a:lnTo>
                  <a:lnTo>
                    <a:pt x="443" y="401"/>
                  </a:lnTo>
                  <a:lnTo>
                    <a:pt x="441" y="382"/>
                  </a:lnTo>
                  <a:lnTo>
                    <a:pt x="438" y="361"/>
                  </a:lnTo>
                  <a:lnTo>
                    <a:pt x="435" y="321"/>
                  </a:lnTo>
                  <a:lnTo>
                    <a:pt x="433" y="302"/>
                  </a:lnTo>
                  <a:lnTo>
                    <a:pt x="430" y="281"/>
                  </a:lnTo>
                  <a:lnTo>
                    <a:pt x="427" y="262"/>
                  </a:lnTo>
                  <a:lnTo>
                    <a:pt x="425" y="241"/>
                  </a:lnTo>
                  <a:lnTo>
                    <a:pt x="425" y="222"/>
                  </a:lnTo>
                  <a:lnTo>
                    <a:pt x="422" y="201"/>
                  </a:lnTo>
                  <a:lnTo>
                    <a:pt x="419" y="182"/>
                  </a:lnTo>
                  <a:lnTo>
                    <a:pt x="417" y="161"/>
                  </a:lnTo>
                  <a:lnTo>
                    <a:pt x="414" y="142"/>
                  </a:lnTo>
                  <a:lnTo>
                    <a:pt x="414" y="123"/>
                  </a:lnTo>
                  <a:lnTo>
                    <a:pt x="411" y="102"/>
                  </a:lnTo>
                  <a:lnTo>
                    <a:pt x="411" y="102"/>
                  </a:lnTo>
                  <a:lnTo>
                    <a:pt x="403" y="94"/>
                  </a:lnTo>
                  <a:lnTo>
                    <a:pt x="401" y="89"/>
                  </a:lnTo>
                  <a:lnTo>
                    <a:pt x="398" y="78"/>
                  </a:lnTo>
                  <a:lnTo>
                    <a:pt x="393" y="72"/>
                  </a:lnTo>
                  <a:lnTo>
                    <a:pt x="390" y="59"/>
                  </a:lnTo>
                  <a:lnTo>
                    <a:pt x="390" y="59"/>
                  </a:lnTo>
                  <a:lnTo>
                    <a:pt x="390" y="56"/>
                  </a:lnTo>
                  <a:lnTo>
                    <a:pt x="387" y="54"/>
                  </a:lnTo>
                  <a:lnTo>
                    <a:pt x="387" y="54"/>
                  </a:lnTo>
                  <a:lnTo>
                    <a:pt x="385" y="51"/>
                  </a:lnTo>
                  <a:lnTo>
                    <a:pt x="382" y="51"/>
                  </a:lnTo>
                  <a:lnTo>
                    <a:pt x="382" y="51"/>
                  </a:lnTo>
                  <a:lnTo>
                    <a:pt x="382" y="51"/>
                  </a:lnTo>
                  <a:lnTo>
                    <a:pt x="379" y="48"/>
                  </a:lnTo>
                  <a:lnTo>
                    <a:pt x="379" y="48"/>
                  </a:lnTo>
                  <a:lnTo>
                    <a:pt x="379" y="46"/>
                  </a:lnTo>
                  <a:lnTo>
                    <a:pt x="379" y="46"/>
                  </a:lnTo>
                  <a:lnTo>
                    <a:pt x="374" y="38"/>
                  </a:lnTo>
                  <a:lnTo>
                    <a:pt x="371" y="32"/>
                  </a:lnTo>
                  <a:lnTo>
                    <a:pt x="371" y="30"/>
                  </a:lnTo>
                  <a:lnTo>
                    <a:pt x="369" y="19"/>
                  </a:lnTo>
                  <a:lnTo>
                    <a:pt x="369" y="16"/>
                  </a:lnTo>
                  <a:lnTo>
                    <a:pt x="369" y="16"/>
                  </a:lnTo>
                  <a:lnTo>
                    <a:pt x="369" y="14"/>
                  </a:lnTo>
                  <a:lnTo>
                    <a:pt x="369" y="14"/>
                  </a:lnTo>
                  <a:lnTo>
                    <a:pt x="369" y="0"/>
                  </a:lnTo>
                  <a:lnTo>
                    <a:pt x="369" y="0"/>
                  </a:lnTo>
                  <a:lnTo>
                    <a:pt x="350" y="0"/>
                  </a:lnTo>
                  <a:lnTo>
                    <a:pt x="331" y="3"/>
                  </a:lnTo>
                  <a:lnTo>
                    <a:pt x="313" y="6"/>
                  </a:lnTo>
                  <a:lnTo>
                    <a:pt x="294" y="6"/>
                  </a:lnTo>
                  <a:lnTo>
                    <a:pt x="275" y="8"/>
                  </a:lnTo>
                  <a:lnTo>
                    <a:pt x="257" y="11"/>
                  </a:lnTo>
                  <a:lnTo>
                    <a:pt x="238" y="11"/>
                  </a:lnTo>
                  <a:lnTo>
                    <a:pt x="219" y="14"/>
                  </a:lnTo>
                  <a:lnTo>
                    <a:pt x="201" y="14"/>
                  </a:lnTo>
                  <a:lnTo>
                    <a:pt x="182" y="16"/>
                  </a:lnTo>
                  <a:lnTo>
                    <a:pt x="163" y="19"/>
                  </a:lnTo>
                  <a:lnTo>
                    <a:pt x="144" y="19"/>
                  </a:lnTo>
                  <a:lnTo>
                    <a:pt x="126" y="22"/>
                  </a:lnTo>
                  <a:lnTo>
                    <a:pt x="107" y="22"/>
                  </a:lnTo>
                  <a:lnTo>
                    <a:pt x="88" y="24"/>
                  </a:lnTo>
                  <a:lnTo>
                    <a:pt x="70" y="24"/>
                  </a:lnTo>
                  <a:lnTo>
                    <a:pt x="70" y="24"/>
                  </a:lnTo>
                  <a:lnTo>
                    <a:pt x="70" y="24"/>
                  </a:lnTo>
                  <a:lnTo>
                    <a:pt x="70" y="24"/>
                  </a:lnTo>
                  <a:lnTo>
                    <a:pt x="70" y="24"/>
                  </a:lnTo>
                  <a:lnTo>
                    <a:pt x="70" y="24"/>
                  </a:lnTo>
                  <a:lnTo>
                    <a:pt x="70" y="24"/>
                  </a:lnTo>
                  <a:lnTo>
                    <a:pt x="70" y="24"/>
                  </a:lnTo>
                  <a:lnTo>
                    <a:pt x="70" y="24"/>
                  </a:lnTo>
                  <a:lnTo>
                    <a:pt x="70" y="24"/>
                  </a:lnTo>
                  <a:lnTo>
                    <a:pt x="70" y="24"/>
                  </a:lnTo>
                  <a:lnTo>
                    <a:pt x="70" y="24"/>
                  </a:lnTo>
                  <a:lnTo>
                    <a:pt x="70" y="24"/>
                  </a:lnTo>
                  <a:lnTo>
                    <a:pt x="70" y="24"/>
                  </a:lnTo>
                  <a:lnTo>
                    <a:pt x="70" y="24"/>
                  </a:lnTo>
                  <a:lnTo>
                    <a:pt x="67" y="30"/>
                  </a:lnTo>
                  <a:lnTo>
                    <a:pt x="70" y="30"/>
                  </a:lnTo>
                  <a:lnTo>
                    <a:pt x="72" y="32"/>
                  </a:lnTo>
                  <a:lnTo>
                    <a:pt x="75" y="32"/>
                  </a:lnTo>
                  <a:lnTo>
                    <a:pt x="75" y="35"/>
                  </a:lnTo>
                  <a:lnTo>
                    <a:pt x="80" y="38"/>
                  </a:lnTo>
                  <a:lnTo>
                    <a:pt x="88" y="43"/>
                  </a:lnTo>
                  <a:lnTo>
                    <a:pt x="94" y="46"/>
                  </a:lnTo>
                  <a:lnTo>
                    <a:pt x="96" y="51"/>
                  </a:lnTo>
                  <a:lnTo>
                    <a:pt x="96" y="48"/>
                  </a:lnTo>
                  <a:lnTo>
                    <a:pt x="96" y="56"/>
                  </a:lnTo>
                  <a:lnTo>
                    <a:pt x="96" y="59"/>
                  </a:lnTo>
                  <a:lnTo>
                    <a:pt x="102" y="62"/>
                  </a:lnTo>
                  <a:lnTo>
                    <a:pt x="104" y="64"/>
                  </a:lnTo>
                  <a:lnTo>
                    <a:pt x="104" y="64"/>
                  </a:lnTo>
                  <a:lnTo>
                    <a:pt x="107" y="64"/>
                  </a:lnTo>
                  <a:lnTo>
                    <a:pt x="115" y="70"/>
                  </a:lnTo>
                  <a:lnTo>
                    <a:pt x="118" y="70"/>
                  </a:lnTo>
                  <a:lnTo>
                    <a:pt x="120" y="75"/>
                  </a:lnTo>
                  <a:lnTo>
                    <a:pt x="120" y="75"/>
                  </a:lnTo>
                  <a:lnTo>
                    <a:pt x="123" y="75"/>
                  </a:lnTo>
                  <a:lnTo>
                    <a:pt x="123" y="75"/>
                  </a:lnTo>
                  <a:lnTo>
                    <a:pt x="123" y="78"/>
                  </a:lnTo>
                  <a:lnTo>
                    <a:pt x="123" y="80"/>
                  </a:lnTo>
                  <a:lnTo>
                    <a:pt x="126" y="80"/>
                  </a:lnTo>
                  <a:lnTo>
                    <a:pt x="128" y="86"/>
                  </a:lnTo>
                  <a:lnTo>
                    <a:pt x="128" y="89"/>
                  </a:lnTo>
                  <a:lnTo>
                    <a:pt x="128" y="94"/>
                  </a:lnTo>
                  <a:lnTo>
                    <a:pt x="126" y="99"/>
                  </a:lnTo>
                  <a:lnTo>
                    <a:pt x="126" y="107"/>
                  </a:lnTo>
                  <a:lnTo>
                    <a:pt x="126" y="115"/>
                  </a:lnTo>
                  <a:lnTo>
                    <a:pt x="123" y="118"/>
                  </a:lnTo>
                  <a:lnTo>
                    <a:pt x="123" y="118"/>
                  </a:lnTo>
                  <a:lnTo>
                    <a:pt x="120" y="121"/>
                  </a:lnTo>
                  <a:lnTo>
                    <a:pt x="118" y="123"/>
                  </a:lnTo>
                  <a:lnTo>
                    <a:pt x="115" y="126"/>
                  </a:lnTo>
                  <a:lnTo>
                    <a:pt x="115" y="129"/>
                  </a:lnTo>
                  <a:lnTo>
                    <a:pt x="112" y="131"/>
                  </a:lnTo>
                  <a:lnTo>
                    <a:pt x="112" y="134"/>
                  </a:lnTo>
                  <a:lnTo>
                    <a:pt x="112" y="137"/>
                  </a:lnTo>
                  <a:lnTo>
                    <a:pt x="110" y="139"/>
                  </a:lnTo>
                  <a:lnTo>
                    <a:pt x="110" y="139"/>
                  </a:lnTo>
                  <a:lnTo>
                    <a:pt x="112" y="142"/>
                  </a:lnTo>
                  <a:lnTo>
                    <a:pt x="112" y="142"/>
                  </a:lnTo>
                  <a:lnTo>
                    <a:pt x="112" y="145"/>
                  </a:lnTo>
                  <a:lnTo>
                    <a:pt x="112" y="147"/>
                  </a:lnTo>
                  <a:lnTo>
                    <a:pt x="112" y="147"/>
                  </a:lnTo>
                  <a:lnTo>
                    <a:pt x="110" y="150"/>
                  </a:lnTo>
                  <a:lnTo>
                    <a:pt x="104" y="153"/>
                  </a:lnTo>
                  <a:lnTo>
                    <a:pt x="104" y="153"/>
                  </a:lnTo>
                  <a:lnTo>
                    <a:pt x="104" y="155"/>
                  </a:lnTo>
                  <a:lnTo>
                    <a:pt x="102" y="158"/>
                  </a:lnTo>
                  <a:lnTo>
                    <a:pt x="96" y="158"/>
                  </a:lnTo>
                  <a:lnTo>
                    <a:pt x="86" y="163"/>
                  </a:lnTo>
                  <a:lnTo>
                    <a:pt x="86" y="163"/>
                  </a:lnTo>
                  <a:lnTo>
                    <a:pt x="80" y="169"/>
                  </a:lnTo>
                  <a:lnTo>
                    <a:pt x="80" y="171"/>
                  </a:lnTo>
                  <a:lnTo>
                    <a:pt x="75" y="171"/>
                  </a:lnTo>
                  <a:lnTo>
                    <a:pt x="43" y="177"/>
                  </a:lnTo>
                  <a:lnTo>
                    <a:pt x="40" y="179"/>
                  </a:lnTo>
                  <a:lnTo>
                    <a:pt x="38" y="185"/>
                  </a:lnTo>
                  <a:lnTo>
                    <a:pt x="35" y="190"/>
                  </a:lnTo>
                  <a:lnTo>
                    <a:pt x="35" y="195"/>
                  </a:lnTo>
                  <a:lnTo>
                    <a:pt x="35" y="203"/>
                  </a:lnTo>
                  <a:lnTo>
                    <a:pt x="35" y="206"/>
                  </a:lnTo>
                  <a:lnTo>
                    <a:pt x="35" y="209"/>
                  </a:lnTo>
                  <a:lnTo>
                    <a:pt x="38" y="211"/>
                  </a:lnTo>
                  <a:lnTo>
                    <a:pt x="40" y="211"/>
                  </a:lnTo>
                  <a:lnTo>
                    <a:pt x="40" y="214"/>
                  </a:lnTo>
                  <a:lnTo>
                    <a:pt x="46" y="217"/>
                  </a:lnTo>
                  <a:lnTo>
                    <a:pt x="51" y="222"/>
                  </a:lnTo>
                  <a:lnTo>
                    <a:pt x="54" y="227"/>
                  </a:lnTo>
                  <a:lnTo>
                    <a:pt x="54" y="233"/>
                  </a:lnTo>
                  <a:lnTo>
                    <a:pt x="54" y="238"/>
                  </a:lnTo>
                  <a:lnTo>
                    <a:pt x="51" y="243"/>
                  </a:lnTo>
                  <a:lnTo>
                    <a:pt x="43" y="257"/>
                  </a:lnTo>
                  <a:lnTo>
                    <a:pt x="40" y="259"/>
                  </a:lnTo>
                  <a:lnTo>
                    <a:pt x="40" y="262"/>
                  </a:lnTo>
                  <a:lnTo>
                    <a:pt x="40" y="265"/>
                  </a:lnTo>
                  <a:lnTo>
                    <a:pt x="40" y="270"/>
                  </a:lnTo>
                  <a:lnTo>
                    <a:pt x="40" y="273"/>
                  </a:lnTo>
                  <a:lnTo>
                    <a:pt x="38" y="281"/>
                  </a:lnTo>
                  <a:lnTo>
                    <a:pt x="35" y="284"/>
                  </a:lnTo>
                  <a:lnTo>
                    <a:pt x="32" y="286"/>
                  </a:lnTo>
                  <a:lnTo>
                    <a:pt x="27" y="289"/>
                  </a:lnTo>
                  <a:lnTo>
                    <a:pt x="24" y="289"/>
                  </a:lnTo>
                  <a:lnTo>
                    <a:pt x="19" y="292"/>
                  </a:lnTo>
                  <a:lnTo>
                    <a:pt x="16" y="294"/>
                  </a:lnTo>
                  <a:lnTo>
                    <a:pt x="11" y="297"/>
                  </a:lnTo>
                  <a:lnTo>
                    <a:pt x="8" y="300"/>
                  </a:lnTo>
                  <a:lnTo>
                    <a:pt x="8" y="300"/>
                  </a:lnTo>
                  <a:lnTo>
                    <a:pt x="8" y="302"/>
                  </a:lnTo>
                  <a:lnTo>
                    <a:pt x="8" y="302"/>
                  </a:lnTo>
                  <a:lnTo>
                    <a:pt x="8" y="305"/>
                  </a:lnTo>
                  <a:lnTo>
                    <a:pt x="11" y="305"/>
                  </a:lnTo>
                  <a:lnTo>
                    <a:pt x="14" y="308"/>
                  </a:lnTo>
                  <a:lnTo>
                    <a:pt x="14" y="310"/>
                  </a:lnTo>
                  <a:lnTo>
                    <a:pt x="14" y="316"/>
                  </a:lnTo>
                  <a:lnTo>
                    <a:pt x="14" y="318"/>
                  </a:lnTo>
                  <a:lnTo>
                    <a:pt x="14" y="321"/>
                  </a:lnTo>
                  <a:lnTo>
                    <a:pt x="14" y="324"/>
                  </a:lnTo>
                  <a:lnTo>
                    <a:pt x="14" y="324"/>
                  </a:lnTo>
                  <a:lnTo>
                    <a:pt x="8" y="326"/>
                  </a:lnTo>
                  <a:lnTo>
                    <a:pt x="3" y="329"/>
                  </a:lnTo>
                  <a:lnTo>
                    <a:pt x="3" y="337"/>
                  </a:lnTo>
                  <a:lnTo>
                    <a:pt x="0" y="345"/>
                  </a:lnTo>
                  <a:lnTo>
                    <a:pt x="0" y="350"/>
                  </a:lnTo>
                  <a:lnTo>
                    <a:pt x="0" y="356"/>
                  </a:lnTo>
                  <a:lnTo>
                    <a:pt x="6" y="380"/>
                  </a:lnTo>
                  <a:lnTo>
                    <a:pt x="6" y="380"/>
                  </a:lnTo>
                  <a:lnTo>
                    <a:pt x="8" y="382"/>
                  </a:lnTo>
                  <a:lnTo>
                    <a:pt x="11" y="385"/>
                  </a:lnTo>
                  <a:lnTo>
                    <a:pt x="11" y="385"/>
                  </a:lnTo>
                  <a:lnTo>
                    <a:pt x="11" y="388"/>
                  </a:lnTo>
                  <a:lnTo>
                    <a:pt x="11" y="388"/>
                  </a:lnTo>
                  <a:lnTo>
                    <a:pt x="11" y="390"/>
                  </a:lnTo>
                  <a:lnTo>
                    <a:pt x="11" y="393"/>
                  </a:lnTo>
                  <a:lnTo>
                    <a:pt x="11" y="396"/>
                  </a:lnTo>
                  <a:lnTo>
                    <a:pt x="11" y="398"/>
                  </a:lnTo>
                  <a:lnTo>
                    <a:pt x="14" y="398"/>
                  </a:lnTo>
                  <a:lnTo>
                    <a:pt x="14" y="401"/>
                  </a:lnTo>
                  <a:lnTo>
                    <a:pt x="14" y="404"/>
                  </a:lnTo>
                  <a:lnTo>
                    <a:pt x="19" y="404"/>
                  </a:lnTo>
                  <a:lnTo>
                    <a:pt x="19" y="406"/>
                  </a:lnTo>
                  <a:lnTo>
                    <a:pt x="19" y="409"/>
                  </a:lnTo>
                  <a:lnTo>
                    <a:pt x="19" y="412"/>
                  </a:lnTo>
                  <a:lnTo>
                    <a:pt x="22" y="414"/>
                  </a:lnTo>
                  <a:lnTo>
                    <a:pt x="24" y="420"/>
                  </a:lnTo>
                  <a:lnTo>
                    <a:pt x="54" y="441"/>
                  </a:lnTo>
                  <a:lnTo>
                    <a:pt x="56" y="444"/>
                  </a:lnTo>
                  <a:lnTo>
                    <a:pt x="56" y="447"/>
                  </a:lnTo>
                  <a:lnTo>
                    <a:pt x="56" y="449"/>
                  </a:lnTo>
                  <a:lnTo>
                    <a:pt x="59" y="452"/>
                  </a:lnTo>
                  <a:lnTo>
                    <a:pt x="59" y="452"/>
                  </a:lnTo>
                  <a:lnTo>
                    <a:pt x="86" y="468"/>
                  </a:lnTo>
                  <a:lnTo>
                    <a:pt x="88" y="471"/>
                  </a:lnTo>
                  <a:lnTo>
                    <a:pt x="91" y="473"/>
                  </a:lnTo>
                  <a:lnTo>
                    <a:pt x="96" y="479"/>
                  </a:lnTo>
                  <a:lnTo>
                    <a:pt x="96" y="481"/>
                  </a:lnTo>
                  <a:lnTo>
                    <a:pt x="99" y="484"/>
                  </a:lnTo>
                  <a:lnTo>
                    <a:pt x="99" y="487"/>
                  </a:lnTo>
                  <a:lnTo>
                    <a:pt x="99" y="489"/>
                  </a:lnTo>
                  <a:lnTo>
                    <a:pt x="99" y="492"/>
                  </a:lnTo>
                  <a:lnTo>
                    <a:pt x="99" y="495"/>
                  </a:lnTo>
                  <a:lnTo>
                    <a:pt x="102" y="497"/>
                  </a:lnTo>
                  <a:lnTo>
                    <a:pt x="102" y="497"/>
                  </a:lnTo>
                  <a:lnTo>
                    <a:pt x="102" y="500"/>
                  </a:lnTo>
                  <a:lnTo>
                    <a:pt x="102" y="500"/>
                  </a:lnTo>
                  <a:lnTo>
                    <a:pt x="102" y="503"/>
                  </a:lnTo>
                  <a:lnTo>
                    <a:pt x="102" y="505"/>
                  </a:lnTo>
                  <a:lnTo>
                    <a:pt x="102" y="505"/>
                  </a:lnTo>
                  <a:lnTo>
                    <a:pt x="104" y="508"/>
                  </a:lnTo>
                  <a:lnTo>
                    <a:pt x="104" y="511"/>
                  </a:lnTo>
                  <a:lnTo>
                    <a:pt x="104" y="513"/>
                  </a:lnTo>
                  <a:lnTo>
                    <a:pt x="110" y="521"/>
                  </a:lnTo>
                  <a:lnTo>
                    <a:pt x="112" y="527"/>
                  </a:lnTo>
                  <a:lnTo>
                    <a:pt x="118" y="527"/>
                  </a:lnTo>
                  <a:lnTo>
                    <a:pt x="123" y="524"/>
                  </a:lnTo>
                  <a:lnTo>
                    <a:pt x="128" y="516"/>
                  </a:lnTo>
                  <a:lnTo>
                    <a:pt x="134" y="513"/>
                  </a:lnTo>
                  <a:lnTo>
                    <a:pt x="136" y="513"/>
                  </a:lnTo>
                  <a:lnTo>
                    <a:pt x="139" y="516"/>
                  </a:lnTo>
                  <a:lnTo>
                    <a:pt x="142" y="516"/>
                  </a:lnTo>
                  <a:lnTo>
                    <a:pt x="144" y="516"/>
                  </a:lnTo>
                  <a:lnTo>
                    <a:pt x="150" y="519"/>
                  </a:lnTo>
                  <a:lnTo>
                    <a:pt x="163" y="524"/>
                  </a:lnTo>
                  <a:lnTo>
                    <a:pt x="166" y="527"/>
                  </a:lnTo>
                  <a:lnTo>
                    <a:pt x="168" y="529"/>
                  </a:lnTo>
                  <a:lnTo>
                    <a:pt x="168" y="532"/>
                  </a:lnTo>
                  <a:lnTo>
                    <a:pt x="166" y="537"/>
                  </a:lnTo>
                  <a:lnTo>
                    <a:pt x="166" y="540"/>
                  </a:lnTo>
                  <a:lnTo>
                    <a:pt x="163" y="540"/>
                  </a:lnTo>
                  <a:lnTo>
                    <a:pt x="163" y="543"/>
                  </a:lnTo>
                  <a:lnTo>
                    <a:pt x="163" y="545"/>
                  </a:lnTo>
                  <a:lnTo>
                    <a:pt x="163" y="551"/>
                  </a:lnTo>
                  <a:lnTo>
                    <a:pt x="163" y="559"/>
                  </a:lnTo>
                  <a:lnTo>
                    <a:pt x="163" y="561"/>
                  </a:lnTo>
                  <a:lnTo>
                    <a:pt x="158" y="572"/>
                  </a:lnTo>
                  <a:lnTo>
                    <a:pt x="152" y="588"/>
                  </a:lnTo>
                  <a:lnTo>
                    <a:pt x="150" y="596"/>
                  </a:lnTo>
                  <a:lnTo>
                    <a:pt x="147" y="601"/>
                  </a:lnTo>
                  <a:lnTo>
                    <a:pt x="147" y="607"/>
                  </a:lnTo>
                  <a:lnTo>
                    <a:pt x="150" y="612"/>
                  </a:lnTo>
                  <a:lnTo>
                    <a:pt x="150" y="615"/>
                  </a:lnTo>
                  <a:lnTo>
                    <a:pt x="150" y="618"/>
                  </a:lnTo>
                  <a:lnTo>
                    <a:pt x="152" y="618"/>
                  </a:lnTo>
                  <a:lnTo>
                    <a:pt x="152" y="620"/>
                  </a:lnTo>
                  <a:lnTo>
                    <a:pt x="158" y="623"/>
                  </a:lnTo>
                  <a:lnTo>
                    <a:pt x="160" y="626"/>
                  </a:lnTo>
                  <a:lnTo>
                    <a:pt x="163" y="628"/>
                  </a:lnTo>
                  <a:lnTo>
                    <a:pt x="163" y="628"/>
                  </a:lnTo>
                  <a:lnTo>
                    <a:pt x="166" y="631"/>
                  </a:lnTo>
                  <a:lnTo>
                    <a:pt x="166" y="634"/>
                  </a:lnTo>
                  <a:lnTo>
                    <a:pt x="171" y="634"/>
                  </a:lnTo>
                  <a:lnTo>
                    <a:pt x="174" y="636"/>
                  </a:lnTo>
                  <a:lnTo>
                    <a:pt x="176" y="642"/>
                  </a:lnTo>
                  <a:lnTo>
                    <a:pt x="182" y="644"/>
                  </a:lnTo>
                  <a:lnTo>
                    <a:pt x="185" y="644"/>
                  </a:lnTo>
                  <a:lnTo>
                    <a:pt x="193" y="650"/>
                  </a:lnTo>
                  <a:lnTo>
                    <a:pt x="193" y="650"/>
                  </a:lnTo>
                  <a:lnTo>
                    <a:pt x="198" y="650"/>
                  </a:lnTo>
                  <a:lnTo>
                    <a:pt x="198" y="650"/>
                  </a:lnTo>
                  <a:lnTo>
                    <a:pt x="203" y="650"/>
                  </a:lnTo>
                  <a:lnTo>
                    <a:pt x="206" y="652"/>
                  </a:lnTo>
                  <a:lnTo>
                    <a:pt x="214" y="658"/>
                  </a:lnTo>
                  <a:lnTo>
                    <a:pt x="217" y="660"/>
                  </a:lnTo>
                  <a:lnTo>
                    <a:pt x="225" y="663"/>
                  </a:lnTo>
                  <a:lnTo>
                    <a:pt x="227" y="666"/>
                  </a:lnTo>
                  <a:lnTo>
                    <a:pt x="230" y="668"/>
                  </a:lnTo>
                  <a:lnTo>
                    <a:pt x="233" y="676"/>
                  </a:lnTo>
                  <a:lnTo>
                    <a:pt x="235" y="679"/>
                  </a:lnTo>
                  <a:lnTo>
                    <a:pt x="249" y="682"/>
                  </a:lnTo>
                  <a:lnTo>
                    <a:pt x="251" y="684"/>
                  </a:lnTo>
                  <a:lnTo>
                    <a:pt x="251" y="687"/>
                  </a:lnTo>
                  <a:lnTo>
                    <a:pt x="251" y="687"/>
                  </a:lnTo>
                  <a:lnTo>
                    <a:pt x="251" y="690"/>
                  </a:lnTo>
                  <a:lnTo>
                    <a:pt x="251" y="692"/>
                  </a:lnTo>
                  <a:lnTo>
                    <a:pt x="251" y="695"/>
                  </a:lnTo>
                  <a:lnTo>
                    <a:pt x="251" y="698"/>
                  </a:lnTo>
                  <a:lnTo>
                    <a:pt x="251" y="700"/>
                  </a:lnTo>
                  <a:lnTo>
                    <a:pt x="251" y="703"/>
                  </a:lnTo>
                  <a:lnTo>
                    <a:pt x="257" y="708"/>
                  </a:lnTo>
                  <a:lnTo>
                    <a:pt x="259" y="711"/>
                  </a:lnTo>
                  <a:lnTo>
                    <a:pt x="262" y="716"/>
                  </a:lnTo>
                  <a:lnTo>
                    <a:pt x="265" y="722"/>
                  </a:lnTo>
                  <a:lnTo>
                    <a:pt x="262" y="727"/>
                  </a:lnTo>
                  <a:lnTo>
                    <a:pt x="259" y="732"/>
                  </a:lnTo>
                  <a:lnTo>
                    <a:pt x="257" y="735"/>
                  </a:lnTo>
                  <a:lnTo>
                    <a:pt x="257" y="740"/>
                  </a:lnTo>
                  <a:lnTo>
                    <a:pt x="257" y="743"/>
                  </a:lnTo>
                  <a:lnTo>
                    <a:pt x="259" y="743"/>
                  </a:lnTo>
                  <a:lnTo>
                    <a:pt x="259" y="743"/>
                  </a:lnTo>
                  <a:lnTo>
                    <a:pt x="262" y="743"/>
                  </a:lnTo>
                  <a:lnTo>
                    <a:pt x="262" y="746"/>
                  </a:lnTo>
                  <a:lnTo>
                    <a:pt x="262" y="748"/>
                  </a:lnTo>
                  <a:lnTo>
                    <a:pt x="265" y="751"/>
                  </a:lnTo>
                  <a:lnTo>
                    <a:pt x="267" y="754"/>
                  </a:lnTo>
                  <a:lnTo>
                    <a:pt x="273" y="762"/>
                  </a:lnTo>
                  <a:lnTo>
                    <a:pt x="273" y="764"/>
                  </a:lnTo>
                  <a:lnTo>
                    <a:pt x="273" y="770"/>
                  </a:lnTo>
                  <a:lnTo>
                    <a:pt x="275" y="770"/>
                  </a:lnTo>
                  <a:lnTo>
                    <a:pt x="281" y="775"/>
                  </a:lnTo>
                  <a:lnTo>
                    <a:pt x="286" y="775"/>
                  </a:lnTo>
                  <a:lnTo>
                    <a:pt x="289" y="775"/>
                  </a:lnTo>
                  <a:lnTo>
                    <a:pt x="289" y="775"/>
                  </a:lnTo>
                  <a:lnTo>
                    <a:pt x="289" y="772"/>
                  </a:lnTo>
                  <a:lnTo>
                    <a:pt x="286" y="772"/>
                  </a:lnTo>
                  <a:lnTo>
                    <a:pt x="286" y="770"/>
                  </a:lnTo>
                  <a:lnTo>
                    <a:pt x="283" y="770"/>
                  </a:lnTo>
                  <a:lnTo>
                    <a:pt x="283" y="767"/>
                  </a:lnTo>
                  <a:lnTo>
                    <a:pt x="283" y="764"/>
                  </a:lnTo>
                  <a:lnTo>
                    <a:pt x="286" y="764"/>
                  </a:lnTo>
                  <a:lnTo>
                    <a:pt x="289" y="764"/>
                  </a:lnTo>
                  <a:lnTo>
                    <a:pt x="289" y="764"/>
                  </a:lnTo>
                  <a:lnTo>
                    <a:pt x="289" y="767"/>
                  </a:lnTo>
                  <a:lnTo>
                    <a:pt x="291" y="770"/>
                  </a:lnTo>
                  <a:lnTo>
                    <a:pt x="291" y="770"/>
                  </a:lnTo>
                  <a:lnTo>
                    <a:pt x="294" y="772"/>
                  </a:lnTo>
                  <a:lnTo>
                    <a:pt x="294" y="772"/>
                  </a:lnTo>
                  <a:lnTo>
                    <a:pt x="297" y="775"/>
                  </a:lnTo>
                  <a:lnTo>
                    <a:pt x="297" y="775"/>
                  </a:lnTo>
                  <a:lnTo>
                    <a:pt x="297" y="778"/>
                  </a:lnTo>
                  <a:lnTo>
                    <a:pt x="297" y="778"/>
                  </a:lnTo>
                  <a:lnTo>
                    <a:pt x="299" y="778"/>
                  </a:lnTo>
                  <a:lnTo>
                    <a:pt x="299" y="778"/>
                  </a:lnTo>
                  <a:lnTo>
                    <a:pt x="302" y="778"/>
                  </a:lnTo>
                  <a:lnTo>
                    <a:pt x="302" y="778"/>
                  </a:lnTo>
                  <a:lnTo>
                    <a:pt x="305" y="778"/>
                  </a:lnTo>
                  <a:lnTo>
                    <a:pt x="299" y="772"/>
                  </a:lnTo>
                  <a:lnTo>
                    <a:pt x="299" y="770"/>
                  </a:lnTo>
                  <a:lnTo>
                    <a:pt x="297" y="767"/>
                  </a:lnTo>
                  <a:lnTo>
                    <a:pt x="299" y="762"/>
                  </a:lnTo>
                  <a:lnTo>
                    <a:pt x="302" y="756"/>
                  </a:lnTo>
                  <a:lnTo>
                    <a:pt x="307" y="751"/>
                  </a:lnTo>
                  <a:lnTo>
                    <a:pt x="307" y="748"/>
                  </a:lnTo>
                  <a:lnTo>
                    <a:pt x="310" y="746"/>
                  </a:lnTo>
                  <a:lnTo>
                    <a:pt x="315" y="743"/>
                  </a:lnTo>
                  <a:lnTo>
                    <a:pt x="321" y="740"/>
                  </a:lnTo>
                  <a:lnTo>
                    <a:pt x="326" y="740"/>
                  </a:lnTo>
                  <a:lnTo>
                    <a:pt x="358" y="754"/>
                  </a:lnTo>
                  <a:lnTo>
                    <a:pt x="366" y="756"/>
                  </a:lnTo>
                  <a:lnTo>
                    <a:pt x="371" y="759"/>
                  </a:lnTo>
                  <a:lnTo>
                    <a:pt x="377" y="756"/>
                  </a:lnTo>
                  <a:lnTo>
                    <a:pt x="379" y="754"/>
                  </a:lnTo>
                  <a:lnTo>
                    <a:pt x="379" y="748"/>
                  </a:lnTo>
                  <a:lnTo>
                    <a:pt x="379" y="743"/>
                  </a:lnTo>
                  <a:lnTo>
                    <a:pt x="377" y="740"/>
                  </a:lnTo>
                  <a:lnTo>
                    <a:pt x="374" y="735"/>
                  </a:lnTo>
                  <a:lnTo>
                    <a:pt x="371" y="730"/>
                  </a:lnTo>
                  <a:lnTo>
                    <a:pt x="369" y="724"/>
                  </a:lnTo>
                  <a:lnTo>
                    <a:pt x="369" y="719"/>
                  </a:lnTo>
                  <a:lnTo>
                    <a:pt x="371" y="714"/>
                  </a:lnTo>
                  <a:lnTo>
                    <a:pt x="371" y="711"/>
                  </a:lnTo>
                  <a:lnTo>
                    <a:pt x="371" y="711"/>
                  </a:lnTo>
                  <a:lnTo>
                    <a:pt x="374" y="708"/>
                  </a:lnTo>
                  <a:lnTo>
                    <a:pt x="377" y="708"/>
                  </a:lnTo>
                  <a:lnTo>
                    <a:pt x="382" y="708"/>
                  </a:lnTo>
                  <a:lnTo>
                    <a:pt x="385" y="708"/>
                  </a:lnTo>
                  <a:lnTo>
                    <a:pt x="390" y="703"/>
                  </a:lnTo>
                  <a:lnTo>
                    <a:pt x="409" y="698"/>
                  </a:lnTo>
                  <a:lnTo>
                    <a:pt x="414" y="695"/>
                  </a:lnTo>
                  <a:lnTo>
                    <a:pt x="414" y="690"/>
                  </a:lnTo>
                  <a:lnTo>
                    <a:pt x="411" y="684"/>
                  </a:lnTo>
                  <a:lnTo>
                    <a:pt x="406" y="682"/>
                  </a:lnTo>
                  <a:lnTo>
                    <a:pt x="406" y="682"/>
                  </a:lnTo>
                  <a:lnTo>
                    <a:pt x="403" y="676"/>
                  </a:lnTo>
                  <a:lnTo>
                    <a:pt x="403" y="674"/>
                  </a:lnTo>
                  <a:lnTo>
                    <a:pt x="403" y="671"/>
                  </a:lnTo>
                  <a:lnTo>
                    <a:pt x="403" y="668"/>
                  </a:lnTo>
                  <a:lnTo>
                    <a:pt x="406" y="666"/>
                  </a:lnTo>
                  <a:lnTo>
                    <a:pt x="411" y="660"/>
                  </a:lnTo>
                  <a:lnTo>
                    <a:pt x="414" y="658"/>
                  </a:lnTo>
                  <a:lnTo>
                    <a:pt x="414" y="655"/>
                  </a:lnTo>
                  <a:lnTo>
                    <a:pt x="414" y="652"/>
                  </a:lnTo>
                  <a:lnTo>
                    <a:pt x="414" y="650"/>
                  </a:lnTo>
                  <a:lnTo>
                    <a:pt x="411" y="650"/>
                  </a:lnTo>
                  <a:lnTo>
                    <a:pt x="409" y="650"/>
                  </a:lnTo>
                  <a:lnTo>
                    <a:pt x="409" y="650"/>
                  </a:lnTo>
                  <a:lnTo>
                    <a:pt x="409" y="647"/>
                  </a:lnTo>
                  <a:lnTo>
                    <a:pt x="409" y="647"/>
                  </a:lnTo>
                  <a:lnTo>
                    <a:pt x="409" y="647"/>
                  </a:lnTo>
                  <a:lnTo>
                    <a:pt x="411" y="647"/>
                  </a:lnTo>
                  <a:lnTo>
                    <a:pt x="414" y="647"/>
                  </a:lnTo>
                  <a:lnTo>
                    <a:pt x="414" y="647"/>
                  </a:lnTo>
                  <a:lnTo>
                    <a:pt x="414" y="644"/>
                  </a:lnTo>
                  <a:lnTo>
                    <a:pt x="406" y="639"/>
                  </a:lnTo>
                  <a:lnTo>
                    <a:pt x="406" y="639"/>
                  </a:lnTo>
                  <a:lnTo>
                    <a:pt x="409" y="639"/>
                  </a:lnTo>
                  <a:lnTo>
                    <a:pt x="411" y="639"/>
                  </a:lnTo>
                  <a:lnTo>
                    <a:pt x="411" y="636"/>
                  </a:lnTo>
                  <a:lnTo>
                    <a:pt x="414" y="636"/>
                  </a:lnTo>
                  <a:lnTo>
                    <a:pt x="411" y="634"/>
                  </a:lnTo>
                  <a:lnTo>
                    <a:pt x="411" y="634"/>
                  </a:lnTo>
                  <a:lnTo>
                    <a:pt x="411" y="631"/>
                  </a:lnTo>
                  <a:lnTo>
                    <a:pt x="411" y="628"/>
                  </a:lnTo>
                  <a:lnTo>
                    <a:pt x="411" y="628"/>
                  </a:lnTo>
                  <a:lnTo>
                    <a:pt x="411" y="626"/>
                  </a:lnTo>
                  <a:lnTo>
                    <a:pt x="411" y="623"/>
                  </a:lnTo>
                  <a:lnTo>
                    <a:pt x="411" y="623"/>
                  </a:lnTo>
                  <a:lnTo>
                    <a:pt x="411" y="620"/>
                  </a:lnTo>
                  <a:lnTo>
                    <a:pt x="411" y="618"/>
                  </a:lnTo>
                  <a:lnTo>
                    <a:pt x="409" y="615"/>
                  </a:lnTo>
                  <a:lnTo>
                    <a:pt x="411" y="615"/>
                  </a:lnTo>
                  <a:lnTo>
                    <a:pt x="414" y="615"/>
                  </a:lnTo>
                  <a:lnTo>
                    <a:pt x="414" y="612"/>
                  </a:lnTo>
                  <a:lnTo>
                    <a:pt x="417" y="612"/>
                  </a:lnTo>
                  <a:lnTo>
                    <a:pt x="419" y="609"/>
                  </a:lnTo>
                  <a:lnTo>
                    <a:pt x="417" y="609"/>
                  </a:lnTo>
                  <a:lnTo>
                    <a:pt x="414" y="609"/>
                  </a:lnTo>
                  <a:lnTo>
                    <a:pt x="411" y="609"/>
                  </a:lnTo>
                  <a:lnTo>
                    <a:pt x="414" y="607"/>
                  </a:lnTo>
                  <a:lnTo>
                    <a:pt x="417" y="604"/>
                  </a:lnTo>
                  <a:lnTo>
                    <a:pt x="417" y="604"/>
                  </a:lnTo>
                  <a:lnTo>
                    <a:pt x="419" y="601"/>
                  </a:lnTo>
                  <a:lnTo>
                    <a:pt x="419" y="601"/>
                  </a:lnTo>
                  <a:lnTo>
                    <a:pt x="419" y="599"/>
                  </a:lnTo>
                  <a:lnTo>
                    <a:pt x="419" y="599"/>
                  </a:lnTo>
                  <a:lnTo>
                    <a:pt x="417" y="596"/>
                  </a:lnTo>
                  <a:lnTo>
                    <a:pt x="417" y="596"/>
                  </a:lnTo>
                  <a:lnTo>
                    <a:pt x="414" y="593"/>
                  </a:lnTo>
                  <a:lnTo>
                    <a:pt x="414" y="593"/>
                  </a:lnTo>
                  <a:lnTo>
                    <a:pt x="414" y="593"/>
                  </a:lnTo>
                  <a:lnTo>
                    <a:pt x="414" y="591"/>
                  </a:lnTo>
                  <a:lnTo>
                    <a:pt x="414" y="591"/>
                  </a:lnTo>
                  <a:lnTo>
                    <a:pt x="414" y="588"/>
                  </a:lnTo>
                  <a:lnTo>
                    <a:pt x="414" y="588"/>
                  </a:lnTo>
                  <a:lnTo>
                    <a:pt x="417" y="585"/>
                  </a:lnTo>
                  <a:lnTo>
                    <a:pt x="417" y="585"/>
                  </a:lnTo>
                  <a:lnTo>
                    <a:pt x="417" y="583"/>
                  </a:lnTo>
                  <a:lnTo>
                    <a:pt x="417" y="580"/>
                  </a:lnTo>
                  <a:lnTo>
                    <a:pt x="419" y="580"/>
                  </a:lnTo>
                  <a:lnTo>
                    <a:pt x="419" y="580"/>
                  </a:lnTo>
                  <a:lnTo>
                    <a:pt x="422" y="583"/>
                  </a:lnTo>
                  <a:lnTo>
                    <a:pt x="422" y="583"/>
                  </a:lnTo>
                  <a:lnTo>
                    <a:pt x="422" y="580"/>
                  </a:lnTo>
                  <a:lnTo>
                    <a:pt x="422" y="577"/>
                  </a:lnTo>
                  <a:lnTo>
                    <a:pt x="425" y="577"/>
                  </a:lnTo>
                  <a:lnTo>
                    <a:pt x="425" y="577"/>
                  </a:lnTo>
                  <a:lnTo>
                    <a:pt x="425" y="577"/>
                  </a:lnTo>
                  <a:lnTo>
                    <a:pt x="425" y="577"/>
                  </a:lnTo>
                  <a:lnTo>
                    <a:pt x="427" y="580"/>
                  </a:lnTo>
                  <a:lnTo>
                    <a:pt x="427" y="580"/>
                  </a:lnTo>
                  <a:lnTo>
                    <a:pt x="427" y="580"/>
                  </a:lnTo>
                  <a:lnTo>
                    <a:pt x="427" y="577"/>
                  </a:lnTo>
                  <a:lnTo>
                    <a:pt x="427" y="577"/>
                  </a:lnTo>
                  <a:lnTo>
                    <a:pt x="427" y="575"/>
                  </a:lnTo>
                  <a:lnTo>
                    <a:pt x="430" y="572"/>
                  </a:lnTo>
                  <a:lnTo>
                    <a:pt x="430" y="569"/>
                  </a:lnTo>
                  <a:lnTo>
                    <a:pt x="430" y="569"/>
                  </a:lnTo>
                  <a:lnTo>
                    <a:pt x="430" y="567"/>
                  </a:lnTo>
                  <a:lnTo>
                    <a:pt x="433" y="567"/>
                  </a:lnTo>
                  <a:lnTo>
                    <a:pt x="433" y="567"/>
                  </a:lnTo>
                  <a:lnTo>
                    <a:pt x="435" y="564"/>
                  </a:lnTo>
                  <a:lnTo>
                    <a:pt x="438" y="561"/>
                  </a:lnTo>
                  <a:lnTo>
                    <a:pt x="438" y="559"/>
                  </a:lnTo>
                  <a:lnTo>
                    <a:pt x="435" y="556"/>
                  </a:lnTo>
                  <a:lnTo>
                    <a:pt x="435" y="556"/>
                  </a:lnTo>
                  <a:lnTo>
                    <a:pt x="438" y="553"/>
                  </a:lnTo>
                  <a:lnTo>
                    <a:pt x="441" y="551"/>
                  </a:lnTo>
                  <a:lnTo>
                    <a:pt x="443" y="551"/>
                  </a:lnTo>
                  <a:lnTo>
                    <a:pt x="443" y="548"/>
                  </a:lnTo>
                  <a:lnTo>
                    <a:pt x="443" y="548"/>
                  </a:lnTo>
                  <a:lnTo>
                    <a:pt x="446" y="548"/>
                  </a:lnTo>
                  <a:lnTo>
                    <a:pt x="446" y="548"/>
                  </a:lnTo>
                  <a:lnTo>
                    <a:pt x="446" y="548"/>
                  </a:lnTo>
                  <a:lnTo>
                    <a:pt x="446" y="548"/>
                  </a:lnTo>
                  <a:lnTo>
                    <a:pt x="446" y="545"/>
                  </a:lnTo>
                  <a:lnTo>
                    <a:pt x="443" y="543"/>
                  </a:lnTo>
                  <a:lnTo>
                    <a:pt x="443" y="540"/>
                  </a:lnTo>
                  <a:lnTo>
                    <a:pt x="443" y="537"/>
                  </a:lnTo>
                  <a:lnTo>
                    <a:pt x="446" y="537"/>
                  </a:lnTo>
                  <a:lnTo>
                    <a:pt x="446" y="535"/>
                  </a:lnTo>
                  <a:lnTo>
                    <a:pt x="449" y="535"/>
                  </a:lnTo>
                  <a:lnTo>
                    <a:pt x="446" y="535"/>
                  </a:lnTo>
                  <a:lnTo>
                    <a:pt x="449" y="535"/>
                  </a:lnTo>
                  <a:lnTo>
                    <a:pt x="449" y="535"/>
                  </a:lnTo>
                  <a:lnTo>
                    <a:pt x="449" y="532"/>
                  </a:lnTo>
                  <a:lnTo>
                    <a:pt x="449" y="532"/>
                  </a:lnTo>
                  <a:lnTo>
                    <a:pt x="449" y="529"/>
                  </a:lnTo>
                  <a:lnTo>
                    <a:pt x="449" y="527"/>
                  </a:lnTo>
                  <a:lnTo>
                    <a:pt x="449" y="524"/>
                  </a:lnTo>
                  <a:lnTo>
                    <a:pt x="451" y="524"/>
                  </a:lnTo>
                  <a:lnTo>
                    <a:pt x="451" y="521"/>
                  </a:lnTo>
                  <a:lnTo>
                    <a:pt x="454" y="521"/>
                  </a:lnTo>
                  <a:lnTo>
                    <a:pt x="454" y="521"/>
                  </a:lnTo>
                  <a:lnTo>
                    <a:pt x="457" y="521"/>
                  </a:lnTo>
                  <a:lnTo>
                    <a:pt x="457" y="511"/>
                  </a:lnTo>
                  <a:lnTo>
                    <a:pt x="457" y="505"/>
                  </a:lnTo>
                  <a:lnTo>
                    <a:pt x="454" y="500"/>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45" name="Freeform 42">
              <a:extLst>
                <a:ext uri="{FF2B5EF4-FFF2-40B4-BE49-F238E27FC236}">
                  <a16:creationId xmlns="" xmlns:a16="http://schemas.microsoft.com/office/drawing/2014/main" id="{973D1E59-EC31-4FBF-9535-5D694346B208}"/>
                </a:ext>
              </a:extLst>
            </p:cNvPr>
            <p:cNvSpPr>
              <a:spLocks/>
            </p:cNvSpPr>
            <p:nvPr/>
          </p:nvSpPr>
          <p:spPr bwMode="auto">
            <a:xfrm>
              <a:off x="1836" y="155"/>
              <a:ext cx="667" cy="1020"/>
            </a:xfrm>
            <a:custGeom>
              <a:avLst/>
              <a:gdLst>
                <a:gd name="T0" fmla="*/ 635 w 667"/>
                <a:gd name="T1" fmla="*/ 999 h 1020"/>
                <a:gd name="T2" fmla="*/ 336 w 667"/>
                <a:gd name="T3" fmla="*/ 986 h 1020"/>
                <a:gd name="T4" fmla="*/ 21 w 667"/>
                <a:gd name="T5" fmla="*/ 943 h 1020"/>
                <a:gd name="T6" fmla="*/ 35 w 667"/>
                <a:gd name="T7" fmla="*/ 727 h 1020"/>
                <a:gd name="T8" fmla="*/ 51 w 667"/>
                <a:gd name="T9" fmla="*/ 668 h 1020"/>
                <a:gd name="T10" fmla="*/ 59 w 667"/>
                <a:gd name="T11" fmla="*/ 644 h 1020"/>
                <a:gd name="T12" fmla="*/ 43 w 667"/>
                <a:gd name="T13" fmla="*/ 628 h 1020"/>
                <a:gd name="T14" fmla="*/ 32 w 667"/>
                <a:gd name="T15" fmla="*/ 606 h 1020"/>
                <a:gd name="T16" fmla="*/ 53 w 667"/>
                <a:gd name="T17" fmla="*/ 574 h 1020"/>
                <a:gd name="T18" fmla="*/ 83 w 667"/>
                <a:gd name="T19" fmla="*/ 532 h 1020"/>
                <a:gd name="T20" fmla="*/ 128 w 667"/>
                <a:gd name="T21" fmla="*/ 467 h 1020"/>
                <a:gd name="T22" fmla="*/ 107 w 667"/>
                <a:gd name="T23" fmla="*/ 422 h 1020"/>
                <a:gd name="T24" fmla="*/ 93 w 667"/>
                <a:gd name="T25" fmla="*/ 355 h 1020"/>
                <a:gd name="T26" fmla="*/ 128 w 667"/>
                <a:gd name="T27" fmla="*/ 104 h 1020"/>
                <a:gd name="T28" fmla="*/ 230 w 667"/>
                <a:gd name="T29" fmla="*/ 91 h 1020"/>
                <a:gd name="T30" fmla="*/ 235 w 667"/>
                <a:gd name="T31" fmla="*/ 166 h 1020"/>
                <a:gd name="T32" fmla="*/ 248 w 667"/>
                <a:gd name="T33" fmla="*/ 187 h 1020"/>
                <a:gd name="T34" fmla="*/ 243 w 667"/>
                <a:gd name="T35" fmla="*/ 208 h 1020"/>
                <a:gd name="T36" fmla="*/ 248 w 667"/>
                <a:gd name="T37" fmla="*/ 222 h 1020"/>
                <a:gd name="T38" fmla="*/ 262 w 667"/>
                <a:gd name="T39" fmla="*/ 243 h 1020"/>
                <a:gd name="T40" fmla="*/ 283 w 667"/>
                <a:gd name="T41" fmla="*/ 264 h 1020"/>
                <a:gd name="T42" fmla="*/ 302 w 667"/>
                <a:gd name="T43" fmla="*/ 294 h 1020"/>
                <a:gd name="T44" fmla="*/ 312 w 667"/>
                <a:gd name="T45" fmla="*/ 312 h 1020"/>
                <a:gd name="T46" fmla="*/ 326 w 667"/>
                <a:gd name="T47" fmla="*/ 331 h 1020"/>
                <a:gd name="T48" fmla="*/ 339 w 667"/>
                <a:gd name="T49" fmla="*/ 334 h 1020"/>
                <a:gd name="T50" fmla="*/ 350 w 667"/>
                <a:gd name="T51" fmla="*/ 345 h 1020"/>
                <a:gd name="T52" fmla="*/ 368 w 667"/>
                <a:gd name="T53" fmla="*/ 347 h 1020"/>
                <a:gd name="T54" fmla="*/ 363 w 667"/>
                <a:gd name="T55" fmla="*/ 363 h 1020"/>
                <a:gd name="T56" fmla="*/ 360 w 667"/>
                <a:gd name="T57" fmla="*/ 371 h 1020"/>
                <a:gd name="T58" fmla="*/ 350 w 667"/>
                <a:gd name="T59" fmla="*/ 393 h 1020"/>
                <a:gd name="T60" fmla="*/ 350 w 667"/>
                <a:gd name="T61" fmla="*/ 409 h 1020"/>
                <a:gd name="T62" fmla="*/ 344 w 667"/>
                <a:gd name="T63" fmla="*/ 419 h 1020"/>
                <a:gd name="T64" fmla="*/ 347 w 667"/>
                <a:gd name="T65" fmla="*/ 435 h 1020"/>
                <a:gd name="T66" fmla="*/ 344 w 667"/>
                <a:gd name="T67" fmla="*/ 454 h 1020"/>
                <a:gd name="T68" fmla="*/ 331 w 667"/>
                <a:gd name="T69" fmla="*/ 462 h 1020"/>
                <a:gd name="T70" fmla="*/ 334 w 667"/>
                <a:gd name="T71" fmla="*/ 478 h 1020"/>
                <a:gd name="T72" fmla="*/ 328 w 667"/>
                <a:gd name="T73" fmla="*/ 491 h 1020"/>
                <a:gd name="T74" fmla="*/ 350 w 667"/>
                <a:gd name="T75" fmla="*/ 505 h 1020"/>
                <a:gd name="T76" fmla="*/ 363 w 667"/>
                <a:gd name="T77" fmla="*/ 500 h 1020"/>
                <a:gd name="T78" fmla="*/ 379 w 667"/>
                <a:gd name="T79" fmla="*/ 489 h 1020"/>
                <a:gd name="T80" fmla="*/ 384 w 667"/>
                <a:gd name="T81" fmla="*/ 481 h 1020"/>
                <a:gd name="T82" fmla="*/ 403 w 667"/>
                <a:gd name="T83" fmla="*/ 500 h 1020"/>
                <a:gd name="T84" fmla="*/ 406 w 667"/>
                <a:gd name="T85" fmla="*/ 516 h 1020"/>
                <a:gd name="T86" fmla="*/ 406 w 667"/>
                <a:gd name="T87" fmla="*/ 537 h 1020"/>
                <a:gd name="T88" fmla="*/ 416 w 667"/>
                <a:gd name="T89" fmla="*/ 556 h 1020"/>
                <a:gd name="T90" fmla="*/ 424 w 667"/>
                <a:gd name="T91" fmla="*/ 569 h 1020"/>
                <a:gd name="T92" fmla="*/ 424 w 667"/>
                <a:gd name="T93" fmla="*/ 590 h 1020"/>
                <a:gd name="T94" fmla="*/ 438 w 667"/>
                <a:gd name="T95" fmla="*/ 612 h 1020"/>
                <a:gd name="T96" fmla="*/ 459 w 667"/>
                <a:gd name="T97" fmla="*/ 622 h 1020"/>
                <a:gd name="T98" fmla="*/ 464 w 667"/>
                <a:gd name="T99" fmla="*/ 636 h 1020"/>
                <a:gd name="T100" fmla="*/ 467 w 667"/>
                <a:gd name="T101" fmla="*/ 649 h 1020"/>
                <a:gd name="T102" fmla="*/ 472 w 667"/>
                <a:gd name="T103" fmla="*/ 665 h 1020"/>
                <a:gd name="T104" fmla="*/ 483 w 667"/>
                <a:gd name="T105" fmla="*/ 665 h 1020"/>
                <a:gd name="T106" fmla="*/ 520 w 667"/>
                <a:gd name="T107" fmla="*/ 665 h 1020"/>
                <a:gd name="T108" fmla="*/ 536 w 667"/>
                <a:gd name="T109" fmla="*/ 657 h 1020"/>
                <a:gd name="T110" fmla="*/ 560 w 667"/>
                <a:gd name="T111" fmla="*/ 660 h 1020"/>
                <a:gd name="T112" fmla="*/ 587 w 667"/>
                <a:gd name="T113" fmla="*/ 665 h 1020"/>
                <a:gd name="T114" fmla="*/ 622 w 667"/>
                <a:gd name="T115" fmla="*/ 665 h 1020"/>
                <a:gd name="T116" fmla="*/ 622 w 667"/>
                <a:gd name="T117" fmla="*/ 657 h 1020"/>
                <a:gd name="T118" fmla="*/ 627 w 667"/>
                <a:gd name="T119" fmla="*/ 646 h 1020"/>
                <a:gd name="T120" fmla="*/ 643 w 667"/>
                <a:gd name="T121" fmla="*/ 646 h 1020"/>
                <a:gd name="T122" fmla="*/ 654 w 667"/>
                <a:gd name="T123" fmla="*/ 665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7" h="1020">
                  <a:moveTo>
                    <a:pt x="667" y="679"/>
                  </a:moveTo>
                  <a:lnTo>
                    <a:pt x="664" y="700"/>
                  </a:lnTo>
                  <a:lnTo>
                    <a:pt x="662" y="721"/>
                  </a:lnTo>
                  <a:lnTo>
                    <a:pt x="659" y="740"/>
                  </a:lnTo>
                  <a:lnTo>
                    <a:pt x="659" y="761"/>
                  </a:lnTo>
                  <a:lnTo>
                    <a:pt x="656" y="783"/>
                  </a:lnTo>
                  <a:lnTo>
                    <a:pt x="654" y="804"/>
                  </a:lnTo>
                  <a:lnTo>
                    <a:pt x="651" y="825"/>
                  </a:lnTo>
                  <a:lnTo>
                    <a:pt x="648" y="847"/>
                  </a:lnTo>
                  <a:lnTo>
                    <a:pt x="648" y="868"/>
                  </a:lnTo>
                  <a:lnTo>
                    <a:pt x="646" y="890"/>
                  </a:lnTo>
                  <a:lnTo>
                    <a:pt x="643" y="911"/>
                  </a:lnTo>
                  <a:lnTo>
                    <a:pt x="640" y="932"/>
                  </a:lnTo>
                  <a:lnTo>
                    <a:pt x="640" y="954"/>
                  </a:lnTo>
                  <a:lnTo>
                    <a:pt x="638" y="978"/>
                  </a:lnTo>
                  <a:lnTo>
                    <a:pt x="635" y="999"/>
                  </a:lnTo>
                  <a:lnTo>
                    <a:pt x="632" y="1020"/>
                  </a:lnTo>
                  <a:lnTo>
                    <a:pt x="614" y="1018"/>
                  </a:lnTo>
                  <a:lnTo>
                    <a:pt x="592" y="1015"/>
                  </a:lnTo>
                  <a:lnTo>
                    <a:pt x="574" y="1012"/>
                  </a:lnTo>
                  <a:lnTo>
                    <a:pt x="552" y="1012"/>
                  </a:lnTo>
                  <a:lnTo>
                    <a:pt x="534" y="1010"/>
                  </a:lnTo>
                  <a:lnTo>
                    <a:pt x="512" y="1007"/>
                  </a:lnTo>
                  <a:lnTo>
                    <a:pt x="494" y="1004"/>
                  </a:lnTo>
                  <a:lnTo>
                    <a:pt x="475" y="1002"/>
                  </a:lnTo>
                  <a:lnTo>
                    <a:pt x="454" y="999"/>
                  </a:lnTo>
                  <a:lnTo>
                    <a:pt x="435" y="999"/>
                  </a:lnTo>
                  <a:lnTo>
                    <a:pt x="414" y="996"/>
                  </a:lnTo>
                  <a:lnTo>
                    <a:pt x="395" y="994"/>
                  </a:lnTo>
                  <a:lnTo>
                    <a:pt x="374" y="991"/>
                  </a:lnTo>
                  <a:lnTo>
                    <a:pt x="355" y="988"/>
                  </a:lnTo>
                  <a:lnTo>
                    <a:pt x="336" y="986"/>
                  </a:lnTo>
                  <a:lnTo>
                    <a:pt x="315" y="983"/>
                  </a:lnTo>
                  <a:lnTo>
                    <a:pt x="296" y="980"/>
                  </a:lnTo>
                  <a:lnTo>
                    <a:pt x="275" y="978"/>
                  </a:lnTo>
                  <a:lnTo>
                    <a:pt x="256" y="975"/>
                  </a:lnTo>
                  <a:lnTo>
                    <a:pt x="238" y="972"/>
                  </a:lnTo>
                  <a:lnTo>
                    <a:pt x="216" y="970"/>
                  </a:lnTo>
                  <a:lnTo>
                    <a:pt x="198" y="967"/>
                  </a:lnTo>
                  <a:lnTo>
                    <a:pt x="179" y="964"/>
                  </a:lnTo>
                  <a:lnTo>
                    <a:pt x="157" y="962"/>
                  </a:lnTo>
                  <a:lnTo>
                    <a:pt x="139" y="959"/>
                  </a:lnTo>
                  <a:lnTo>
                    <a:pt x="120" y="956"/>
                  </a:lnTo>
                  <a:lnTo>
                    <a:pt x="99" y="954"/>
                  </a:lnTo>
                  <a:lnTo>
                    <a:pt x="80" y="951"/>
                  </a:lnTo>
                  <a:lnTo>
                    <a:pt x="61" y="948"/>
                  </a:lnTo>
                  <a:lnTo>
                    <a:pt x="40" y="946"/>
                  </a:lnTo>
                  <a:lnTo>
                    <a:pt x="21" y="943"/>
                  </a:lnTo>
                  <a:lnTo>
                    <a:pt x="0" y="938"/>
                  </a:lnTo>
                  <a:lnTo>
                    <a:pt x="3" y="924"/>
                  </a:lnTo>
                  <a:lnTo>
                    <a:pt x="5" y="911"/>
                  </a:lnTo>
                  <a:lnTo>
                    <a:pt x="8" y="898"/>
                  </a:lnTo>
                  <a:lnTo>
                    <a:pt x="11" y="882"/>
                  </a:lnTo>
                  <a:lnTo>
                    <a:pt x="13" y="868"/>
                  </a:lnTo>
                  <a:lnTo>
                    <a:pt x="13" y="855"/>
                  </a:lnTo>
                  <a:lnTo>
                    <a:pt x="16" y="841"/>
                  </a:lnTo>
                  <a:lnTo>
                    <a:pt x="19" y="825"/>
                  </a:lnTo>
                  <a:lnTo>
                    <a:pt x="21" y="812"/>
                  </a:lnTo>
                  <a:lnTo>
                    <a:pt x="24" y="799"/>
                  </a:lnTo>
                  <a:lnTo>
                    <a:pt x="24" y="785"/>
                  </a:lnTo>
                  <a:lnTo>
                    <a:pt x="27" y="769"/>
                  </a:lnTo>
                  <a:lnTo>
                    <a:pt x="29" y="756"/>
                  </a:lnTo>
                  <a:lnTo>
                    <a:pt x="32" y="743"/>
                  </a:lnTo>
                  <a:lnTo>
                    <a:pt x="35" y="727"/>
                  </a:lnTo>
                  <a:lnTo>
                    <a:pt x="35" y="713"/>
                  </a:lnTo>
                  <a:lnTo>
                    <a:pt x="37" y="708"/>
                  </a:lnTo>
                  <a:lnTo>
                    <a:pt x="37" y="695"/>
                  </a:lnTo>
                  <a:lnTo>
                    <a:pt x="37" y="695"/>
                  </a:lnTo>
                  <a:lnTo>
                    <a:pt x="37" y="695"/>
                  </a:lnTo>
                  <a:lnTo>
                    <a:pt x="37" y="692"/>
                  </a:lnTo>
                  <a:lnTo>
                    <a:pt x="37" y="689"/>
                  </a:lnTo>
                  <a:lnTo>
                    <a:pt x="40" y="687"/>
                  </a:lnTo>
                  <a:lnTo>
                    <a:pt x="43" y="687"/>
                  </a:lnTo>
                  <a:lnTo>
                    <a:pt x="45" y="684"/>
                  </a:lnTo>
                  <a:lnTo>
                    <a:pt x="45" y="681"/>
                  </a:lnTo>
                  <a:lnTo>
                    <a:pt x="48" y="679"/>
                  </a:lnTo>
                  <a:lnTo>
                    <a:pt x="48" y="673"/>
                  </a:lnTo>
                  <a:lnTo>
                    <a:pt x="51" y="668"/>
                  </a:lnTo>
                  <a:lnTo>
                    <a:pt x="51" y="668"/>
                  </a:lnTo>
                  <a:lnTo>
                    <a:pt x="51" y="668"/>
                  </a:lnTo>
                  <a:lnTo>
                    <a:pt x="53" y="665"/>
                  </a:lnTo>
                  <a:lnTo>
                    <a:pt x="53" y="665"/>
                  </a:lnTo>
                  <a:lnTo>
                    <a:pt x="53" y="660"/>
                  </a:lnTo>
                  <a:lnTo>
                    <a:pt x="51" y="657"/>
                  </a:lnTo>
                  <a:lnTo>
                    <a:pt x="51" y="654"/>
                  </a:lnTo>
                  <a:lnTo>
                    <a:pt x="51" y="652"/>
                  </a:lnTo>
                  <a:lnTo>
                    <a:pt x="53" y="652"/>
                  </a:lnTo>
                  <a:lnTo>
                    <a:pt x="53" y="652"/>
                  </a:lnTo>
                  <a:lnTo>
                    <a:pt x="56" y="652"/>
                  </a:lnTo>
                  <a:lnTo>
                    <a:pt x="56" y="652"/>
                  </a:lnTo>
                  <a:lnTo>
                    <a:pt x="56" y="649"/>
                  </a:lnTo>
                  <a:lnTo>
                    <a:pt x="59" y="649"/>
                  </a:lnTo>
                  <a:lnTo>
                    <a:pt x="59" y="646"/>
                  </a:lnTo>
                  <a:lnTo>
                    <a:pt x="59" y="646"/>
                  </a:lnTo>
                  <a:lnTo>
                    <a:pt x="59" y="646"/>
                  </a:lnTo>
                  <a:lnTo>
                    <a:pt x="59" y="644"/>
                  </a:lnTo>
                  <a:lnTo>
                    <a:pt x="59" y="644"/>
                  </a:lnTo>
                  <a:lnTo>
                    <a:pt x="59" y="641"/>
                  </a:lnTo>
                  <a:lnTo>
                    <a:pt x="56" y="638"/>
                  </a:lnTo>
                  <a:lnTo>
                    <a:pt x="53" y="638"/>
                  </a:lnTo>
                  <a:lnTo>
                    <a:pt x="53" y="638"/>
                  </a:lnTo>
                  <a:lnTo>
                    <a:pt x="53" y="636"/>
                  </a:lnTo>
                  <a:lnTo>
                    <a:pt x="53" y="633"/>
                  </a:lnTo>
                  <a:lnTo>
                    <a:pt x="53" y="633"/>
                  </a:lnTo>
                  <a:lnTo>
                    <a:pt x="53" y="630"/>
                  </a:lnTo>
                  <a:lnTo>
                    <a:pt x="53" y="630"/>
                  </a:lnTo>
                  <a:lnTo>
                    <a:pt x="51" y="630"/>
                  </a:lnTo>
                  <a:lnTo>
                    <a:pt x="48" y="630"/>
                  </a:lnTo>
                  <a:lnTo>
                    <a:pt x="45" y="630"/>
                  </a:lnTo>
                  <a:lnTo>
                    <a:pt x="43" y="630"/>
                  </a:lnTo>
                  <a:lnTo>
                    <a:pt x="43" y="628"/>
                  </a:lnTo>
                  <a:lnTo>
                    <a:pt x="43" y="628"/>
                  </a:lnTo>
                  <a:lnTo>
                    <a:pt x="43" y="625"/>
                  </a:lnTo>
                  <a:lnTo>
                    <a:pt x="40" y="625"/>
                  </a:lnTo>
                  <a:lnTo>
                    <a:pt x="40" y="625"/>
                  </a:lnTo>
                  <a:lnTo>
                    <a:pt x="37" y="628"/>
                  </a:lnTo>
                  <a:lnTo>
                    <a:pt x="37" y="628"/>
                  </a:lnTo>
                  <a:lnTo>
                    <a:pt x="37" y="628"/>
                  </a:lnTo>
                  <a:lnTo>
                    <a:pt x="32" y="625"/>
                  </a:lnTo>
                  <a:lnTo>
                    <a:pt x="32" y="622"/>
                  </a:lnTo>
                  <a:lnTo>
                    <a:pt x="32" y="620"/>
                  </a:lnTo>
                  <a:lnTo>
                    <a:pt x="32" y="620"/>
                  </a:lnTo>
                  <a:lnTo>
                    <a:pt x="32" y="617"/>
                  </a:lnTo>
                  <a:lnTo>
                    <a:pt x="32" y="617"/>
                  </a:lnTo>
                  <a:lnTo>
                    <a:pt x="32" y="614"/>
                  </a:lnTo>
                  <a:lnTo>
                    <a:pt x="32" y="612"/>
                  </a:lnTo>
                  <a:lnTo>
                    <a:pt x="32" y="609"/>
                  </a:lnTo>
                  <a:lnTo>
                    <a:pt x="32" y="606"/>
                  </a:lnTo>
                  <a:lnTo>
                    <a:pt x="35" y="604"/>
                  </a:lnTo>
                  <a:lnTo>
                    <a:pt x="35" y="601"/>
                  </a:lnTo>
                  <a:lnTo>
                    <a:pt x="35" y="598"/>
                  </a:lnTo>
                  <a:lnTo>
                    <a:pt x="35" y="598"/>
                  </a:lnTo>
                  <a:lnTo>
                    <a:pt x="37" y="596"/>
                  </a:lnTo>
                  <a:lnTo>
                    <a:pt x="37" y="596"/>
                  </a:lnTo>
                  <a:lnTo>
                    <a:pt x="37" y="596"/>
                  </a:lnTo>
                  <a:lnTo>
                    <a:pt x="37" y="593"/>
                  </a:lnTo>
                  <a:lnTo>
                    <a:pt x="40" y="593"/>
                  </a:lnTo>
                  <a:lnTo>
                    <a:pt x="40" y="593"/>
                  </a:lnTo>
                  <a:lnTo>
                    <a:pt x="43" y="593"/>
                  </a:lnTo>
                  <a:lnTo>
                    <a:pt x="45" y="590"/>
                  </a:lnTo>
                  <a:lnTo>
                    <a:pt x="45" y="588"/>
                  </a:lnTo>
                  <a:lnTo>
                    <a:pt x="48" y="582"/>
                  </a:lnTo>
                  <a:lnTo>
                    <a:pt x="48" y="580"/>
                  </a:lnTo>
                  <a:lnTo>
                    <a:pt x="53" y="574"/>
                  </a:lnTo>
                  <a:lnTo>
                    <a:pt x="56" y="569"/>
                  </a:lnTo>
                  <a:lnTo>
                    <a:pt x="59" y="566"/>
                  </a:lnTo>
                  <a:lnTo>
                    <a:pt x="59" y="566"/>
                  </a:lnTo>
                  <a:lnTo>
                    <a:pt x="67" y="564"/>
                  </a:lnTo>
                  <a:lnTo>
                    <a:pt x="69" y="561"/>
                  </a:lnTo>
                  <a:lnTo>
                    <a:pt x="69" y="558"/>
                  </a:lnTo>
                  <a:lnTo>
                    <a:pt x="77" y="553"/>
                  </a:lnTo>
                  <a:lnTo>
                    <a:pt x="80" y="548"/>
                  </a:lnTo>
                  <a:lnTo>
                    <a:pt x="80" y="545"/>
                  </a:lnTo>
                  <a:lnTo>
                    <a:pt x="83" y="540"/>
                  </a:lnTo>
                  <a:lnTo>
                    <a:pt x="83" y="537"/>
                  </a:lnTo>
                  <a:lnTo>
                    <a:pt x="83" y="537"/>
                  </a:lnTo>
                  <a:lnTo>
                    <a:pt x="83" y="534"/>
                  </a:lnTo>
                  <a:lnTo>
                    <a:pt x="83" y="534"/>
                  </a:lnTo>
                  <a:lnTo>
                    <a:pt x="83" y="532"/>
                  </a:lnTo>
                  <a:lnTo>
                    <a:pt x="83" y="532"/>
                  </a:lnTo>
                  <a:lnTo>
                    <a:pt x="85" y="529"/>
                  </a:lnTo>
                  <a:lnTo>
                    <a:pt x="99" y="516"/>
                  </a:lnTo>
                  <a:lnTo>
                    <a:pt x="101" y="510"/>
                  </a:lnTo>
                  <a:lnTo>
                    <a:pt x="104" y="502"/>
                  </a:lnTo>
                  <a:lnTo>
                    <a:pt x="107" y="500"/>
                  </a:lnTo>
                  <a:lnTo>
                    <a:pt x="107" y="500"/>
                  </a:lnTo>
                  <a:lnTo>
                    <a:pt x="107" y="494"/>
                  </a:lnTo>
                  <a:lnTo>
                    <a:pt x="109" y="491"/>
                  </a:lnTo>
                  <a:lnTo>
                    <a:pt x="109" y="489"/>
                  </a:lnTo>
                  <a:lnTo>
                    <a:pt x="115" y="483"/>
                  </a:lnTo>
                  <a:lnTo>
                    <a:pt x="117" y="481"/>
                  </a:lnTo>
                  <a:lnTo>
                    <a:pt x="123" y="475"/>
                  </a:lnTo>
                  <a:lnTo>
                    <a:pt x="123" y="473"/>
                  </a:lnTo>
                  <a:lnTo>
                    <a:pt x="123" y="470"/>
                  </a:lnTo>
                  <a:lnTo>
                    <a:pt x="125" y="467"/>
                  </a:lnTo>
                  <a:lnTo>
                    <a:pt x="128" y="467"/>
                  </a:lnTo>
                  <a:lnTo>
                    <a:pt x="131" y="465"/>
                  </a:lnTo>
                  <a:lnTo>
                    <a:pt x="133" y="462"/>
                  </a:lnTo>
                  <a:lnTo>
                    <a:pt x="133" y="459"/>
                  </a:lnTo>
                  <a:lnTo>
                    <a:pt x="133" y="457"/>
                  </a:lnTo>
                  <a:lnTo>
                    <a:pt x="133" y="454"/>
                  </a:lnTo>
                  <a:lnTo>
                    <a:pt x="131" y="446"/>
                  </a:lnTo>
                  <a:lnTo>
                    <a:pt x="131" y="441"/>
                  </a:lnTo>
                  <a:lnTo>
                    <a:pt x="128" y="438"/>
                  </a:lnTo>
                  <a:lnTo>
                    <a:pt x="128" y="435"/>
                  </a:lnTo>
                  <a:lnTo>
                    <a:pt x="125" y="435"/>
                  </a:lnTo>
                  <a:lnTo>
                    <a:pt x="123" y="433"/>
                  </a:lnTo>
                  <a:lnTo>
                    <a:pt x="117" y="430"/>
                  </a:lnTo>
                  <a:lnTo>
                    <a:pt x="115" y="427"/>
                  </a:lnTo>
                  <a:lnTo>
                    <a:pt x="115" y="425"/>
                  </a:lnTo>
                  <a:lnTo>
                    <a:pt x="107" y="422"/>
                  </a:lnTo>
                  <a:lnTo>
                    <a:pt x="107" y="422"/>
                  </a:lnTo>
                  <a:lnTo>
                    <a:pt x="107" y="419"/>
                  </a:lnTo>
                  <a:lnTo>
                    <a:pt x="101" y="411"/>
                  </a:lnTo>
                  <a:lnTo>
                    <a:pt x="99" y="403"/>
                  </a:lnTo>
                  <a:lnTo>
                    <a:pt x="99" y="401"/>
                  </a:lnTo>
                  <a:lnTo>
                    <a:pt x="99" y="398"/>
                  </a:lnTo>
                  <a:lnTo>
                    <a:pt x="99" y="393"/>
                  </a:lnTo>
                  <a:lnTo>
                    <a:pt x="93" y="385"/>
                  </a:lnTo>
                  <a:lnTo>
                    <a:pt x="93" y="385"/>
                  </a:lnTo>
                  <a:lnTo>
                    <a:pt x="96" y="382"/>
                  </a:lnTo>
                  <a:lnTo>
                    <a:pt x="99" y="379"/>
                  </a:lnTo>
                  <a:lnTo>
                    <a:pt x="99" y="377"/>
                  </a:lnTo>
                  <a:lnTo>
                    <a:pt x="99" y="374"/>
                  </a:lnTo>
                  <a:lnTo>
                    <a:pt x="99" y="371"/>
                  </a:lnTo>
                  <a:lnTo>
                    <a:pt x="99" y="363"/>
                  </a:lnTo>
                  <a:lnTo>
                    <a:pt x="96" y="361"/>
                  </a:lnTo>
                  <a:lnTo>
                    <a:pt x="93" y="355"/>
                  </a:lnTo>
                  <a:lnTo>
                    <a:pt x="91" y="347"/>
                  </a:lnTo>
                  <a:lnTo>
                    <a:pt x="91" y="347"/>
                  </a:lnTo>
                  <a:lnTo>
                    <a:pt x="91" y="345"/>
                  </a:lnTo>
                  <a:lnTo>
                    <a:pt x="93" y="339"/>
                  </a:lnTo>
                  <a:lnTo>
                    <a:pt x="93" y="337"/>
                  </a:lnTo>
                  <a:lnTo>
                    <a:pt x="96" y="315"/>
                  </a:lnTo>
                  <a:lnTo>
                    <a:pt x="101" y="294"/>
                  </a:lnTo>
                  <a:lnTo>
                    <a:pt x="104" y="272"/>
                  </a:lnTo>
                  <a:lnTo>
                    <a:pt x="107" y="251"/>
                  </a:lnTo>
                  <a:lnTo>
                    <a:pt x="109" y="230"/>
                  </a:lnTo>
                  <a:lnTo>
                    <a:pt x="112" y="208"/>
                  </a:lnTo>
                  <a:lnTo>
                    <a:pt x="115" y="187"/>
                  </a:lnTo>
                  <a:lnTo>
                    <a:pt x="120" y="166"/>
                  </a:lnTo>
                  <a:lnTo>
                    <a:pt x="123" y="147"/>
                  </a:lnTo>
                  <a:lnTo>
                    <a:pt x="125" y="125"/>
                  </a:lnTo>
                  <a:lnTo>
                    <a:pt x="128" y="104"/>
                  </a:lnTo>
                  <a:lnTo>
                    <a:pt x="131" y="83"/>
                  </a:lnTo>
                  <a:lnTo>
                    <a:pt x="136" y="61"/>
                  </a:lnTo>
                  <a:lnTo>
                    <a:pt x="139" y="40"/>
                  </a:lnTo>
                  <a:lnTo>
                    <a:pt x="141" y="21"/>
                  </a:lnTo>
                  <a:lnTo>
                    <a:pt x="144" y="0"/>
                  </a:lnTo>
                  <a:lnTo>
                    <a:pt x="155" y="0"/>
                  </a:lnTo>
                  <a:lnTo>
                    <a:pt x="176" y="5"/>
                  </a:lnTo>
                  <a:lnTo>
                    <a:pt x="198" y="8"/>
                  </a:lnTo>
                  <a:lnTo>
                    <a:pt x="219" y="11"/>
                  </a:lnTo>
                  <a:lnTo>
                    <a:pt x="240" y="13"/>
                  </a:lnTo>
                  <a:lnTo>
                    <a:pt x="240" y="13"/>
                  </a:lnTo>
                  <a:lnTo>
                    <a:pt x="238" y="29"/>
                  </a:lnTo>
                  <a:lnTo>
                    <a:pt x="235" y="45"/>
                  </a:lnTo>
                  <a:lnTo>
                    <a:pt x="235" y="61"/>
                  </a:lnTo>
                  <a:lnTo>
                    <a:pt x="232" y="75"/>
                  </a:lnTo>
                  <a:lnTo>
                    <a:pt x="230" y="91"/>
                  </a:lnTo>
                  <a:lnTo>
                    <a:pt x="227" y="107"/>
                  </a:lnTo>
                  <a:lnTo>
                    <a:pt x="224" y="123"/>
                  </a:lnTo>
                  <a:lnTo>
                    <a:pt x="222" y="139"/>
                  </a:lnTo>
                  <a:lnTo>
                    <a:pt x="222" y="144"/>
                  </a:lnTo>
                  <a:lnTo>
                    <a:pt x="222" y="144"/>
                  </a:lnTo>
                  <a:lnTo>
                    <a:pt x="222" y="147"/>
                  </a:lnTo>
                  <a:lnTo>
                    <a:pt x="224" y="150"/>
                  </a:lnTo>
                  <a:lnTo>
                    <a:pt x="227" y="152"/>
                  </a:lnTo>
                  <a:lnTo>
                    <a:pt x="227" y="155"/>
                  </a:lnTo>
                  <a:lnTo>
                    <a:pt x="230" y="158"/>
                  </a:lnTo>
                  <a:lnTo>
                    <a:pt x="230" y="160"/>
                  </a:lnTo>
                  <a:lnTo>
                    <a:pt x="230" y="160"/>
                  </a:lnTo>
                  <a:lnTo>
                    <a:pt x="232" y="160"/>
                  </a:lnTo>
                  <a:lnTo>
                    <a:pt x="232" y="163"/>
                  </a:lnTo>
                  <a:lnTo>
                    <a:pt x="232" y="163"/>
                  </a:lnTo>
                  <a:lnTo>
                    <a:pt x="235" y="166"/>
                  </a:lnTo>
                  <a:lnTo>
                    <a:pt x="235" y="166"/>
                  </a:lnTo>
                  <a:lnTo>
                    <a:pt x="238" y="168"/>
                  </a:lnTo>
                  <a:lnTo>
                    <a:pt x="238" y="168"/>
                  </a:lnTo>
                  <a:lnTo>
                    <a:pt x="238" y="168"/>
                  </a:lnTo>
                  <a:lnTo>
                    <a:pt x="238" y="171"/>
                  </a:lnTo>
                  <a:lnTo>
                    <a:pt x="240" y="176"/>
                  </a:lnTo>
                  <a:lnTo>
                    <a:pt x="240" y="179"/>
                  </a:lnTo>
                  <a:lnTo>
                    <a:pt x="240" y="179"/>
                  </a:lnTo>
                  <a:lnTo>
                    <a:pt x="243" y="182"/>
                  </a:lnTo>
                  <a:lnTo>
                    <a:pt x="243" y="182"/>
                  </a:lnTo>
                  <a:lnTo>
                    <a:pt x="243" y="182"/>
                  </a:lnTo>
                  <a:lnTo>
                    <a:pt x="243" y="184"/>
                  </a:lnTo>
                  <a:lnTo>
                    <a:pt x="243" y="184"/>
                  </a:lnTo>
                  <a:lnTo>
                    <a:pt x="246" y="184"/>
                  </a:lnTo>
                  <a:lnTo>
                    <a:pt x="248" y="187"/>
                  </a:lnTo>
                  <a:lnTo>
                    <a:pt x="248" y="187"/>
                  </a:lnTo>
                  <a:lnTo>
                    <a:pt x="248" y="190"/>
                  </a:lnTo>
                  <a:lnTo>
                    <a:pt x="248" y="190"/>
                  </a:lnTo>
                  <a:lnTo>
                    <a:pt x="248" y="192"/>
                  </a:lnTo>
                  <a:lnTo>
                    <a:pt x="248" y="195"/>
                  </a:lnTo>
                  <a:lnTo>
                    <a:pt x="248" y="195"/>
                  </a:lnTo>
                  <a:lnTo>
                    <a:pt x="251" y="200"/>
                  </a:lnTo>
                  <a:lnTo>
                    <a:pt x="251" y="200"/>
                  </a:lnTo>
                  <a:lnTo>
                    <a:pt x="251" y="203"/>
                  </a:lnTo>
                  <a:lnTo>
                    <a:pt x="251" y="203"/>
                  </a:lnTo>
                  <a:lnTo>
                    <a:pt x="248" y="206"/>
                  </a:lnTo>
                  <a:lnTo>
                    <a:pt x="248" y="206"/>
                  </a:lnTo>
                  <a:lnTo>
                    <a:pt x="248" y="206"/>
                  </a:lnTo>
                  <a:lnTo>
                    <a:pt x="248" y="206"/>
                  </a:lnTo>
                  <a:lnTo>
                    <a:pt x="246" y="206"/>
                  </a:lnTo>
                  <a:lnTo>
                    <a:pt x="246" y="208"/>
                  </a:lnTo>
                  <a:lnTo>
                    <a:pt x="243" y="208"/>
                  </a:lnTo>
                  <a:lnTo>
                    <a:pt x="243" y="208"/>
                  </a:lnTo>
                  <a:lnTo>
                    <a:pt x="246" y="208"/>
                  </a:lnTo>
                  <a:lnTo>
                    <a:pt x="248" y="211"/>
                  </a:lnTo>
                  <a:lnTo>
                    <a:pt x="248" y="211"/>
                  </a:lnTo>
                  <a:lnTo>
                    <a:pt x="248" y="214"/>
                  </a:lnTo>
                  <a:lnTo>
                    <a:pt x="248" y="216"/>
                  </a:lnTo>
                  <a:lnTo>
                    <a:pt x="248" y="216"/>
                  </a:lnTo>
                  <a:lnTo>
                    <a:pt x="248" y="216"/>
                  </a:lnTo>
                  <a:lnTo>
                    <a:pt x="251" y="219"/>
                  </a:lnTo>
                  <a:lnTo>
                    <a:pt x="251" y="219"/>
                  </a:lnTo>
                  <a:lnTo>
                    <a:pt x="251" y="219"/>
                  </a:lnTo>
                  <a:lnTo>
                    <a:pt x="251" y="222"/>
                  </a:lnTo>
                  <a:lnTo>
                    <a:pt x="251" y="222"/>
                  </a:lnTo>
                  <a:lnTo>
                    <a:pt x="251" y="222"/>
                  </a:lnTo>
                  <a:lnTo>
                    <a:pt x="251" y="222"/>
                  </a:lnTo>
                  <a:lnTo>
                    <a:pt x="248" y="222"/>
                  </a:lnTo>
                  <a:lnTo>
                    <a:pt x="246" y="222"/>
                  </a:lnTo>
                  <a:lnTo>
                    <a:pt x="243" y="222"/>
                  </a:lnTo>
                  <a:lnTo>
                    <a:pt x="243" y="222"/>
                  </a:lnTo>
                  <a:lnTo>
                    <a:pt x="243" y="222"/>
                  </a:lnTo>
                  <a:lnTo>
                    <a:pt x="243" y="222"/>
                  </a:lnTo>
                  <a:lnTo>
                    <a:pt x="243" y="222"/>
                  </a:lnTo>
                  <a:lnTo>
                    <a:pt x="243" y="224"/>
                  </a:lnTo>
                  <a:lnTo>
                    <a:pt x="243" y="224"/>
                  </a:lnTo>
                  <a:lnTo>
                    <a:pt x="246" y="224"/>
                  </a:lnTo>
                  <a:lnTo>
                    <a:pt x="248" y="227"/>
                  </a:lnTo>
                  <a:lnTo>
                    <a:pt x="256" y="232"/>
                  </a:lnTo>
                  <a:lnTo>
                    <a:pt x="256" y="232"/>
                  </a:lnTo>
                  <a:lnTo>
                    <a:pt x="259" y="238"/>
                  </a:lnTo>
                  <a:lnTo>
                    <a:pt x="259" y="240"/>
                  </a:lnTo>
                  <a:lnTo>
                    <a:pt x="262" y="243"/>
                  </a:lnTo>
                  <a:lnTo>
                    <a:pt x="262" y="243"/>
                  </a:lnTo>
                  <a:lnTo>
                    <a:pt x="262" y="246"/>
                  </a:lnTo>
                  <a:lnTo>
                    <a:pt x="262" y="246"/>
                  </a:lnTo>
                  <a:lnTo>
                    <a:pt x="264" y="246"/>
                  </a:lnTo>
                  <a:lnTo>
                    <a:pt x="270" y="248"/>
                  </a:lnTo>
                  <a:lnTo>
                    <a:pt x="278" y="251"/>
                  </a:lnTo>
                  <a:lnTo>
                    <a:pt x="278" y="254"/>
                  </a:lnTo>
                  <a:lnTo>
                    <a:pt x="278" y="254"/>
                  </a:lnTo>
                  <a:lnTo>
                    <a:pt x="280" y="256"/>
                  </a:lnTo>
                  <a:lnTo>
                    <a:pt x="280" y="256"/>
                  </a:lnTo>
                  <a:lnTo>
                    <a:pt x="280" y="259"/>
                  </a:lnTo>
                  <a:lnTo>
                    <a:pt x="280" y="259"/>
                  </a:lnTo>
                  <a:lnTo>
                    <a:pt x="283" y="259"/>
                  </a:lnTo>
                  <a:lnTo>
                    <a:pt x="283" y="259"/>
                  </a:lnTo>
                  <a:lnTo>
                    <a:pt x="283" y="262"/>
                  </a:lnTo>
                  <a:lnTo>
                    <a:pt x="283" y="262"/>
                  </a:lnTo>
                  <a:lnTo>
                    <a:pt x="283" y="264"/>
                  </a:lnTo>
                  <a:lnTo>
                    <a:pt x="283" y="264"/>
                  </a:lnTo>
                  <a:lnTo>
                    <a:pt x="286" y="264"/>
                  </a:lnTo>
                  <a:lnTo>
                    <a:pt x="286" y="264"/>
                  </a:lnTo>
                  <a:lnTo>
                    <a:pt x="286" y="267"/>
                  </a:lnTo>
                  <a:lnTo>
                    <a:pt x="286" y="267"/>
                  </a:lnTo>
                  <a:lnTo>
                    <a:pt x="288" y="270"/>
                  </a:lnTo>
                  <a:lnTo>
                    <a:pt x="291" y="270"/>
                  </a:lnTo>
                  <a:lnTo>
                    <a:pt x="291" y="275"/>
                  </a:lnTo>
                  <a:lnTo>
                    <a:pt x="294" y="278"/>
                  </a:lnTo>
                  <a:lnTo>
                    <a:pt x="302" y="288"/>
                  </a:lnTo>
                  <a:lnTo>
                    <a:pt x="302" y="288"/>
                  </a:lnTo>
                  <a:lnTo>
                    <a:pt x="302" y="291"/>
                  </a:lnTo>
                  <a:lnTo>
                    <a:pt x="302" y="291"/>
                  </a:lnTo>
                  <a:lnTo>
                    <a:pt x="302" y="291"/>
                  </a:lnTo>
                  <a:lnTo>
                    <a:pt x="302" y="294"/>
                  </a:lnTo>
                  <a:lnTo>
                    <a:pt x="302" y="294"/>
                  </a:lnTo>
                  <a:lnTo>
                    <a:pt x="304" y="294"/>
                  </a:lnTo>
                  <a:lnTo>
                    <a:pt x="307" y="294"/>
                  </a:lnTo>
                  <a:lnTo>
                    <a:pt x="307" y="296"/>
                  </a:lnTo>
                  <a:lnTo>
                    <a:pt x="307" y="296"/>
                  </a:lnTo>
                  <a:lnTo>
                    <a:pt x="310" y="299"/>
                  </a:lnTo>
                  <a:lnTo>
                    <a:pt x="310" y="302"/>
                  </a:lnTo>
                  <a:lnTo>
                    <a:pt x="310" y="302"/>
                  </a:lnTo>
                  <a:lnTo>
                    <a:pt x="312" y="304"/>
                  </a:lnTo>
                  <a:lnTo>
                    <a:pt x="312" y="304"/>
                  </a:lnTo>
                  <a:lnTo>
                    <a:pt x="312" y="304"/>
                  </a:lnTo>
                  <a:lnTo>
                    <a:pt x="312" y="304"/>
                  </a:lnTo>
                  <a:lnTo>
                    <a:pt x="312" y="307"/>
                  </a:lnTo>
                  <a:lnTo>
                    <a:pt x="312" y="307"/>
                  </a:lnTo>
                  <a:lnTo>
                    <a:pt x="312" y="307"/>
                  </a:lnTo>
                  <a:lnTo>
                    <a:pt x="312" y="310"/>
                  </a:lnTo>
                  <a:lnTo>
                    <a:pt x="312" y="312"/>
                  </a:lnTo>
                  <a:lnTo>
                    <a:pt x="312" y="312"/>
                  </a:lnTo>
                  <a:lnTo>
                    <a:pt x="312" y="315"/>
                  </a:lnTo>
                  <a:lnTo>
                    <a:pt x="312" y="315"/>
                  </a:lnTo>
                  <a:lnTo>
                    <a:pt x="315" y="318"/>
                  </a:lnTo>
                  <a:lnTo>
                    <a:pt x="318" y="318"/>
                  </a:lnTo>
                  <a:lnTo>
                    <a:pt x="318" y="321"/>
                  </a:lnTo>
                  <a:lnTo>
                    <a:pt x="320" y="321"/>
                  </a:lnTo>
                  <a:lnTo>
                    <a:pt x="320" y="323"/>
                  </a:lnTo>
                  <a:lnTo>
                    <a:pt x="323" y="323"/>
                  </a:lnTo>
                  <a:lnTo>
                    <a:pt x="326" y="326"/>
                  </a:lnTo>
                  <a:lnTo>
                    <a:pt x="326" y="326"/>
                  </a:lnTo>
                  <a:lnTo>
                    <a:pt x="326" y="326"/>
                  </a:lnTo>
                  <a:lnTo>
                    <a:pt x="326" y="326"/>
                  </a:lnTo>
                  <a:lnTo>
                    <a:pt x="326" y="329"/>
                  </a:lnTo>
                  <a:lnTo>
                    <a:pt x="326" y="329"/>
                  </a:lnTo>
                  <a:lnTo>
                    <a:pt x="326" y="331"/>
                  </a:lnTo>
                  <a:lnTo>
                    <a:pt x="326" y="331"/>
                  </a:lnTo>
                  <a:lnTo>
                    <a:pt x="326" y="334"/>
                  </a:lnTo>
                  <a:lnTo>
                    <a:pt x="326" y="334"/>
                  </a:lnTo>
                  <a:lnTo>
                    <a:pt x="326" y="334"/>
                  </a:lnTo>
                  <a:lnTo>
                    <a:pt x="326" y="334"/>
                  </a:lnTo>
                  <a:lnTo>
                    <a:pt x="328" y="334"/>
                  </a:lnTo>
                  <a:lnTo>
                    <a:pt x="331" y="331"/>
                  </a:lnTo>
                  <a:lnTo>
                    <a:pt x="331" y="331"/>
                  </a:lnTo>
                  <a:lnTo>
                    <a:pt x="334" y="331"/>
                  </a:lnTo>
                  <a:lnTo>
                    <a:pt x="334" y="331"/>
                  </a:lnTo>
                  <a:lnTo>
                    <a:pt x="334" y="331"/>
                  </a:lnTo>
                  <a:lnTo>
                    <a:pt x="334" y="331"/>
                  </a:lnTo>
                  <a:lnTo>
                    <a:pt x="336" y="331"/>
                  </a:lnTo>
                  <a:lnTo>
                    <a:pt x="339" y="334"/>
                  </a:lnTo>
                  <a:lnTo>
                    <a:pt x="339" y="334"/>
                  </a:lnTo>
                  <a:lnTo>
                    <a:pt x="339" y="334"/>
                  </a:lnTo>
                  <a:lnTo>
                    <a:pt x="339" y="337"/>
                  </a:lnTo>
                  <a:lnTo>
                    <a:pt x="339" y="337"/>
                  </a:lnTo>
                  <a:lnTo>
                    <a:pt x="336" y="339"/>
                  </a:lnTo>
                  <a:lnTo>
                    <a:pt x="336" y="339"/>
                  </a:lnTo>
                  <a:lnTo>
                    <a:pt x="336" y="339"/>
                  </a:lnTo>
                  <a:lnTo>
                    <a:pt x="336" y="339"/>
                  </a:lnTo>
                  <a:lnTo>
                    <a:pt x="336" y="342"/>
                  </a:lnTo>
                  <a:lnTo>
                    <a:pt x="336" y="342"/>
                  </a:lnTo>
                  <a:lnTo>
                    <a:pt x="339" y="342"/>
                  </a:lnTo>
                  <a:lnTo>
                    <a:pt x="342" y="345"/>
                  </a:lnTo>
                  <a:lnTo>
                    <a:pt x="342" y="345"/>
                  </a:lnTo>
                  <a:lnTo>
                    <a:pt x="344" y="347"/>
                  </a:lnTo>
                  <a:lnTo>
                    <a:pt x="344" y="347"/>
                  </a:lnTo>
                  <a:lnTo>
                    <a:pt x="347" y="347"/>
                  </a:lnTo>
                  <a:lnTo>
                    <a:pt x="350" y="345"/>
                  </a:lnTo>
                  <a:lnTo>
                    <a:pt x="350" y="345"/>
                  </a:lnTo>
                  <a:lnTo>
                    <a:pt x="350" y="345"/>
                  </a:lnTo>
                  <a:lnTo>
                    <a:pt x="352" y="347"/>
                  </a:lnTo>
                  <a:lnTo>
                    <a:pt x="352" y="347"/>
                  </a:lnTo>
                  <a:lnTo>
                    <a:pt x="352" y="347"/>
                  </a:lnTo>
                  <a:lnTo>
                    <a:pt x="355" y="347"/>
                  </a:lnTo>
                  <a:lnTo>
                    <a:pt x="355" y="347"/>
                  </a:lnTo>
                  <a:lnTo>
                    <a:pt x="358" y="345"/>
                  </a:lnTo>
                  <a:lnTo>
                    <a:pt x="358" y="345"/>
                  </a:lnTo>
                  <a:lnTo>
                    <a:pt x="366" y="345"/>
                  </a:lnTo>
                  <a:lnTo>
                    <a:pt x="366" y="345"/>
                  </a:lnTo>
                  <a:lnTo>
                    <a:pt x="366" y="345"/>
                  </a:lnTo>
                  <a:lnTo>
                    <a:pt x="368" y="345"/>
                  </a:lnTo>
                  <a:lnTo>
                    <a:pt x="368" y="345"/>
                  </a:lnTo>
                  <a:lnTo>
                    <a:pt x="368" y="347"/>
                  </a:lnTo>
                  <a:lnTo>
                    <a:pt x="368" y="347"/>
                  </a:lnTo>
                  <a:lnTo>
                    <a:pt x="368" y="347"/>
                  </a:lnTo>
                  <a:lnTo>
                    <a:pt x="368" y="350"/>
                  </a:lnTo>
                  <a:lnTo>
                    <a:pt x="368" y="353"/>
                  </a:lnTo>
                  <a:lnTo>
                    <a:pt x="366" y="353"/>
                  </a:lnTo>
                  <a:lnTo>
                    <a:pt x="366" y="355"/>
                  </a:lnTo>
                  <a:lnTo>
                    <a:pt x="366" y="355"/>
                  </a:lnTo>
                  <a:lnTo>
                    <a:pt x="366" y="355"/>
                  </a:lnTo>
                  <a:lnTo>
                    <a:pt x="366" y="355"/>
                  </a:lnTo>
                  <a:lnTo>
                    <a:pt x="366" y="358"/>
                  </a:lnTo>
                  <a:lnTo>
                    <a:pt x="366" y="358"/>
                  </a:lnTo>
                  <a:lnTo>
                    <a:pt x="366" y="358"/>
                  </a:lnTo>
                  <a:lnTo>
                    <a:pt x="363" y="361"/>
                  </a:lnTo>
                  <a:lnTo>
                    <a:pt x="363" y="361"/>
                  </a:lnTo>
                  <a:lnTo>
                    <a:pt x="363" y="361"/>
                  </a:lnTo>
                  <a:lnTo>
                    <a:pt x="363" y="361"/>
                  </a:lnTo>
                  <a:lnTo>
                    <a:pt x="363" y="363"/>
                  </a:lnTo>
                  <a:lnTo>
                    <a:pt x="363" y="363"/>
                  </a:lnTo>
                  <a:lnTo>
                    <a:pt x="366" y="363"/>
                  </a:lnTo>
                  <a:lnTo>
                    <a:pt x="363" y="363"/>
                  </a:lnTo>
                  <a:lnTo>
                    <a:pt x="363" y="366"/>
                  </a:lnTo>
                  <a:lnTo>
                    <a:pt x="363" y="366"/>
                  </a:lnTo>
                  <a:lnTo>
                    <a:pt x="363" y="366"/>
                  </a:lnTo>
                  <a:lnTo>
                    <a:pt x="363" y="366"/>
                  </a:lnTo>
                  <a:lnTo>
                    <a:pt x="358" y="366"/>
                  </a:lnTo>
                  <a:lnTo>
                    <a:pt x="358" y="366"/>
                  </a:lnTo>
                  <a:lnTo>
                    <a:pt x="358" y="366"/>
                  </a:lnTo>
                  <a:lnTo>
                    <a:pt x="358" y="369"/>
                  </a:lnTo>
                  <a:lnTo>
                    <a:pt x="358" y="369"/>
                  </a:lnTo>
                  <a:lnTo>
                    <a:pt x="358" y="369"/>
                  </a:lnTo>
                  <a:lnTo>
                    <a:pt x="358" y="369"/>
                  </a:lnTo>
                  <a:lnTo>
                    <a:pt x="360" y="371"/>
                  </a:lnTo>
                  <a:lnTo>
                    <a:pt x="360" y="371"/>
                  </a:lnTo>
                  <a:lnTo>
                    <a:pt x="360" y="371"/>
                  </a:lnTo>
                  <a:lnTo>
                    <a:pt x="360" y="371"/>
                  </a:lnTo>
                  <a:lnTo>
                    <a:pt x="360" y="374"/>
                  </a:lnTo>
                  <a:lnTo>
                    <a:pt x="360" y="374"/>
                  </a:lnTo>
                  <a:lnTo>
                    <a:pt x="360" y="374"/>
                  </a:lnTo>
                  <a:lnTo>
                    <a:pt x="360" y="377"/>
                  </a:lnTo>
                  <a:lnTo>
                    <a:pt x="355" y="379"/>
                  </a:lnTo>
                  <a:lnTo>
                    <a:pt x="355" y="382"/>
                  </a:lnTo>
                  <a:lnTo>
                    <a:pt x="355" y="382"/>
                  </a:lnTo>
                  <a:lnTo>
                    <a:pt x="355" y="385"/>
                  </a:lnTo>
                  <a:lnTo>
                    <a:pt x="355" y="387"/>
                  </a:lnTo>
                  <a:lnTo>
                    <a:pt x="355" y="387"/>
                  </a:lnTo>
                  <a:lnTo>
                    <a:pt x="355" y="387"/>
                  </a:lnTo>
                  <a:lnTo>
                    <a:pt x="355" y="387"/>
                  </a:lnTo>
                  <a:lnTo>
                    <a:pt x="352" y="390"/>
                  </a:lnTo>
                  <a:lnTo>
                    <a:pt x="350" y="393"/>
                  </a:lnTo>
                  <a:lnTo>
                    <a:pt x="350" y="393"/>
                  </a:lnTo>
                  <a:lnTo>
                    <a:pt x="350" y="395"/>
                  </a:lnTo>
                  <a:lnTo>
                    <a:pt x="350" y="395"/>
                  </a:lnTo>
                  <a:lnTo>
                    <a:pt x="350" y="395"/>
                  </a:lnTo>
                  <a:lnTo>
                    <a:pt x="350" y="395"/>
                  </a:lnTo>
                  <a:lnTo>
                    <a:pt x="350" y="398"/>
                  </a:lnTo>
                  <a:lnTo>
                    <a:pt x="347" y="398"/>
                  </a:lnTo>
                  <a:lnTo>
                    <a:pt x="347" y="398"/>
                  </a:lnTo>
                  <a:lnTo>
                    <a:pt x="347" y="398"/>
                  </a:lnTo>
                  <a:lnTo>
                    <a:pt x="350" y="401"/>
                  </a:lnTo>
                  <a:lnTo>
                    <a:pt x="350" y="401"/>
                  </a:lnTo>
                  <a:lnTo>
                    <a:pt x="350" y="403"/>
                  </a:lnTo>
                  <a:lnTo>
                    <a:pt x="350" y="403"/>
                  </a:lnTo>
                  <a:lnTo>
                    <a:pt x="350" y="406"/>
                  </a:lnTo>
                  <a:lnTo>
                    <a:pt x="350" y="406"/>
                  </a:lnTo>
                  <a:lnTo>
                    <a:pt x="350" y="409"/>
                  </a:lnTo>
                  <a:lnTo>
                    <a:pt x="350" y="409"/>
                  </a:lnTo>
                  <a:lnTo>
                    <a:pt x="350" y="409"/>
                  </a:lnTo>
                  <a:lnTo>
                    <a:pt x="347" y="409"/>
                  </a:lnTo>
                  <a:lnTo>
                    <a:pt x="347" y="409"/>
                  </a:lnTo>
                  <a:lnTo>
                    <a:pt x="347" y="409"/>
                  </a:lnTo>
                  <a:lnTo>
                    <a:pt x="344" y="409"/>
                  </a:lnTo>
                  <a:lnTo>
                    <a:pt x="342" y="409"/>
                  </a:lnTo>
                  <a:lnTo>
                    <a:pt x="342" y="411"/>
                  </a:lnTo>
                  <a:lnTo>
                    <a:pt x="342" y="411"/>
                  </a:lnTo>
                  <a:lnTo>
                    <a:pt x="342" y="411"/>
                  </a:lnTo>
                  <a:lnTo>
                    <a:pt x="342" y="411"/>
                  </a:lnTo>
                  <a:lnTo>
                    <a:pt x="342" y="411"/>
                  </a:lnTo>
                  <a:lnTo>
                    <a:pt x="342" y="414"/>
                  </a:lnTo>
                  <a:lnTo>
                    <a:pt x="344" y="417"/>
                  </a:lnTo>
                  <a:lnTo>
                    <a:pt x="344" y="419"/>
                  </a:lnTo>
                  <a:lnTo>
                    <a:pt x="344" y="419"/>
                  </a:lnTo>
                  <a:lnTo>
                    <a:pt x="344" y="419"/>
                  </a:lnTo>
                  <a:lnTo>
                    <a:pt x="344" y="422"/>
                  </a:lnTo>
                  <a:lnTo>
                    <a:pt x="344" y="422"/>
                  </a:lnTo>
                  <a:lnTo>
                    <a:pt x="344" y="422"/>
                  </a:lnTo>
                  <a:lnTo>
                    <a:pt x="342" y="425"/>
                  </a:lnTo>
                  <a:lnTo>
                    <a:pt x="342" y="425"/>
                  </a:lnTo>
                  <a:lnTo>
                    <a:pt x="342" y="427"/>
                  </a:lnTo>
                  <a:lnTo>
                    <a:pt x="342" y="427"/>
                  </a:lnTo>
                  <a:lnTo>
                    <a:pt x="342" y="427"/>
                  </a:lnTo>
                  <a:lnTo>
                    <a:pt x="342" y="430"/>
                  </a:lnTo>
                  <a:lnTo>
                    <a:pt x="342" y="430"/>
                  </a:lnTo>
                  <a:lnTo>
                    <a:pt x="342" y="430"/>
                  </a:lnTo>
                  <a:lnTo>
                    <a:pt x="342" y="433"/>
                  </a:lnTo>
                  <a:lnTo>
                    <a:pt x="342" y="433"/>
                  </a:lnTo>
                  <a:lnTo>
                    <a:pt x="342" y="433"/>
                  </a:lnTo>
                  <a:lnTo>
                    <a:pt x="344" y="435"/>
                  </a:lnTo>
                  <a:lnTo>
                    <a:pt x="347" y="435"/>
                  </a:lnTo>
                  <a:lnTo>
                    <a:pt x="347" y="435"/>
                  </a:lnTo>
                  <a:lnTo>
                    <a:pt x="350" y="438"/>
                  </a:lnTo>
                  <a:lnTo>
                    <a:pt x="350" y="438"/>
                  </a:lnTo>
                  <a:lnTo>
                    <a:pt x="347" y="438"/>
                  </a:lnTo>
                  <a:lnTo>
                    <a:pt x="347" y="441"/>
                  </a:lnTo>
                  <a:lnTo>
                    <a:pt x="347" y="441"/>
                  </a:lnTo>
                  <a:lnTo>
                    <a:pt x="347" y="443"/>
                  </a:lnTo>
                  <a:lnTo>
                    <a:pt x="347" y="443"/>
                  </a:lnTo>
                  <a:lnTo>
                    <a:pt x="347" y="443"/>
                  </a:lnTo>
                  <a:lnTo>
                    <a:pt x="347" y="443"/>
                  </a:lnTo>
                  <a:lnTo>
                    <a:pt x="347" y="446"/>
                  </a:lnTo>
                  <a:lnTo>
                    <a:pt x="347" y="449"/>
                  </a:lnTo>
                  <a:lnTo>
                    <a:pt x="347" y="449"/>
                  </a:lnTo>
                  <a:lnTo>
                    <a:pt x="347" y="451"/>
                  </a:lnTo>
                  <a:lnTo>
                    <a:pt x="347" y="451"/>
                  </a:lnTo>
                  <a:lnTo>
                    <a:pt x="344" y="454"/>
                  </a:lnTo>
                  <a:lnTo>
                    <a:pt x="344" y="454"/>
                  </a:lnTo>
                  <a:lnTo>
                    <a:pt x="344" y="454"/>
                  </a:lnTo>
                  <a:lnTo>
                    <a:pt x="342" y="454"/>
                  </a:lnTo>
                  <a:lnTo>
                    <a:pt x="339" y="454"/>
                  </a:lnTo>
                  <a:lnTo>
                    <a:pt x="339" y="454"/>
                  </a:lnTo>
                  <a:lnTo>
                    <a:pt x="336" y="454"/>
                  </a:lnTo>
                  <a:lnTo>
                    <a:pt x="336" y="454"/>
                  </a:lnTo>
                  <a:lnTo>
                    <a:pt x="336" y="454"/>
                  </a:lnTo>
                  <a:lnTo>
                    <a:pt x="336" y="454"/>
                  </a:lnTo>
                  <a:lnTo>
                    <a:pt x="336" y="457"/>
                  </a:lnTo>
                  <a:lnTo>
                    <a:pt x="334" y="457"/>
                  </a:lnTo>
                  <a:lnTo>
                    <a:pt x="334" y="459"/>
                  </a:lnTo>
                  <a:lnTo>
                    <a:pt x="334" y="459"/>
                  </a:lnTo>
                  <a:lnTo>
                    <a:pt x="331" y="459"/>
                  </a:lnTo>
                  <a:lnTo>
                    <a:pt x="331" y="459"/>
                  </a:lnTo>
                  <a:lnTo>
                    <a:pt x="331" y="462"/>
                  </a:lnTo>
                  <a:lnTo>
                    <a:pt x="331" y="462"/>
                  </a:lnTo>
                  <a:lnTo>
                    <a:pt x="328" y="462"/>
                  </a:lnTo>
                  <a:lnTo>
                    <a:pt x="331" y="465"/>
                  </a:lnTo>
                  <a:lnTo>
                    <a:pt x="331" y="465"/>
                  </a:lnTo>
                  <a:lnTo>
                    <a:pt x="331" y="467"/>
                  </a:lnTo>
                  <a:lnTo>
                    <a:pt x="331" y="467"/>
                  </a:lnTo>
                  <a:lnTo>
                    <a:pt x="331" y="467"/>
                  </a:lnTo>
                  <a:lnTo>
                    <a:pt x="334" y="470"/>
                  </a:lnTo>
                  <a:lnTo>
                    <a:pt x="334" y="473"/>
                  </a:lnTo>
                  <a:lnTo>
                    <a:pt x="334" y="473"/>
                  </a:lnTo>
                  <a:lnTo>
                    <a:pt x="334" y="475"/>
                  </a:lnTo>
                  <a:lnTo>
                    <a:pt x="334" y="475"/>
                  </a:lnTo>
                  <a:lnTo>
                    <a:pt x="334" y="475"/>
                  </a:lnTo>
                  <a:lnTo>
                    <a:pt x="334" y="478"/>
                  </a:lnTo>
                  <a:lnTo>
                    <a:pt x="334" y="478"/>
                  </a:lnTo>
                  <a:lnTo>
                    <a:pt x="334" y="478"/>
                  </a:lnTo>
                  <a:lnTo>
                    <a:pt x="334" y="478"/>
                  </a:lnTo>
                  <a:lnTo>
                    <a:pt x="334" y="478"/>
                  </a:lnTo>
                  <a:lnTo>
                    <a:pt x="331" y="481"/>
                  </a:lnTo>
                  <a:lnTo>
                    <a:pt x="328" y="481"/>
                  </a:lnTo>
                  <a:lnTo>
                    <a:pt x="328" y="483"/>
                  </a:lnTo>
                  <a:lnTo>
                    <a:pt x="328" y="483"/>
                  </a:lnTo>
                  <a:lnTo>
                    <a:pt x="328" y="483"/>
                  </a:lnTo>
                  <a:lnTo>
                    <a:pt x="328" y="486"/>
                  </a:lnTo>
                  <a:lnTo>
                    <a:pt x="328" y="486"/>
                  </a:lnTo>
                  <a:lnTo>
                    <a:pt x="328" y="486"/>
                  </a:lnTo>
                  <a:lnTo>
                    <a:pt x="328" y="489"/>
                  </a:lnTo>
                  <a:lnTo>
                    <a:pt x="328" y="489"/>
                  </a:lnTo>
                  <a:lnTo>
                    <a:pt x="326" y="489"/>
                  </a:lnTo>
                  <a:lnTo>
                    <a:pt x="326" y="491"/>
                  </a:lnTo>
                  <a:lnTo>
                    <a:pt x="326" y="491"/>
                  </a:lnTo>
                  <a:lnTo>
                    <a:pt x="328" y="491"/>
                  </a:lnTo>
                  <a:lnTo>
                    <a:pt x="331" y="491"/>
                  </a:lnTo>
                  <a:lnTo>
                    <a:pt x="334" y="494"/>
                  </a:lnTo>
                  <a:lnTo>
                    <a:pt x="336" y="494"/>
                  </a:lnTo>
                  <a:lnTo>
                    <a:pt x="339" y="497"/>
                  </a:lnTo>
                  <a:lnTo>
                    <a:pt x="339" y="497"/>
                  </a:lnTo>
                  <a:lnTo>
                    <a:pt x="339" y="497"/>
                  </a:lnTo>
                  <a:lnTo>
                    <a:pt x="339" y="500"/>
                  </a:lnTo>
                  <a:lnTo>
                    <a:pt x="339" y="500"/>
                  </a:lnTo>
                  <a:lnTo>
                    <a:pt x="342" y="500"/>
                  </a:lnTo>
                  <a:lnTo>
                    <a:pt x="344" y="502"/>
                  </a:lnTo>
                  <a:lnTo>
                    <a:pt x="344" y="505"/>
                  </a:lnTo>
                  <a:lnTo>
                    <a:pt x="344" y="505"/>
                  </a:lnTo>
                  <a:lnTo>
                    <a:pt x="347" y="505"/>
                  </a:lnTo>
                  <a:lnTo>
                    <a:pt x="347" y="505"/>
                  </a:lnTo>
                  <a:lnTo>
                    <a:pt x="350" y="505"/>
                  </a:lnTo>
                  <a:lnTo>
                    <a:pt x="350" y="505"/>
                  </a:lnTo>
                  <a:lnTo>
                    <a:pt x="350" y="505"/>
                  </a:lnTo>
                  <a:lnTo>
                    <a:pt x="352" y="505"/>
                  </a:lnTo>
                  <a:lnTo>
                    <a:pt x="355" y="505"/>
                  </a:lnTo>
                  <a:lnTo>
                    <a:pt x="355" y="505"/>
                  </a:lnTo>
                  <a:lnTo>
                    <a:pt x="355" y="505"/>
                  </a:lnTo>
                  <a:lnTo>
                    <a:pt x="355" y="502"/>
                  </a:lnTo>
                  <a:lnTo>
                    <a:pt x="358" y="500"/>
                  </a:lnTo>
                  <a:lnTo>
                    <a:pt x="358" y="500"/>
                  </a:lnTo>
                  <a:lnTo>
                    <a:pt x="358" y="500"/>
                  </a:lnTo>
                  <a:lnTo>
                    <a:pt x="358" y="500"/>
                  </a:lnTo>
                  <a:lnTo>
                    <a:pt x="358" y="500"/>
                  </a:lnTo>
                  <a:lnTo>
                    <a:pt x="360" y="500"/>
                  </a:lnTo>
                  <a:lnTo>
                    <a:pt x="360" y="500"/>
                  </a:lnTo>
                  <a:lnTo>
                    <a:pt x="363" y="500"/>
                  </a:lnTo>
                  <a:lnTo>
                    <a:pt x="363" y="500"/>
                  </a:lnTo>
                  <a:lnTo>
                    <a:pt x="363" y="500"/>
                  </a:lnTo>
                  <a:lnTo>
                    <a:pt x="366" y="497"/>
                  </a:lnTo>
                  <a:lnTo>
                    <a:pt x="371" y="497"/>
                  </a:lnTo>
                  <a:lnTo>
                    <a:pt x="371" y="497"/>
                  </a:lnTo>
                  <a:lnTo>
                    <a:pt x="371" y="497"/>
                  </a:lnTo>
                  <a:lnTo>
                    <a:pt x="371" y="494"/>
                  </a:lnTo>
                  <a:lnTo>
                    <a:pt x="371" y="494"/>
                  </a:lnTo>
                  <a:lnTo>
                    <a:pt x="374" y="494"/>
                  </a:lnTo>
                  <a:lnTo>
                    <a:pt x="374" y="494"/>
                  </a:lnTo>
                  <a:lnTo>
                    <a:pt x="374" y="491"/>
                  </a:lnTo>
                  <a:lnTo>
                    <a:pt x="376" y="491"/>
                  </a:lnTo>
                  <a:lnTo>
                    <a:pt x="376" y="491"/>
                  </a:lnTo>
                  <a:lnTo>
                    <a:pt x="376" y="491"/>
                  </a:lnTo>
                  <a:lnTo>
                    <a:pt x="376" y="489"/>
                  </a:lnTo>
                  <a:lnTo>
                    <a:pt x="376" y="489"/>
                  </a:lnTo>
                  <a:lnTo>
                    <a:pt x="379" y="489"/>
                  </a:lnTo>
                  <a:lnTo>
                    <a:pt x="379" y="489"/>
                  </a:lnTo>
                  <a:lnTo>
                    <a:pt x="379" y="489"/>
                  </a:lnTo>
                  <a:lnTo>
                    <a:pt x="379" y="486"/>
                  </a:lnTo>
                  <a:lnTo>
                    <a:pt x="382" y="486"/>
                  </a:lnTo>
                  <a:lnTo>
                    <a:pt x="384" y="486"/>
                  </a:lnTo>
                  <a:lnTo>
                    <a:pt x="384" y="486"/>
                  </a:lnTo>
                  <a:lnTo>
                    <a:pt x="384" y="486"/>
                  </a:lnTo>
                  <a:lnTo>
                    <a:pt x="384" y="486"/>
                  </a:lnTo>
                  <a:lnTo>
                    <a:pt x="384" y="483"/>
                  </a:lnTo>
                  <a:lnTo>
                    <a:pt x="384" y="483"/>
                  </a:lnTo>
                  <a:lnTo>
                    <a:pt x="384" y="483"/>
                  </a:lnTo>
                  <a:lnTo>
                    <a:pt x="384" y="483"/>
                  </a:lnTo>
                  <a:lnTo>
                    <a:pt x="384" y="481"/>
                  </a:lnTo>
                  <a:lnTo>
                    <a:pt x="384" y="481"/>
                  </a:lnTo>
                  <a:lnTo>
                    <a:pt x="384" y="481"/>
                  </a:lnTo>
                  <a:lnTo>
                    <a:pt x="384" y="481"/>
                  </a:lnTo>
                  <a:lnTo>
                    <a:pt x="384" y="481"/>
                  </a:lnTo>
                  <a:lnTo>
                    <a:pt x="387" y="481"/>
                  </a:lnTo>
                  <a:lnTo>
                    <a:pt x="387" y="481"/>
                  </a:lnTo>
                  <a:lnTo>
                    <a:pt x="392" y="483"/>
                  </a:lnTo>
                  <a:lnTo>
                    <a:pt x="395" y="486"/>
                  </a:lnTo>
                  <a:lnTo>
                    <a:pt x="395" y="489"/>
                  </a:lnTo>
                  <a:lnTo>
                    <a:pt x="395" y="489"/>
                  </a:lnTo>
                  <a:lnTo>
                    <a:pt x="395" y="489"/>
                  </a:lnTo>
                  <a:lnTo>
                    <a:pt x="395" y="491"/>
                  </a:lnTo>
                  <a:lnTo>
                    <a:pt x="395" y="491"/>
                  </a:lnTo>
                  <a:lnTo>
                    <a:pt x="400" y="494"/>
                  </a:lnTo>
                  <a:lnTo>
                    <a:pt x="403" y="494"/>
                  </a:lnTo>
                  <a:lnTo>
                    <a:pt x="403" y="494"/>
                  </a:lnTo>
                  <a:lnTo>
                    <a:pt x="403" y="497"/>
                  </a:lnTo>
                  <a:lnTo>
                    <a:pt x="403" y="497"/>
                  </a:lnTo>
                  <a:lnTo>
                    <a:pt x="403" y="497"/>
                  </a:lnTo>
                  <a:lnTo>
                    <a:pt x="403" y="500"/>
                  </a:lnTo>
                  <a:lnTo>
                    <a:pt x="403" y="500"/>
                  </a:lnTo>
                  <a:lnTo>
                    <a:pt x="403" y="500"/>
                  </a:lnTo>
                  <a:lnTo>
                    <a:pt x="403" y="502"/>
                  </a:lnTo>
                  <a:lnTo>
                    <a:pt x="400" y="502"/>
                  </a:lnTo>
                  <a:lnTo>
                    <a:pt x="400" y="505"/>
                  </a:lnTo>
                  <a:lnTo>
                    <a:pt x="400" y="505"/>
                  </a:lnTo>
                  <a:lnTo>
                    <a:pt x="400" y="505"/>
                  </a:lnTo>
                  <a:lnTo>
                    <a:pt x="400" y="508"/>
                  </a:lnTo>
                  <a:lnTo>
                    <a:pt x="406" y="508"/>
                  </a:lnTo>
                  <a:lnTo>
                    <a:pt x="406" y="510"/>
                  </a:lnTo>
                  <a:lnTo>
                    <a:pt x="406" y="510"/>
                  </a:lnTo>
                  <a:lnTo>
                    <a:pt x="406" y="510"/>
                  </a:lnTo>
                  <a:lnTo>
                    <a:pt x="406" y="510"/>
                  </a:lnTo>
                  <a:lnTo>
                    <a:pt x="406" y="513"/>
                  </a:lnTo>
                  <a:lnTo>
                    <a:pt x="406" y="516"/>
                  </a:lnTo>
                  <a:lnTo>
                    <a:pt x="406" y="516"/>
                  </a:lnTo>
                  <a:lnTo>
                    <a:pt x="403" y="516"/>
                  </a:lnTo>
                  <a:lnTo>
                    <a:pt x="403" y="518"/>
                  </a:lnTo>
                  <a:lnTo>
                    <a:pt x="403" y="518"/>
                  </a:lnTo>
                  <a:lnTo>
                    <a:pt x="403" y="518"/>
                  </a:lnTo>
                  <a:lnTo>
                    <a:pt x="403" y="518"/>
                  </a:lnTo>
                  <a:lnTo>
                    <a:pt x="403" y="521"/>
                  </a:lnTo>
                  <a:lnTo>
                    <a:pt x="403" y="521"/>
                  </a:lnTo>
                  <a:lnTo>
                    <a:pt x="403" y="524"/>
                  </a:lnTo>
                  <a:lnTo>
                    <a:pt x="406" y="526"/>
                  </a:lnTo>
                  <a:lnTo>
                    <a:pt x="408" y="526"/>
                  </a:lnTo>
                  <a:lnTo>
                    <a:pt x="408" y="526"/>
                  </a:lnTo>
                  <a:lnTo>
                    <a:pt x="408" y="529"/>
                  </a:lnTo>
                  <a:lnTo>
                    <a:pt x="406" y="532"/>
                  </a:lnTo>
                  <a:lnTo>
                    <a:pt x="406" y="534"/>
                  </a:lnTo>
                  <a:lnTo>
                    <a:pt x="406" y="534"/>
                  </a:lnTo>
                  <a:lnTo>
                    <a:pt x="406" y="537"/>
                  </a:lnTo>
                  <a:lnTo>
                    <a:pt x="406" y="537"/>
                  </a:lnTo>
                  <a:lnTo>
                    <a:pt x="406" y="537"/>
                  </a:lnTo>
                  <a:lnTo>
                    <a:pt x="408" y="537"/>
                  </a:lnTo>
                  <a:lnTo>
                    <a:pt x="408" y="540"/>
                  </a:lnTo>
                  <a:lnTo>
                    <a:pt x="411" y="540"/>
                  </a:lnTo>
                  <a:lnTo>
                    <a:pt x="411" y="542"/>
                  </a:lnTo>
                  <a:lnTo>
                    <a:pt x="411" y="542"/>
                  </a:lnTo>
                  <a:lnTo>
                    <a:pt x="411" y="545"/>
                  </a:lnTo>
                  <a:lnTo>
                    <a:pt x="411" y="545"/>
                  </a:lnTo>
                  <a:lnTo>
                    <a:pt x="411" y="545"/>
                  </a:lnTo>
                  <a:lnTo>
                    <a:pt x="414" y="548"/>
                  </a:lnTo>
                  <a:lnTo>
                    <a:pt x="414" y="550"/>
                  </a:lnTo>
                  <a:lnTo>
                    <a:pt x="416" y="550"/>
                  </a:lnTo>
                  <a:lnTo>
                    <a:pt x="416" y="553"/>
                  </a:lnTo>
                  <a:lnTo>
                    <a:pt x="416" y="553"/>
                  </a:lnTo>
                  <a:lnTo>
                    <a:pt x="416" y="556"/>
                  </a:lnTo>
                  <a:lnTo>
                    <a:pt x="419" y="556"/>
                  </a:lnTo>
                  <a:lnTo>
                    <a:pt x="419" y="556"/>
                  </a:lnTo>
                  <a:lnTo>
                    <a:pt x="419" y="558"/>
                  </a:lnTo>
                  <a:lnTo>
                    <a:pt x="419" y="558"/>
                  </a:lnTo>
                  <a:lnTo>
                    <a:pt x="419" y="558"/>
                  </a:lnTo>
                  <a:lnTo>
                    <a:pt x="419" y="561"/>
                  </a:lnTo>
                  <a:lnTo>
                    <a:pt x="419" y="561"/>
                  </a:lnTo>
                  <a:lnTo>
                    <a:pt x="419" y="561"/>
                  </a:lnTo>
                  <a:lnTo>
                    <a:pt x="419" y="564"/>
                  </a:lnTo>
                  <a:lnTo>
                    <a:pt x="419" y="564"/>
                  </a:lnTo>
                  <a:lnTo>
                    <a:pt x="422" y="564"/>
                  </a:lnTo>
                  <a:lnTo>
                    <a:pt x="424" y="564"/>
                  </a:lnTo>
                  <a:lnTo>
                    <a:pt x="424" y="564"/>
                  </a:lnTo>
                  <a:lnTo>
                    <a:pt x="424" y="566"/>
                  </a:lnTo>
                  <a:lnTo>
                    <a:pt x="424" y="569"/>
                  </a:lnTo>
                  <a:lnTo>
                    <a:pt x="424" y="569"/>
                  </a:lnTo>
                  <a:lnTo>
                    <a:pt x="427" y="574"/>
                  </a:lnTo>
                  <a:lnTo>
                    <a:pt x="430" y="574"/>
                  </a:lnTo>
                  <a:lnTo>
                    <a:pt x="430" y="580"/>
                  </a:lnTo>
                  <a:lnTo>
                    <a:pt x="430" y="580"/>
                  </a:lnTo>
                  <a:lnTo>
                    <a:pt x="430" y="582"/>
                  </a:lnTo>
                  <a:lnTo>
                    <a:pt x="430" y="582"/>
                  </a:lnTo>
                  <a:lnTo>
                    <a:pt x="430" y="582"/>
                  </a:lnTo>
                  <a:lnTo>
                    <a:pt x="430" y="585"/>
                  </a:lnTo>
                  <a:lnTo>
                    <a:pt x="430" y="588"/>
                  </a:lnTo>
                  <a:lnTo>
                    <a:pt x="427" y="588"/>
                  </a:lnTo>
                  <a:lnTo>
                    <a:pt x="427" y="588"/>
                  </a:lnTo>
                  <a:lnTo>
                    <a:pt x="427" y="588"/>
                  </a:lnTo>
                  <a:lnTo>
                    <a:pt x="424" y="590"/>
                  </a:lnTo>
                  <a:lnTo>
                    <a:pt x="424" y="590"/>
                  </a:lnTo>
                  <a:lnTo>
                    <a:pt x="424" y="590"/>
                  </a:lnTo>
                  <a:lnTo>
                    <a:pt x="424" y="590"/>
                  </a:lnTo>
                  <a:lnTo>
                    <a:pt x="424" y="590"/>
                  </a:lnTo>
                  <a:lnTo>
                    <a:pt x="424" y="593"/>
                  </a:lnTo>
                  <a:lnTo>
                    <a:pt x="424" y="593"/>
                  </a:lnTo>
                  <a:lnTo>
                    <a:pt x="427" y="593"/>
                  </a:lnTo>
                  <a:lnTo>
                    <a:pt x="427" y="596"/>
                  </a:lnTo>
                  <a:lnTo>
                    <a:pt x="427" y="598"/>
                  </a:lnTo>
                  <a:lnTo>
                    <a:pt x="427" y="601"/>
                  </a:lnTo>
                  <a:lnTo>
                    <a:pt x="427" y="601"/>
                  </a:lnTo>
                  <a:lnTo>
                    <a:pt x="430" y="604"/>
                  </a:lnTo>
                  <a:lnTo>
                    <a:pt x="435" y="606"/>
                  </a:lnTo>
                  <a:lnTo>
                    <a:pt x="435" y="606"/>
                  </a:lnTo>
                  <a:lnTo>
                    <a:pt x="435" y="606"/>
                  </a:lnTo>
                  <a:lnTo>
                    <a:pt x="435" y="609"/>
                  </a:lnTo>
                  <a:lnTo>
                    <a:pt x="435" y="612"/>
                  </a:lnTo>
                  <a:lnTo>
                    <a:pt x="438" y="612"/>
                  </a:lnTo>
                  <a:lnTo>
                    <a:pt x="438" y="612"/>
                  </a:lnTo>
                  <a:lnTo>
                    <a:pt x="440" y="612"/>
                  </a:lnTo>
                  <a:lnTo>
                    <a:pt x="440" y="612"/>
                  </a:lnTo>
                  <a:lnTo>
                    <a:pt x="440" y="612"/>
                  </a:lnTo>
                  <a:lnTo>
                    <a:pt x="443" y="609"/>
                  </a:lnTo>
                  <a:lnTo>
                    <a:pt x="443" y="609"/>
                  </a:lnTo>
                  <a:lnTo>
                    <a:pt x="446" y="609"/>
                  </a:lnTo>
                  <a:lnTo>
                    <a:pt x="446" y="609"/>
                  </a:lnTo>
                  <a:lnTo>
                    <a:pt x="448" y="609"/>
                  </a:lnTo>
                  <a:lnTo>
                    <a:pt x="451" y="609"/>
                  </a:lnTo>
                  <a:lnTo>
                    <a:pt x="451" y="612"/>
                  </a:lnTo>
                  <a:lnTo>
                    <a:pt x="454" y="614"/>
                  </a:lnTo>
                  <a:lnTo>
                    <a:pt x="456" y="617"/>
                  </a:lnTo>
                  <a:lnTo>
                    <a:pt x="456" y="617"/>
                  </a:lnTo>
                  <a:lnTo>
                    <a:pt x="456" y="620"/>
                  </a:lnTo>
                  <a:lnTo>
                    <a:pt x="459" y="620"/>
                  </a:lnTo>
                  <a:lnTo>
                    <a:pt x="459" y="622"/>
                  </a:lnTo>
                  <a:lnTo>
                    <a:pt x="459" y="622"/>
                  </a:lnTo>
                  <a:lnTo>
                    <a:pt x="459" y="622"/>
                  </a:lnTo>
                  <a:lnTo>
                    <a:pt x="459" y="622"/>
                  </a:lnTo>
                  <a:lnTo>
                    <a:pt x="459" y="625"/>
                  </a:lnTo>
                  <a:lnTo>
                    <a:pt x="459" y="625"/>
                  </a:lnTo>
                  <a:lnTo>
                    <a:pt x="459" y="625"/>
                  </a:lnTo>
                  <a:lnTo>
                    <a:pt x="462" y="625"/>
                  </a:lnTo>
                  <a:lnTo>
                    <a:pt x="462" y="628"/>
                  </a:lnTo>
                  <a:lnTo>
                    <a:pt x="462" y="628"/>
                  </a:lnTo>
                  <a:lnTo>
                    <a:pt x="462" y="628"/>
                  </a:lnTo>
                  <a:lnTo>
                    <a:pt x="462" y="630"/>
                  </a:lnTo>
                  <a:lnTo>
                    <a:pt x="462" y="630"/>
                  </a:lnTo>
                  <a:lnTo>
                    <a:pt x="464" y="633"/>
                  </a:lnTo>
                  <a:lnTo>
                    <a:pt x="464" y="633"/>
                  </a:lnTo>
                  <a:lnTo>
                    <a:pt x="464" y="636"/>
                  </a:lnTo>
                  <a:lnTo>
                    <a:pt x="464" y="636"/>
                  </a:lnTo>
                  <a:lnTo>
                    <a:pt x="464" y="636"/>
                  </a:lnTo>
                  <a:lnTo>
                    <a:pt x="464" y="636"/>
                  </a:lnTo>
                  <a:lnTo>
                    <a:pt x="464" y="638"/>
                  </a:lnTo>
                  <a:lnTo>
                    <a:pt x="462" y="638"/>
                  </a:lnTo>
                  <a:lnTo>
                    <a:pt x="462" y="638"/>
                  </a:lnTo>
                  <a:lnTo>
                    <a:pt x="462" y="638"/>
                  </a:lnTo>
                  <a:lnTo>
                    <a:pt x="462" y="638"/>
                  </a:lnTo>
                  <a:lnTo>
                    <a:pt x="462" y="641"/>
                  </a:lnTo>
                  <a:lnTo>
                    <a:pt x="462" y="641"/>
                  </a:lnTo>
                  <a:lnTo>
                    <a:pt x="464" y="644"/>
                  </a:lnTo>
                  <a:lnTo>
                    <a:pt x="464" y="644"/>
                  </a:lnTo>
                  <a:lnTo>
                    <a:pt x="464" y="646"/>
                  </a:lnTo>
                  <a:lnTo>
                    <a:pt x="464" y="646"/>
                  </a:lnTo>
                  <a:lnTo>
                    <a:pt x="464" y="646"/>
                  </a:lnTo>
                  <a:lnTo>
                    <a:pt x="464" y="649"/>
                  </a:lnTo>
                  <a:lnTo>
                    <a:pt x="467" y="649"/>
                  </a:lnTo>
                  <a:lnTo>
                    <a:pt x="467" y="649"/>
                  </a:lnTo>
                  <a:lnTo>
                    <a:pt x="467" y="652"/>
                  </a:lnTo>
                  <a:lnTo>
                    <a:pt x="467" y="652"/>
                  </a:lnTo>
                  <a:lnTo>
                    <a:pt x="467" y="654"/>
                  </a:lnTo>
                  <a:lnTo>
                    <a:pt x="464" y="654"/>
                  </a:lnTo>
                  <a:lnTo>
                    <a:pt x="464" y="654"/>
                  </a:lnTo>
                  <a:lnTo>
                    <a:pt x="464" y="657"/>
                  </a:lnTo>
                  <a:lnTo>
                    <a:pt x="467" y="657"/>
                  </a:lnTo>
                  <a:lnTo>
                    <a:pt x="467" y="657"/>
                  </a:lnTo>
                  <a:lnTo>
                    <a:pt x="467" y="660"/>
                  </a:lnTo>
                  <a:lnTo>
                    <a:pt x="467" y="660"/>
                  </a:lnTo>
                  <a:lnTo>
                    <a:pt x="467" y="662"/>
                  </a:lnTo>
                  <a:lnTo>
                    <a:pt x="470" y="662"/>
                  </a:lnTo>
                  <a:lnTo>
                    <a:pt x="470" y="662"/>
                  </a:lnTo>
                  <a:lnTo>
                    <a:pt x="470" y="662"/>
                  </a:lnTo>
                  <a:lnTo>
                    <a:pt x="472" y="665"/>
                  </a:lnTo>
                  <a:lnTo>
                    <a:pt x="472" y="665"/>
                  </a:lnTo>
                  <a:lnTo>
                    <a:pt x="472" y="668"/>
                  </a:lnTo>
                  <a:lnTo>
                    <a:pt x="478" y="668"/>
                  </a:lnTo>
                  <a:lnTo>
                    <a:pt x="478" y="671"/>
                  </a:lnTo>
                  <a:lnTo>
                    <a:pt x="478" y="671"/>
                  </a:lnTo>
                  <a:lnTo>
                    <a:pt x="480" y="673"/>
                  </a:lnTo>
                  <a:lnTo>
                    <a:pt x="480" y="673"/>
                  </a:lnTo>
                  <a:lnTo>
                    <a:pt x="483" y="673"/>
                  </a:lnTo>
                  <a:lnTo>
                    <a:pt x="483" y="673"/>
                  </a:lnTo>
                  <a:lnTo>
                    <a:pt x="483" y="673"/>
                  </a:lnTo>
                  <a:lnTo>
                    <a:pt x="483" y="673"/>
                  </a:lnTo>
                  <a:lnTo>
                    <a:pt x="483" y="668"/>
                  </a:lnTo>
                  <a:lnTo>
                    <a:pt x="483" y="668"/>
                  </a:lnTo>
                  <a:lnTo>
                    <a:pt x="483" y="668"/>
                  </a:lnTo>
                  <a:lnTo>
                    <a:pt x="483" y="668"/>
                  </a:lnTo>
                  <a:lnTo>
                    <a:pt x="483" y="665"/>
                  </a:lnTo>
                  <a:lnTo>
                    <a:pt x="483" y="665"/>
                  </a:lnTo>
                  <a:lnTo>
                    <a:pt x="486" y="665"/>
                  </a:lnTo>
                  <a:lnTo>
                    <a:pt x="491" y="660"/>
                  </a:lnTo>
                  <a:lnTo>
                    <a:pt x="491" y="660"/>
                  </a:lnTo>
                  <a:lnTo>
                    <a:pt x="494" y="660"/>
                  </a:lnTo>
                  <a:lnTo>
                    <a:pt x="496" y="660"/>
                  </a:lnTo>
                  <a:lnTo>
                    <a:pt x="496" y="657"/>
                  </a:lnTo>
                  <a:lnTo>
                    <a:pt x="499" y="657"/>
                  </a:lnTo>
                  <a:lnTo>
                    <a:pt x="499" y="657"/>
                  </a:lnTo>
                  <a:lnTo>
                    <a:pt x="502" y="660"/>
                  </a:lnTo>
                  <a:lnTo>
                    <a:pt x="515" y="662"/>
                  </a:lnTo>
                  <a:lnTo>
                    <a:pt x="515" y="662"/>
                  </a:lnTo>
                  <a:lnTo>
                    <a:pt x="515" y="662"/>
                  </a:lnTo>
                  <a:lnTo>
                    <a:pt x="518" y="665"/>
                  </a:lnTo>
                  <a:lnTo>
                    <a:pt x="518" y="665"/>
                  </a:lnTo>
                  <a:lnTo>
                    <a:pt x="520" y="665"/>
                  </a:lnTo>
                  <a:lnTo>
                    <a:pt x="523" y="665"/>
                  </a:lnTo>
                  <a:lnTo>
                    <a:pt x="523" y="665"/>
                  </a:lnTo>
                  <a:lnTo>
                    <a:pt x="526" y="665"/>
                  </a:lnTo>
                  <a:lnTo>
                    <a:pt x="526" y="668"/>
                  </a:lnTo>
                  <a:lnTo>
                    <a:pt x="526" y="668"/>
                  </a:lnTo>
                  <a:lnTo>
                    <a:pt x="526" y="668"/>
                  </a:lnTo>
                  <a:lnTo>
                    <a:pt x="528" y="668"/>
                  </a:lnTo>
                  <a:lnTo>
                    <a:pt x="528" y="668"/>
                  </a:lnTo>
                  <a:lnTo>
                    <a:pt x="531" y="668"/>
                  </a:lnTo>
                  <a:lnTo>
                    <a:pt x="531" y="668"/>
                  </a:lnTo>
                  <a:lnTo>
                    <a:pt x="531" y="668"/>
                  </a:lnTo>
                  <a:lnTo>
                    <a:pt x="534" y="662"/>
                  </a:lnTo>
                  <a:lnTo>
                    <a:pt x="534" y="660"/>
                  </a:lnTo>
                  <a:lnTo>
                    <a:pt x="536" y="660"/>
                  </a:lnTo>
                  <a:lnTo>
                    <a:pt x="536" y="657"/>
                  </a:lnTo>
                  <a:lnTo>
                    <a:pt x="536" y="657"/>
                  </a:lnTo>
                  <a:lnTo>
                    <a:pt x="539" y="657"/>
                  </a:lnTo>
                  <a:lnTo>
                    <a:pt x="539" y="657"/>
                  </a:lnTo>
                  <a:lnTo>
                    <a:pt x="542" y="657"/>
                  </a:lnTo>
                  <a:lnTo>
                    <a:pt x="542" y="657"/>
                  </a:lnTo>
                  <a:lnTo>
                    <a:pt x="544" y="657"/>
                  </a:lnTo>
                  <a:lnTo>
                    <a:pt x="544" y="654"/>
                  </a:lnTo>
                  <a:lnTo>
                    <a:pt x="544" y="654"/>
                  </a:lnTo>
                  <a:lnTo>
                    <a:pt x="547" y="654"/>
                  </a:lnTo>
                  <a:lnTo>
                    <a:pt x="547" y="654"/>
                  </a:lnTo>
                  <a:lnTo>
                    <a:pt x="550" y="657"/>
                  </a:lnTo>
                  <a:lnTo>
                    <a:pt x="550" y="657"/>
                  </a:lnTo>
                  <a:lnTo>
                    <a:pt x="550" y="657"/>
                  </a:lnTo>
                  <a:lnTo>
                    <a:pt x="552" y="657"/>
                  </a:lnTo>
                  <a:lnTo>
                    <a:pt x="555" y="657"/>
                  </a:lnTo>
                  <a:lnTo>
                    <a:pt x="558" y="660"/>
                  </a:lnTo>
                  <a:lnTo>
                    <a:pt x="560" y="660"/>
                  </a:lnTo>
                  <a:lnTo>
                    <a:pt x="560" y="660"/>
                  </a:lnTo>
                  <a:lnTo>
                    <a:pt x="571" y="660"/>
                  </a:lnTo>
                  <a:lnTo>
                    <a:pt x="574" y="660"/>
                  </a:lnTo>
                  <a:lnTo>
                    <a:pt x="574" y="660"/>
                  </a:lnTo>
                  <a:lnTo>
                    <a:pt x="576" y="660"/>
                  </a:lnTo>
                  <a:lnTo>
                    <a:pt x="576" y="660"/>
                  </a:lnTo>
                  <a:lnTo>
                    <a:pt x="576" y="660"/>
                  </a:lnTo>
                  <a:lnTo>
                    <a:pt x="579" y="660"/>
                  </a:lnTo>
                  <a:lnTo>
                    <a:pt x="579" y="660"/>
                  </a:lnTo>
                  <a:lnTo>
                    <a:pt x="584" y="660"/>
                  </a:lnTo>
                  <a:lnTo>
                    <a:pt x="584" y="660"/>
                  </a:lnTo>
                  <a:lnTo>
                    <a:pt x="587" y="662"/>
                  </a:lnTo>
                  <a:lnTo>
                    <a:pt x="587" y="662"/>
                  </a:lnTo>
                  <a:lnTo>
                    <a:pt x="587" y="662"/>
                  </a:lnTo>
                  <a:lnTo>
                    <a:pt x="587" y="665"/>
                  </a:lnTo>
                  <a:lnTo>
                    <a:pt x="587" y="665"/>
                  </a:lnTo>
                  <a:lnTo>
                    <a:pt x="590" y="665"/>
                  </a:lnTo>
                  <a:lnTo>
                    <a:pt x="590" y="665"/>
                  </a:lnTo>
                  <a:lnTo>
                    <a:pt x="590" y="665"/>
                  </a:lnTo>
                  <a:lnTo>
                    <a:pt x="592" y="665"/>
                  </a:lnTo>
                  <a:lnTo>
                    <a:pt x="592" y="665"/>
                  </a:lnTo>
                  <a:lnTo>
                    <a:pt x="595" y="665"/>
                  </a:lnTo>
                  <a:lnTo>
                    <a:pt x="598" y="665"/>
                  </a:lnTo>
                  <a:lnTo>
                    <a:pt x="598" y="665"/>
                  </a:lnTo>
                  <a:lnTo>
                    <a:pt x="603" y="662"/>
                  </a:lnTo>
                  <a:lnTo>
                    <a:pt x="603" y="662"/>
                  </a:lnTo>
                  <a:lnTo>
                    <a:pt x="616" y="662"/>
                  </a:lnTo>
                  <a:lnTo>
                    <a:pt x="616" y="662"/>
                  </a:lnTo>
                  <a:lnTo>
                    <a:pt x="619" y="665"/>
                  </a:lnTo>
                  <a:lnTo>
                    <a:pt x="622" y="665"/>
                  </a:lnTo>
                  <a:lnTo>
                    <a:pt x="622" y="665"/>
                  </a:lnTo>
                  <a:lnTo>
                    <a:pt x="622" y="665"/>
                  </a:lnTo>
                  <a:lnTo>
                    <a:pt x="624" y="665"/>
                  </a:lnTo>
                  <a:lnTo>
                    <a:pt x="624" y="665"/>
                  </a:lnTo>
                  <a:lnTo>
                    <a:pt x="627" y="665"/>
                  </a:lnTo>
                  <a:lnTo>
                    <a:pt x="627" y="665"/>
                  </a:lnTo>
                  <a:lnTo>
                    <a:pt x="627" y="665"/>
                  </a:lnTo>
                  <a:lnTo>
                    <a:pt x="624" y="665"/>
                  </a:lnTo>
                  <a:lnTo>
                    <a:pt x="622" y="662"/>
                  </a:lnTo>
                  <a:lnTo>
                    <a:pt x="622" y="662"/>
                  </a:lnTo>
                  <a:lnTo>
                    <a:pt x="622" y="662"/>
                  </a:lnTo>
                  <a:lnTo>
                    <a:pt x="622" y="662"/>
                  </a:lnTo>
                  <a:lnTo>
                    <a:pt x="622" y="662"/>
                  </a:lnTo>
                  <a:lnTo>
                    <a:pt x="622" y="660"/>
                  </a:lnTo>
                  <a:lnTo>
                    <a:pt x="622" y="660"/>
                  </a:lnTo>
                  <a:lnTo>
                    <a:pt x="622" y="660"/>
                  </a:lnTo>
                  <a:lnTo>
                    <a:pt x="622" y="657"/>
                  </a:lnTo>
                  <a:lnTo>
                    <a:pt x="622" y="657"/>
                  </a:lnTo>
                  <a:lnTo>
                    <a:pt x="622" y="657"/>
                  </a:lnTo>
                  <a:lnTo>
                    <a:pt x="622" y="654"/>
                  </a:lnTo>
                  <a:lnTo>
                    <a:pt x="622" y="654"/>
                  </a:lnTo>
                  <a:lnTo>
                    <a:pt x="624" y="652"/>
                  </a:lnTo>
                  <a:lnTo>
                    <a:pt x="624" y="652"/>
                  </a:lnTo>
                  <a:lnTo>
                    <a:pt x="624" y="652"/>
                  </a:lnTo>
                  <a:lnTo>
                    <a:pt x="627" y="652"/>
                  </a:lnTo>
                  <a:lnTo>
                    <a:pt x="627" y="652"/>
                  </a:lnTo>
                  <a:lnTo>
                    <a:pt x="627" y="649"/>
                  </a:lnTo>
                  <a:lnTo>
                    <a:pt x="627" y="649"/>
                  </a:lnTo>
                  <a:lnTo>
                    <a:pt x="627" y="649"/>
                  </a:lnTo>
                  <a:lnTo>
                    <a:pt x="627" y="649"/>
                  </a:lnTo>
                  <a:lnTo>
                    <a:pt x="627" y="646"/>
                  </a:lnTo>
                  <a:lnTo>
                    <a:pt x="627" y="646"/>
                  </a:lnTo>
                  <a:lnTo>
                    <a:pt x="627" y="646"/>
                  </a:lnTo>
                  <a:lnTo>
                    <a:pt x="627" y="646"/>
                  </a:lnTo>
                  <a:lnTo>
                    <a:pt x="627" y="644"/>
                  </a:lnTo>
                  <a:lnTo>
                    <a:pt x="627" y="644"/>
                  </a:lnTo>
                  <a:lnTo>
                    <a:pt x="627" y="644"/>
                  </a:lnTo>
                  <a:lnTo>
                    <a:pt x="630" y="644"/>
                  </a:lnTo>
                  <a:lnTo>
                    <a:pt x="630" y="641"/>
                  </a:lnTo>
                  <a:lnTo>
                    <a:pt x="630" y="641"/>
                  </a:lnTo>
                  <a:lnTo>
                    <a:pt x="632" y="641"/>
                  </a:lnTo>
                  <a:lnTo>
                    <a:pt x="635" y="641"/>
                  </a:lnTo>
                  <a:lnTo>
                    <a:pt x="635" y="641"/>
                  </a:lnTo>
                  <a:lnTo>
                    <a:pt x="638" y="638"/>
                  </a:lnTo>
                  <a:lnTo>
                    <a:pt x="638" y="638"/>
                  </a:lnTo>
                  <a:lnTo>
                    <a:pt x="638" y="638"/>
                  </a:lnTo>
                  <a:lnTo>
                    <a:pt x="640" y="638"/>
                  </a:lnTo>
                  <a:lnTo>
                    <a:pt x="643" y="641"/>
                  </a:lnTo>
                  <a:lnTo>
                    <a:pt x="643" y="644"/>
                  </a:lnTo>
                  <a:lnTo>
                    <a:pt x="643" y="646"/>
                  </a:lnTo>
                  <a:lnTo>
                    <a:pt x="648" y="652"/>
                  </a:lnTo>
                  <a:lnTo>
                    <a:pt x="648" y="654"/>
                  </a:lnTo>
                  <a:lnTo>
                    <a:pt x="648" y="654"/>
                  </a:lnTo>
                  <a:lnTo>
                    <a:pt x="651" y="654"/>
                  </a:lnTo>
                  <a:lnTo>
                    <a:pt x="651" y="654"/>
                  </a:lnTo>
                  <a:lnTo>
                    <a:pt x="651" y="657"/>
                  </a:lnTo>
                  <a:lnTo>
                    <a:pt x="651" y="657"/>
                  </a:lnTo>
                  <a:lnTo>
                    <a:pt x="651" y="657"/>
                  </a:lnTo>
                  <a:lnTo>
                    <a:pt x="651" y="660"/>
                  </a:lnTo>
                  <a:lnTo>
                    <a:pt x="651" y="660"/>
                  </a:lnTo>
                  <a:lnTo>
                    <a:pt x="651" y="662"/>
                  </a:lnTo>
                  <a:lnTo>
                    <a:pt x="651" y="662"/>
                  </a:lnTo>
                  <a:lnTo>
                    <a:pt x="651" y="662"/>
                  </a:lnTo>
                  <a:lnTo>
                    <a:pt x="651" y="662"/>
                  </a:lnTo>
                  <a:lnTo>
                    <a:pt x="654" y="665"/>
                  </a:lnTo>
                  <a:lnTo>
                    <a:pt x="654" y="665"/>
                  </a:lnTo>
                  <a:lnTo>
                    <a:pt x="656" y="665"/>
                  </a:lnTo>
                  <a:lnTo>
                    <a:pt x="656" y="668"/>
                  </a:lnTo>
                  <a:lnTo>
                    <a:pt x="659" y="671"/>
                  </a:lnTo>
                  <a:lnTo>
                    <a:pt x="662" y="673"/>
                  </a:lnTo>
                  <a:lnTo>
                    <a:pt x="662" y="676"/>
                  </a:lnTo>
                  <a:lnTo>
                    <a:pt x="667" y="679"/>
                  </a:lnTo>
                  <a:lnTo>
                    <a:pt x="667" y="679"/>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46" name="Freeform 43">
              <a:extLst>
                <a:ext uri="{FF2B5EF4-FFF2-40B4-BE49-F238E27FC236}">
                  <a16:creationId xmlns="" xmlns:a16="http://schemas.microsoft.com/office/drawing/2014/main" id="{42F18409-555A-4AD0-89FF-0FE3127AD6CD}"/>
                </a:ext>
              </a:extLst>
            </p:cNvPr>
            <p:cNvSpPr>
              <a:spLocks/>
            </p:cNvSpPr>
            <p:nvPr/>
          </p:nvSpPr>
          <p:spPr bwMode="auto">
            <a:xfrm>
              <a:off x="4000" y="991"/>
              <a:ext cx="696" cy="430"/>
            </a:xfrm>
            <a:custGeom>
              <a:avLst/>
              <a:gdLst>
                <a:gd name="T0" fmla="*/ 656 w 696"/>
                <a:gd name="T1" fmla="*/ 147 h 430"/>
                <a:gd name="T2" fmla="*/ 672 w 696"/>
                <a:gd name="T3" fmla="*/ 168 h 430"/>
                <a:gd name="T4" fmla="*/ 691 w 696"/>
                <a:gd name="T5" fmla="*/ 182 h 430"/>
                <a:gd name="T6" fmla="*/ 694 w 696"/>
                <a:gd name="T7" fmla="*/ 219 h 430"/>
                <a:gd name="T8" fmla="*/ 680 w 696"/>
                <a:gd name="T9" fmla="*/ 238 h 430"/>
                <a:gd name="T10" fmla="*/ 680 w 696"/>
                <a:gd name="T11" fmla="*/ 251 h 430"/>
                <a:gd name="T12" fmla="*/ 654 w 696"/>
                <a:gd name="T13" fmla="*/ 267 h 430"/>
                <a:gd name="T14" fmla="*/ 603 w 696"/>
                <a:gd name="T15" fmla="*/ 299 h 430"/>
                <a:gd name="T16" fmla="*/ 619 w 696"/>
                <a:gd name="T17" fmla="*/ 326 h 430"/>
                <a:gd name="T18" fmla="*/ 608 w 696"/>
                <a:gd name="T19" fmla="*/ 369 h 430"/>
                <a:gd name="T20" fmla="*/ 587 w 696"/>
                <a:gd name="T21" fmla="*/ 396 h 430"/>
                <a:gd name="T22" fmla="*/ 579 w 696"/>
                <a:gd name="T23" fmla="*/ 409 h 430"/>
                <a:gd name="T24" fmla="*/ 576 w 696"/>
                <a:gd name="T25" fmla="*/ 430 h 430"/>
                <a:gd name="T26" fmla="*/ 563 w 696"/>
                <a:gd name="T27" fmla="*/ 420 h 430"/>
                <a:gd name="T28" fmla="*/ 558 w 696"/>
                <a:gd name="T29" fmla="*/ 414 h 430"/>
                <a:gd name="T30" fmla="*/ 550 w 696"/>
                <a:gd name="T31" fmla="*/ 409 h 430"/>
                <a:gd name="T32" fmla="*/ 542 w 696"/>
                <a:gd name="T33" fmla="*/ 401 h 430"/>
                <a:gd name="T34" fmla="*/ 395 w 696"/>
                <a:gd name="T35" fmla="*/ 412 h 430"/>
                <a:gd name="T36" fmla="*/ 184 w 696"/>
                <a:gd name="T37" fmla="*/ 422 h 430"/>
                <a:gd name="T38" fmla="*/ 104 w 696"/>
                <a:gd name="T39" fmla="*/ 428 h 430"/>
                <a:gd name="T40" fmla="*/ 104 w 696"/>
                <a:gd name="T41" fmla="*/ 428 h 430"/>
                <a:gd name="T42" fmla="*/ 96 w 696"/>
                <a:gd name="T43" fmla="*/ 417 h 430"/>
                <a:gd name="T44" fmla="*/ 96 w 696"/>
                <a:gd name="T45" fmla="*/ 404 h 430"/>
                <a:gd name="T46" fmla="*/ 96 w 696"/>
                <a:gd name="T47" fmla="*/ 385 h 430"/>
                <a:gd name="T48" fmla="*/ 91 w 696"/>
                <a:gd name="T49" fmla="*/ 369 h 430"/>
                <a:gd name="T50" fmla="*/ 91 w 696"/>
                <a:gd name="T51" fmla="*/ 363 h 430"/>
                <a:gd name="T52" fmla="*/ 91 w 696"/>
                <a:gd name="T53" fmla="*/ 347 h 430"/>
                <a:gd name="T54" fmla="*/ 88 w 696"/>
                <a:gd name="T55" fmla="*/ 329 h 430"/>
                <a:gd name="T56" fmla="*/ 83 w 696"/>
                <a:gd name="T57" fmla="*/ 307 h 430"/>
                <a:gd name="T58" fmla="*/ 75 w 696"/>
                <a:gd name="T59" fmla="*/ 299 h 430"/>
                <a:gd name="T60" fmla="*/ 67 w 696"/>
                <a:gd name="T61" fmla="*/ 297 h 430"/>
                <a:gd name="T62" fmla="*/ 64 w 696"/>
                <a:gd name="T63" fmla="*/ 278 h 430"/>
                <a:gd name="T64" fmla="*/ 67 w 696"/>
                <a:gd name="T65" fmla="*/ 262 h 430"/>
                <a:gd name="T66" fmla="*/ 59 w 696"/>
                <a:gd name="T67" fmla="*/ 243 h 430"/>
                <a:gd name="T68" fmla="*/ 43 w 696"/>
                <a:gd name="T69" fmla="*/ 217 h 430"/>
                <a:gd name="T70" fmla="*/ 35 w 696"/>
                <a:gd name="T71" fmla="*/ 198 h 430"/>
                <a:gd name="T72" fmla="*/ 27 w 696"/>
                <a:gd name="T73" fmla="*/ 168 h 430"/>
                <a:gd name="T74" fmla="*/ 16 w 696"/>
                <a:gd name="T75" fmla="*/ 155 h 430"/>
                <a:gd name="T76" fmla="*/ 13 w 696"/>
                <a:gd name="T77" fmla="*/ 150 h 430"/>
                <a:gd name="T78" fmla="*/ 13 w 696"/>
                <a:gd name="T79" fmla="*/ 144 h 430"/>
                <a:gd name="T80" fmla="*/ 0 w 696"/>
                <a:gd name="T81" fmla="*/ 134 h 430"/>
                <a:gd name="T82" fmla="*/ 5 w 696"/>
                <a:gd name="T83" fmla="*/ 123 h 430"/>
                <a:gd name="T84" fmla="*/ 8 w 696"/>
                <a:gd name="T85" fmla="*/ 118 h 430"/>
                <a:gd name="T86" fmla="*/ 11 w 696"/>
                <a:gd name="T87" fmla="*/ 110 h 430"/>
                <a:gd name="T88" fmla="*/ 13 w 696"/>
                <a:gd name="T89" fmla="*/ 99 h 430"/>
                <a:gd name="T90" fmla="*/ 13 w 696"/>
                <a:gd name="T91" fmla="*/ 94 h 430"/>
                <a:gd name="T92" fmla="*/ 19 w 696"/>
                <a:gd name="T93" fmla="*/ 80 h 430"/>
                <a:gd name="T94" fmla="*/ 13 w 696"/>
                <a:gd name="T95" fmla="*/ 67 h 430"/>
                <a:gd name="T96" fmla="*/ 5 w 696"/>
                <a:gd name="T97" fmla="*/ 67 h 430"/>
                <a:gd name="T98" fmla="*/ 5 w 696"/>
                <a:gd name="T99" fmla="*/ 62 h 430"/>
                <a:gd name="T100" fmla="*/ 11 w 696"/>
                <a:gd name="T101" fmla="*/ 56 h 430"/>
                <a:gd name="T102" fmla="*/ 3 w 696"/>
                <a:gd name="T103" fmla="*/ 40 h 430"/>
                <a:gd name="T104" fmla="*/ 3 w 696"/>
                <a:gd name="T105" fmla="*/ 30 h 430"/>
                <a:gd name="T106" fmla="*/ 222 w 696"/>
                <a:gd name="T107" fmla="*/ 22 h 430"/>
                <a:gd name="T108" fmla="*/ 494 w 696"/>
                <a:gd name="T109" fmla="*/ 5 h 430"/>
                <a:gd name="T110" fmla="*/ 566 w 696"/>
                <a:gd name="T111" fmla="*/ 8 h 430"/>
                <a:gd name="T112" fmla="*/ 582 w 696"/>
                <a:gd name="T113" fmla="*/ 27 h 430"/>
                <a:gd name="T114" fmla="*/ 579 w 696"/>
                <a:gd name="T115" fmla="*/ 67 h 430"/>
                <a:gd name="T116" fmla="*/ 587 w 696"/>
                <a:gd name="T117" fmla="*/ 94 h 430"/>
                <a:gd name="T118" fmla="*/ 630 w 696"/>
                <a:gd name="T119" fmla="*/ 110 h 430"/>
                <a:gd name="T120" fmla="*/ 638 w 696"/>
                <a:gd name="T121" fmla="*/ 12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6" h="430">
                  <a:moveTo>
                    <a:pt x="638" y="128"/>
                  </a:moveTo>
                  <a:lnTo>
                    <a:pt x="635" y="134"/>
                  </a:lnTo>
                  <a:lnTo>
                    <a:pt x="638" y="134"/>
                  </a:lnTo>
                  <a:lnTo>
                    <a:pt x="640" y="136"/>
                  </a:lnTo>
                  <a:lnTo>
                    <a:pt x="643" y="136"/>
                  </a:lnTo>
                  <a:lnTo>
                    <a:pt x="643" y="139"/>
                  </a:lnTo>
                  <a:lnTo>
                    <a:pt x="648" y="142"/>
                  </a:lnTo>
                  <a:lnTo>
                    <a:pt x="656" y="147"/>
                  </a:lnTo>
                  <a:lnTo>
                    <a:pt x="662" y="150"/>
                  </a:lnTo>
                  <a:lnTo>
                    <a:pt x="664" y="155"/>
                  </a:lnTo>
                  <a:lnTo>
                    <a:pt x="664" y="152"/>
                  </a:lnTo>
                  <a:lnTo>
                    <a:pt x="664" y="160"/>
                  </a:lnTo>
                  <a:lnTo>
                    <a:pt x="664" y="163"/>
                  </a:lnTo>
                  <a:lnTo>
                    <a:pt x="670" y="166"/>
                  </a:lnTo>
                  <a:lnTo>
                    <a:pt x="672" y="168"/>
                  </a:lnTo>
                  <a:lnTo>
                    <a:pt x="672" y="168"/>
                  </a:lnTo>
                  <a:lnTo>
                    <a:pt x="675" y="168"/>
                  </a:lnTo>
                  <a:lnTo>
                    <a:pt x="683" y="174"/>
                  </a:lnTo>
                  <a:lnTo>
                    <a:pt x="686" y="174"/>
                  </a:lnTo>
                  <a:lnTo>
                    <a:pt x="688" y="179"/>
                  </a:lnTo>
                  <a:lnTo>
                    <a:pt x="688" y="179"/>
                  </a:lnTo>
                  <a:lnTo>
                    <a:pt x="691" y="179"/>
                  </a:lnTo>
                  <a:lnTo>
                    <a:pt x="691" y="179"/>
                  </a:lnTo>
                  <a:lnTo>
                    <a:pt x="691" y="182"/>
                  </a:lnTo>
                  <a:lnTo>
                    <a:pt x="691" y="184"/>
                  </a:lnTo>
                  <a:lnTo>
                    <a:pt x="694" y="184"/>
                  </a:lnTo>
                  <a:lnTo>
                    <a:pt x="696" y="190"/>
                  </a:lnTo>
                  <a:lnTo>
                    <a:pt x="696" y="193"/>
                  </a:lnTo>
                  <a:lnTo>
                    <a:pt x="696" y="198"/>
                  </a:lnTo>
                  <a:lnTo>
                    <a:pt x="694" y="203"/>
                  </a:lnTo>
                  <a:lnTo>
                    <a:pt x="694" y="211"/>
                  </a:lnTo>
                  <a:lnTo>
                    <a:pt x="694" y="219"/>
                  </a:lnTo>
                  <a:lnTo>
                    <a:pt x="691" y="222"/>
                  </a:lnTo>
                  <a:lnTo>
                    <a:pt x="691" y="222"/>
                  </a:lnTo>
                  <a:lnTo>
                    <a:pt x="688" y="225"/>
                  </a:lnTo>
                  <a:lnTo>
                    <a:pt x="686" y="227"/>
                  </a:lnTo>
                  <a:lnTo>
                    <a:pt x="683" y="230"/>
                  </a:lnTo>
                  <a:lnTo>
                    <a:pt x="683" y="233"/>
                  </a:lnTo>
                  <a:lnTo>
                    <a:pt x="680" y="235"/>
                  </a:lnTo>
                  <a:lnTo>
                    <a:pt x="680" y="238"/>
                  </a:lnTo>
                  <a:lnTo>
                    <a:pt x="680" y="241"/>
                  </a:lnTo>
                  <a:lnTo>
                    <a:pt x="678" y="243"/>
                  </a:lnTo>
                  <a:lnTo>
                    <a:pt x="678" y="243"/>
                  </a:lnTo>
                  <a:lnTo>
                    <a:pt x="680" y="246"/>
                  </a:lnTo>
                  <a:lnTo>
                    <a:pt x="680" y="246"/>
                  </a:lnTo>
                  <a:lnTo>
                    <a:pt x="680" y="249"/>
                  </a:lnTo>
                  <a:lnTo>
                    <a:pt x="680" y="251"/>
                  </a:lnTo>
                  <a:lnTo>
                    <a:pt x="680" y="251"/>
                  </a:lnTo>
                  <a:lnTo>
                    <a:pt x="678" y="254"/>
                  </a:lnTo>
                  <a:lnTo>
                    <a:pt x="672" y="257"/>
                  </a:lnTo>
                  <a:lnTo>
                    <a:pt x="672" y="257"/>
                  </a:lnTo>
                  <a:lnTo>
                    <a:pt x="672" y="259"/>
                  </a:lnTo>
                  <a:lnTo>
                    <a:pt x="670" y="262"/>
                  </a:lnTo>
                  <a:lnTo>
                    <a:pt x="664" y="262"/>
                  </a:lnTo>
                  <a:lnTo>
                    <a:pt x="654" y="267"/>
                  </a:lnTo>
                  <a:lnTo>
                    <a:pt x="654" y="267"/>
                  </a:lnTo>
                  <a:lnTo>
                    <a:pt x="648" y="273"/>
                  </a:lnTo>
                  <a:lnTo>
                    <a:pt x="648" y="275"/>
                  </a:lnTo>
                  <a:lnTo>
                    <a:pt x="643" y="275"/>
                  </a:lnTo>
                  <a:lnTo>
                    <a:pt x="611" y="281"/>
                  </a:lnTo>
                  <a:lnTo>
                    <a:pt x="608" y="283"/>
                  </a:lnTo>
                  <a:lnTo>
                    <a:pt x="606" y="289"/>
                  </a:lnTo>
                  <a:lnTo>
                    <a:pt x="603" y="294"/>
                  </a:lnTo>
                  <a:lnTo>
                    <a:pt x="603" y="299"/>
                  </a:lnTo>
                  <a:lnTo>
                    <a:pt x="603" y="307"/>
                  </a:lnTo>
                  <a:lnTo>
                    <a:pt x="603" y="310"/>
                  </a:lnTo>
                  <a:lnTo>
                    <a:pt x="603" y="313"/>
                  </a:lnTo>
                  <a:lnTo>
                    <a:pt x="606" y="315"/>
                  </a:lnTo>
                  <a:lnTo>
                    <a:pt x="608" y="315"/>
                  </a:lnTo>
                  <a:lnTo>
                    <a:pt x="608" y="318"/>
                  </a:lnTo>
                  <a:lnTo>
                    <a:pt x="614" y="321"/>
                  </a:lnTo>
                  <a:lnTo>
                    <a:pt x="619" y="326"/>
                  </a:lnTo>
                  <a:lnTo>
                    <a:pt x="622" y="331"/>
                  </a:lnTo>
                  <a:lnTo>
                    <a:pt x="622" y="337"/>
                  </a:lnTo>
                  <a:lnTo>
                    <a:pt x="622" y="342"/>
                  </a:lnTo>
                  <a:lnTo>
                    <a:pt x="619" y="347"/>
                  </a:lnTo>
                  <a:lnTo>
                    <a:pt x="611" y="361"/>
                  </a:lnTo>
                  <a:lnTo>
                    <a:pt x="608" y="363"/>
                  </a:lnTo>
                  <a:lnTo>
                    <a:pt x="608" y="366"/>
                  </a:lnTo>
                  <a:lnTo>
                    <a:pt x="608" y="369"/>
                  </a:lnTo>
                  <a:lnTo>
                    <a:pt x="608" y="374"/>
                  </a:lnTo>
                  <a:lnTo>
                    <a:pt x="608" y="377"/>
                  </a:lnTo>
                  <a:lnTo>
                    <a:pt x="606" y="385"/>
                  </a:lnTo>
                  <a:lnTo>
                    <a:pt x="603" y="388"/>
                  </a:lnTo>
                  <a:lnTo>
                    <a:pt x="600" y="390"/>
                  </a:lnTo>
                  <a:lnTo>
                    <a:pt x="595" y="393"/>
                  </a:lnTo>
                  <a:lnTo>
                    <a:pt x="592" y="393"/>
                  </a:lnTo>
                  <a:lnTo>
                    <a:pt x="587" y="396"/>
                  </a:lnTo>
                  <a:lnTo>
                    <a:pt x="584" y="398"/>
                  </a:lnTo>
                  <a:lnTo>
                    <a:pt x="579" y="401"/>
                  </a:lnTo>
                  <a:lnTo>
                    <a:pt x="576" y="404"/>
                  </a:lnTo>
                  <a:lnTo>
                    <a:pt x="576" y="404"/>
                  </a:lnTo>
                  <a:lnTo>
                    <a:pt x="576" y="406"/>
                  </a:lnTo>
                  <a:lnTo>
                    <a:pt x="576" y="406"/>
                  </a:lnTo>
                  <a:lnTo>
                    <a:pt x="576" y="409"/>
                  </a:lnTo>
                  <a:lnTo>
                    <a:pt x="579" y="409"/>
                  </a:lnTo>
                  <a:lnTo>
                    <a:pt x="582" y="412"/>
                  </a:lnTo>
                  <a:lnTo>
                    <a:pt x="582" y="414"/>
                  </a:lnTo>
                  <a:lnTo>
                    <a:pt x="582" y="420"/>
                  </a:lnTo>
                  <a:lnTo>
                    <a:pt x="582" y="422"/>
                  </a:lnTo>
                  <a:lnTo>
                    <a:pt x="582" y="425"/>
                  </a:lnTo>
                  <a:lnTo>
                    <a:pt x="582" y="428"/>
                  </a:lnTo>
                  <a:lnTo>
                    <a:pt x="582" y="428"/>
                  </a:lnTo>
                  <a:lnTo>
                    <a:pt x="576" y="430"/>
                  </a:lnTo>
                  <a:lnTo>
                    <a:pt x="574" y="430"/>
                  </a:lnTo>
                  <a:lnTo>
                    <a:pt x="571" y="430"/>
                  </a:lnTo>
                  <a:lnTo>
                    <a:pt x="568" y="428"/>
                  </a:lnTo>
                  <a:lnTo>
                    <a:pt x="566" y="425"/>
                  </a:lnTo>
                  <a:lnTo>
                    <a:pt x="563" y="422"/>
                  </a:lnTo>
                  <a:lnTo>
                    <a:pt x="563" y="422"/>
                  </a:lnTo>
                  <a:lnTo>
                    <a:pt x="563" y="422"/>
                  </a:lnTo>
                  <a:lnTo>
                    <a:pt x="563" y="420"/>
                  </a:lnTo>
                  <a:lnTo>
                    <a:pt x="563" y="420"/>
                  </a:lnTo>
                  <a:lnTo>
                    <a:pt x="563" y="420"/>
                  </a:lnTo>
                  <a:lnTo>
                    <a:pt x="560" y="417"/>
                  </a:lnTo>
                  <a:lnTo>
                    <a:pt x="558" y="417"/>
                  </a:lnTo>
                  <a:lnTo>
                    <a:pt x="558" y="417"/>
                  </a:lnTo>
                  <a:lnTo>
                    <a:pt x="558" y="417"/>
                  </a:lnTo>
                  <a:lnTo>
                    <a:pt x="558" y="414"/>
                  </a:lnTo>
                  <a:lnTo>
                    <a:pt x="558" y="414"/>
                  </a:lnTo>
                  <a:lnTo>
                    <a:pt x="555" y="414"/>
                  </a:lnTo>
                  <a:lnTo>
                    <a:pt x="555" y="414"/>
                  </a:lnTo>
                  <a:lnTo>
                    <a:pt x="555" y="414"/>
                  </a:lnTo>
                  <a:lnTo>
                    <a:pt x="555" y="414"/>
                  </a:lnTo>
                  <a:lnTo>
                    <a:pt x="555" y="412"/>
                  </a:lnTo>
                  <a:lnTo>
                    <a:pt x="552" y="412"/>
                  </a:lnTo>
                  <a:lnTo>
                    <a:pt x="550" y="409"/>
                  </a:lnTo>
                  <a:lnTo>
                    <a:pt x="550" y="409"/>
                  </a:lnTo>
                  <a:lnTo>
                    <a:pt x="547" y="409"/>
                  </a:lnTo>
                  <a:lnTo>
                    <a:pt x="547" y="409"/>
                  </a:lnTo>
                  <a:lnTo>
                    <a:pt x="547" y="406"/>
                  </a:lnTo>
                  <a:lnTo>
                    <a:pt x="544" y="406"/>
                  </a:lnTo>
                  <a:lnTo>
                    <a:pt x="544" y="404"/>
                  </a:lnTo>
                  <a:lnTo>
                    <a:pt x="544" y="404"/>
                  </a:lnTo>
                  <a:lnTo>
                    <a:pt x="542" y="401"/>
                  </a:lnTo>
                  <a:lnTo>
                    <a:pt x="542" y="401"/>
                  </a:lnTo>
                  <a:lnTo>
                    <a:pt x="542" y="398"/>
                  </a:lnTo>
                  <a:lnTo>
                    <a:pt x="536" y="401"/>
                  </a:lnTo>
                  <a:lnTo>
                    <a:pt x="526" y="401"/>
                  </a:lnTo>
                  <a:lnTo>
                    <a:pt x="499" y="404"/>
                  </a:lnTo>
                  <a:lnTo>
                    <a:pt x="475" y="404"/>
                  </a:lnTo>
                  <a:lnTo>
                    <a:pt x="448" y="406"/>
                  </a:lnTo>
                  <a:lnTo>
                    <a:pt x="422" y="409"/>
                  </a:lnTo>
                  <a:lnTo>
                    <a:pt x="395" y="412"/>
                  </a:lnTo>
                  <a:lnTo>
                    <a:pt x="368" y="412"/>
                  </a:lnTo>
                  <a:lnTo>
                    <a:pt x="342" y="414"/>
                  </a:lnTo>
                  <a:lnTo>
                    <a:pt x="315" y="417"/>
                  </a:lnTo>
                  <a:lnTo>
                    <a:pt x="291" y="417"/>
                  </a:lnTo>
                  <a:lnTo>
                    <a:pt x="264" y="420"/>
                  </a:lnTo>
                  <a:lnTo>
                    <a:pt x="238" y="420"/>
                  </a:lnTo>
                  <a:lnTo>
                    <a:pt x="211" y="422"/>
                  </a:lnTo>
                  <a:lnTo>
                    <a:pt x="184" y="422"/>
                  </a:lnTo>
                  <a:lnTo>
                    <a:pt x="157" y="425"/>
                  </a:lnTo>
                  <a:lnTo>
                    <a:pt x="131" y="425"/>
                  </a:lnTo>
                  <a:lnTo>
                    <a:pt x="104" y="428"/>
                  </a:lnTo>
                  <a:lnTo>
                    <a:pt x="104" y="428"/>
                  </a:lnTo>
                  <a:lnTo>
                    <a:pt x="104" y="428"/>
                  </a:lnTo>
                  <a:lnTo>
                    <a:pt x="104" y="428"/>
                  </a:lnTo>
                  <a:lnTo>
                    <a:pt x="104" y="428"/>
                  </a:lnTo>
                  <a:lnTo>
                    <a:pt x="104" y="428"/>
                  </a:lnTo>
                  <a:lnTo>
                    <a:pt x="104" y="428"/>
                  </a:lnTo>
                  <a:lnTo>
                    <a:pt x="104" y="428"/>
                  </a:lnTo>
                  <a:lnTo>
                    <a:pt x="104" y="428"/>
                  </a:lnTo>
                  <a:lnTo>
                    <a:pt x="104" y="428"/>
                  </a:lnTo>
                  <a:lnTo>
                    <a:pt x="104" y="428"/>
                  </a:lnTo>
                  <a:lnTo>
                    <a:pt x="104" y="428"/>
                  </a:lnTo>
                  <a:lnTo>
                    <a:pt x="104" y="428"/>
                  </a:lnTo>
                  <a:lnTo>
                    <a:pt x="104" y="428"/>
                  </a:lnTo>
                  <a:lnTo>
                    <a:pt x="104" y="428"/>
                  </a:lnTo>
                  <a:lnTo>
                    <a:pt x="104" y="428"/>
                  </a:lnTo>
                  <a:lnTo>
                    <a:pt x="104" y="428"/>
                  </a:lnTo>
                  <a:lnTo>
                    <a:pt x="104" y="425"/>
                  </a:lnTo>
                  <a:lnTo>
                    <a:pt x="104" y="422"/>
                  </a:lnTo>
                  <a:lnTo>
                    <a:pt x="104" y="420"/>
                  </a:lnTo>
                  <a:lnTo>
                    <a:pt x="101" y="417"/>
                  </a:lnTo>
                  <a:lnTo>
                    <a:pt x="96" y="417"/>
                  </a:lnTo>
                  <a:lnTo>
                    <a:pt x="93" y="414"/>
                  </a:lnTo>
                  <a:lnTo>
                    <a:pt x="93" y="412"/>
                  </a:lnTo>
                  <a:lnTo>
                    <a:pt x="93" y="412"/>
                  </a:lnTo>
                  <a:lnTo>
                    <a:pt x="93" y="409"/>
                  </a:lnTo>
                  <a:lnTo>
                    <a:pt x="93" y="409"/>
                  </a:lnTo>
                  <a:lnTo>
                    <a:pt x="93" y="406"/>
                  </a:lnTo>
                  <a:lnTo>
                    <a:pt x="93" y="406"/>
                  </a:lnTo>
                  <a:lnTo>
                    <a:pt x="96" y="404"/>
                  </a:lnTo>
                  <a:lnTo>
                    <a:pt x="96" y="401"/>
                  </a:lnTo>
                  <a:lnTo>
                    <a:pt x="96" y="401"/>
                  </a:lnTo>
                  <a:lnTo>
                    <a:pt x="96" y="398"/>
                  </a:lnTo>
                  <a:lnTo>
                    <a:pt x="96" y="396"/>
                  </a:lnTo>
                  <a:lnTo>
                    <a:pt x="96" y="393"/>
                  </a:lnTo>
                  <a:lnTo>
                    <a:pt x="96" y="390"/>
                  </a:lnTo>
                  <a:lnTo>
                    <a:pt x="96" y="388"/>
                  </a:lnTo>
                  <a:lnTo>
                    <a:pt x="96" y="385"/>
                  </a:lnTo>
                  <a:lnTo>
                    <a:pt x="96" y="380"/>
                  </a:lnTo>
                  <a:lnTo>
                    <a:pt x="93" y="380"/>
                  </a:lnTo>
                  <a:lnTo>
                    <a:pt x="96" y="377"/>
                  </a:lnTo>
                  <a:lnTo>
                    <a:pt x="96" y="374"/>
                  </a:lnTo>
                  <a:lnTo>
                    <a:pt x="93" y="374"/>
                  </a:lnTo>
                  <a:lnTo>
                    <a:pt x="93" y="372"/>
                  </a:lnTo>
                  <a:lnTo>
                    <a:pt x="91" y="372"/>
                  </a:lnTo>
                  <a:lnTo>
                    <a:pt x="91" y="369"/>
                  </a:lnTo>
                  <a:lnTo>
                    <a:pt x="91" y="369"/>
                  </a:lnTo>
                  <a:lnTo>
                    <a:pt x="91" y="366"/>
                  </a:lnTo>
                  <a:lnTo>
                    <a:pt x="91" y="366"/>
                  </a:lnTo>
                  <a:lnTo>
                    <a:pt x="91" y="366"/>
                  </a:lnTo>
                  <a:lnTo>
                    <a:pt x="91" y="363"/>
                  </a:lnTo>
                  <a:lnTo>
                    <a:pt x="91" y="363"/>
                  </a:lnTo>
                  <a:lnTo>
                    <a:pt x="91" y="363"/>
                  </a:lnTo>
                  <a:lnTo>
                    <a:pt x="91" y="363"/>
                  </a:lnTo>
                  <a:lnTo>
                    <a:pt x="91" y="363"/>
                  </a:lnTo>
                  <a:lnTo>
                    <a:pt x="91" y="361"/>
                  </a:lnTo>
                  <a:lnTo>
                    <a:pt x="91" y="358"/>
                  </a:lnTo>
                  <a:lnTo>
                    <a:pt x="91" y="355"/>
                  </a:lnTo>
                  <a:lnTo>
                    <a:pt x="91" y="350"/>
                  </a:lnTo>
                  <a:lnTo>
                    <a:pt x="91" y="350"/>
                  </a:lnTo>
                  <a:lnTo>
                    <a:pt x="93" y="347"/>
                  </a:lnTo>
                  <a:lnTo>
                    <a:pt x="91" y="347"/>
                  </a:lnTo>
                  <a:lnTo>
                    <a:pt x="85" y="345"/>
                  </a:lnTo>
                  <a:lnTo>
                    <a:pt x="85" y="345"/>
                  </a:lnTo>
                  <a:lnTo>
                    <a:pt x="85" y="342"/>
                  </a:lnTo>
                  <a:lnTo>
                    <a:pt x="85" y="337"/>
                  </a:lnTo>
                  <a:lnTo>
                    <a:pt x="85" y="334"/>
                  </a:lnTo>
                  <a:lnTo>
                    <a:pt x="88" y="331"/>
                  </a:lnTo>
                  <a:lnTo>
                    <a:pt x="91" y="329"/>
                  </a:lnTo>
                  <a:lnTo>
                    <a:pt x="88" y="329"/>
                  </a:lnTo>
                  <a:lnTo>
                    <a:pt x="88" y="329"/>
                  </a:lnTo>
                  <a:lnTo>
                    <a:pt x="83" y="326"/>
                  </a:lnTo>
                  <a:lnTo>
                    <a:pt x="80" y="326"/>
                  </a:lnTo>
                  <a:lnTo>
                    <a:pt x="83" y="318"/>
                  </a:lnTo>
                  <a:lnTo>
                    <a:pt x="83" y="315"/>
                  </a:lnTo>
                  <a:lnTo>
                    <a:pt x="83" y="310"/>
                  </a:lnTo>
                  <a:lnTo>
                    <a:pt x="83" y="307"/>
                  </a:lnTo>
                  <a:lnTo>
                    <a:pt x="83" y="307"/>
                  </a:lnTo>
                  <a:lnTo>
                    <a:pt x="80" y="307"/>
                  </a:lnTo>
                  <a:lnTo>
                    <a:pt x="77" y="307"/>
                  </a:lnTo>
                  <a:lnTo>
                    <a:pt x="75" y="307"/>
                  </a:lnTo>
                  <a:lnTo>
                    <a:pt x="75" y="305"/>
                  </a:lnTo>
                  <a:lnTo>
                    <a:pt x="75" y="305"/>
                  </a:lnTo>
                  <a:lnTo>
                    <a:pt x="75" y="302"/>
                  </a:lnTo>
                  <a:lnTo>
                    <a:pt x="75" y="299"/>
                  </a:lnTo>
                  <a:lnTo>
                    <a:pt x="75" y="299"/>
                  </a:lnTo>
                  <a:lnTo>
                    <a:pt x="75" y="299"/>
                  </a:lnTo>
                  <a:lnTo>
                    <a:pt x="75" y="297"/>
                  </a:lnTo>
                  <a:lnTo>
                    <a:pt x="75" y="297"/>
                  </a:lnTo>
                  <a:lnTo>
                    <a:pt x="72" y="297"/>
                  </a:lnTo>
                  <a:lnTo>
                    <a:pt x="72" y="297"/>
                  </a:lnTo>
                  <a:lnTo>
                    <a:pt x="69" y="299"/>
                  </a:lnTo>
                  <a:lnTo>
                    <a:pt x="69" y="299"/>
                  </a:lnTo>
                  <a:lnTo>
                    <a:pt x="67" y="297"/>
                  </a:lnTo>
                  <a:lnTo>
                    <a:pt x="67" y="294"/>
                  </a:lnTo>
                  <a:lnTo>
                    <a:pt x="67" y="291"/>
                  </a:lnTo>
                  <a:lnTo>
                    <a:pt x="67" y="291"/>
                  </a:lnTo>
                  <a:lnTo>
                    <a:pt x="64" y="289"/>
                  </a:lnTo>
                  <a:lnTo>
                    <a:pt x="64" y="286"/>
                  </a:lnTo>
                  <a:lnTo>
                    <a:pt x="64" y="283"/>
                  </a:lnTo>
                  <a:lnTo>
                    <a:pt x="64" y="278"/>
                  </a:lnTo>
                  <a:lnTo>
                    <a:pt x="64" y="278"/>
                  </a:lnTo>
                  <a:lnTo>
                    <a:pt x="64" y="275"/>
                  </a:lnTo>
                  <a:lnTo>
                    <a:pt x="64" y="275"/>
                  </a:lnTo>
                  <a:lnTo>
                    <a:pt x="64" y="273"/>
                  </a:lnTo>
                  <a:lnTo>
                    <a:pt x="64" y="273"/>
                  </a:lnTo>
                  <a:lnTo>
                    <a:pt x="64" y="270"/>
                  </a:lnTo>
                  <a:lnTo>
                    <a:pt x="64" y="267"/>
                  </a:lnTo>
                  <a:lnTo>
                    <a:pt x="67" y="265"/>
                  </a:lnTo>
                  <a:lnTo>
                    <a:pt x="67" y="262"/>
                  </a:lnTo>
                  <a:lnTo>
                    <a:pt x="64" y="259"/>
                  </a:lnTo>
                  <a:lnTo>
                    <a:pt x="59" y="254"/>
                  </a:lnTo>
                  <a:lnTo>
                    <a:pt x="59" y="254"/>
                  </a:lnTo>
                  <a:lnTo>
                    <a:pt x="56" y="249"/>
                  </a:lnTo>
                  <a:lnTo>
                    <a:pt x="56" y="249"/>
                  </a:lnTo>
                  <a:lnTo>
                    <a:pt x="56" y="246"/>
                  </a:lnTo>
                  <a:lnTo>
                    <a:pt x="56" y="243"/>
                  </a:lnTo>
                  <a:lnTo>
                    <a:pt x="59" y="243"/>
                  </a:lnTo>
                  <a:lnTo>
                    <a:pt x="56" y="238"/>
                  </a:lnTo>
                  <a:lnTo>
                    <a:pt x="51" y="233"/>
                  </a:lnTo>
                  <a:lnTo>
                    <a:pt x="48" y="233"/>
                  </a:lnTo>
                  <a:lnTo>
                    <a:pt x="45" y="227"/>
                  </a:lnTo>
                  <a:lnTo>
                    <a:pt x="43" y="225"/>
                  </a:lnTo>
                  <a:lnTo>
                    <a:pt x="43" y="222"/>
                  </a:lnTo>
                  <a:lnTo>
                    <a:pt x="43" y="219"/>
                  </a:lnTo>
                  <a:lnTo>
                    <a:pt x="43" y="217"/>
                  </a:lnTo>
                  <a:lnTo>
                    <a:pt x="40" y="214"/>
                  </a:lnTo>
                  <a:lnTo>
                    <a:pt x="37" y="214"/>
                  </a:lnTo>
                  <a:lnTo>
                    <a:pt x="35" y="211"/>
                  </a:lnTo>
                  <a:lnTo>
                    <a:pt x="35" y="209"/>
                  </a:lnTo>
                  <a:lnTo>
                    <a:pt x="35" y="206"/>
                  </a:lnTo>
                  <a:lnTo>
                    <a:pt x="35" y="203"/>
                  </a:lnTo>
                  <a:lnTo>
                    <a:pt x="35" y="201"/>
                  </a:lnTo>
                  <a:lnTo>
                    <a:pt x="35" y="198"/>
                  </a:lnTo>
                  <a:lnTo>
                    <a:pt x="35" y="195"/>
                  </a:lnTo>
                  <a:lnTo>
                    <a:pt x="32" y="193"/>
                  </a:lnTo>
                  <a:lnTo>
                    <a:pt x="32" y="193"/>
                  </a:lnTo>
                  <a:lnTo>
                    <a:pt x="32" y="190"/>
                  </a:lnTo>
                  <a:lnTo>
                    <a:pt x="27" y="184"/>
                  </a:lnTo>
                  <a:lnTo>
                    <a:pt x="29" y="179"/>
                  </a:lnTo>
                  <a:lnTo>
                    <a:pt x="29" y="174"/>
                  </a:lnTo>
                  <a:lnTo>
                    <a:pt x="27" y="168"/>
                  </a:lnTo>
                  <a:lnTo>
                    <a:pt x="27" y="166"/>
                  </a:lnTo>
                  <a:lnTo>
                    <a:pt x="24" y="166"/>
                  </a:lnTo>
                  <a:lnTo>
                    <a:pt x="19" y="166"/>
                  </a:lnTo>
                  <a:lnTo>
                    <a:pt x="19" y="160"/>
                  </a:lnTo>
                  <a:lnTo>
                    <a:pt x="19" y="158"/>
                  </a:lnTo>
                  <a:lnTo>
                    <a:pt x="16" y="158"/>
                  </a:lnTo>
                  <a:lnTo>
                    <a:pt x="16" y="158"/>
                  </a:lnTo>
                  <a:lnTo>
                    <a:pt x="16" y="155"/>
                  </a:lnTo>
                  <a:lnTo>
                    <a:pt x="16" y="155"/>
                  </a:lnTo>
                  <a:lnTo>
                    <a:pt x="16" y="155"/>
                  </a:lnTo>
                  <a:lnTo>
                    <a:pt x="16" y="152"/>
                  </a:lnTo>
                  <a:lnTo>
                    <a:pt x="16" y="152"/>
                  </a:lnTo>
                  <a:lnTo>
                    <a:pt x="16" y="152"/>
                  </a:lnTo>
                  <a:lnTo>
                    <a:pt x="13" y="152"/>
                  </a:lnTo>
                  <a:lnTo>
                    <a:pt x="13" y="150"/>
                  </a:lnTo>
                  <a:lnTo>
                    <a:pt x="13" y="150"/>
                  </a:lnTo>
                  <a:lnTo>
                    <a:pt x="11" y="150"/>
                  </a:lnTo>
                  <a:lnTo>
                    <a:pt x="11" y="150"/>
                  </a:lnTo>
                  <a:lnTo>
                    <a:pt x="13" y="150"/>
                  </a:lnTo>
                  <a:lnTo>
                    <a:pt x="13" y="147"/>
                  </a:lnTo>
                  <a:lnTo>
                    <a:pt x="13" y="147"/>
                  </a:lnTo>
                  <a:lnTo>
                    <a:pt x="13" y="147"/>
                  </a:lnTo>
                  <a:lnTo>
                    <a:pt x="13" y="147"/>
                  </a:lnTo>
                  <a:lnTo>
                    <a:pt x="13" y="144"/>
                  </a:lnTo>
                  <a:lnTo>
                    <a:pt x="13" y="144"/>
                  </a:lnTo>
                  <a:lnTo>
                    <a:pt x="11" y="144"/>
                  </a:lnTo>
                  <a:lnTo>
                    <a:pt x="5" y="139"/>
                  </a:lnTo>
                  <a:lnTo>
                    <a:pt x="5" y="139"/>
                  </a:lnTo>
                  <a:lnTo>
                    <a:pt x="3" y="139"/>
                  </a:lnTo>
                  <a:lnTo>
                    <a:pt x="3" y="136"/>
                  </a:lnTo>
                  <a:lnTo>
                    <a:pt x="3" y="134"/>
                  </a:lnTo>
                  <a:lnTo>
                    <a:pt x="0" y="134"/>
                  </a:lnTo>
                  <a:lnTo>
                    <a:pt x="3" y="131"/>
                  </a:lnTo>
                  <a:lnTo>
                    <a:pt x="3" y="131"/>
                  </a:lnTo>
                  <a:lnTo>
                    <a:pt x="3" y="128"/>
                  </a:lnTo>
                  <a:lnTo>
                    <a:pt x="5" y="126"/>
                  </a:lnTo>
                  <a:lnTo>
                    <a:pt x="5" y="126"/>
                  </a:lnTo>
                  <a:lnTo>
                    <a:pt x="5" y="123"/>
                  </a:lnTo>
                  <a:lnTo>
                    <a:pt x="5" y="123"/>
                  </a:lnTo>
                  <a:lnTo>
                    <a:pt x="5" y="123"/>
                  </a:lnTo>
                  <a:lnTo>
                    <a:pt x="5" y="123"/>
                  </a:lnTo>
                  <a:lnTo>
                    <a:pt x="5" y="120"/>
                  </a:lnTo>
                  <a:lnTo>
                    <a:pt x="5" y="120"/>
                  </a:lnTo>
                  <a:lnTo>
                    <a:pt x="5" y="120"/>
                  </a:lnTo>
                  <a:lnTo>
                    <a:pt x="8" y="120"/>
                  </a:lnTo>
                  <a:lnTo>
                    <a:pt x="8" y="120"/>
                  </a:lnTo>
                  <a:lnTo>
                    <a:pt x="8" y="120"/>
                  </a:lnTo>
                  <a:lnTo>
                    <a:pt x="8" y="118"/>
                  </a:lnTo>
                  <a:lnTo>
                    <a:pt x="8" y="118"/>
                  </a:lnTo>
                  <a:lnTo>
                    <a:pt x="8" y="115"/>
                  </a:lnTo>
                  <a:lnTo>
                    <a:pt x="11" y="115"/>
                  </a:lnTo>
                  <a:lnTo>
                    <a:pt x="11" y="115"/>
                  </a:lnTo>
                  <a:lnTo>
                    <a:pt x="11" y="115"/>
                  </a:lnTo>
                  <a:lnTo>
                    <a:pt x="11" y="115"/>
                  </a:lnTo>
                  <a:lnTo>
                    <a:pt x="11" y="112"/>
                  </a:lnTo>
                  <a:lnTo>
                    <a:pt x="11" y="110"/>
                  </a:lnTo>
                  <a:lnTo>
                    <a:pt x="11" y="107"/>
                  </a:lnTo>
                  <a:lnTo>
                    <a:pt x="11" y="107"/>
                  </a:lnTo>
                  <a:lnTo>
                    <a:pt x="13" y="104"/>
                  </a:lnTo>
                  <a:lnTo>
                    <a:pt x="13" y="104"/>
                  </a:lnTo>
                  <a:lnTo>
                    <a:pt x="13" y="104"/>
                  </a:lnTo>
                  <a:lnTo>
                    <a:pt x="13" y="102"/>
                  </a:lnTo>
                  <a:lnTo>
                    <a:pt x="13" y="99"/>
                  </a:lnTo>
                  <a:lnTo>
                    <a:pt x="13" y="99"/>
                  </a:lnTo>
                  <a:lnTo>
                    <a:pt x="13" y="99"/>
                  </a:lnTo>
                  <a:lnTo>
                    <a:pt x="13" y="99"/>
                  </a:lnTo>
                  <a:lnTo>
                    <a:pt x="13" y="96"/>
                  </a:lnTo>
                  <a:lnTo>
                    <a:pt x="16" y="96"/>
                  </a:lnTo>
                  <a:lnTo>
                    <a:pt x="13" y="96"/>
                  </a:lnTo>
                  <a:lnTo>
                    <a:pt x="13" y="94"/>
                  </a:lnTo>
                  <a:lnTo>
                    <a:pt x="13" y="94"/>
                  </a:lnTo>
                  <a:lnTo>
                    <a:pt x="13" y="94"/>
                  </a:lnTo>
                  <a:lnTo>
                    <a:pt x="13" y="94"/>
                  </a:lnTo>
                  <a:lnTo>
                    <a:pt x="13" y="91"/>
                  </a:lnTo>
                  <a:lnTo>
                    <a:pt x="16" y="88"/>
                  </a:lnTo>
                  <a:lnTo>
                    <a:pt x="19" y="88"/>
                  </a:lnTo>
                  <a:lnTo>
                    <a:pt x="19" y="88"/>
                  </a:lnTo>
                  <a:lnTo>
                    <a:pt x="19" y="80"/>
                  </a:lnTo>
                  <a:lnTo>
                    <a:pt x="19" y="80"/>
                  </a:lnTo>
                  <a:lnTo>
                    <a:pt x="19" y="80"/>
                  </a:lnTo>
                  <a:lnTo>
                    <a:pt x="19" y="78"/>
                  </a:lnTo>
                  <a:lnTo>
                    <a:pt x="19" y="78"/>
                  </a:lnTo>
                  <a:lnTo>
                    <a:pt x="16" y="72"/>
                  </a:lnTo>
                  <a:lnTo>
                    <a:pt x="16" y="70"/>
                  </a:lnTo>
                  <a:lnTo>
                    <a:pt x="16" y="70"/>
                  </a:lnTo>
                  <a:lnTo>
                    <a:pt x="16" y="70"/>
                  </a:lnTo>
                  <a:lnTo>
                    <a:pt x="16" y="67"/>
                  </a:lnTo>
                  <a:lnTo>
                    <a:pt x="13" y="67"/>
                  </a:lnTo>
                  <a:lnTo>
                    <a:pt x="13" y="70"/>
                  </a:lnTo>
                  <a:lnTo>
                    <a:pt x="13" y="70"/>
                  </a:lnTo>
                  <a:lnTo>
                    <a:pt x="11" y="67"/>
                  </a:lnTo>
                  <a:lnTo>
                    <a:pt x="8" y="67"/>
                  </a:lnTo>
                  <a:lnTo>
                    <a:pt x="8" y="67"/>
                  </a:lnTo>
                  <a:lnTo>
                    <a:pt x="8" y="67"/>
                  </a:lnTo>
                  <a:lnTo>
                    <a:pt x="5" y="67"/>
                  </a:lnTo>
                  <a:lnTo>
                    <a:pt x="5" y="67"/>
                  </a:lnTo>
                  <a:lnTo>
                    <a:pt x="5" y="67"/>
                  </a:lnTo>
                  <a:lnTo>
                    <a:pt x="5" y="64"/>
                  </a:lnTo>
                  <a:lnTo>
                    <a:pt x="8" y="64"/>
                  </a:lnTo>
                  <a:lnTo>
                    <a:pt x="8" y="64"/>
                  </a:lnTo>
                  <a:lnTo>
                    <a:pt x="8" y="64"/>
                  </a:lnTo>
                  <a:lnTo>
                    <a:pt x="8" y="62"/>
                  </a:lnTo>
                  <a:lnTo>
                    <a:pt x="5" y="62"/>
                  </a:lnTo>
                  <a:lnTo>
                    <a:pt x="5" y="62"/>
                  </a:lnTo>
                  <a:lnTo>
                    <a:pt x="5" y="59"/>
                  </a:lnTo>
                  <a:lnTo>
                    <a:pt x="5" y="59"/>
                  </a:lnTo>
                  <a:lnTo>
                    <a:pt x="5" y="59"/>
                  </a:lnTo>
                  <a:lnTo>
                    <a:pt x="8" y="59"/>
                  </a:lnTo>
                  <a:lnTo>
                    <a:pt x="8" y="59"/>
                  </a:lnTo>
                  <a:lnTo>
                    <a:pt x="8" y="59"/>
                  </a:lnTo>
                  <a:lnTo>
                    <a:pt x="8" y="59"/>
                  </a:lnTo>
                  <a:lnTo>
                    <a:pt x="11" y="56"/>
                  </a:lnTo>
                  <a:lnTo>
                    <a:pt x="11" y="54"/>
                  </a:lnTo>
                  <a:lnTo>
                    <a:pt x="11" y="46"/>
                  </a:lnTo>
                  <a:lnTo>
                    <a:pt x="8" y="46"/>
                  </a:lnTo>
                  <a:lnTo>
                    <a:pt x="8" y="46"/>
                  </a:lnTo>
                  <a:lnTo>
                    <a:pt x="8" y="43"/>
                  </a:lnTo>
                  <a:lnTo>
                    <a:pt x="5" y="43"/>
                  </a:lnTo>
                  <a:lnTo>
                    <a:pt x="5" y="40"/>
                  </a:lnTo>
                  <a:lnTo>
                    <a:pt x="3" y="40"/>
                  </a:lnTo>
                  <a:lnTo>
                    <a:pt x="3" y="38"/>
                  </a:lnTo>
                  <a:lnTo>
                    <a:pt x="3" y="38"/>
                  </a:lnTo>
                  <a:lnTo>
                    <a:pt x="3" y="35"/>
                  </a:lnTo>
                  <a:lnTo>
                    <a:pt x="3" y="35"/>
                  </a:lnTo>
                  <a:lnTo>
                    <a:pt x="3" y="32"/>
                  </a:lnTo>
                  <a:lnTo>
                    <a:pt x="3" y="32"/>
                  </a:lnTo>
                  <a:lnTo>
                    <a:pt x="3" y="32"/>
                  </a:lnTo>
                  <a:lnTo>
                    <a:pt x="3" y="30"/>
                  </a:lnTo>
                  <a:lnTo>
                    <a:pt x="3" y="30"/>
                  </a:lnTo>
                  <a:lnTo>
                    <a:pt x="19" y="30"/>
                  </a:lnTo>
                  <a:lnTo>
                    <a:pt x="51" y="30"/>
                  </a:lnTo>
                  <a:lnTo>
                    <a:pt x="85" y="27"/>
                  </a:lnTo>
                  <a:lnTo>
                    <a:pt x="120" y="27"/>
                  </a:lnTo>
                  <a:lnTo>
                    <a:pt x="155" y="24"/>
                  </a:lnTo>
                  <a:lnTo>
                    <a:pt x="187" y="22"/>
                  </a:lnTo>
                  <a:lnTo>
                    <a:pt x="222" y="22"/>
                  </a:lnTo>
                  <a:lnTo>
                    <a:pt x="256" y="19"/>
                  </a:lnTo>
                  <a:lnTo>
                    <a:pt x="291" y="16"/>
                  </a:lnTo>
                  <a:lnTo>
                    <a:pt x="323" y="16"/>
                  </a:lnTo>
                  <a:lnTo>
                    <a:pt x="358" y="14"/>
                  </a:lnTo>
                  <a:lnTo>
                    <a:pt x="392" y="11"/>
                  </a:lnTo>
                  <a:lnTo>
                    <a:pt x="427" y="8"/>
                  </a:lnTo>
                  <a:lnTo>
                    <a:pt x="459" y="5"/>
                  </a:lnTo>
                  <a:lnTo>
                    <a:pt x="494" y="5"/>
                  </a:lnTo>
                  <a:lnTo>
                    <a:pt x="528" y="3"/>
                  </a:lnTo>
                  <a:lnTo>
                    <a:pt x="563" y="0"/>
                  </a:lnTo>
                  <a:lnTo>
                    <a:pt x="563" y="0"/>
                  </a:lnTo>
                  <a:lnTo>
                    <a:pt x="563" y="0"/>
                  </a:lnTo>
                  <a:lnTo>
                    <a:pt x="563" y="3"/>
                  </a:lnTo>
                  <a:lnTo>
                    <a:pt x="563" y="5"/>
                  </a:lnTo>
                  <a:lnTo>
                    <a:pt x="563" y="5"/>
                  </a:lnTo>
                  <a:lnTo>
                    <a:pt x="566" y="8"/>
                  </a:lnTo>
                  <a:lnTo>
                    <a:pt x="566" y="11"/>
                  </a:lnTo>
                  <a:lnTo>
                    <a:pt x="566" y="11"/>
                  </a:lnTo>
                  <a:lnTo>
                    <a:pt x="566" y="16"/>
                  </a:lnTo>
                  <a:lnTo>
                    <a:pt x="568" y="16"/>
                  </a:lnTo>
                  <a:lnTo>
                    <a:pt x="568" y="16"/>
                  </a:lnTo>
                  <a:lnTo>
                    <a:pt x="579" y="19"/>
                  </a:lnTo>
                  <a:lnTo>
                    <a:pt x="582" y="22"/>
                  </a:lnTo>
                  <a:lnTo>
                    <a:pt x="582" y="27"/>
                  </a:lnTo>
                  <a:lnTo>
                    <a:pt x="579" y="32"/>
                  </a:lnTo>
                  <a:lnTo>
                    <a:pt x="576" y="40"/>
                  </a:lnTo>
                  <a:lnTo>
                    <a:pt x="574" y="46"/>
                  </a:lnTo>
                  <a:lnTo>
                    <a:pt x="576" y="54"/>
                  </a:lnTo>
                  <a:lnTo>
                    <a:pt x="576" y="59"/>
                  </a:lnTo>
                  <a:lnTo>
                    <a:pt x="576" y="64"/>
                  </a:lnTo>
                  <a:lnTo>
                    <a:pt x="576" y="67"/>
                  </a:lnTo>
                  <a:lnTo>
                    <a:pt x="579" y="67"/>
                  </a:lnTo>
                  <a:lnTo>
                    <a:pt x="579" y="75"/>
                  </a:lnTo>
                  <a:lnTo>
                    <a:pt x="579" y="78"/>
                  </a:lnTo>
                  <a:lnTo>
                    <a:pt x="582" y="78"/>
                  </a:lnTo>
                  <a:lnTo>
                    <a:pt x="584" y="83"/>
                  </a:lnTo>
                  <a:lnTo>
                    <a:pt x="584" y="83"/>
                  </a:lnTo>
                  <a:lnTo>
                    <a:pt x="587" y="86"/>
                  </a:lnTo>
                  <a:lnTo>
                    <a:pt x="587" y="94"/>
                  </a:lnTo>
                  <a:lnTo>
                    <a:pt x="587" y="94"/>
                  </a:lnTo>
                  <a:lnTo>
                    <a:pt x="592" y="102"/>
                  </a:lnTo>
                  <a:lnTo>
                    <a:pt x="592" y="104"/>
                  </a:lnTo>
                  <a:lnTo>
                    <a:pt x="595" y="104"/>
                  </a:lnTo>
                  <a:lnTo>
                    <a:pt x="600" y="107"/>
                  </a:lnTo>
                  <a:lnTo>
                    <a:pt x="619" y="107"/>
                  </a:lnTo>
                  <a:lnTo>
                    <a:pt x="624" y="110"/>
                  </a:lnTo>
                  <a:lnTo>
                    <a:pt x="627" y="110"/>
                  </a:lnTo>
                  <a:lnTo>
                    <a:pt x="630" y="110"/>
                  </a:lnTo>
                  <a:lnTo>
                    <a:pt x="630" y="112"/>
                  </a:lnTo>
                  <a:lnTo>
                    <a:pt x="632" y="118"/>
                  </a:lnTo>
                  <a:lnTo>
                    <a:pt x="635" y="120"/>
                  </a:lnTo>
                  <a:lnTo>
                    <a:pt x="638" y="123"/>
                  </a:lnTo>
                  <a:lnTo>
                    <a:pt x="638" y="126"/>
                  </a:lnTo>
                  <a:lnTo>
                    <a:pt x="638" y="126"/>
                  </a:lnTo>
                  <a:lnTo>
                    <a:pt x="638" y="128"/>
                  </a:lnTo>
                  <a:lnTo>
                    <a:pt x="638" y="128"/>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47" name="Freeform 44">
              <a:extLst>
                <a:ext uri="{FF2B5EF4-FFF2-40B4-BE49-F238E27FC236}">
                  <a16:creationId xmlns="" xmlns:a16="http://schemas.microsoft.com/office/drawing/2014/main" id="{9F25B553-FE21-4042-A628-129F082A3F52}"/>
                </a:ext>
              </a:extLst>
            </p:cNvPr>
            <p:cNvSpPr>
              <a:spLocks noEditPoints="1"/>
            </p:cNvSpPr>
            <p:nvPr/>
          </p:nvSpPr>
          <p:spPr bwMode="auto">
            <a:xfrm>
              <a:off x="3173" y="3759"/>
              <a:ext cx="840" cy="510"/>
            </a:xfrm>
            <a:custGeom>
              <a:avLst/>
              <a:gdLst>
                <a:gd name="T0" fmla="*/ 632 w 840"/>
                <a:gd name="T1" fmla="*/ 211 h 510"/>
                <a:gd name="T2" fmla="*/ 614 w 840"/>
                <a:gd name="T3" fmla="*/ 200 h 510"/>
                <a:gd name="T4" fmla="*/ 595 w 840"/>
                <a:gd name="T5" fmla="*/ 203 h 510"/>
                <a:gd name="T6" fmla="*/ 571 w 840"/>
                <a:gd name="T7" fmla="*/ 192 h 510"/>
                <a:gd name="T8" fmla="*/ 555 w 840"/>
                <a:gd name="T9" fmla="*/ 187 h 510"/>
                <a:gd name="T10" fmla="*/ 555 w 840"/>
                <a:gd name="T11" fmla="*/ 219 h 510"/>
                <a:gd name="T12" fmla="*/ 574 w 840"/>
                <a:gd name="T13" fmla="*/ 222 h 510"/>
                <a:gd name="T14" fmla="*/ 584 w 840"/>
                <a:gd name="T15" fmla="*/ 248 h 510"/>
                <a:gd name="T16" fmla="*/ 611 w 840"/>
                <a:gd name="T17" fmla="*/ 254 h 510"/>
                <a:gd name="T18" fmla="*/ 654 w 840"/>
                <a:gd name="T19" fmla="*/ 235 h 510"/>
                <a:gd name="T20" fmla="*/ 550 w 840"/>
                <a:gd name="T21" fmla="*/ 267 h 510"/>
                <a:gd name="T22" fmla="*/ 827 w 840"/>
                <a:gd name="T23" fmla="*/ 409 h 510"/>
                <a:gd name="T24" fmla="*/ 798 w 840"/>
                <a:gd name="T25" fmla="*/ 385 h 510"/>
                <a:gd name="T26" fmla="*/ 731 w 840"/>
                <a:gd name="T27" fmla="*/ 329 h 510"/>
                <a:gd name="T28" fmla="*/ 710 w 840"/>
                <a:gd name="T29" fmla="*/ 321 h 510"/>
                <a:gd name="T30" fmla="*/ 680 w 840"/>
                <a:gd name="T31" fmla="*/ 305 h 510"/>
                <a:gd name="T32" fmla="*/ 683 w 840"/>
                <a:gd name="T33" fmla="*/ 342 h 510"/>
                <a:gd name="T34" fmla="*/ 656 w 840"/>
                <a:gd name="T35" fmla="*/ 371 h 510"/>
                <a:gd name="T36" fmla="*/ 659 w 840"/>
                <a:gd name="T37" fmla="*/ 403 h 510"/>
                <a:gd name="T38" fmla="*/ 667 w 840"/>
                <a:gd name="T39" fmla="*/ 425 h 510"/>
                <a:gd name="T40" fmla="*/ 670 w 840"/>
                <a:gd name="T41" fmla="*/ 484 h 510"/>
                <a:gd name="T42" fmla="*/ 686 w 840"/>
                <a:gd name="T43" fmla="*/ 497 h 510"/>
                <a:gd name="T44" fmla="*/ 712 w 840"/>
                <a:gd name="T45" fmla="*/ 505 h 510"/>
                <a:gd name="T46" fmla="*/ 750 w 840"/>
                <a:gd name="T47" fmla="*/ 468 h 510"/>
                <a:gd name="T48" fmla="*/ 792 w 840"/>
                <a:gd name="T49" fmla="*/ 454 h 510"/>
                <a:gd name="T50" fmla="*/ 838 w 840"/>
                <a:gd name="T51" fmla="*/ 422 h 510"/>
                <a:gd name="T52" fmla="*/ 534 w 840"/>
                <a:gd name="T53" fmla="*/ 166 h 510"/>
                <a:gd name="T54" fmla="*/ 507 w 840"/>
                <a:gd name="T55" fmla="*/ 160 h 510"/>
                <a:gd name="T56" fmla="*/ 472 w 840"/>
                <a:gd name="T57" fmla="*/ 160 h 510"/>
                <a:gd name="T58" fmla="*/ 461 w 840"/>
                <a:gd name="T59" fmla="*/ 160 h 510"/>
                <a:gd name="T60" fmla="*/ 461 w 840"/>
                <a:gd name="T61" fmla="*/ 179 h 510"/>
                <a:gd name="T62" fmla="*/ 526 w 840"/>
                <a:gd name="T63" fmla="*/ 182 h 510"/>
                <a:gd name="T64" fmla="*/ 144 w 840"/>
                <a:gd name="T65" fmla="*/ 11 h 510"/>
                <a:gd name="T66" fmla="*/ 128 w 840"/>
                <a:gd name="T67" fmla="*/ 3 h 510"/>
                <a:gd name="T68" fmla="*/ 93 w 840"/>
                <a:gd name="T69" fmla="*/ 8 h 510"/>
                <a:gd name="T70" fmla="*/ 69 w 840"/>
                <a:gd name="T71" fmla="*/ 29 h 510"/>
                <a:gd name="T72" fmla="*/ 88 w 840"/>
                <a:gd name="T73" fmla="*/ 45 h 510"/>
                <a:gd name="T74" fmla="*/ 123 w 840"/>
                <a:gd name="T75" fmla="*/ 59 h 510"/>
                <a:gd name="T76" fmla="*/ 141 w 840"/>
                <a:gd name="T77" fmla="*/ 35 h 510"/>
                <a:gd name="T78" fmla="*/ 16 w 840"/>
                <a:gd name="T79" fmla="*/ 43 h 510"/>
                <a:gd name="T80" fmla="*/ 5 w 840"/>
                <a:gd name="T81" fmla="*/ 69 h 510"/>
                <a:gd name="T82" fmla="*/ 21 w 840"/>
                <a:gd name="T83" fmla="*/ 53 h 510"/>
                <a:gd name="T84" fmla="*/ 392 w 840"/>
                <a:gd name="T85" fmla="*/ 136 h 510"/>
                <a:gd name="T86" fmla="*/ 381 w 840"/>
                <a:gd name="T87" fmla="*/ 120 h 510"/>
                <a:gd name="T88" fmla="*/ 371 w 840"/>
                <a:gd name="T89" fmla="*/ 118 h 510"/>
                <a:gd name="T90" fmla="*/ 363 w 840"/>
                <a:gd name="T91" fmla="*/ 99 h 510"/>
                <a:gd name="T92" fmla="*/ 349 w 840"/>
                <a:gd name="T93" fmla="*/ 83 h 510"/>
                <a:gd name="T94" fmla="*/ 328 w 840"/>
                <a:gd name="T95" fmla="*/ 99 h 510"/>
                <a:gd name="T96" fmla="*/ 304 w 840"/>
                <a:gd name="T97" fmla="*/ 104 h 510"/>
                <a:gd name="T98" fmla="*/ 320 w 840"/>
                <a:gd name="T99" fmla="*/ 131 h 510"/>
                <a:gd name="T100" fmla="*/ 333 w 840"/>
                <a:gd name="T101" fmla="*/ 147 h 510"/>
                <a:gd name="T102" fmla="*/ 344 w 840"/>
                <a:gd name="T103" fmla="*/ 134 h 510"/>
                <a:gd name="T104" fmla="*/ 355 w 840"/>
                <a:gd name="T105" fmla="*/ 134 h 510"/>
                <a:gd name="T106" fmla="*/ 363 w 840"/>
                <a:gd name="T107" fmla="*/ 142 h 510"/>
                <a:gd name="T108" fmla="*/ 381 w 840"/>
                <a:gd name="T109" fmla="*/ 150 h 510"/>
                <a:gd name="T110" fmla="*/ 523 w 840"/>
                <a:gd name="T111" fmla="*/ 211 h 510"/>
                <a:gd name="T112" fmla="*/ 502 w 840"/>
                <a:gd name="T113" fmla="*/ 222 h 510"/>
                <a:gd name="T114" fmla="*/ 531 w 840"/>
                <a:gd name="T115" fmla="*/ 216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40" h="510">
                  <a:moveTo>
                    <a:pt x="654" y="235"/>
                  </a:moveTo>
                  <a:lnTo>
                    <a:pt x="656" y="227"/>
                  </a:lnTo>
                  <a:lnTo>
                    <a:pt x="654" y="222"/>
                  </a:lnTo>
                  <a:lnTo>
                    <a:pt x="646" y="219"/>
                  </a:lnTo>
                  <a:lnTo>
                    <a:pt x="643" y="216"/>
                  </a:lnTo>
                  <a:lnTo>
                    <a:pt x="635" y="216"/>
                  </a:lnTo>
                  <a:lnTo>
                    <a:pt x="635" y="214"/>
                  </a:lnTo>
                  <a:lnTo>
                    <a:pt x="632" y="211"/>
                  </a:lnTo>
                  <a:lnTo>
                    <a:pt x="632" y="211"/>
                  </a:lnTo>
                  <a:lnTo>
                    <a:pt x="627" y="208"/>
                  </a:lnTo>
                  <a:lnTo>
                    <a:pt x="624" y="208"/>
                  </a:lnTo>
                  <a:lnTo>
                    <a:pt x="622" y="206"/>
                  </a:lnTo>
                  <a:lnTo>
                    <a:pt x="622" y="206"/>
                  </a:lnTo>
                  <a:lnTo>
                    <a:pt x="619" y="203"/>
                  </a:lnTo>
                  <a:lnTo>
                    <a:pt x="616" y="200"/>
                  </a:lnTo>
                  <a:lnTo>
                    <a:pt x="614" y="203"/>
                  </a:lnTo>
                  <a:lnTo>
                    <a:pt x="614" y="200"/>
                  </a:lnTo>
                  <a:lnTo>
                    <a:pt x="614" y="200"/>
                  </a:lnTo>
                  <a:lnTo>
                    <a:pt x="614" y="200"/>
                  </a:lnTo>
                  <a:lnTo>
                    <a:pt x="614" y="200"/>
                  </a:lnTo>
                  <a:lnTo>
                    <a:pt x="611" y="200"/>
                  </a:lnTo>
                  <a:lnTo>
                    <a:pt x="608" y="200"/>
                  </a:lnTo>
                  <a:lnTo>
                    <a:pt x="606" y="200"/>
                  </a:lnTo>
                  <a:lnTo>
                    <a:pt x="603" y="200"/>
                  </a:lnTo>
                  <a:lnTo>
                    <a:pt x="600" y="200"/>
                  </a:lnTo>
                  <a:lnTo>
                    <a:pt x="595" y="203"/>
                  </a:lnTo>
                  <a:lnTo>
                    <a:pt x="595" y="203"/>
                  </a:lnTo>
                  <a:lnTo>
                    <a:pt x="590" y="206"/>
                  </a:lnTo>
                  <a:lnTo>
                    <a:pt x="587" y="206"/>
                  </a:lnTo>
                  <a:lnTo>
                    <a:pt x="584" y="206"/>
                  </a:lnTo>
                  <a:lnTo>
                    <a:pt x="582" y="206"/>
                  </a:lnTo>
                  <a:lnTo>
                    <a:pt x="582" y="208"/>
                  </a:lnTo>
                  <a:lnTo>
                    <a:pt x="579" y="206"/>
                  </a:lnTo>
                  <a:lnTo>
                    <a:pt x="574" y="195"/>
                  </a:lnTo>
                  <a:lnTo>
                    <a:pt x="574" y="195"/>
                  </a:lnTo>
                  <a:lnTo>
                    <a:pt x="571" y="192"/>
                  </a:lnTo>
                  <a:lnTo>
                    <a:pt x="566" y="187"/>
                  </a:lnTo>
                  <a:lnTo>
                    <a:pt x="563" y="187"/>
                  </a:lnTo>
                  <a:lnTo>
                    <a:pt x="563" y="184"/>
                  </a:lnTo>
                  <a:lnTo>
                    <a:pt x="560" y="184"/>
                  </a:lnTo>
                  <a:lnTo>
                    <a:pt x="560" y="184"/>
                  </a:lnTo>
                  <a:lnTo>
                    <a:pt x="560" y="187"/>
                  </a:lnTo>
                  <a:lnTo>
                    <a:pt x="558" y="187"/>
                  </a:lnTo>
                  <a:lnTo>
                    <a:pt x="558" y="187"/>
                  </a:lnTo>
                  <a:lnTo>
                    <a:pt x="555" y="187"/>
                  </a:lnTo>
                  <a:lnTo>
                    <a:pt x="555" y="187"/>
                  </a:lnTo>
                  <a:lnTo>
                    <a:pt x="555" y="190"/>
                  </a:lnTo>
                  <a:lnTo>
                    <a:pt x="555" y="190"/>
                  </a:lnTo>
                  <a:lnTo>
                    <a:pt x="555" y="190"/>
                  </a:lnTo>
                  <a:lnTo>
                    <a:pt x="552" y="190"/>
                  </a:lnTo>
                  <a:lnTo>
                    <a:pt x="552" y="190"/>
                  </a:lnTo>
                  <a:lnTo>
                    <a:pt x="550" y="192"/>
                  </a:lnTo>
                  <a:lnTo>
                    <a:pt x="544" y="203"/>
                  </a:lnTo>
                  <a:lnTo>
                    <a:pt x="555" y="219"/>
                  </a:lnTo>
                  <a:lnTo>
                    <a:pt x="555" y="219"/>
                  </a:lnTo>
                  <a:lnTo>
                    <a:pt x="558" y="219"/>
                  </a:lnTo>
                  <a:lnTo>
                    <a:pt x="560" y="219"/>
                  </a:lnTo>
                  <a:lnTo>
                    <a:pt x="563" y="222"/>
                  </a:lnTo>
                  <a:lnTo>
                    <a:pt x="568" y="224"/>
                  </a:lnTo>
                  <a:lnTo>
                    <a:pt x="571" y="224"/>
                  </a:lnTo>
                  <a:lnTo>
                    <a:pt x="571" y="224"/>
                  </a:lnTo>
                  <a:lnTo>
                    <a:pt x="574" y="224"/>
                  </a:lnTo>
                  <a:lnTo>
                    <a:pt x="574" y="222"/>
                  </a:lnTo>
                  <a:lnTo>
                    <a:pt x="579" y="222"/>
                  </a:lnTo>
                  <a:lnTo>
                    <a:pt x="579" y="224"/>
                  </a:lnTo>
                  <a:lnTo>
                    <a:pt x="582" y="224"/>
                  </a:lnTo>
                  <a:lnTo>
                    <a:pt x="582" y="227"/>
                  </a:lnTo>
                  <a:lnTo>
                    <a:pt x="582" y="230"/>
                  </a:lnTo>
                  <a:lnTo>
                    <a:pt x="582" y="230"/>
                  </a:lnTo>
                  <a:lnTo>
                    <a:pt x="584" y="232"/>
                  </a:lnTo>
                  <a:lnTo>
                    <a:pt x="584" y="235"/>
                  </a:lnTo>
                  <a:lnTo>
                    <a:pt x="584" y="248"/>
                  </a:lnTo>
                  <a:lnTo>
                    <a:pt x="587" y="254"/>
                  </a:lnTo>
                  <a:lnTo>
                    <a:pt x="590" y="256"/>
                  </a:lnTo>
                  <a:lnTo>
                    <a:pt x="598" y="256"/>
                  </a:lnTo>
                  <a:lnTo>
                    <a:pt x="600" y="254"/>
                  </a:lnTo>
                  <a:lnTo>
                    <a:pt x="603" y="254"/>
                  </a:lnTo>
                  <a:lnTo>
                    <a:pt x="603" y="254"/>
                  </a:lnTo>
                  <a:lnTo>
                    <a:pt x="603" y="254"/>
                  </a:lnTo>
                  <a:lnTo>
                    <a:pt x="606" y="254"/>
                  </a:lnTo>
                  <a:lnTo>
                    <a:pt x="611" y="254"/>
                  </a:lnTo>
                  <a:lnTo>
                    <a:pt x="619" y="248"/>
                  </a:lnTo>
                  <a:lnTo>
                    <a:pt x="622" y="248"/>
                  </a:lnTo>
                  <a:lnTo>
                    <a:pt x="627" y="248"/>
                  </a:lnTo>
                  <a:lnTo>
                    <a:pt x="630" y="248"/>
                  </a:lnTo>
                  <a:lnTo>
                    <a:pt x="632" y="248"/>
                  </a:lnTo>
                  <a:lnTo>
                    <a:pt x="635" y="248"/>
                  </a:lnTo>
                  <a:lnTo>
                    <a:pt x="646" y="243"/>
                  </a:lnTo>
                  <a:lnTo>
                    <a:pt x="651" y="240"/>
                  </a:lnTo>
                  <a:lnTo>
                    <a:pt x="654" y="235"/>
                  </a:lnTo>
                  <a:close/>
                  <a:moveTo>
                    <a:pt x="568" y="254"/>
                  </a:moveTo>
                  <a:lnTo>
                    <a:pt x="566" y="251"/>
                  </a:lnTo>
                  <a:lnTo>
                    <a:pt x="563" y="254"/>
                  </a:lnTo>
                  <a:lnTo>
                    <a:pt x="560" y="254"/>
                  </a:lnTo>
                  <a:lnTo>
                    <a:pt x="555" y="256"/>
                  </a:lnTo>
                  <a:lnTo>
                    <a:pt x="550" y="259"/>
                  </a:lnTo>
                  <a:lnTo>
                    <a:pt x="547" y="262"/>
                  </a:lnTo>
                  <a:lnTo>
                    <a:pt x="547" y="265"/>
                  </a:lnTo>
                  <a:lnTo>
                    <a:pt x="550" y="267"/>
                  </a:lnTo>
                  <a:lnTo>
                    <a:pt x="552" y="267"/>
                  </a:lnTo>
                  <a:lnTo>
                    <a:pt x="558" y="265"/>
                  </a:lnTo>
                  <a:lnTo>
                    <a:pt x="558" y="265"/>
                  </a:lnTo>
                  <a:lnTo>
                    <a:pt x="566" y="265"/>
                  </a:lnTo>
                  <a:lnTo>
                    <a:pt x="568" y="265"/>
                  </a:lnTo>
                  <a:lnTo>
                    <a:pt x="571" y="262"/>
                  </a:lnTo>
                  <a:lnTo>
                    <a:pt x="568" y="262"/>
                  </a:lnTo>
                  <a:lnTo>
                    <a:pt x="568" y="254"/>
                  </a:lnTo>
                  <a:close/>
                  <a:moveTo>
                    <a:pt x="827" y="409"/>
                  </a:moveTo>
                  <a:lnTo>
                    <a:pt x="819" y="406"/>
                  </a:lnTo>
                  <a:lnTo>
                    <a:pt x="814" y="401"/>
                  </a:lnTo>
                  <a:lnTo>
                    <a:pt x="814" y="398"/>
                  </a:lnTo>
                  <a:lnTo>
                    <a:pt x="811" y="390"/>
                  </a:lnTo>
                  <a:lnTo>
                    <a:pt x="811" y="387"/>
                  </a:lnTo>
                  <a:lnTo>
                    <a:pt x="808" y="385"/>
                  </a:lnTo>
                  <a:lnTo>
                    <a:pt x="806" y="385"/>
                  </a:lnTo>
                  <a:lnTo>
                    <a:pt x="798" y="387"/>
                  </a:lnTo>
                  <a:lnTo>
                    <a:pt x="798" y="385"/>
                  </a:lnTo>
                  <a:lnTo>
                    <a:pt x="795" y="382"/>
                  </a:lnTo>
                  <a:lnTo>
                    <a:pt x="795" y="371"/>
                  </a:lnTo>
                  <a:lnTo>
                    <a:pt x="795" y="366"/>
                  </a:lnTo>
                  <a:lnTo>
                    <a:pt x="795" y="363"/>
                  </a:lnTo>
                  <a:lnTo>
                    <a:pt x="782" y="350"/>
                  </a:lnTo>
                  <a:lnTo>
                    <a:pt x="776" y="347"/>
                  </a:lnTo>
                  <a:lnTo>
                    <a:pt x="755" y="337"/>
                  </a:lnTo>
                  <a:lnTo>
                    <a:pt x="739" y="331"/>
                  </a:lnTo>
                  <a:lnTo>
                    <a:pt x="731" y="329"/>
                  </a:lnTo>
                  <a:lnTo>
                    <a:pt x="726" y="326"/>
                  </a:lnTo>
                  <a:lnTo>
                    <a:pt x="723" y="323"/>
                  </a:lnTo>
                  <a:lnTo>
                    <a:pt x="723" y="326"/>
                  </a:lnTo>
                  <a:lnTo>
                    <a:pt x="720" y="326"/>
                  </a:lnTo>
                  <a:lnTo>
                    <a:pt x="718" y="326"/>
                  </a:lnTo>
                  <a:lnTo>
                    <a:pt x="718" y="326"/>
                  </a:lnTo>
                  <a:lnTo>
                    <a:pt x="715" y="323"/>
                  </a:lnTo>
                  <a:lnTo>
                    <a:pt x="712" y="323"/>
                  </a:lnTo>
                  <a:lnTo>
                    <a:pt x="710" y="321"/>
                  </a:lnTo>
                  <a:lnTo>
                    <a:pt x="707" y="318"/>
                  </a:lnTo>
                  <a:lnTo>
                    <a:pt x="696" y="315"/>
                  </a:lnTo>
                  <a:lnTo>
                    <a:pt x="696" y="313"/>
                  </a:lnTo>
                  <a:lnTo>
                    <a:pt x="696" y="313"/>
                  </a:lnTo>
                  <a:lnTo>
                    <a:pt x="696" y="310"/>
                  </a:lnTo>
                  <a:lnTo>
                    <a:pt x="696" y="310"/>
                  </a:lnTo>
                  <a:lnTo>
                    <a:pt x="694" y="310"/>
                  </a:lnTo>
                  <a:lnTo>
                    <a:pt x="691" y="307"/>
                  </a:lnTo>
                  <a:lnTo>
                    <a:pt x="680" y="305"/>
                  </a:lnTo>
                  <a:lnTo>
                    <a:pt x="675" y="305"/>
                  </a:lnTo>
                  <a:lnTo>
                    <a:pt x="672" y="307"/>
                  </a:lnTo>
                  <a:lnTo>
                    <a:pt x="670" y="313"/>
                  </a:lnTo>
                  <a:lnTo>
                    <a:pt x="670" y="318"/>
                  </a:lnTo>
                  <a:lnTo>
                    <a:pt x="670" y="323"/>
                  </a:lnTo>
                  <a:lnTo>
                    <a:pt x="672" y="329"/>
                  </a:lnTo>
                  <a:lnTo>
                    <a:pt x="680" y="339"/>
                  </a:lnTo>
                  <a:lnTo>
                    <a:pt x="683" y="339"/>
                  </a:lnTo>
                  <a:lnTo>
                    <a:pt x="683" y="342"/>
                  </a:lnTo>
                  <a:lnTo>
                    <a:pt x="683" y="345"/>
                  </a:lnTo>
                  <a:lnTo>
                    <a:pt x="683" y="347"/>
                  </a:lnTo>
                  <a:lnTo>
                    <a:pt x="678" y="350"/>
                  </a:lnTo>
                  <a:lnTo>
                    <a:pt x="675" y="350"/>
                  </a:lnTo>
                  <a:lnTo>
                    <a:pt x="670" y="361"/>
                  </a:lnTo>
                  <a:lnTo>
                    <a:pt x="670" y="361"/>
                  </a:lnTo>
                  <a:lnTo>
                    <a:pt x="664" y="366"/>
                  </a:lnTo>
                  <a:lnTo>
                    <a:pt x="659" y="369"/>
                  </a:lnTo>
                  <a:lnTo>
                    <a:pt x="656" y="371"/>
                  </a:lnTo>
                  <a:lnTo>
                    <a:pt x="656" y="374"/>
                  </a:lnTo>
                  <a:lnTo>
                    <a:pt x="654" y="374"/>
                  </a:lnTo>
                  <a:lnTo>
                    <a:pt x="651" y="377"/>
                  </a:lnTo>
                  <a:lnTo>
                    <a:pt x="648" y="379"/>
                  </a:lnTo>
                  <a:lnTo>
                    <a:pt x="646" y="385"/>
                  </a:lnTo>
                  <a:lnTo>
                    <a:pt x="648" y="390"/>
                  </a:lnTo>
                  <a:lnTo>
                    <a:pt x="651" y="395"/>
                  </a:lnTo>
                  <a:lnTo>
                    <a:pt x="654" y="398"/>
                  </a:lnTo>
                  <a:lnTo>
                    <a:pt x="659" y="403"/>
                  </a:lnTo>
                  <a:lnTo>
                    <a:pt x="659" y="409"/>
                  </a:lnTo>
                  <a:lnTo>
                    <a:pt x="659" y="411"/>
                  </a:lnTo>
                  <a:lnTo>
                    <a:pt x="662" y="414"/>
                  </a:lnTo>
                  <a:lnTo>
                    <a:pt x="662" y="417"/>
                  </a:lnTo>
                  <a:lnTo>
                    <a:pt x="662" y="419"/>
                  </a:lnTo>
                  <a:lnTo>
                    <a:pt x="664" y="425"/>
                  </a:lnTo>
                  <a:lnTo>
                    <a:pt x="664" y="425"/>
                  </a:lnTo>
                  <a:lnTo>
                    <a:pt x="667" y="425"/>
                  </a:lnTo>
                  <a:lnTo>
                    <a:pt x="667" y="425"/>
                  </a:lnTo>
                  <a:lnTo>
                    <a:pt x="667" y="425"/>
                  </a:lnTo>
                  <a:lnTo>
                    <a:pt x="667" y="427"/>
                  </a:lnTo>
                  <a:lnTo>
                    <a:pt x="667" y="427"/>
                  </a:lnTo>
                  <a:lnTo>
                    <a:pt x="670" y="441"/>
                  </a:lnTo>
                  <a:lnTo>
                    <a:pt x="672" y="444"/>
                  </a:lnTo>
                  <a:lnTo>
                    <a:pt x="672" y="446"/>
                  </a:lnTo>
                  <a:lnTo>
                    <a:pt x="672" y="446"/>
                  </a:lnTo>
                  <a:lnTo>
                    <a:pt x="670" y="473"/>
                  </a:lnTo>
                  <a:lnTo>
                    <a:pt x="670" y="484"/>
                  </a:lnTo>
                  <a:lnTo>
                    <a:pt x="670" y="489"/>
                  </a:lnTo>
                  <a:lnTo>
                    <a:pt x="672" y="489"/>
                  </a:lnTo>
                  <a:lnTo>
                    <a:pt x="672" y="489"/>
                  </a:lnTo>
                  <a:lnTo>
                    <a:pt x="672" y="492"/>
                  </a:lnTo>
                  <a:lnTo>
                    <a:pt x="675" y="494"/>
                  </a:lnTo>
                  <a:lnTo>
                    <a:pt x="675" y="494"/>
                  </a:lnTo>
                  <a:lnTo>
                    <a:pt x="675" y="497"/>
                  </a:lnTo>
                  <a:lnTo>
                    <a:pt x="680" y="494"/>
                  </a:lnTo>
                  <a:lnTo>
                    <a:pt x="686" y="497"/>
                  </a:lnTo>
                  <a:lnTo>
                    <a:pt x="694" y="500"/>
                  </a:lnTo>
                  <a:lnTo>
                    <a:pt x="699" y="502"/>
                  </a:lnTo>
                  <a:lnTo>
                    <a:pt x="702" y="505"/>
                  </a:lnTo>
                  <a:lnTo>
                    <a:pt x="704" y="510"/>
                  </a:lnTo>
                  <a:lnTo>
                    <a:pt x="704" y="510"/>
                  </a:lnTo>
                  <a:lnTo>
                    <a:pt x="707" y="510"/>
                  </a:lnTo>
                  <a:lnTo>
                    <a:pt x="710" y="508"/>
                  </a:lnTo>
                  <a:lnTo>
                    <a:pt x="712" y="508"/>
                  </a:lnTo>
                  <a:lnTo>
                    <a:pt x="712" y="505"/>
                  </a:lnTo>
                  <a:lnTo>
                    <a:pt x="720" y="497"/>
                  </a:lnTo>
                  <a:lnTo>
                    <a:pt x="723" y="489"/>
                  </a:lnTo>
                  <a:lnTo>
                    <a:pt x="723" y="486"/>
                  </a:lnTo>
                  <a:lnTo>
                    <a:pt x="731" y="478"/>
                  </a:lnTo>
                  <a:lnTo>
                    <a:pt x="734" y="478"/>
                  </a:lnTo>
                  <a:lnTo>
                    <a:pt x="742" y="476"/>
                  </a:lnTo>
                  <a:lnTo>
                    <a:pt x="742" y="473"/>
                  </a:lnTo>
                  <a:lnTo>
                    <a:pt x="747" y="470"/>
                  </a:lnTo>
                  <a:lnTo>
                    <a:pt x="750" y="468"/>
                  </a:lnTo>
                  <a:lnTo>
                    <a:pt x="752" y="468"/>
                  </a:lnTo>
                  <a:lnTo>
                    <a:pt x="752" y="468"/>
                  </a:lnTo>
                  <a:lnTo>
                    <a:pt x="758" y="462"/>
                  </a:lnTo>
                  <a:lnTo>
                    <a:pt x="763" y="460"/>
                  </a:lnTo>
                  <a:lnTo>
                    <a:pt x="763" y="457"/>
                  </a:lnTo>
                  <a:lnTo>
                    <a:pt x="766" y="457"/>
                  </a:lnTo>
                  <a:lnTo>
                    <a:pt x="779" y="457"/>
                  </a:lnTo>
                  <a:lnTo>
                    <a:pt x="782" y="457"/>
                  </a:lnTo>
                  <a:lnTo>
                    <a:pt x="792" y="454"/>
                  </a:lnTo>
                  <a:lnTo>
                    <a:pt x="798" y="452"/>
                  </a:lnTo>
                  <a:lnTo>
                    <a:pt x="800" y="452"/>
                  </a:lnTo>
                  <a:lnTo>
                    <a:pt x="803" y="449"/>
                  </a:lnTo>
                  <a:lnTo>
                    <a:pt x="806" y="449"/>
                  </a:lnTo>
                  <a:lnTo>
                    <a:pt x="822" y="438"/>
                  </a:lnTo>
                  <a:lnTo>
                    <a:pt x="822" y="435"/>
                  </a:lnTo>
                  <a:lnTo>
                    <a:pt x="835" y="430"/>
                  </a:lnTo>
                  <a:lnTo>
                    <a:pt x="835" y="427"/>
                  </a:lnTo>
                  <a:lnTo>
                    <a:pt x="838" y="422"/>
                  </a:lnTo>
                  <a:lnTo>
                    <a:pt x="838" y="419"/>
                  </a:lnTo>
                  <a:lnTo>
                    <a:pt x="840" y="417"/>
                  </a:lnTo>
                  <a:lnTo>
                    <a:pt x="827" y="409"/>
                  </a:lnTo>
                  <a:close/>
                  <a:moveTo>
                    <a:pt x="544" y="166"/>
                  </a:moveTo>
                  <a:lnTo>
                    <a:pt x="539" y="166"/>
                  </a:lnTo>
                  <a:lnTo>
                    <a:pt x="536" y="166"/>
                  </a:lnTo>
                  <a:lnTo>
                    <a:pt x="536" y="166"/>
                  </a:lnTo>
                  <a:lnTo>
                    <a:pt x="534" y="166"/>
                  </a:lnTo>
                  <a:lnTo>
                    <a:pt x="534" y="166"/>
                  </a:lnTo>
                  <a:lnTo>
                    <a:pt x="534" y="166"/>
                  </a:lnTo>
                  <a:lnTo>
                    <a:pt x="531" y="166"/>
                  </a:lnTo>
                  <a:lnTo>
                    <a:pt x="531" y="166"/>
                  </a:lnTo>
                  <a:lnTo>
                    <a:pt x="528" y="166"/>
                  </a:lnTo>
                  <a:lnTo>
                    <a:pt x="528" y="166"/>
                  </a:lnTo>
                  <a:lnTo>
                    <a:pt x="518" y="166"/>
                  </a:lnTo>
                  <a:lnTo>
                    <a:pt x="515" y="166"/>
                  </a:lnTo>
                  <a:lnTo>
                    <a:pt x="512" y="166"/>
                  </a:lnTo>
                  <a:lnTo>
                    <a:pt x="507" y="160"/>
                  </a:lnTo>
                  <a:lnTo>
                    <a:pt x="504" y="160"/>
                  </a:lnTo>
                  <a:lnTo>
                    <a:pt x="504" y="160"/>
                  </a:lnTo>
                  <a:lnTo>
                    <a:pt x="504" y="163"/>
                  </a:lnTo>
                  <a:lnTo>
                    <a:pt x="504" y="163"/>
                  </a:lnTo>
                  <a:lnTo>
                    <a:pt x="502" y="163"/>
                  </a:lnTo>
                  <a:lnTo>
                    <a:pt x="496" y="163"/>
                  </a:lnTo>
                  <a:lnTo>
                    <a:pt x="494" y="160"/>
                  </a:lnTo>
                  <a:lnTo>
                    <a:pt x="472" y="160"/>
                  </a:lnTo>
                  <a:lnTo>
                    <a:pt x="472" y="160"/>
                  </a:lnTo>
                  <a:lnTo>
                    <a:pt x="469" y="158"/>
                  </a:lnTo>
                  <a:lnTo>
                    <a:pt x="467" y="158"/>
                  </a:lnTo>
                  <a:lnTo>
                    <a:pt x="467" y="158"/>
                  </a:lnTo>
                  <a:lnTo>
                    <a:pt x="464" y="158"/>
                  </a:lnTo>
                  <a:lnTo>
                    <a:pt x="464" y="158"/>
                  </a:lnTo>
                  <a:lnTo>
                    <a:pt x="461" y="158"/>
                  </a:lnTo>
                  <a:lnTo>
                    <a:pt x="461" y="158"/>
                  </a:lnTo>
                  <a:lnTo>
                    <a:pt x="461" y="160"/>
                  </a:lnTo>
                  <a:lnTo>
                    <a:pt x="461" y="160"/>
                  </a:lnTo>
                  <a:lnTo>
                    <a:pt x="461" y="163"/>
                  </a:lnTo>
                  <a:lnTo>
                    <a:pt x="456" y="166"/>
                  </a:lnTo>
                  <a:lnTo>
                    <a:pt x="456" y="168"/>
                  </a:lnTo>
                  <a:lnTo>
                    <a:pt x="453" y="171"/>
                  </a:lnTo>
                  <a:lnTo>
                    <a:pt x="453" y="174"/>
                  </a:lnTo>
                  <a:lnTo>
                    <a:pt x="453" y="176"/>
                  </a:lnTo>
                  <a:lnTo>
                    <a:pt x="456" y="176"/>
                  </a:lnTo>
                  <a:lnTo>
                    <a:pt x="459" y="179"/>
                  </a:lnTo>
                  <a:lnTo>
                    <a:pt x="461" y="179"/>
                  </a:lnTo>
                  <a:lnTo>
                    <a:pt x="464" y="176"/>
                  </a:lnTo>
                  <a:lnTo>
                    <a:pt x="467" y="176"/>
                  </a:lnTo>
                  <a:lnTo>
                    <a:pt x="477" y="176"/>
                  </a:lnTo>
                  <a:lnTo>
                    <a:pt x="491" y="176"/>
                  </a:lnTo>
                  <a:lnTo>
                    <a:pt x="494" y="176"/>
                  </a:lnTo>
                  <a:lnTo>
                    <a:pt x="507" y="182"/>
                  </a:lnTo>
                  <a:lnTo>
                    <a:pt x="515" y="184"/>
                  </a:lnTo>
                  <a:lnTo>
                    <a:pt x="520" y="184"/>
                  </a:lnTo>
                  <a:lnTo>
                    <a:pt x="526" y="182"/>
                  </a:lnTo>
                  <a:lnTo>
                    <a:pt x="531" y="182"/>
                  </a:lnTo>
                  <a:lnTo>
                    <a:pt x="539" y="176"/>
                  </a:lnTo>
                  <a:lnTo>
                    <a:pt x="542" y="174"/>
                  </a:lnTo>
                  <a:lnTo>
                    <a:pt x="544" y="166"/>
                  </a:lnTo>
                  <a:lnTo>
                    <a:pt x="544" y="166"/>
                  </a:lnTo>
                  <a:close/>
                  <a:moveTo>
                    <a:pt x="147" y="13"/>
                  </a:moveTo>
                  <a:lnTo>
                    <a:pt x="144" y="13"/>
                  </a:lnTo>
                  <a:lnTo>
                    <a:pt x="144" y="13"/>
                  </a:lnTo>
                  <a:lnTo>
                    <a:pt x="144" y="11"/>
                  </a:lnTo>
                  <a:lnTo>
                    <a:pt x="144" y="8"/>
                  </a:lnTo>
                  <a:lnTo>
                    <a:pt x="141" y="8"/>
                  </a:lnTo>
                  <a:lnTo>
                    <a:pt x="139" y="5"/>
                  </a:lnTo>
                  <a:lnTo>
                    <a:pt x="136" y="3"/>
                  </a:lnTo>
                  <a:lnTo>
                    <a:pt x="133" y="3"/>
                  </a:lnTo>
                  <a:lnTo>
                    <a:pt x="131" y="3"/>
                  </a:lnTo>
                  <a:lnTo>
                    <a:pt x="131" y="0"/>
                  </a:lnTo>
                  <a:lnTo>
                    <a:pt x="128" y="3"/>
                  </a:lnTo>
                  <a:lnTo>
                    <a:pt x="128" y="3"/>
                  </a:lnTo>
                  <a:lnTo>
                    <a:pt x="125" y="3"/>
                  </a:lnTo>
                  <a:lnTo>
                    <a:pt x="115" y="5"/>
                  </a:lnTo>
                  <a:lnTo>
                    <a:pt x="112" y="5"/>
                  </a:lnTo>
                  <a:lnTo>
                    <a:pt x="112" y="3"/>
                  </a:lnTo>
                  <a:lnTo>
                    <a:pt x="109" y="3"/>
                  </a:lnTo>
                  <a:lnTo>
                    <a:pt x="107" y="3"/>
                  </a:lnTo>
                  <a:lnTo>
                    <a:pt x="104" y="3"/>
                  </a:lnTo>
                  <a:lnTo>
                    <a:pt x="101" y="3"/>
                  </a:lnTo>
                  <a:lnTo>
                    <a:pt x="93" y="8"/>
                  </a:lnTo>
                  <a:lnTo>
                    <a:pt x="80" y="16"/>
                  </a:lnTo>
                  <a:lnTo>
                    <a:pt x="80" y="16"/>
                  </a:lnTo>
                  <a:lnTo>
                    <a:pt x="80" y="16"/>
                  </a:lnTo>
                  <a:lnTo>
                    <a:pt x="80" y="16"/>
                  </a:lnTo>
                  <a:lnTo>
                    <a:pt x="80" y="19"/>
                  </a:lnTo>
                  <a:lnTo>
                    <a:pt x="77" y="19"/>
                  </a:lnTo>
                  <a:lnTo>
                    <a:pt x="72" y="27"/>
                  </a:lnTo>
                  <a:lnTo>
                    <a:pt x="72" y="29"/>
                  </a:lnTo>
                  <a:lnTo>
                    <a:pt x="69" y="29"/>
                  </a:lnTo>
                  <a:lnTo>
                    <a:pt x="72" y="35"/>
                  </a:lnTo>
                  <a:lnTo>
                    <a:pt x="72" y="37"/>
                  </a:lnTo>
                  <a:lnTo>
                    <a:pt x="75" y="37"/>
                  </a:lnTo>
                  <a:lnTo>
                    <a:pt x="75" y="40"/>
                  </a:lnTo>
                  <a:lnTo>
                    <a:pt x="77" y="40"/>
                  </a:lnTo>
                  <a:lnTo>
                    <a:pt x="80" y="43"/>
                  </a:lnTo>
                  <a:lnTo>
                    <a:pt x="83" y="43"/>
                  </a:lnTo>
                  <a:lnTo>
                    <a:pt x="85" y="45"/>
                  </a:lnTo>
                  <a:lnTo>
                    <a:pt x="88" y="45"/>
                  </a:lnTo>
                  <a:lnTo>
                    <a:pt x="91" y="45"/>
                  </a:lnTo>
                  <a:lnTo>
                    <a:pt x="93" y="48"/>
                  </a:lnTo>
                  <a:lnTo>
                    <a:pt x="99" y="53"/>
                  </a:lnTo>
                  <a:lnTo>
                    <a:pt x="99" y="53"/>
                  </a:lnTo>
                  <a:lnTo>
                    <a:pt x="101" y="53"/>
                  </a:lnTo>
                  <a:lnTo>
                    <a:pt x="104" y="53"/>
                  </a:lnTo>
                  <a:lnTo>
                    <a:pt x="112" y="53"/>
                  </a:lnTo>
                  <a:lnTo>
                    <a:pt x="117" y="56"/>
                  </a:lnTo>
                  <a:lnTo>
                    <a:pt x="123" y="59"/>
                  </a:lnTo>
                  <a:lnTo>
                    <a:pt x="131" y="53"/>
                  </a:lnTo>
                  <a:lnTo>
                    <a:pt x="139" y="45"/>
                  </a:lnTo>
                  <a:lnTo>
                    <a:pt x="139" y="43"/>
                  </a:lnTo>
                  <a:lnTo>
                    <a:pt x="139" y="43"/>
                  </a:lnTo>
                  <a:lnTo>
                    <a:pt x="139" y="43"/>
                  </a:lnTo>
                  <a:lnTo>
                    <a:pt x="141" y="43"/>
                  </a:lnTo>
                  <a:lnTo>
                    <a:pt x="141" y="40"/>
                  </a:lnTo>
                  <a:lnTo>
                    <a:pt x="141" y="37"/>
                  </a:lnTo>
                  <a:lnTo>
                    <a:pt x="141" y="35"/>
                  </a:lnTo>
                  <a:lnTo>
                    <a:pt x="139" y="32"/>
                  </a:lnTo>
                  <a:lnTo>
                    <a:pt x="144" y="24"/>
                  </a:lnTo>
                  <a:lnTo>
                    <a:pt x="147" y="16"/>
                  </a:lnTo>
                  <a:lnTo>
                    <a:pt x="147" y="16"/>
                  </a:lnTo>
                  <a:lnTo>
                    <a:pt x="147" y="13"/>
                  </a:lnTo>
                  <a:close/>
                  <a:moveTo>
                    <a:pt x="24" y="35"/>
                  </a:moveTo>
                  <a:lnTo>
                    <a:pt x="21" y="37"/>
                  </a:lnTo>
                  <a:lnTo>
                    <a:pt x="21" y="37"/>
                  </a:lnTo>
                  <a:lnTo>
                    <a:pt x="16" y="43"/>
                  </a:lnTo>
                  <a:lnTo>
                    <a:pt x="16" y="43"/>
                  </a:lnTo>
                  <a:lnTo>
                    <a:pt x="13" y="45"/>
                  </a:lnTo>
                  <a:lnTo>
                    <a:pt x="13" y="48"/>
                  </a:lnTo>
                  <a:lnTo>
                    <a:pt x="8" y="48"/>
                  </a:lnTo>
                  <a:lnTo>
                    <a:pt x="3" y="56"/>
                  </a:lnTo>
                  <a:lnTo>
                    <a:pt x="0" y="59"/>
                  </a:lnTo>
                  <a:lnTo>
                    <a:pt x="0" y="64"/>
                  </a:lnTo>
                  <a:lnTo>
                    <a:pt x="0" y="67"/>
                  </a:lnTo>
                  <a:lnTo>
                    <a:pt x="5" y="69"/>
                  </a:lnTo>
                  <a:lnTo>
                    <a:pt x="5" y="69"/>
                  </a:lnTo>
                  <a:lnTo>
                    <a:pt x="8" y="69"/>
                  </a:lnTo>
                  <a:lnTo>
                    <a:pt x="8" y="67"/>
                  </a:lnTo>
                  <a:lnTo>
                    <a:pt x="11" y="64"/>
                  </a:lnTo>
                  <a:lnTo>
                    <a:pt x="11" y="61"/>
                  </a:lnTo>
                  <a:lnTo>
                    <a:pt x="16" y="56"/>
                  </a:lnTo>
                  <a:lnTo>
                    <a:pt x="16" y="56"/>
                  </a:lnTo>
                  <a:lnTo>
                    <a:pt x="21" y="56"/>
                  </a:lnTo>
                  <a:lnTo>
                    <a:pt x="21" y="53"/>
                  </a:lnTo>
                  <a:lnTo>
                    <a:pt x="24" y="53"/>
                  </a:lnTo>
                  <a:lnTo>
                    <a:pt x="27" y="51"/>
                  </a:lnTo>
                  <a:lnTo>
                    <a:pt x="27" y="48"/>
                  </a:lnTo>
                  <a:lnTo>
                    <a:pt x="27" y="43"/>
                  </a:lnTo>
                  <a:lnTo>
                    <a:pt x="29" y="40"/>
                  </a:lnTo>
                  <a:lnTo>
                    <a:pt x="32" y="37"/>
                  </a:lnTo>
                  <a:lnTo>
                    <a:pt x="29" y="35"/>
                  </a:lnTo>
                  <a:lnTo>
                    <a:pt x="24" y="35"/>
                  </a:lnTo>
                  <a:close/>
                  <a:moveTo>
                    <a:pt x="392" y="136"/>
                  </a:moveTo>
                  <a:lnTo>
                    <a:pt x="392" y="134"/>
                  </a:lnTo>
                  <a:lnTo>
                    <a:pt x="392" y="131"/>
                  </a:lnTo>
                  <a:lnTo>
                    <a:pt x="392" y="128"/>
                  </a:lnTo>
                  <a:lnTo>
                    <a:pt x="389" y="128"/>
                  </a:lnTo>
                  <a:lnTo>
                    <a:pt x="387" y="128"/>
                  </a:lnTo>
                  <a:lnTo>
                    <a:pt x="387" y="126"/>
                  </a:lnTo>
                  <a:lnTo>
                    <a:pt x="387" y="123"/>
                  </a:lnTo>
                  <a:lnTo>
                    <a:pt x="389" y="120"/>
                  </a:lnTo>
                  <a:lnTo>
                    <a:pt x="381" y="120"/>
                  </a:lnTo>
                  <a:lnTo>
                    <a:pt x="379" y="120"/>
                  </a:lnTo>
                  <a:lnTo>
                    <a:pt x="384" y="126"/>
                  </a:lnTo>
                  <a:lnTo>
                    <a:pt x="381" y="126"/>
                  </a:lnTo>
                  <a:lnTo>
                    <a:pt x="379" y="126"/>
                  </a:lnTo>
                  <a:lnTo>
                    <a:pt x="379" y="126"/>
                  </a:lnTo>
                  <a:lnTo>
                    <a:pt x="379" y="126"/>
                  </a:lnTo>
                  <a:lnTo>
                    <a:pt x="373" y="120"/>
                  </a:lnTo>
                  <a:lnTo>
                    <a:pt x="371" y="120"/>
                  </a:lnTo>
                  <a:lnTo>
                    <a:pt x="371" y="118"/>
                  </a:lnTo>
                  <a:lnTo>
                    <a:pt x="368" y="112"/>
                  </a:lnTo>
                  <a:lnTo>
                    <a:pt x="368" y="112"/>
                  </a:lnTo>
                  <a:lnTo>
                    <a:pt x="368" y="112"/>
                  </a:lnTo>
                  <a:lnTo>
                    <a:pt x="371" y="112"/>
                  </a:lnTo>
                  <a:lnTo>
                    <a:pt x="371" y="110"/>
                  </a:lnTo>
                  <a:lnTo>
                    <a:pt x="371" y="107"/>
                  </a:lnTo>
                  <a:lnTo>
                    <a:pt x="368" y="107"/>
                  </a:lnTo>
                  <a:lnTo>
                    <a:pt x="365" y="104"/>
                  </a:lnTo>
                  <a:lnTo>
                    <a:pt x="363" y="99"/>
                  </a:lnTo>
                  <a:lnTo>
                    <a:pt x="360" y="96"/>
                  </a:lnTo>
                  <a:lnTo>
                    <a:pt x="360" y="94"/>
                  </a:lnTo>
                  <a:lnTo>
                    <a:pt x="357" y="91"/>
                  </a:lnTo>
                  <a:lnTo>
                    <a:pt x="355" y="88"/>
                  </a:lnTo>
                  <a:lnTo>
                    <a:pt x="355" y="86"/>
                  </a:lnTo>
                  <a:lnTo>
                    <a:pt x="352" y="86"/>
                  </a:lnTo>
                  <a:lnTo>
                    <a:pt x="349" y="83"/>
                  </a:lnTo>
                  <a:lnTo>
                    <a:pt x="349" y="83"/>
                  </a:lnTo>
                  <a:lnTo>
                    <a:pt x="349" y="83"/>
                  </a:lnTo>
                  <a:lnTo>
                    <a:pt x="349" y="83"/>
                  </a:lnTo>
                  <a:lnTo>
                    <a:pt x="341" y="86"/>
                  </a:lnTo>
                  <a:lnTo>
                    <a:pt x="339" y="88"/>
                  </a:lnTo>
                  <a:lnTo>
                    <a:pt x="336" y="91"/>
                  </a:lnTo>
                  <a:lnTo>
                    <a:pt x="336" y="94"/>
                  </a:lnTo>
                  <a:lnTo>
                    <a:pt x="333" y="94"/>
                  </a:lnTo>
                  <a:lnTo>
                    <a:pt x="333" y="94"/>
                  </a:lnTo>
                  <a:lnTo>
                    <a:pt x="328" y="96"/>
                  </a:lnTo>
                  <a:lnTo>
                    <a:pt x="328" y="99"/>
                  </a:lnTo>
                  <a:lnTo>
                    <a:pt x="328" y="99"/>
                  </a:lnTo>
                  <a:lnTo>
                    <a:pt x="328" y="102"/>
                  </a:lnTo>
                  <a:lnTo>
                    <a:pt x="325" y="102"/>
                  </a:lnTo>
                  <a:lnTo>
                    <a:pt x="323" y="102"/>
                  </a:lnTo>
                  <a:lnTo>
                    <a:pt x="320" y="102"/>
                  </a:lnTo>
                  <a:lnTo>
                    <a:pt x="312" y="99"/>
                  </a:lnTo>
                  <a:lnTo>
                    <a:pt x="309" y="102"/>
                  </a:lnTo>
                  <a:lnTo>
                    <a:pt x="307" y="102"/>
                  </a:lnTo>
                  <a:lnTo>
                    <a:pt x="304" y="104"/>
                  </a:lnTo>
                  <a:lnTo>
                    <a:pt x="309" y="110"/>
                  </a:lnTo>
                  <a:lnTo>
                    <a:pt x="309" y="112"/>
                  </a:lnTo>
                  <a:lnTo>
                    <a:pt x="307" y="115"/>
                  </a:lnTo>
                  <a:lnTo>
                    <a:pt x="309" y="118"/>
                  </a:lnTo>
                  <a:lnTo>
                    <a:pt x="312" y="120"/>
                  </a:lnTo>
                  <a:lnTo>
                    <a:pt x="315" y="120"/>
                  </a:lnTo>
                  <a:lnTo>
                    <a:pt x="315" y="123"/>
                  </a:lnTo>
                  <a:lnTo>
                    <a:pt x="317" y="128"/>
                  </a:lnTo>
                  <a:lnTo>
                    <a:pt x="320" y="131"/>
                  </a:lnTo>
                  <a:lnTo>
                    <a:pt x="323" y="134"/>
                  </a:lnTo>
                  <a:lnTo>
                    <a:pt x="325" y="134"/>
                  </a:lnTo>
                  <a:lnTo>
                    <a:pt x="325" y="134"/>
                  </a:lnTo>
                  <a:lnTo>
                    <a:pt x="325" y="136"/>
                  </a:lnTo>
                  <a:lnTo>
                    <a:pt x="328" y="147"/>
                  </a:lnTo>
                  <a:lnTo>
                    <a:pt x="331" y="147"/>
                  </a:lnTo>
                  <a:lnTo>
                    <a:pt x="331" y="147"/>
                  </a:lnTo>
                  <a:lnTo>
                    <a:pt x="331" y="147"/>
                  </a:lnTo>
                  <a:lnTo>
                    <a:pt x="333" y="147"/>
                  </a:lnTo>
                  <a:lnTo>
                    <a:pt x="336" y="144"/>
                  </a:lnTo>
                  <a:lnTo>
                    <a:pt x="341" y="144"/>
                  </a:lnTo>
                  <a:lnTo>
                    <a:pt x="347" y="144"/>
                  </a:lnTo>
                  <a:lnTo>
                    <a:pt x="349" y="144"/>
                  </a:lnTo>
                  <a:lnTo>
                    <a:pt x="349" y="139"/>
                  </a:lnTo>
                  <a:lnTo>
                    <a:pt x="347" y="139"/>
                  </a:lnTo>
                  <a:lnTo>
                    <a:pt x="344" y="136"/>
                  </a:lnTo>
                  <a:lnTo>
                    <a:pt x="341" y="134"/>
                  </a:lnTo>
                  <a:lnTo>
                    <a:pt x="344" y="134"/>
                  </a:lnTo>
                  <a:lnTo>
                    <a:pt x="347" y="136"/>
                  </a:lnTo>
                  <a:lnTo>
                    <a:pt x="349" y="136"/>
                  </a:lnTo>
                  <a:lnTo>
                    <a:pt x="347" y="131"/>
                  </a:lnTo>
                  <a:lnTo>
                    <a:pt x="349" y="134"/>
                  </a:lnTo>
                  <a:lnTo>
                    <a:pt x="352" y="134"/>
                  </a:lnTo>
                  <a:lnTo>
                    <a:pt x="352" y="131"/>
                  </a:lnTo>
                  <a:lnTo>
                    <a:pt x="352" y="131"/>
                  </a:lnTo>
                  <a:lnTo>
                    <a:pt x="355" y="134"/>
                  </a:lnTo>
                  <a:lnTo>
                    <a:pt x="355" y="134"/>
                  </a:lnTo>
                  <a:lnTo>
                    <a:pt x="355" y="136"/>
                  </a:lnTo>
                  <a:lnTo>
                    <a:pt x="355" y="136"/>
                  </a:lnTo>
                  <a:lnTo>
                    <a:pt x="352" y="136"/>
                  </a:lnTo>
                  <a:lnTo>
                    <a:pt x="352" y="139"/>
                  </a:lnTo>
                  <a:lnTo>
                    <a:pt x="352" y="142"/>
                  </a:lnTo>
                  <a:lnTo>
                    <a:pt x="355" y="142"/>
                  </a:lnTo>
                  <a:lnTo>
                    <a:pt x="357" y="142"/>
                  </a:lnTo>
                  <a:lnTo>
                    <a:pt x="360" y="139"/>
                  </a:lnTo>
                  <a:lnTo>
                    <a:pt x="363" y="142"/>
                  </a:lnTo>
                  <a:lnTo>
                    <a:pt x="365" y="142"/>
                  </a:lnTo>
                  <a:lnTo>
                    <a:pt x="365" y="144"/>
                  </a:lnTo>
                  <a:lnTo>
                    <a:pt x="365" y="144"/>
                  </a:lnTo>
                  <a:lnTo>
                    <a:pt x="368" y="147"/>
                  </a:lnTo>
                  <a:lnTo>
                    <a:pt x="371" y="150"/>
                  </a:lnTo>
                  <a:lnTo>
                    <a:pt x="373" y="150"/>
                  </a:lnTo>
                  <a:lnTo>
                    <a:pt x="376" y="152"/>
                  </a:lnTo>
                  <a:lnTo>
                    <a:pt x="379" y="152"/>
                  </a:lnTo>
                  <a:lnTo>
                    <a:pt x="381" y="150"/>
                  </a:lnTo>
                  <a:lnTo>
                    <a:pt x="384" y="150"/>
                  </a:lnTo>
                  <a:lnTo>
                    <a:pt x="389" y="147"/>
                  </a:lnTo>
                  <a:lnTo>
                    <a:pt x="392" y="152"/>
                  </a:lnTo>
                  <a:lnTo>
                    <a:pt x="392" y="150"/>
                  </a:lnTo>
                  <a:lnTo>
                    <a:pt x="400" y="144"/>
                  </a:lnTo>
                  <a:lnTo>
                    <a:pt x="400" y="142"/>
                  </a:lnTo>
                  <a:lnTo>
                    <a:pt x="392" y="136"/>
                  </a:lnTo>
                  <a:close/>
                  <a:moveTo>
                    <a:pt x="526" y="211"/>
                  </a:moveTo>
                  <a:lnTo>
                    <a:pt x="523" y="211"/>
                  </a:lnTo>
                  <a:lnTo>
                    <a:pt x="520" y="211"/>
                  </a:lnTo>
                  <a:lnTo>
                    <a:pt x="512" y="203"/>
                  </a:lnTo>
                  <a:lnTo>
                    <a:pt x="496" y="203"/>
                  </a:lnTo>
                  <a:lnTo>
                    <a:pt x="491" y="206"/>
                  </a:lnTo>
                  <a:lnTo>
                    <a:pt x="494" y="211"/>
                  </a:lnTo>
                  <a:lnTo>
                    <a:pt x="499" y="214"/>
                  </a:lnTo>
                  <a:lnTo>
                    <a:pt x="502" y="216"/>
                  </a:lnTo>
                  <a:lnTo>
                    <a:pt x="502" y="219"/>
                  </a:lnTo>
                  <a:lnTo>
                    <a:pt x="502" y="222"/>
                  </a:lnTo>
                  <a:lnTo>
                    <a:pt x="502" y="227"/>
                  </a:lnTo>
                  <a:lnTo>
                    <a:pt x="504" y="230"/>
                  </a:lnTo>
                  <a:lnTo>
                    <a:pt x="507" y="232"/>
                  </a:lnTo>
                  <a:lnTo>
                    <a:pt x="512" y="232"/>
                  </a:lnTo>
                  <a:lnTo>
                    <a:pt x="520" y="230"/>
                  </a:lnTo>
                  <a:lnTo>
                    <a:pt x="526" y="227"/>
                  </a:lnTo>
                  <a:lnTo>
                    <a:pt x="528" y="222"/>
                  </a:lnTo>
                  <a:lnTo>
                    <a:pt x="531" y="219"/>
                  </a:lnTo>
                  <a:lnTo>
                    <a:pt x="531" y="216"/>
                  </a:lnTo>
                  <a:lnTo>
                    <a:pt x="528" y="216"/>
                  </a:lnTo>
                  <a:lnTo>
                    <a:pt x="526"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48" name="Freeform 45">
              <a:extLst>
                <a:ext uri="{FF2B5EF4-FFF2-40B4-BE49-F238E27FC236}">
                  <a16:creationId xmlns="" xmlns:a16="http://schemas.microsoft.com/office/drawing/2014/main" id="{63DBFD4B-11C3-4F9E-B889-7B82F87DB1F7}"/>
                </a:ext>
              </a:extLst>
            </p:cNvPr>
            <p:cNvSpPr>
              <a:spLocks noEditPoints="1"/>
            </p:cNvSpPr>
            <p:nvPr/>
          </p:nvSpPr>
          <p:spPr bwMode="auto">
            <a:xfrm>
              <a:off x="5302" y="2062"/>
              <a:ext cx="619" cy="626"/>
            </a:xfrm>
            <a:custGeom>
              <a:avLst/>
              <a:gdLst>
                <a:gd name="T0" fmla="*/ 569 w 619"/>
                <a:gd name="T1" fmla="*/ 543 h 626"/>
                <a:gd name="T2" fmla="*/ 614 w 619"/>
                <a:gd name="T3" fmla="*/ 369 h 626"/>
                <a:gd name="T4" fmla="*/ 587 w 619"/>
                <a:gd name="T5" fmla="*/ 367 h 626"/>
                <a:gd name="T6" fmla="*/ 577 w 619"/>
                <a:gd name="T7" fmla="*/ 350 h 626"/>
                <a:gd name="T8" fmla="*/ 566 w 619"/>
                <a:gd name="T9" fmla="*/ 321 h 626"/>
                <a:gd name="T10" fmla="*/ 553 w 619"/>
                <a:gd name="T11" fmla="*/ 305 h 626"/>
                <a:gd name="T12" fmla="*/ 537 w 619"/>
                <a:gd name="T13" fmla="*/ 289 h 626"/>
                <a:gd name="T14" fmla="*/ 531 w 619"/>
                <a:gd name="T15" fmla="*/ 273 h 626"/>
                <a:gd name="T16" fmla="*/ 507 w 619"/>
                <a:gd name="T17" fmla="*/ 241 h 626"/>
                <a:gd name="T18" fmla="*/ 472 w 619"/>
                <a:gd name="T19" fmla="*/ 217 h 626"/>
                <a:gd name="T20" fmla="*/ 459 w 619"/>
                <a:gd name="T21" fmla="*/ 206 h 626"/>
                <a:gd name="T22" fmla="*/ 443 w 619"/>
                <a:gd name="T23" fmla="*/ 179 h 626"/>
                <a:gd name="T24" fmla="*/ 403 w 619"/>
                <a:gd name="T25" fmla="*/ 150 h 626"/>
                <a:gd name="T26" fmla="*/ 368 w 619"/>
                <a:gd name="T27" fmla="*/ 126 h 626"/>
                <a:gd name="T28" fmla="*/ 347 w 619"/>
                <a:gd name="T29" fmla="*/ 107 h 626"/>
                <a:gd name="T30" fmla="*/ 302 w 619"/>
                <a:gd name="T31" fmla="*/ 67 h 626"/>
                <a:gd name="T32" fmla="*/ 264 w 619"/>
                <a:gd name="T33" fmla="*/ 38 h 626"/>
                <a:gd name="T34" fmla="*/ 275 w 619"/>
                <a:gd name="T35" fmla="*/ 17 h 626"/>
                <a:gd name="T36" fmla="*/ 270 w 619"/>
                <a:gd name="T37" fmla="*/ 3 h 626"/>
                <a:gd name="T38" fmla="*/ 158 w 619"/>
                <a:gd name="T39" fmla="*/ 22 h 626"/>
                <a:gd name="T40" fmla="*/ 30 w 619"/>
                <a:gd name="T41" fmla="*/ 38 h 626"/>
                <a:gd name="T42" fmla="*/ 19 w 619"/>
                <a:gd name="T43" fmla="*/ 105 h 626"/>
                <a:gd name="T44" fmla="*/ 64 w 619"/>
                <a:gd name="T45" fmla="*/ 252 h 626"/>
                <a:gd name="T46" fmla="*/ 86 w 619"/>
                <a:gd name="T47" fmla="*/ 321 h 626"/>
                <a:gd name="T48" fmla="*/ 99 w 619"/>
                <a:gd name="T49" fmla="*/ 348 h 626"/>
                <a:gd name="T50" fmla="*/ 120 w 619"/>
                <a:gd name="T51" fmla="*/ 383 h 626"/>
                <a:gd name="T52" fmla="*/ 123 w 619"/>
                <a:gd name="T53" fmla="*/ 401 h 626"/>
                <a:gd name="T54" fmla="*/ 131 w 619"/>
                <a:gd name="T55" fmla="*/ 412 h 626"/>
                <a:gd name="T56" fmla="*/ 123 w 619"/>
                <a:gd name="T57" fmla="*/ 425 h 626"/>
                <a:gd name="T58" fmla="*/ 120 w 619"/>
                <a:gd name="T59" fmla="*/ 452 h 626"/>
                <a:gd name="T60" fmla="*/ 128 w 619"/>
                <a:gd name="T61" fmla="*/ 503 h 626"/>
                <a:gd name="T62" fmla="*/ 131 w 619"/>
                <a:gd name="T63" fmla="*/ 538 h 626"/>
                <a:gd name="T64" fmla="*/ 139 w 619"/>
                <a:gd name="T65" fmla="*/ 572 h 626"/>
                <a:gd name="T66" fmla="*/ 150 w 619"/>
                <a:gd name="T67" fmla="*/ 594 h 626"/>
                <a:gd name="T68" fmla="*/ 176 w 619"/>
                <a:gd name="T69" fmla="*/ 626 h 626"/>
                <a:gd name="T70" fmla="*/ 286 w 619"/>
                <a:gd name="T71" fmla="*/ 618 h 626"/>
                <a:gd name="T72" fmla="*/ 438 w 619"/>
                <a:gd name="T73" fmla="*/ 604 h 626"/>
                <a:gd name="T74" fmla="*/ 486 w 619"/>
                <a:gd name="T75" fmla="*/ 604 h 626"/>
                <a:gd name="T76" fmla="*/ 491 w 619"/>
                <a:gd name="T77" fmla="*/ 618 h 626"/>
                <a:gd name="T78" fmla="*/ 507 w 619"/>
                <a:gd name="T79" fmla="*/ 626 h 626"/>
                <a:gd name="T80" fmla="*/ 512 w 619"/>
                <a:gd name="T81" fmla="*/ 596 h 626"/>
                <a:gd name="T82" fmla="*/ 507 w 619"/>
                <a:gd name="T83" fmla="*/ 578 h 626"/>
                <a:gd name="T84" fmla="*/ 510 w 619"/>
                <a:gd name="T85" fmla="*/ 564 h 626"/>
                <a:gd name="T86" fmla="*/ 515 w 619"/>
                <a:gd name="T87" fmla="*/ 559 h 626"/>
                <a:gd name="T88" fmla="*/ 539 w 619"/>
                <a:gd name="T89" fmla="*/ 564 h 626"/>
                <a:gd name="T90" fmla="*/ 563 w 619"/>
                <a:gd name="T91" fmla="*/ 567 h 626"/>
                <a:gd name="T92" fmla="*/ 566 w 619"/>
                <a:gd name="T93" fmla="*/ 548 h 626"/>
                <a:gd name="T94" fmla="*/ 566 w 619"/>
                <a:gd name="T95" fmla="*/ 540 h 626"/>
                <a:gd name="T96" fmla="*/ 569 w 619"/>
                <a:gd name="T97" fmla="*/ 519 h 626"/>
                <a:gd name="T98" fmla="*/ 571 w 619"/>
                <a:gd name="T99" fmla="*/ 513 h 626"/>
                <a:gd name="T100" fmla="*/ 569 w 619"/>
                <a:gd name="T101" fmla="*/ 492 h 626"/>
                <a:gd name="T102" fmla="*/ 585 w 619"/>
                <a:gd name="T103" fmla="*/ 481 h 626"/>
                <a:gd name="T104" fmla="*/ 577 w 619"/>
                <a:gd name="T105" fmla="*/ 476 h 626"/>
                <a:gd name="T106" fmla="*/ 577 w 619"/>
                <a:gd name="T107" fmla="*/ 463 h 626"/>
                <a:gd name="T108" fmla="*/ 587 w 619"/>
                <a:gd name="T109" fmla="*/ 444 h 626"/>
                <a:gd name="T110" fmla="*/ 571 w 619"/>
                <a:gd name="T111" fmla="*/ 444 h 626"/>
                <a:gd name="T112" fmla="*/ 585 w 619"/>
                <a:gd name="T113" fmla="*/ 431 h 626"/>
                <a:gd name="T114" fmla="*/ 587 w 619"/>
                <a:gd name="T115" fmla="*/ 423 h 626"/>
                <a:gd name="T116" fmla="*/ 577 w 619"/>
                <a:gd name="T117" fmla="*/ 415 h 626"/>
                <a:gd name="T118" fmla="*/ 598 w 619"/>
                <a:gd name="T119" fmla="*/ 401 h 626"/>
                <a:gd name="T120" fmla="*/ 593 w 619"/>
                <a:gd name="T121" fmla="*/ 393 h 626"/>
                <a:gd name="T122" fmla="*/ 606 w 619"/>
                <a:gd name="T123" fmla="*/ 380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9" h="626">
                  <a:moveTo>
                    <a:pt x="574" y="554"/>
                  </a:moveTo>
                  <a:lnTo>
                    <a:pt x="574" y="554"/>
                  </a:lnTo>
                  <a:lnTo>
                    <a:pt x="577" y="548"/>
                  </a:lnTo>
                  <a:lnTo>
                    <a:pt x="577" y="543"/>
                  </a:lnTo>
                  <a:lnTo>
                    <a:pt x="577" y="538"/>
                  </a:lnTo>
                  <a:lnTo>
                    <a:pt x="577" y="535"/>
                  </a:lnTo>
                  <a:lnTo>
                    <a:pt x="577" y="529"/>
                  </a:lnTo>
                  <a:lnTo>
                    <a:pt x="574" y="527"/>
                  </a:lnTo>
                  <a:lnTo>
                    <a:pt x="574" y="527"/>
                  </a:lnTo>
                  <a:lnTo>
                    <a:pt x="574" y="532"/>
                  </a:lnTo>
                  <a:lnTo>
                    <a:pt x="569" y="538"/>
                  </a:lnTo>
                  <a:lnTo>
                    <a:pt x="569" y="543"/>
                  </a:lnTo>
                  <a:lnTo>
                    <a:pt x="569" y="543"/>
                  </a:lnTo>
                  <a:lnTo>
                    <a:pt x="571" y="546"/>
                  </a:lnTo>
                  <a:lnTo>
                    <a:pt x="571" y="548"/>
                  </a:lnTo>
                  <a:lnTo>
                    <a:pt x="571" y="548"/>
                  </a:lnTo>
                  <a:lnTo>
                    <a:pt x="571" y="551"/>
                  </a:lnTo>
                  <a:lnTo>
                    <a:pt x="574" y="562"/>
                  </a:lnTo>
                  <a:lnTo>
                    <a:pt x="577" y="562"/>
                  </a:lnTo>
                  <a:lnTo>
                    <a:pt x="577" y="562"/>
                  </a:lnTo>
                  <a:lnTo>
                    <a:pt x="577" y="559"/>
                  </a:lnTo>
                  <a:lnTo>
                    <a:pt x="574" y="554"/>
                  </a:lnTo>
                  <a:close/>
                  <a:moveTo>
                    <a:pt x="617" y="369"/>
                  </a:moveTo>
                  <a:lnTo>
                    <a:pt x="614" y="369"/>
                  </a:lnTo>
                  <a:lnTo>
                    <a:pt x="614" y="369"/>
                  </a:lnTo>
                  <a:lnTo>
                    <a:pt x="611" y="369"/>
                  </a:lnTo>
                  <a:lnTo>
                    <a:pt x="611" y="369"/>
                  </a:lnTo>
                  <a:lnTo>
                    <a:pt x="611" y="369"/>
                  </a:lnTo>
                  <a:lnTo>
                    <a:pt x="609" y="369"/>
                  </a:lnTo>
                  <a:lnTo>
                    <a:pt x="606" y="369"/>
                  </a:lnTo>
                  <a:lnTo>
                    <a:pt x="606" y="369"/>
                  </a:lnTo>
                  <a:lnTo>
                    <a:pt x="603" y="367"/>
                  </a:lnTo>
                  <a:lnTo>
                    <a:pt x="603" y="367"/>
                  </a:lnTo>
                  <a:lnTo>
                    <a:pt x="598" y="364"/>
                  </a:lnTo>
                  <a:lnTo>
                    <a:pt x="595" y="364"/>
                  </a:lnTo>
                  <a:lnTo>
                    <a:pt x="587" y="367"/>
                  </a:lnTo>
                  <a:lnTo>
                    <a:pt x="587" y="367"/>
                  </a:lnTo>
                  <a:lnTo>
                    <a:pt x="585" y="361"/>
                  </a:lnTo>
                  <a:lnTo>
                    <a:pt x="582" y="361"/>
                  </a:lnTo>
                  <a:lnTo>
                    <a:pt x="582" y="361"/>
                  </a:lnTo>
                  <a:lnTo>
                    <a:pt x="582" y="361"/>
                  </a:lnTo>
                  <a:lnTo>
                    <a:pt x="579" y="358"/>
                  </a:lnTo>
                  <a:lnTo>
                    <a:pt x="579" y="358"/>
                  </a:lnTo>
                  <a:lnTo>
                    <a:pt x="579" y="358"/>
                  </a:lnTo>
                  <a:lnTo>
                    <a:pt x="579" y="358"/>
                  </a:lnTo>
                  <a:lnTo>
                    <a:pt x="577" y="353"/>
                  </a:lnTo>
                  <a:lnTo>
                    <a:pt x="577" y="353"/>
                  </a:lnTo>
                  <a:lnTo>
                    <a:pt x="577" y="350"/>
                  </a:lnTo>
                  <a:lnTo>
                    <a:pt x="577" y="348"/>
                  </a:lnTo>
                  <a:lnTo>
                    <a:pt x="577" y="348"/>
                  </a:lnTo>
                  <a:lnTo>
                    <a:pt x="577" y="345"/>
                  </a:lnTo>
                  <a:lnTo>
                    <a:pt x="577" y="342"/>
                  </a:lnTo>
                  <a:lnTo>
                    <a:pt x="577" y="342"/>
                  </a:lnTo>
                  <a:lnTo>
                    <a:pt x="577" y="340"/>
                  </a:lnTo>
                  <a:lnTo>
                    <a:pt x="577" y="337"/>
                  </a:lnTo>
                  <a:lnTo>
                    <a:pt x="577" y="334"/>
                  </a:lnTo>
                  <a:lnTo>
                    <a:pt x="577" y="332"/>
                  </a:lnTo>
                  <a:lnTo>
                    <a:pt x="574" y="332"/>
                  </a:lnTo>
                  <a:lnTo>
                    <a:pt x="571" y="332"/>
                  </a:lnTo>
                  <a:lnTo>
                    <a:pt x="566" y="321"/>
                  </a:lnTo>
                  <a:lnTo>
                    <a:pt x="566" y="316"/>
                  </a:lnTo>
                  <a:lnTo>
                    <a:pt x="566" y="313"/>
                  </a:lnTo>
                  <a:lnTo>
                    <a:pt x="563" y="313"/>
                  </a:lnTo>
                  <a:lnTo>
                    <a:pt x="561" y="313"/>
                  </a:lnTo>
                  <a:lnTo>
                    <a:pt x="561" y="310"/>
                  </a:lnTo>
                  <a:lnTo>
                    <a:pt x="561" y="310"/>
                  </a:lnTo>
                  <a:lnTo>
                    <a:pt x="558" y="308"/>
                  </a:lnTo>
                  <a:lnTo>
                    <a:pt x="558" y="308"/>
                  </a:lnTo>
                  <a:lnTo>
                    <a:pt x="555" y="308"/>
                  </a:lnTo>
                  <a:lnTo>
                    <a:pt x="555" y="308"/>
                  </a:lnTo>
                  <a:lnTo>
                    <a:pt x="555" y="308"/>
                  </a:lnTo>
                  <a:lnTo>
                    <a:pt x="553" y="305"/>
                  </a:lnTo>
                  <a:lnTo>
                    <a:pt x="553" y="305"/>
                  </a:lnTo>
                  <a:lnTo>
                    <a:pt x="550" y="302"/>
                  </a:lnTo>
                  <a:lnTo>
                    <a:pt x="550" y="302"/>
                  </a:lnTo>
                  <a:lnTo>
                    <a:pt x="545" y="302"/>
                  </a:lnTo>
                  <a:lnTo>
                    <a:pt x="542" y="302"/>
                  </a:lnTo>
                  <a:lnTo>
                    <a:pt x="542" y="302"/>
                  </a:lnTo>
                  <a:lnTo>
                    <a:pt x="539" y="300"/>
                  </a:lnTo>
                  <a:lnTo>
                    <a:pt x="537" y="297"/>
                  </a:lnTo>
                  <a:lnTo>
                    <a:pt x="537" y="297"/>
                  </a:lnTo>
                  <a:lnTo>
                    <a:pt x="537" y="294"/>
                  </a:lnTo>
                  <a:lnTo>
                    <a:pt x="537" y="292"/>
                  </a:lnTo>
                  <a:lnTo>
                    <a:pt x="537" y="289"/>
                  </a:lnTo>
                  <a:lnTo>
                    <a:pt x="537" y="289"/>
                  </a:lnTo>
                  <a:lnTo>
                    <a:pt x="537" y="289"/>
                  </a:lnTo>
                  <a:lnTo>
                    <a:pt x="534" y="289"/>
                  </a:lnTo>
                  <a:lnTo>
                    <a:pt x="534" y="286"/>
                  </a:lnTo>
                  <a:lnTo>
                    <a:pt x="534" y="286"/>
                  </a:lnTo>
                  <a:lnTo>
                    <a:pt x="534" y="284"/>
                  </a:lnTo>
                  <a:lnTo>
                    <a:pt x="534" y="284"/>
                  </a:lnTo>
                  <a:lnTo>
                    <a:pt x="534" y="281"/>
                  </a:lnTo>
                  <a:lnTo>
                    <a:pt x="534" y="278"/>
                  </a:lnTo>
                  <a:lnTo>
                    <a:pt x="531" y="278"/>
                  </a:lnTo>
                  <a:lnTo>
                    <a:pt x="531" y="276"/>
                  </a:lnTo>
                  <a:lnTo>
                    <a:pt x="531" y="273"/>
                  </a:lnTo>
                  <a:lnTo>
                    <a:pt x="531" y="270"/>
                  </a:lnTo>
                  <a:lnTo>
                    <a:pt x="528" y="268"/>
                  </a:lnTo>
                  <a:lnTo>
                    <a:pt x="520" y="257"/>
                  </a:lnTo>
                  <a:lnTo>
                    <a:pt x="518" y="257"/>
                  </a:lnTo>
                  <a:lnTo>
                    <a:pt x="518" y="254"/>
                  </a:lnTo>
                  <a:lnTo>
                    <a:pt x="518" y="249"/>
                  </a:lnTo>
                  <a:lnTo>
                    <a:pt x="518" y="246"/>
                  </a:lnTo>
                  <a:lnTo>
                    <a:pt x="515" y="244"/>
                  </a:lnTo>
                  <a:lnTo>
                    <a:pt x="515" y="244"/>
                  </a:lnTo>
                  <a:lnTo>
                    <a:pt x="512" y="241"/>
                  </a:lnTo>
                  <a:lnTo>
                    <a:pt x="510" y="241"/>
                  </a:lnTo>
                  <a:lnTo>
                    <a:pt x="507" y="241"/>
                  </a:lnTo>
                  <a:lnTo>
                    <a:pt x="504" y="238"/>
                  </a:lnTo>
                  <a:lnTo>
                    <a:pt x="499" y="236"/>
                  </a:lnTo>
                  <a:lnTo>
                    <a:pt x="488" y="233"/>
                  </a:lnTo>
                  <a:lnTo>
                    <a:pt x="483" y="230"/>
                  </a:lnTo>
                  <a:lnTo>
                    <a:pt x="483" y="230"/>
                  </a:lnTo>
                  <a:lnTo>
                    <a:pt x="480" y="225"/>
                  </a:lnTo>
                  <a:lnTo>
                    <a:pt x="480" y="222"/>
                  </a:lnTo>
                  <a:lnTo>
                    <a:pt x="478" y="222"/>
                  </a:lnTo>
                  <a:lnTo>
                    <a:pt x="475" y="222"/>
                  </a:lnTo>
                  <a:lnTo>
                    <a:pt x="472" y="222"/>
                  </a:lnTo>
                  <a:lnTo>
                    <a:pt x="470" y="220"/>
                  </a:lnTo>
                  <a:lnTo>
                    <a:pt x="472" y="217"/>
                  </a:lnTo>
                  <a:lnTo>
                    <a:pt x="472" y="217"/>
                  </a:lnTo>
                  <a:lnTo>
                    <a:pt x="472" y="214"/>
                  </a:lnTo>
                  <a:lnTo>
                    <a:pt x="470" y="214"/>
                  </a:lnTo>
                  <a:lnTo>
                    <a:pt x="470" y="212"/>
                  </a:lnTo>
                  <a:lnTo>
                    <a:pt x="470" y="212"/>
                  </a:lnTo>
                  <a:lnTo>
                    <a:pt x="470" y="212"/>
                  </a:lnTo>
                  <a:lnTo>
                    <a:pt x="467" y="209"/>
                  </a:lnTo>
                  <a:lnTo>
                    <a:pt x="467" y="212"/>
                  </a:lnTo>
                  <a:lnTo>
                    <a:pt x="467" y="212"/>
                  </a:lnTo>
                  <a:lnTo>
                    <a:pt x="467" y="212"/>
                  </a:lnTo>
                  <a:lnTo>
                    <a:pt x="464" y="212"/>
                  </a:lnTo>
                  <a:lnTo>
                    <a:pt x="459" y="206"/>
                  </a:lnTo>
                  <a:lnTo>
                    <a:pt x="459" y="204"/>
                  </a:lnTo>
                  <a:lnTo>
                    <a:pt x="459" y="204"/>
                  </a:lnTo>
                  <a:lnTo>
                    <a:pt x="456" y="201"/>
                  </a:lnTo>
                  <a:lnTo>
                    <a:pt x="456" y="198"/>
                  </a:lnTo>
                  <a:lnTo>
                    <a:pt x="459" y="198"/>
                  </a:lnTo>
                  <a:lnTo>
                    <a:pt x="459" y="196"/>
                  </a:lnTo>
                  <a:lnTo>
                    <a:pt x="456" y="196"/>
                  </a:lnTo>
                  <a:lnTo>
                    <a:pt x="456" y="193"/>
                  </a:lnTo>
                  <a:lnTo>
                    <a:pt x="456" y="190"/>
                  </a:lnTo>
                  <a:lnTo>
                    <a:pt x="451" y="188"/>
                  </a:lnTo>
                  <a:lnTo>
                    <a:pt x="448" y="185"/>
                  </a:lnTo>
                  <a:lnTo>
                    <a:pt x="443" y="179"/>
                  </a:lnTo>
                  <a:lnTo>
                    <a:pt x="438" y="179"/>
                  </a:lnTo>
                  <a:lnTo>
                    <a:pt x="438" y="177"/>
                  </a:lnTo>
                  <a:lnTo>
                    <a:pt x="430" y="177"/>
                  </a:lnTo>
                  <a:lnTo>
                    <a:pt x="427" y="177"/>
                  </a:lnTo>
                  <a:lnTo>
                    <a:pt x="424" y="174"/>
                  </a:lnTo>
                  <a:lnTo>
                    <a:pt x="422" y="174"/>
                  </a:lnTo>
                  <a:lnTo>
                    <a:pt x="419" y="169"/>
                  </a:lnTo>
                  <a:lnTo>
                    <a:pt x="419" y="166"/>
                  </a:lnTo>
                  <a:lnTo>
                    <a:pt x="416" y="163"/>
                  </a:lnTo>
                  <a:lnTo>
                    <a:pt x="414" y="158"/>
                  </a:lnTo>
                  <a:lnTo>
                    <a:pt x="411" y="155"/>
                  </a:lnTo>
                  <a:lnTo>
                    <a:pt x="403" y="150"/>
                  </a:lnTo>
                  <a:lnTo>
                    <a:pt x="398" y="147"/>
                  </a:lnTo>
                  <a:lnTo>
                    <a:pt x="392" y="145"/>
                  </a:lnTo>
                  <a:lnTo>
                    <a:pt x="390" y="145"/>
                  </a:lnTo>
                  <a:lnTo>
                    <a:pt x="384" y="142"/>
                  </a:lnTo>
                  <a:lnTo>
                    <a:pt x="382" y="139"/>
                  </a:lnTo>
                  <a:lnTo>
                    <a:pt x="379" y="137"/>
                  </a:lnTo>
                  <a:lnTo>
                    <a:pt x="376" y="134"/>
                  </a:lnTo>
                  <a:lnTo>
                    <a:pt x="376" y="134"/>
                  </a:lnTo>
                  <a:lnTo>
                    <a:pt x="374" y="134"/>
                  </a:lnTo>
                  <a:lnTo>
                    <a:pt x="371" y="134"/>
                  </a:lnTo>
                  <a:lnTo>
                    <a:pt x="371" y="131"/>
                  </a:lnTo>
                  <a:lnTo>
                    <a:pt x="368" y="126"/>
                  </a:lnTo>
                  <a:lnTo>
                    <a:pt x="366" y="123"/>
                  </a:lnTo>
                  <a:lnTo>
                    <a:pt x="366" y="123"/>
                  </a:lnTo>
                  <a:lnTo>
                    <a:pt x="363" y="121"/>
                  </a:lnTo>
                  <a:lnTo>
                    <a:pt x="360" y="118"/>
                  </a:lnTo>
                  <a:lnTo>
                    <a:pt x="360" y="115"/>
                  </a:lnTo>
                  <a:lnTo>
                    <a:pt x="358" y="115"/>
                  </a:lnTo>
                  <a:lnTo>
                    <a:pt x="358" y="113"/>
                  </a:lnTo>
                  <a:lnTo>
                    <a:pt x="355" y="113"/>
                  </a:lnTo>
                  <a:lnTo>
                    <a:pt x="352" y="110"/>
                  </a:lnTo>
                  <a:lnTo>
                    <a:pt x="350" y="110"/>
                  </a:lnTo>
                  <a:lnTo>
                    <a:pt x="350" y="107"/>
                  </a:lnTo>
                  <a:lnTo>
                    <a:pt x="347" y="107"/>
                  </a:lnTo>
                  <a:lnTo>
                    <a:pt x="344" y="94"/>
                  </a:lnTo>
                  <a:lnTo>
                    <a:pt x="342" y="91"/>
                  </a:lnTo>
                  <a:lnTo>
                    <a:pt x="334" y="83"/>
                  </a:lnTo>
                  <a:lnTo>
                    <a:pt x="334" y="81"/>
                  </a:lnTo>
                  <a:lnTo>
                    <a:pt x="331" y="78"/>
                  </a:lnTo>
                  <a:lnTo>
                    <a:pt x="328" y="73"/>
                  </a:lnTo>
                  <a:lnTo>
                    <a:pt x="328" y="70"/>
                  </a:lnTo>
                  <a:lnTo>
                    <a:pt x="323" y="67"/>
                  </a:lnTo>
                  <a:lnTo>
                    <a:pt x="315" y="70"/>
                  </a:lnTo>
                  <a:lnTo>
                    <a:pt x="310" y="70"/>
                  </a:lnTo>
                  <a:lnTo>
                    <a:pt x="304" y="70"/>
                  </a:lnTo>
                  <a:lnTo>
                    <a:pt x="302" y="67"/>
                  </a:lnTo>
                  <a:lnTo>
                    <a:pt x="302" y="65"/>
                  </a:lnTo>
                  <a:lnTo>
                    <a:pt x="299" y="62"/>
                  </a:lnTo>
                  <a:lnTo>
                    <a:pt x="294" y="59"/>
                  </a:lnTo>
                  <a:lnTo>
                    <a:pt x="291" y="59"/>
                  </a:lnTo>
                  <a:lnTo>
                    <a:pt x="288" y="57"/>
                  </a:lnTo>
                  <a:lnTo>
                    <a:pt x="288" y="54"/>
                  </a:lnTo>
                  <a:lnTo>
                    <a:pt x="288" y="54"/>
                  </a:lnTo>
                  <a:lnTo>
                    <a:pt x="286" y="57"/>
                  </a:lnTo>
                  <a:lnTo>
                    <a:pt x="280" y="54"/>
                  </a:lnTo>
                  <a:lnTo>
                    <a:pt x="270" y="49"/>
                  </a:lnTo>
                  <a:lnTo>
                    <a:pt x="264" y="46"/>
                  </a:lnTo>
                  <a:lnTo>
                    <a:pt x="264" y="38"/>
                  </a:lnTo>
                  <a:lnTo>
                    <a:pt x="267" y="35"/>
                  </a:lnTo>
                  <a:lnTo>
                    <a:pt x="267" y="35"/>
                  </a:lnTo>
                  <a:lnTo>
                    <a:pt x="267" y="33"/>
                  </a:lnTo>
                  <a:lnTo>
                    <a:pt x="267" y="33"/>
                  </a:lnTo>
                  <a:lnTo>
                    <a:pt x="267" y="33"/>
                  </a:lnTo>
                  <a:lnTo>
                    <a:pt x="267" y="30"/>
                  </a:lnTo>
                  <a:lnTo>
                    <a:pt x="270" y="27"/>
                  </a:lnTo>
                  <a:lnTo>
                    <a:pt x="270" y="27"/>
                  </a:lnTo>
                  <a:lnTo>
                    <a:pt x="272" y="25"/>
                  </a:lnTo>
                  <a:lnTo>
                    <a:pt x="272" y="25"/>
                  </a:lnTo>
                  <a:lnTo>
                    <a:pt x="272" y="22"/>
                  </a:lnTo>
                  <a:lnTo>
                    <a:pt x="275" y="17"/>
                  </a:lnTo>
                  <a:lnTo>
                    <a:pt x="275" y="14"/>
                  </a:lnTo>
                  <a:lnTo>
                    <a:pt x="275" y="14"/>
                  </a:lnTo>
                  <a:lnTo>
                    <a:pt x="280" y="9"/>
                  </a:lnTo>
                  <a:lnTo>
                    <a:pt x="280" y="9"/>
                  </a:lnTo>
                  <a:lnTo>
                    <a:pt x="286" y="6"/>
                  </a:lnTo>
                  <a:lnTo>
                    <a:pt x="286" y="6"/>
                  </a:lnTo>
                  <a:lnTo>
                    <a:pt x="286" y="3"/>
                  </a:lnTo>
                  <a:lnTo>
                    <a:pt x="286" y="3"/>
                  </a:lnTo>
                  <a:lnTo>
                    <a:pt x="286" y="0"/>
                  </a:lnTo>
                  <a:lnTo>
                    <a:pt x="286" y="0"/>
                  </a:lnTo>
                  <a:lnTo>
                    <a:pt x="278" y="0"/>
                  </a:lnTo>
                  <a:lnTo>
                    <a:pt x="270" y="3"/>
                  </a:lnTo>
                  <a:lnTo>
                    <a:pt x="262" y="3"/>
                  </a:lnTo>
                  <a:lnTo>
                    <a:pt x="251" y="6"/>
                  </a:lnTo>
                  <a:lnTo>
                    <a:pt x="243" y="6"/>
                  </a:lnTo>
                  <a:lnTo>
                    <a:pt x="235" y="9"/>
                  </a:lnTo>
                  <a:lnTo>
                    <a:pt x="227" y="11"/>
                  </a:lnTo>
                  <a:lnTo>
                    <a:pt x="219" y="11"/>
                  </a:lnTo>
                  <a:lnTo>
                    <a:pt x="208" y="14"/>
                  </a:lnTo>
                  <a:lnTo>
                    <a:pt x="192" y="17"/>
                  </a:lnTo>
                  <a:lnTo>
                    <a:pt x="184" y="17"/>
                  </a:lnTo>
                  <a:lnTo>
                    <a:pt x="174" y="19"/>
                  </a:lnTo>
                  <a:lnTo>
                    <a:pt x="166" y="19"/>
                  </a:lnTo>
                  <a:lnTo>
                    <a:pt x="158" y="22"/>
                  </a:lnTo>
                  <a:lnTo>
                    <a:pt x="150" y="22"/>
                  </a:lnTo>
                  <a:lnTo>
                    <a:pt x="139" y="25"/>
                  </a:lnTo>
                  <a:lnTo>
                    <a:pt x="128" y="25"/>
                  </a:lnTo>
                  <a:lnTo>
                    <a:pt x="120" y="25"/>
                  </a:lnTo>
                  <a:lnTo>
                    <a:pt x="118" y="25"/>
                  </a:lnTo>
                  <a:lnTo>
                    <a:pt x="115" y="25"/>
                  </a:lnTo>
                  <a:lnTo>
                    <a:pt x="102" y="27"/>
                  </a:lnTo>
                  <a:lnTo>
                    <a:pt x="86" y="30"/>
                  </a:lnTo>
                  <a:lnTo>
                    <a:pt x="72" y="33"/>
                  </a:lnTo>
                  <a:lnTo>
                    <a:pt x="56" y="33"/>
                  </a:lnTo>
                  <a:lnTo>
                    <a:pt x="43" y="35"/>
                  </a:lnTo>
                  <a:lnTo>
                    <a:pt x="30" y="38"/>
                  </a:lnTo>
                  <a:lnTo>
                    <a:pt x="14" y="38"/>
                  </a:lnTo>
                  <a:lnTo>
                    <a:pt x="0" y="41"/>
                  </a:lnTo>
                  <a:lnTo>
                    <a:pt x="0" y="41"/>
                  </a:lnTo>
                  <a:lnTo>
                    <a:pt x="0" y="43"/>
                  </a:lnTo>
                  <a:lnTo>
                    <a:pt x="3" y="49"/>
                  </a:lnTo>
                  <a:lnTo>
                    <a:pt x="3" y="54"/>
                  </a:lnTo>
                  <a:lnTo>
                    <a:pt x="6" y="59"/>
                  </a:lnTo>
                  <a:lnTo>
                    <a:pt x="8" y="67"/>
                  </a:lnTo>
                  <a:lnTo>
                    <a:pt x="11" y="75"/>
                  </a:lnTo>
                  <a:lnTo>
                    <a:pt x="14" y="83"/>
                  </a:lnTo>
                  <a:lnTo>
                    <a:pt x="16" y="94"/>
                  </a:lnTo>
                  <a:lnTo>
                    <a:pt x="19" y="105"/>
                  </a:lnTo>
                  <a:lnTo>
                    <a:pt x="24" y="115"/>
                  </a:lnTo>
                  <a:lnTo>
                    <a:pt x="27" y="129"/>
                  </a:lnTo>
                  <a:lnTo>
                    <a:pt x="30" y="139"/>
                  </a:lnTo>
                  <a:lnTo>
                    <a:pt x="35" y="153"/>
                  </a:lnTo>
                  <a:lnTo>
                    <a:pt x="38" y="166"/>
                  </a:lnTo>
                  <a:lnTo>
                    <a:pt x="43" y="179"/>
                  </a:lnTo>
                  <a:lnTo>
                    <a:pt x="46" y="190"/>
                  </a:lnTo>
                  <a:lnTo>
                    <a:pt x="51" y="204"/>
                  </a:lnTo>
                  <a:lnTo>
                    <a:pt x="54" y="217"/>
                  </a:lnTo>
                  <a:lnTo>
                    <a:pt x="59" y="228"/>
                  </a:lnTo>
                  <a:lnTo>
                    <a:pt x="62" y="241"/>
                  </a:lnTo>
                  <a:lnTo>
                    <a:pt x="64" y="252"/>
                  </a:lnTo>
                  <a:lnTo>
                    <a:pt x="70" y="262"/>
                  </a:lnTo>
                  <a:lnTo>
                    <a:pt x="72" y="273"/>
                  </a:lnTo>
                  <a:lnTo>
                    <a:pt x="75" y="281"/>
                  </a:lnTo>
                  <a:lnTo>
                    <a:pt x="78" y="289"/>
                  </a:lnTo>
                  <a:lnTo>
                    <a:pt x="80" y="297"/>
                  </a:lnTo>
                  <a:lnTo>
                    <a:pt x="80" y="305"/>
                  </a:lnTo>
                  <a:lnTo>
                    <a:pt x="83" y="308"/>
                  </a:lnTo>
                  <a:lnTo>
                    <a:pt x="86" y="313"/>
                  </a:lnTo>
                  <a:lnTo>
                    <a:pt x="86" y="316"/>
                  </a:lnTo>
                  <a:lnTo>
                    <a:pt x="86" y="316"/>
                  </a:lnTo>
                  <a:lnTo>
                    <a:pt x="86" y="321"/>
                  </a:lnTo>
                  <a:lnTo>
                    <a:pt x="86" y="321"/>
                  </a:lnTo>
                  <a:lnTo>
                    <a:pt x="91" y="332"/>
                  </a:lnTo>
                  <a:lnTo>
                    <a:pt x="91" y="337"/>
                  </a:lnTo>
                  <a:lnTo>
                    <a:pt x="94" y="337"/>
                  </a:lnTo>
                  <a:lnTo>
                    <a:pt x="94" y="337"/>
                  </a:lnTo>
                  <a:lnTo>
                    <a:pt x="94" y="340"/>
                  </a:lnTo>
                  <a:lnTo>
                    <a:pt x="94" y="340"/>
                  </a:lnTo>
                  <a:lnTo>
                    <a:pt x="96" y="342"/>
                  </a:lnTo>
                  <a:lnTo>
                    <a:pt x="99" y="342"/>
                  </a:lnTo>
                  <a:lnTo>
                    <a:pt x="96" y="345"/>
                  </a:lnTo>
                  <a:lnTo>
                    <a:pt x="99" y="345"/>
                  </a:lnTo>
                  <a:lnTo>
                    <a:pt x="99" y="348"/>
                  </a:lnTo>
                  <a:lnTo>
                    <a:pt x="99" y="348"/>
                  </a:lnTo>
                  <a:lnTo>
                    <a:pt x="102" y="353"/>
                  </a:lnTo>
                  <a:lnTo>
                    <a:pt x="104" y="356"/>
                  </a:lnTo>
                  <a:lnTo>
                    <a:pt x="104" y="358"/>
                  </a:lnTo>
                  <a:lnTo>
                    <a:pt x="104" y="361"/>
                  </a:lnTo>
                  <a:lnTo>
                    <a:pt x="104" y="361"/>
                  </a:lnTo>
                  <a:lnTo>
                    <a:pt x="107" y="361"/>
                  </a:lnTo>
                  <a:lnTo>
                    <a:pt x="107" y="364"/>
                  </a:lnTo>
                  <a:lnTo>
                    <a:pt x="107" y="364"/>
                  </a:lnTo>
                  <a:lnTo>
                    <a:pt x="115" y="375"/>
                  </a:lnTo>
                  <a:lnTo>
                    <a:pt x="118" y="377"/>
                  </a:lnTo>
                  <a:lnTo>
                    <a:pt x="118" y="377"/>
                  </a:lnTo>
                  <a:lnTo>
                    <a:pt x="120" y="383"/>
                  </a:lnTo>
                  <a:lnTo>
                    <a:pt x="120" y="385"/>
                  </a:lnTo>
                  <a:lnTo>
                    <a:pt x="123" y="388"/>
                  </a:lnTo>
                  <a:lnTo>
                    <a:pt x="123" y="388"/>
                  </a:lnTo>
                  <a:lnTo>
                    <a:pt x="123" y="391"/>
                  </a:lnTo>
                  <a:lnTo>
                    <a:pt x="123" y="391"/>
                  </a:lnTo>
                  <a:lnTo>
                    <a:pt x="123" y="391"/>
                  </a:lnTo>
                  <a:lnTo>
                    <a:pt x="123" y="391"/>
                  </a:lnTo>
                  <a:lnTo>
                    <a:pt x="123" y="393"/>
                  </a:lnTo>
                  <a:lnTo>
                    <a:pt x="123" y="393"/>
                  </a:lnTo>
                  <a:lnTo>
                    <a:pt x="123" y="396"/>
                  </a:lnTo>
                  <a:lnTo>
                    <a:pt x="123" y="396"/>
                  </a:lnTo>
                  <a:lnTo>
                    <a:pt x="123" y="401"/>
                  </a:lnTo>
                  <a:lnTo>
                    <a:pt x="123" y="401"/>
                  </a:lnTo>
                  <a:lnTo>
                    <a:pt x="126" y="404"/>
                  </a:lnTo>
                  <a:lnTo>
                    <a:pt x="131" y="407"/>
                  </a:lnTo>
                  <a:lnTo>
                    <a:pt x="134" y="407"/>
                  </a:lnTo>
                  <a:lnTo>
                    <a:pt x="134" y="409"/>
                  </a:lnTo>
                  <a:lnTo>
                    <a:pt x="134" y="409"/>
                  </a:lnTo>
                  <a:lnTo>
                    <a:pt x="134" y="409"/>
                  </a:lnTo>
                  <a:lnTo>
                    <a:pt x="136" y="409"/>
                  </a:lnTo>
                  <a:lnTo>
                    <a:pt x="134" y="412"/>
                  </a:lnTo>
                  <a:lnTo>
                    <a:pt x="134" y="412"/>
                  </a:lnTo>
                  <a:lnTo>
                    <a:pt x="134" y="412"/>
                  </a:lnTo>
                  <a:lnTo>
                    <a:pt x="131" y="412"/>
                  </a:lnTo>
                  <a:lnTo>
                    <a:pt x="134" y="415"/>
                  </a:lnTo>
                  <a:lnTo>
                    <a:pt x="134" y="417"/>
                  </a:lnTo>
                  <a:lnTo>
                    <a:pt x="131" y="417"/>
                  </a:lnTo>
                  <a:lnTo>
                    <a:pt x="131" y="417"/>
                  </a:lnTo>
                  <a:lnTo>
                    <a:pt x="128" y="417"/>
                  </a:lnTo>
                  <a:lnTo>
                    <a:pt x="128" y="417"/>
                  </a:lnTo>
                  <a:lnTo>
                    <a:pt x="128" y="420"/>
                  </a:lnTo>
                  <a:lnTo>
                    <a:pt x="128" y="420"/>
                  </a:lnTo>
                  <a:lnTo>
                    <a:pt x="128" y="423"/>
                  </a:lnTo>
                  <a:lnTo>
                    <a:pt x="126" y="423"/>
                  </a:lnTo>
                  <a:lnTo>
                    <a:pt x="123" y="423"/>
                  </a:lnTo>
                  <a:lnTo>
                    <a:pt x="123" y="425"/>
                  </a:lnTo>
                  <a:lnTo>
                    <a:pt x="123" y="425"/>
                  </a:lnTo>
                  <a:lnTo>
                    <a:pt x="120" y="425"/>
                  </a:lnTo>
                  <a:lnTo>
                    <a:pt x="120" y="431"/>
                  </a:lnTo>
                  <a:lnTo>
                    <a:pt x="120" y="433"/>
                  </a:lnTo>
                  <a:lnTo>
                    <a:pt x="120" y="436"/>
                  </a:lnTo>
                  <a:lnTo>
                    <a:pt x="120" y="439"/>
                  </a:lnTo>
                  <a:lnTo>
                    <a:pt x="120" y="441"/>
                  </a:lnTo>
                  <a:lnTo>
                    <a:pt x="120" y="444"/>
                  </a:lnTo>
                  <a:lnTo>
                    <a:pt x="120" y="447"/>
                  </a:lnTo>
                  <a:lnTo>
                    <a:pt x="120" y="449"/>
                  </a:lnTo>
                  <a:lnTo>
                    <a:pt x="120" y="449"/>
                  </a:lnTo>
                  <a:lnTo>
                    <a:pt x="120" y="452"/>
                  </a:lnTo>
                  <a:lnTo>
                    <a:pt x="120" y="455"/>
                  </a:lnTo>
                  <a:lnTo>
                    <a:pt x="118" y="460"/>
                  </a:lnTo>
                  <a:lnTo>
                    <a:pt x="115" y="465"/>
                  </a:lnTo>
                  <a:lnTo>
                    <a:pt x="115" y="471"/>
                  </a:lnTo>
                  <a:lnTo>
                    <a:pt x="115" y="471"/>
                  </a:lnTo>
                  <a:lnTo>
                    <a:pt x="115" y="473"/>
                  </a:lnTo>
                  <a:lnTo>
                    <a:pt x="115" y="473"/>
                  </a:lnTo>
                  <a:lnTo>
                    <a:pt x="115" y="476"/>
                  </a:lnTo>
                  <a:lnTo>
                    <a:pt x="115" y="479"/>
                  </a:lnTo>
                  <a:lnTo>
                    <a:pt x="120" y="495"/>
                  </a:lnTo>
                  <a:lnTo>
                    <a:pt x="123" y="497"/>
                  </a:lnTo>
                  <a:lnTo>
                    <a:pt x="128" y="503"/>
                  </a:lnTo>
                  <a:lnTo>
                    <a:pt x="128" y="503"/>
                  </a:lnTo>
                  <a:lnTo>
                    <a:pt x="128" y="505"/>
                  </a:lnTo>
                  <a:lnTo>
                    <a:pt x="128" y="511"/>
                  </a:lnTo>
                  <a:lnTo>
                    <a:pt x="131" y="511"/>
                  </a:lnTo>
                  <a:lnTo>
                    <a:pt x="131" y="513"/>
                  </a:lnTo>
                  <a:lnTo>
                    <a:pt x="131" y="516"/>
                  </a:lnTo>
                  <a:lnTo>
                    <a:pt x="131" y="519"/>
                  </a:lnTo>
                  <a:lnTo>
                    <a:pt x="131" y="521"/>
                  </a:lnTo>
                  <a:lnTo>
                    <a:pt x="131" y="524"/>
                  </a:lnTo>
                  <a:lnTo>
                    <a:pt x="131" y="527"/>
                  </a:lnTo>
                  <a:lnTo>
                    <a:pt x="131" y="532"/>
                  </a:lnTo>
                  <a:lnTo>
                    <a:pt x="131" y="538"/>
                  </a:lnTo>
                  <a:lnTo>
                    <a:pt x="131" y="548"/>
                  </a:lnTo>
                  <a:lnTo>
                    <a:pt x="131" y="548"/>
                  </a:lnTo>
                  <a:lnTo>
                    <a:pt x="128" y="551"/>
                  </a:lnTo>
                  <a:lnTo>
                    <a:pt x="128" y="554"/>
                  </a:lnTo>
                  <a:lnTo>
                    <a:pt x="128" y="554"/>
                  </a:lnTo>
                  <a:lnTo>
                    <a:pt x="131" y="556"/>
                  </a:lnTo>
                  <a:lnTo>
                    <a:pt x="131" y="559"/>
                  </a:lnTo>
                  <a:lnTo>
                    <a:pt x="131" y="564"/>
                  </a:lnTo>
                  <a:lnTo>
                    <a:pt x="131" y="564"/>
                  </a:lnTo>
                  <a:lnTo>
                    <a:pt x="134" y="567"/>
                  </a:lnTo>
                  <a:lnTo>
                    <a:pt x="136" y="567"/>
                  </a:lnTo>
                  <a:lnTo>
                    <a:pt x="139" y="572"/>
                  </a:lnTo>
                  <a:lnTo>
                    <a:pt x="144" y="578"/>
                  </a:lnTo>
                  <a:lnTo>
                    <a:pt x="147" y="583"/>
                  </a:lnTo>
                  <a:lnTo>
                    <a:pt x="147" y="586"/>
                  </a:lnTo>
                  <a:lnTo>
                    <a:pt x="147" y="586"/>
                  </a:lnTo>
                  <a:lnTo>
                    <a:pt x="147" y="588"/>
                  </a:lnTo>
                  <a:lnTo>
                    <a:pt x="147" y="588"/>
                  </a:lnTo>
                  <a:lnTo>
                    <a:pt x="147" y="588"/>
                  </a:lnTo>
                  <a:lnTo>
                    <a:pt x="147" y="591"/>
                  </a:lnTo>
                  <a:lnTo>
                    <a:pt x="147" y="591"/>
                  </a:lnTo>
                  <a:lnTo>
                    <a:pt x="147" y="591"/>
                  </a:lnTo>
                  <a:lnTo>
                    <a:pt x="150" y="594"/>
                  </a:lnTo>
                  <a:lnTo>
                    <a:pt x="150" y="594"/>
                  </a:lnTo>
                  <a:lnTo>
                    <a:pt x="152" y="596"/>
                  </a:lnTo>
                  <a:lnTo>
                    <a:pt x="152" y="599"/>
                  </a:lnTo>
                  <a:lnTo>
                    <a:pt x="155" y="599"/>
                  </a:lnTo>
                  <a:lnTo>
                    <a:pt x="155" y="604"/>
                  </a:lnTo>
                  <a:lnTo>
                    <a:pt x="158" y="607"/>
                  </a:lnTo>
                  <a:lnTo>
                    <a:pt x="158" y="612"/>
                  </a:lnTo>
                  <a:lnTo>
                    <a:pt x="160" y="620"/>
                  </a:lnTo>
                  <a:lnTo>
                    <a:pt x="168" y="626"/>
                  </a:lnTo>
                  <a:lnTo>
                    <a:pt x="168" y="626"/>
                  </a:lnTo>
                  <a:lnTo>
                    <a:pt x="171" y="626"/>
                  </a:lnTo>
                  <a:lnTo>
                    <a:pt x="174" y="626"/>
                  </a:lnTo>
                  <a:lnTo>
                    <a:pt x="176" y="626"/>
                  </a:lnTo>
                  <a:lnTo>
                    <a:pt x="179" y="626"/>
                  </a:lnTo>
                  <a:lnTo>
                    <a:pt x="184" y="626"/>
                  </a:lnTo>
                  <a:lnTo>
                    <a:pt x="190" y="626"/>
                  </a:lnTo>
                  <a:lnTo>
                    <a:pt x="198" y="623"/>
                  </a:lnTo>
                  <a:lnTo>
                    <a:pt x="206" y="623"/>
                  </a:lnTo>
                  <a:lnTo>
                    <a:pt x="214" y="623"/>
                  </a:lnTo>
                  <a:lnTo>
                    <a:pt x="224" y="623"/>
                  </a:lnTo>
                  <a:lnTo>
                    <a:pt x="235" y="620"/>
                  </a:lnTo>
                  <a:lnTo>
                    <a:pt x="248" y="620"/>
                  </a:lnTo>
                  <a:lnTo>
                    <a:pt x="259" y="620"/>
                  </a:lnTo>
                  <a:lnTo>
                    <a:pt x="272" y="618"/>
                  </a:lnTo>
                  <a:lnTo>
                    <a:pt x="286" y="618"/>
                  </a:lnTo>
                  <a:lnTo>
                    <a:pt x="299" y="618"/>
                  </a:lnTo>
                  <a:lnTo>
                    <a:pt x="312" y="615"/>
                  </a:lnTo>
                  <a:lnTo>
                    <a:pt x="326" y="615"/>
                  </a:lnTo>
                  <a:lnTo>
                    <a:pt x="339" y="612"/>
                  </a:lnTo>
                  <a:lnTo>
                    <a:pt x="352" y="612"/>
                  </a:lnTo>
                  <a:lnTo>
                    <a:pt x="366" y="610"/>
                  </a:lnTo>
                  <a:lnTo>
                    <a:pt x="379" y="610"/>
                  </a:lnTo>
                  <a:lnTo>
                    <a:pt x="392" y="610"/>
                  </a:lnTo>
                  <a:lnTo>
                    <a:pt x="403" y="607"/>
                  </a:lnTo>
                  <a:lnTo>
                    <a:pt x="416" y="607"/>
                  </a:lnTo>
                  <a:lnTo>
                    <a:pt x="427" y="607"/>
                  </a:lnTo>
                  <a:lnTo>
                    <a:pt x="438" y="604"/>
                  </a:lnTo>
                  <a:lnTo>
                    <a:pt x="448" y="604"/>
                  </a:lnTo>
                  <a:lnTo>
                    <a:pt x="456" y="604"/>
                  </a:lnTo>
                  <a:lnTo>
                    <a:pt x="464" y="602"/>
                  </a:lnTo>
                  <a:lnTo>
                    <a:pt x="470" y="602"/>
                  </a:lnTo>
                  <a:lnTo>
                    <a:pt x="478" y="602"/>
                  </a:lnTo>
                  <a:lnTo>
                    <a:pt x="480" y="602"/>
                  </a:lnTo>
                  <a:lnTo>
                    <a:pt x="486" y="602"/>
                  </a:lnTo>
                  <a:lnTo>
                    <a:pt x="486" y="602"/>
                  </a:lnTo>
                  <a:lnTo>
                    <a:pt x="486" y="602"/>
                  </a:lnTo>
                  <a:lnTo>
                    <a:pt x="486" y="602"/>
                  </a:lnTo>
                  <a:lnTo>
                    <a:pt x="486" y="604"/>
                  </a:lnTo>
                  <a:lnTo>
                    <a:pt x="486" y="604"/>
                  </a:lnTo>
                  <a:lnTo>
                    <a:pt x="486" y="604"/>
                  </a:lnTo>
                  <a:lnTo>
                    <a:pt x="486" y="604"/>
                  </a:lnTo>
                  <a:lnTo>
                    <a:pt x="486" y="604"/>
                  </a:lnTo>
                  <a:lnTo>
                    <a:pt x="491" y="610"/>
                  </a:lnTo>
                  <a:lnTo>
                    <a:pt x="491" y="610"/>
                  </a:lnTo>
                  <a:lnTo>
                    <a:pt x="491" y="610"/>
                  </a:lnTo>
                  <a:lnTo>
                    <a:pt x="491" y="612"/>
                  </a:lnTo>
                  <a:lnTo>
                    <a:pt x="491" y="612"/>
                  </a:lnTo>
                  <a:lnTo>
                    <a:pt x="491" y="612"/>
                  </a:lnTo>
                  <a:lnTo>
                    <a:pt x="491" y="612"/>
                  </a:lnTo>
                  <a:lnTo>
                    <a:pt x="491" y="615"/>
                  </a:lnTo>
                  <a:lnTo>
                    <a:pt x="491" y="618"/>
                  </a:lnTo>
                  <a:lnTo>
                    <a:pt x="491" y="618"/>
                  </a:lnTo>
                  <a:lnTo>
                    <a:pt x="491" y="618"/>
                  </a:lnTo>
                  <a:lnTo>
                    <a:pt x="494" y="620"/>
                  </a:lnTo>
                  <a:lnTo>
                    <a:pt x="496" y="626"/>
                  </a:lnTo>
                  <a:lnTo>
                    <a:pt x="496" y="626"/>
                  </a:lnTo>
                  <a:lnTo>
                    <a:pt x="496" y="626"/>
                  </a:lnTo>
                  <a:lnTo>
                    <a:pt x="496" y="626"/>
                  </a:lnTo>
                  <a:lnTo>
                    <a:pt x="499" y="626"/>
                  </a:lnTo>
                  <a:lnTo>
                    <a:pt x="499" y="626"/>
                  </a:lnTo>
                  <a:lnTo>
                    <a:pt x="504" y="626"/>
                  </a:lnTo>
                  <a:lnTo>
                    <a:pt x="504" y="626"/>
                  </a:lnTo>
                  <a:lnTo>
                    <a:pt x="507" y="626"/>
                  </a:lnTo>
                  <a:lnTo>
                    <a:pt x="510" y="626"/>
                  </a:lnTo>
                  <a:lnTo>
                    <a:pt x="510" y="626"/>
                  </a:lnTo>
                  <a:lnTo>
                    <a:pt x="512" y="623"/>
                  </a:lnTo>
                  <a:lnTo>
                    <a:pt x="512" y="623"/>
                  </a:lnTo>
                  <a:lnTo>
                    <a:pt x="512" y="623"/>
                  </a:lnTo>
                  <a:lnTo>
                    <a:pt x="512" y="623"/>
                  </a:lnTo>
                  <a:lnTo>
                    <a:pt x="512" y="620"/>
                  </a:lnTo>
                  <a:lnTo>
                    <a:pt x="512" y="618"/>
                  </a:lnTo>
                  <a:lnTo>
                    <a:pt x="512" y="615"/>
                  </a:lnTo>
                  <a:lnTo>
                    <a:pt x="512" y="615"/>
                  </a:lnTo>
                  <a:lnTo>
                    <a:pt x="512" y="604"/>
                  </a:lnTo>
                  <a:lnTo>
                    <a:pt x="512" y="596"/>
                  </a:lnTo>
                  <a:lnTo>
                    <a:pt x="512" y="594"/>
                  </a:lnTo>
                  <a:lnTo>
                    <a:pt x="512" y="594"/>
                  </a:lnTo>
                  <a:lnTo>
                    <a:pt x="512" y="591"/>
                  </a:lnTo>
                  <a:lnTo>
                    <a:pt x="512" y="591"/>
                  </a:lnTo>
                  <a:lnTo>
                    <a:pt x="510" y="588"/>
                  </a:lnTo>
                  <a:lnTo>
                    <a:pt x="507" y="588"/>
                  </a:lnTo>
                  <a:lnTo>
                    <a:pt x="507" y="586"/>
                  </a:lnTo>
                  <a:lnTo>
                    <a:pt x="507" y="586"/>
                  </a:lnTo>
                  <a:lnTo>
                    <a:pt x="507" y="583"/>
                  </a:lnTo>
                  <a:lnTo>
                    <a:pt x="507" y="583"/>
                  </a:lnTo>
                  <a:lnTo>
                    <a:pt x="507" y="580"/>
                  </a:lnTo>
                  <a:lnTo>
                    <a:pt x="507" y="578"/>
                  </a:lnTo>
                  <a:lnTo>
                    <a:pt x="507" y="578"/>
                  </a:lnTo>
                  <a:lnTo>
                    <a:pt x="507" y="575"/>
                  </a:lnTo>
                  <a:lnTo>
                    <a:pt x="507" y="572"/>
                  </a:lnTo>
                  <a:lnTo>
                    <a:pt x="507" y="572"/>
                  </a:lnTo>
                  <a:lnTo>
                    <a:pt x="507" y="572"/>
                  </a:lnTo>
                  <a:lnTo>
                    <a:pt x="507" y="570"/>
                  </a:lnTo>
                  <a:lnTo>
                    <a:pt x="507" y="570"/>
                  </a:lnTo>
                  <a:lnTo>
                    <a:pt x="507" y="570"/>
                  </a:lnTo>
                  <a:lnTo>
                    <a:pt x="507" y="567"/>
                  </a:lnTo>
                  <a:lnTo>
                    <a:pt x="507" y="567"/>
                  </a:lnTo>
                  <a:lnTo>
                    <a:pt x="507" y="567"/>
                  </a:lnTo>
                  <a:lnTo>
                    <a:pt x="510" y="564"/>
                  </a:lnTo>
                  <a:lnTo>
                    <a:pt x="510" y="564"/>
                  </a:lnTo>
                  <a:lnTo>
                    <a:pt x="510" y="564"/>
                  </a:lnTo>
                  <a:lnTo>
                    <a:pt x="512" y="564"/>
                  </a:lnTo>
                  <a:lnTo>
                    <a:pt x="512" y="564"/>
                  </a:lnTo>
                  <a:lnTo>
                    <a:pt x="512" y="564"/>
                  </a:lnTo>
                  <a:lnTo>
                    <a:pt x="512" y="564"/>
                  </a:lnTo>
                  <a:lnTo>
                    <a:pt x="512" y="562"/>
                  </a:lnTo>
                  <a:lnTo>
                    <a:pt x="512" y="562"/>
                  </a:lnTo>
                  <a:lnTo>
                    <a:pt x="512" y="562"/>
                  </a:lnTo>
                  <a:lnTo>
                    <a:pt x="512" y="562"/>
                  </a:lnTo>
                  <a:lnTo>
                    <a:pt x="512" y="559"/>
                  </a:lnTo>
                  <a:lnTo>
                    <a:pt x="515" y="559"/>
                  </a:lnTo>
                  <a:lnTo>
                    <a:pt x="515" y="559"/>
                  </a:lnTo>
                  <a:lnTo>
                    <a:pt x="518" y="559"/>
                  </a:lnTo>
                  <a:lnTo>
                    <a:pt x="518" y="559"/>
                  </a:lnTo>
                  <a:lnTo>
                    <a:pt x="518" y="559"/>
                  </a:lnTo>
                  <a:lnTo>
                    <a:pt x="520" y="559"/>
                  </a:lnTo>
                  <a:lnTo>
                    <a:pt x="520" y="559"/>
                  </a:lnTo>
                  <a:lnTo>
                    <a:pt x="523" y="559"/>
                  </a:lnTo>
                  <a:lnTo>
                    <a:pt x="526" y="562"/>
                  </a:lnTo>
                  <a:lnTo>
                    <a:pt x="537" y="564"/>
                  </a:lnTo>
                  <a:lnTo>
                    <a:pt x="537" y="564"/>
                  </a:lnTo>
                  <a:lnTo>
                    <a:pt x="539" y="564"/>
                  </a:lnTo>
                  <a:lnTo>
                    <a:pt x="539" y="564"/>
                  </a:lnTo>
                  <a:lnTo>
                    <a:pt x="542" y="564"/>
                  </a:lnTo>
                  <a:lnTo>
                    <a:pt x="542" y="564"/>
                  </a:lnTo>
                  <a:lnTo>
                    <a:pt x="545" y="564"/>
                  </a:lnTo>
                  <a:lnTo>
                    <a:pt x="545" y="564"/>
                  </a:lnTo>
                  <a:lnTo>
                    <a:pt x="553" y="567"/>
                  </a:lnTo>
                  <a:lnTo>
                    <a:pt x="553" y="567"/>
                  </a:lnTo>
                  <a:lnTo>
                    <a:pt x="555" y="567"/>
                  </a:lnTo>
                  <a:lnTo>
                    <a:pt x="555" y="567"/>
                  </a:lnTo>
                  <a:lnTo>
                    <a:pt x="558" y="567"/>
                  </a:lnTo>
                  <a:lnTo>
                    <a:pt x="558" y="567"/>
                  </a:lnTo>
                  <a:lnTo>
                    <a:pt x="563" y="567"/>
                  </a:lnTo>
                  <a:lnTo>
                    <a:pt x="563" y="567"/>
                  </a:lnTo>
                  <a:lnTo>
                    <a:pt x="569" y="564"/>
                  </a:lnTo>
                  <a:lnTo>
                    <a:pt x="571" y="564"/>
                  </a:lnTo>
                  <a:lnTo>
                    <a:pt x="571" y="564"/>
                  </a:lnTo>
                  <a:lnTo>
                    <a:pt x="571" y="564"/>
                  </a:lnTo>
                  <a:lnTo>
                    <a:pt x="571" y="559"/>
                  </a:lnTo>
                  <a:lnTo>
                    <a:pt x="571" y="556"/>
                  </a:lnTo>
                  <a:lnTo>
                    <a:pt x="569" y="556"/>
                  </a:lnTo>
                  <a:lnTo>
                    <a:pt x="569" y="554"/>
                  </a:lnTo>
                  <a:lnTo>
                    <a:pt x="569" y="554"/>
                  </a:lnTo>
                  <a:lnTo>
                    <a:pt x="566" y="551"/>
                  </a:lnTo>
                  <a:lnTo>
                    <a:pt x="566" y="548"/>
                  </a:lnTo>
                  <a:lnTo>
                    <a:pt x="566" y="548"/>
                  </a:lnTo>
                  <a:lnTo>
                    <a:pt x="563" y="548"/>
                  </a:lnTo>
                  <a:lnTo>
                    <a:pt x="563" y="546"/>
                  </a:lnTo>
                  <a:lnTo>
                    <a:pt x="566" y="546"/>
                  </a:lnTo>
                  <a:lnTo>
                    <a:pt x="566" y="546"/>
                  </a:lnTo>
                  <a:lnTo>
                    <a:pt x="569" y="546"/>
                  </a:lnTo>
                  <a:lnTo>
                    <a:pt x="569" y="546"/>
                  </a:lnTo>
                  <a:lnTo>
                    <a:pt x="569" y="546"/>
                  </a:lnTo>
                  <a:lnTo>
                    <a:pt x="569" y="543"/>
                  </a:lnTo>
                  <a:lnTo>
                    <a:pt x="566" y="543"/>
                  </a:lnTo>
                  <a:lnTo>
                    <a:pt x="566" y="543"/>
                  </a:lnTo>
                  <a:lnTo>
                    <a:pt x="566" y="540"/>
                  </a:lnTo>
                  <a:lnTo>
                    <a:pt x="566" y="540"/>
                  </a:lnTo>
                  <a:lnTo>
                    <a:pt x="566" y="538"/>
                  </a:lnTo>
                  <a:lnTo>
                    <a:pt x="566" y="538"/>
                  </a:lnTo>
                  <a:lnTo>
                    <a:pt x="571" y="532"/>
                  </a:lnTo>
                  <a:lnTo>
                    <a:pt x="571" y="529"/>
                  </a:lnTo>
                  <a:lnTo>
                    <a:pt x="569" y="529"/>
                  </a:lnTo>
                  <a:lnTo>
                    <a:pt x="566" y="529"/>
                  </a:lnTo>
                  <a:lnTo>
                    <a:pt x="563" y="529"/>
                  </a:lnTo>
                  <a:lnTo>
                    <a:pt x="563" y="527"/>
                  </a:lnTo>
                  <a:lnTo>
                    <a:pt x="569" y="527"/>
                  </a:lnTo>
                  <a:lnTo>
                    <a:pt x="569" y="524"/>
                  </a:lnTo>
                  <a:lnTo>
                    <a:pt x="569" y="521"/>
                  </a:lnTo>
                  <a:lnTo>
                    <a:pt x="569" y="519"/>
                  </a:lnTo>
                  <a:lnTo>
                    <a:pt x="563" y="516"/>
                  </a:lnTo>
                  <a:lnTo>
                    <a:pt x="561" y="513"/>
                  </a:lnTo>
                  <a:lnTo>
                    <a:pt x="563" y="513"/>
                  </a:lnTo>
                  <a:lnTo>
                    <a:pt x="566" y="516"/>
                  </a:lnTo>
                  <a:lnTo>
                    <a:pt x="571" y="519"/>
                  </a:lnTo>
                  <a:lnTo>
                    <a:pt x="571" y="521"/>
                  </a:lnTo>
                  <a:lnTo>
                    <a:pt x="574" y="521"/>
                  </a:lnTo>
                  <a:lnTo>
                    <a:pt x="574" y="511"/>
                  </a:lnTo>
                  <a:lnTo>
                    <a:pt x="574" y="505"/>
                  </a:lnTo>
                  <a:lnTo>
                    <a:pt x="571" y="508"/>
                  </a:lnTo>
                  <a:lnTo>
                    <a:pt x="571" y="511"/>
                  </a:lnTo>
                  <a:lnTo>
                    <a:pt x="571" y="513"/>
                  </a:lnTo>
                  <a:lnTo>
                    <a:pt x="569" y="513"/>
                  </a:lnTo>
                  <a:lnTo>
                    <a:pt x="566" y="511"/>
                  </a:lnTo>
                  <a:lnTo>
                    <a:pt x="563" y="508"/>
                  </a:lnTo>
                  <a:lnTo>
                    <a:pt x="563" y="508"/>
                  </a:lnTo>
                  <a:lnTo>
                    <a:pt x="563" y="505"/>
                  </a:lnTo>
                  <a:lnTo>
                    <a:pt x="569" y="508"/>
                  </a:lnTo>
                  <a:lnTo>
                    <a:pt x="569" y="505"/>
                  </a:lnTo>
                  <a:lnTo>
                    <a:pt x="566" y="503"/>
                  </a:lnTo>
                  <a:lnTo>
                    <a:pt x="566" y="497"/>
                  </a:lnTo>
                  <a:lnTo>
                    <a:pt x="566" y="495"/>
                  </a:lnTo>
                  <a:lnTo>
                    <a:pt x="566" y="495"/>
                  </a:lnTo>
                  <a:lnTo>
                    <a:pt x="569" y="492"/>
                  </a:lnTo>
                  <a:lnTo>
                    <a:pt x="569" y="495"/>
                  </a:lnTo>
                  <a:lnTo>
                    <a:pt x="571" y="503"/>
                  </a:lnTo>
                  <a:lnTo>
                    <a:pt x="571" y="503"/>
                  </a:lnTo>
                  <a:lnTo>
                    <a:pt x="571" y="503"/>
                  </a:lnTo>
                  <a:lnTo>
                    <a:pt x="574" y="503"/>
                  </a:lnTo>
                  <a:lnTo>
                    <a:pt x="577" y="500"/>
                  </a:lnTo>
                  <a:lnTo>
                    <a:pt x="579" y="497"/>
                  </a:lnTo>
                  <a:lnTo>
                    <a:pt x="582" y="489"/>
                  </a:lnTo>
                  <a:lnTo>
                    <a:pt x="585" y="489"/>
                  </a:lnTo>
                  <a:lnTo>
                    <a:pt x="585" y="489"/>
                  </a:lnTo>
                  <a:lnTo>
                    <a:pt x="585" y="484"/>
                  </a:lnTo>
                  <a:lnTo>
                    <a:pt x="585" y="481"/>
                  </a:lnTo>
                  <a:lnTo>
                    <a:pt x="582" y="481"/>
                  </a:lnTo>
                  <a:lnTo>
                    <a:pt x="577" y="479"/>
                  </a:lnTo>
                  <a:lnTo>
                    <a:pt x="577" y="479"/>
                  </a:lnTo>
                  <a:lnTo>
                    <a:pt x="571" y="479"/>
                  </a:lnTo>
                  <a:lnTo>
                    <a:pt x="566" y="479"/>
                  </a:lnTo>
                  <a:lnTo>
                    <a:pt x="561" y="476"/>
                  </a:lnTo>
                  <a:lnTo>
                    <a:pt x="558" y="473"/>
                  </a:lnTo>
                  <a:lnTo>
                    <a:pt x="558" y="473"/>
                  </a:lnTo>
                  <a:lnTo>
                    <a:pt x="558" y="473"/>
                  </a:lnTo>
                  <a:lnTo>
                    <a:pt x="561" y="473"/>
                  </a:lnTo>
                  <a:lnTo>
                    <a:pt x="563" y="476"/>
                  </a:lnTo>
                  <a:lnTo>
                    <a:pt x="577" y="476"/>
                  </a:lnTo>
                  <a:lnTo>
                    <a:pt x="582" y="476"/>
                  </a:lnTo>
                  <a:lnTo>
                    <a:pt x="582" y="473"/>
                  </a:lnTo>
                  <a:lnTo>
                    <a:pt x="582" y="471"/>
                  </a:lnTo>
                  <a:lnTo>
                    <a:pt x="579" y="468"/>
                  </a:lnTo>
                  <a:lnTo>
                    <a:pt x="577" y="465"/>
                  </a:lnTo>
                  <a:lnTo>
                    <a:pt x="574" y="463"/>
                  </a:lnTo>
                  <a:lnTo>
                    <a:pt x="574" y="463"/>
                  </a:lnTo>
                  <a:lnTo>
                    <a:pt x="574" y="463"/>
                  </a:lnTo>
                  <a:lnTo>
                    <a:pt x="577" y="460"/>
                  </a:lnTo>
                  <a:lnTo>
                    <a:pt x="577" y="460"/>
                  </a:lnTo>
                  <a:lnTo>
                    <a:pt x="577" y="460"/>
                  </a:lnTo>
                  <a:lnTo>
                    <a:pt x="577" y="463"/>
                  </a:lnTo>
                  <a:lnTo>
                    <a:pt x="579" y="463"/>
                  </a:lnTo>
                  <a:lnTo>
                    <a:pt x="579" y="465"/>
                  </a:lnTo>
                  <a:lnTo>
                    <a:pt x="579" y="465"/>
                  </a:lnTo>
                  <a:lnTo>
                    <a:pt x="582" y="465"/>
                  </a:lnTo>
                  <a:lnTo>
                    <a:pt x="582" y="468"/>
                  </a:lnTo>
                  <a:lnTo>
                    <a:pt x="582" y="465"/>
                  </a:lnTo>
                  <a:lnTo>
                    <a:pt x="585" y="465"/>
                  </a:lnTo>
                  <a:lnTo>
                    <a:pt x="582" y="465"/>
                  </a:lnTo>
                  <a:lnTo>
                    <a:pt x="582" y="463"/>
                  </a:lnTo>
                  <a:lnTo>
                    <a:pt x="590" y="449"/>
                  </a:lnTo>
                  <a:lnTo>
                    <a:pt x="590" y="444"/>
                  </a:lnTo>
                  <a:lnTo>
                    <a:pt x="587" y="444"/>
                  </a:lnTo>
                  <a:lnTo>
                    <a:pt x="582" y="447"/>
                  </a:lnTo>
                  <a:lnTo>
                    <a:pt x="577" y="452"/>
                  </a:lnTo>
                  <a:lnTo>
                    <a:pt x="577" y="452"/>
                  </a:lnTo>
                  <a:lnTo>
                    <a:pt x="579" y="449"/>
                  </a:lnTo>
                  <a:lnTo>
                    <a:pt x="579" y="447"/>
                  </a:lnTo>
                  <a:lnTo>
                    <a:pt x="577" y="447"/>
                  </a:lnTo>
                  <a:lnTo>
                    <a:pt x="577" y="447"/>
                  </a:lnTo>
                  <a:lnTo>
                    <a:pt x="574" y="447"/>
                  </a:lnTo>
                  <a:lnTo>
                    <a:pt x="574" y="447"/>
                  </a:lnTo>
                  <a:lnTo>
                    <a:pt x="571" y="447"/>
                  </a:lnTo>
                  <a:lnTo>
                    <a:pt x="571" y="444"/>
                  </a:lnTo>
                  <a:lnTo>
                    <a:pt x="571" y="444"/>
                  </a:lnTo>
                  <a:lnTo>
                    <a:pt x="574" y="444"/>
                  </a:lnTo>
                  <a:lnTo>
                    <a:pt x="574" y="441"/>
                  </a:lnTo>
                  <a:lnTo>
                    <a:pt x="577" y="441"/>
                  </a:lnTo>
                  <a:lnTo>
                    <a:pt x="579" y="441"/>
                  </a:lnTo>
                  <a:lnTo>
                    <a:pt x="582" y="441"/>
                  </a:lnTo>
                  <a:lnTo>
                    <a:pt x="585" y="441"/>
                  </a:lnTo>
                  <a:lnTo>
                    <a:pt x="587" y="436"/>
                  </a:lnTo>
                  <a:lnTo>
                    <a:pt x="585" y="436"/>
                  </a:lnTo>
                  <a:lnTo>
                    <a:pt x="582" y="433"/>
                  </a:lnTo>
                  <a:lnTo>
                    <a:pt x="579" y="431"/>
                  </a:lnTo>
                  <a:lnTo>
                    <a:pt x="582" y="431"/>
                  </a:lnTo>
                  <a:lnTo>
                    <a:pt x="585" y="431"/>
                  </a:lnTo>
                  <a:lnTo>
                    <a:pt x="587" y="433"/>
                  </a:lnTo>
                  <a:lnTo>
                    <a:pt x="587" y="433"/>
                  </a:lnTo>
                  <a:lnTo>
                    <a:pt x="590" y="439"/>
                  </a:lnTo>
                  <a:lnTo>
                    <a:pt x="590" y="441"/>
                  </a:lnTo>
                  <a:lnTo>
                    <a:pt x="590" y="439"/>
                  </a:lnTo>
                  <a:lnTo>
                    <a:pt x="593" y="439"/>
                  </a:lnTo>
                  <a:lnTo>
                    <a:pt x="593" y="428"/>
                  </a:lnTo>
                  <a:lnTo>
                    <a:pt x="593" y="425"/>
                  </a:lnTo>
                  <a:lnTo>
                    <a:pt x="593" y="423"/>
                  </a:lnTo>
                  <a:lnTo>
                    <a:pt x="590" y="420"/>
                  </a:lnTo>
                  <a:lnTo>
                    <a:pt x="587" y="423"/>
                  </a:lnTo>
                  <a:lnTo>
                    <a:pt x="587" y="423"/>
                  </a:lnTo>
                  <a:lnTo>
                    <a:pt x="590" y="425"/>
                  </a:lnTo>
                  <a:lnTo>
                    <a:pt x="590" y="425"/>
                  </a:lnTo>
                  <a:lnTo>
                    <a:pt x="582" y="428"/>
                  </a:lnTo>
                  <a:lnTo>
                    <a:pt x="579" y="428"/>
                  </a:lnTo>
                  <a:lnTo>
                    <a:pt x="585" y="423"/>
                  </a:lnTo>
                  <a:lnTo>
                    <a:pt x="585" y="420"/>
                  </a:lnTo>
                  <a:lnTo>
                    <a:pt x="579" y="417"/>
                  </a:lnTo>
                  <a:lnTo>
                    <a:pt x="577" y="417"/>
                  </a:lnTo>
                  <a:lnTo>
                    <a:pt x="574" y="417"/>
                  </a:lnTo>
                  <a:lnTo>
                    <a:pt x="574" y="415"/>
                  </a:lnTo>
                  <a:lnTo>
                    <a:pt x="574" y="415"/>
                  </a:lnTo>
                  <a:lnTo>
                    <a:pt x="577" y="415"/>
                  </a:lnTo>
                  <a:lnTo>
                    <a:pt x="577" y="415"/>
                  </a:lnTo>
                  <a:lnTo>
                    <a:pt x="579" y="415"/>
                  </a:lnTo>
                  <a:lnTo>
                    <a:pt x="582" y="417"/>
                  </a:lnTo>
                  <a:lnTo>
                    <a:pt x="587" y="417"/>
                  </a:lnTo>
                  <a:lnTo>
                    <a:pt x="593" y="415"/>
                  </a:lnTo>
                  <a:lnTo>
                    <a:pt x="593" y="415"/>
                  </a:lnTo>
                  <a:lnTo>
                    <a:pt x="595" y="412"/>
                  </a:lnTo>
                  <a:lnTo>
                    <a:pt x="598" y="407"/>
                  </a:lnTo>
                  <a:lnTo>
                    <a:pt x="598" y="404"/>
                  </a:lnTo>
                  <a:lnTo>
                    <a:pt x="598" y="401"/>
                  </a:lnTo>
                  <a:lnTo>
                    <a:pt x="598" y="401"/>
                  </a:lnTo>
                  <a:lnTo>
                    <a:pt x="598" y="401"/>
                  </a:lnTo>
                  <a:lnTo>
                    <a:pt x="593" y="399"/>
                  </a:lnTo>
                  <a:lnTo>
                    <a:pt x="593" y="399"/>
                  </a:lnTo>
                  <a:lnTo>
                    <a:pt x="587" y="399"/>
                  </a:lnTo>
                  <a:lnTo>
                    <a:pt x="587" y="399"/>
                  </a:lnTo>
                  <a:lnTo>
                    <a:pt x="593" y="396"/>
                  </a:lnTo>
                  <a:lnTo>
                    <a:pt x="593" y="393"/>
                  </a:lnTo>
                  <a:lnTo>
                    <a:pt x="590" y="393"/>
                  </a:lnTo>
                  <a:lnTo>
                    <a:pt x="587" y="391"/>
                  </a:lnTo>
                  <a:lnTo>
                    <a:pt x="590" y="391"/>
                  </a:lnTo>
                  <a:lnTo>
                    <a:pt x="590" y="391"/>
                  </a:lnTo>
                  <a:lnTo>
                    <a:pt x="593" y="391"/>
                  </a:lnTo>
                  <a:lnTo>
                    <a:pt x="593" y="393"/>
                  </a:lnTo>
                  <a:lnTo>
                    <a:pt x="593" y="393"/>
                  </a:lnTo>
                  <a:lnTo>
                    <a:pt x="595" y="393"/>
                  </a:lnTo>
                  <a:lnTo>
                    <a:pt x="601" y="393"/>
                  </a:lnTo>
                  <a:lnTo>
                    <a:pt x="603" y="396"/>
                  </a:lnTo>
                  <a:lnTo>
                    <a:pt x="606" y="396"/>
                  </a:lnTo>
                  <a:lnTo>
                    <a:pt x="609" y="393"/>
                  </a:lnTo>
                  <a:lnTo>
                    <a:pt x="611" y="388"/>
                  </a:lnTo>
                  <a:lnTo>
                    <a:pt x="609" y="388"/>
                  </a:lnTo>
                  <a:lnTo>
                    <a:pt x="606" y="385"/>
                  </a:lnTo>
                  <a:lnTo>
                    <a:pt x="606" y="383"/>
                  </a:lnTo>
                  <a:lnTo>
                    <a:pt x="606" y="383"/>
                  </a:lnTo>
                  <a:lnTo>
                    <a:pt x="606" y="380"/>
                  </a:lnTo>
                  <a:lnTo>
                    <a:pt x="606" y="380"/>
                  </a:lnTo>
                  <a:lnTo>
                    <a:pt x="609" y="377"/>
                  </a:lnTo>
                  <a:lnTo>
                    <a:pt x="609" y="377"/>
                  </a:lnTo>
                  <a:lnTo>
                    <a:pt x="609" y="377"/>
                  </a:lnTo>
                  <a:lnTo>
                    <a:pt x="611" y="380"/>
                  </a:lnTo>
                  <a:lnTo>
                    <a:pt x="611" y="380"/>
                  </a:lnTo>
                  <a:lnTo>
                    <a:pt x="611" y="383"/>
                  </a:lnTo>
                  <a:lnTo>
                    <a:pt x="617" y="377"/>
                  </a:lnTo>
                  <a:lnTo>
                    <a:pt x="619" y="372"/>
                  </a:lnTo>
                  <a:lnTo>
                    <a:pt x="617" y="369"/>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49" name="Freeform 46">
              <a:extLst>
                <a:ext uri="{FF2B5EF4-FFF2-40B4-BE49-F238E27FC236}">
                  <a16:creationId xmlns="" xmlns:a16="http://schemas.microsoft.com/office/drawing/2014/main" id="{6C1E5043-772E-4385-9216-8B80A31ADB7B}"/>
                </a:ext>
              </a:extLst>
            </p:cNvPr>
            <p:cNvSpPr>
              <a:spLocks noEditPoints="1"/>
            </p:cNvSpPr>
            <p:nvPr/>
          </p:nvSpPr>
          <p:spPr bwMode="auto">
            <a:xfrm>
              <a:off x="5137" y="2621"/>
              <a:ext cx="1051" cy="919"/>
            </a:xfrm>
            <a:custGeom>
              <a:avLst/>
              <a:gdLst>
                <a:gd name="T0" fmla="*/ 323 w 1051"/>
                <a:gd name="T1" fmla="*/ 214 h 919"/>
                <a:gd name="T2" fmla="*/ 122 w 1051"/>
                <a:gd name="T3" fmla="*/ 136 h 919"/>
                <a:gd name="T4" fmla="*/ 747 w 1051"/>
                <a:gd name="T5" fmla="*/ 601 h 919"/>
                <a:gd name="T6" fmla="*/ 1000 w 1051"/>
                <a:gd name="T7" fmla="*/ 494 h 919"/>
                <a:gd name="T8" fmla="*/ 872 w 1051"/>
                <a:gd name="T9" fmla="*/ 270 h 919"/>
                <a:gd name="T10" fmla="*/ 904 w 1051"/>
                <a:gd name="T11" fmla="*/ 320 h 919"/>
                <a:gd name="T12" fmla="*/ 774 w 1051"/>
                <a:gd name="T13" fmla="*/ 96 h 919"/>
                <a:gd name="T14" fmla="*/ 744 w 1051"/>
                <a:gd name="T15" fmla="*/ 8 h 919"/>
                <a:gd name="T16" fmla="*/ 675 w 1051"/>
                <a:gd name="T17" fmla="*/ 5 h 919"/>
                <a:gd name="T18" fmla="*/ 661 w 1051"/>
                <a:gd name="T19" fmla="*/ 67 h 919"/>
                <a:gd name="T20" fmla="*/ 424 w 1051"/>
                <a:gd name="T21" fmla="*/ 61 h 919"/>
                <a:gd name="T22" fmla="*/ 2 w 1051"/>
                <a:gd name="T23" fmla="*/ 69 h 919"/>
                <a:gd name="T24" fmla="*/ 34 w 1051"/>
                <a:gd name="T25" fmla="*/ 158 h 919"/>
                <a:gd name="T26" fmla="*/ 61 w 1051"/>
                <a:gd name="T27" fmla="*/ 120 h 919"/>
                <a:gd name="T28" fmla="*/ 93 w 1051"/>
                <a:gd name="T29" fmla="*/ 136 h 919"/>
                <a:gd name="T30" fmla="*/ 152 w 1051"/>
                <a:gd name="T31" fmla="*/ 128 h 919"/>
                <a:gd name="T32" fmla="*/ 165 w 1051"/>
                <a:gd name="T33" fmla="*/ 131 h 919"/>
                <a:gd name="T34" fmla="*/ 240 w 1051"/>
                <a:gd name="T35" fmla="*/ 144 h 919"/>
                <a:gd name="T36" fmla="*/ 269 w 1051"/>
                <a:gd name="T37" fmla="*/ 163 h 919"/>
                <a:gd name="T38" fmla="*/ 291 w 1051"/>
                <a:gd name="T39" fmla="*/ 190 h 919"/>
                <a:gd name="T40" fmla="*/ 352 w 1051"/>
                <a:gd name="T41" fmla="*/ 206 h 919"/>
                <a:gd name="T42" fmla="*/ 405 w 1051"/>
                <a:gd name="T43" fmla="*/ 160 h 919"/>
                <a:gd name="T44" fmla="*/ 483 w 1051"/>
                <a:gd name="T45" fmla="*/ 155 h 919"/>
                <a:gd name="T46" fmla="*/ 565 w 1051"/>
                <a:gd name="T47" fmla="*/ 230 h 919"/>
                <a:gd name="T48" fmla="*/ 624 w 1051"/>
                <a:gd name="T49" fmla="*/ 267 h 919"/>
                <a:gd name="T50" fmla="*/ 643 w 1051"/>
                <a:gd name="T51" fmla="*/ 353 h 919"/>
                <a:gd name="T52" fmla="*/ 651 w 1051"/>
                <a:gd name="T53" fmla="*/ 443 h 919"/>
                <a:gd name="T54" fmla="*/ 653 w 1051"/>
                <a:gd name="T55" fmla="*/ 403 h 919"/>
                <a:gd name="T56" fmla="*/ 683 w 1051"/>
                <a:gd name="T57" fmla="*/ 449 h 919"/>
                <a:gd name="T58" fmla="*/ 680 w 1051"/>
                <a:gd name="T59" fmla="*/ 486 h 919"/>
                <a:gd name="T60" fmla="*/ 739 w 1051"/>
                <a:gd name="T61" fmla="*/ 561 h 919"/>
                <a:gd name="T62" fmla="*/ 763 w 1051"/>
                <a:gd name="T63" fmla="*/ 532 h 919"/>
                <a:gd name="T64" fmla="*/ 790 w 1051"/>
                <a:gd name="T65" fmla="*/ 572 h 919"/>
                <a:gd name="T66" fmla="*/ 800 w 1051"/>
                <a:gd name="T67" fmla="*/ 628 h 919"/>
                <a:gd name="T68" fmla="*/ 832 w 1051"/>
                <a:gd name="T69" fmla="*/ 668 h 919"/>
                <a:gd name="T70" fmla="*/ 894 w 1051"/>
                <a:gd name="T71" fmla="*/ 713 h 919"/>
                <a:gd name="T72" fmla="*/ 907 w 1051"/>
                <a:gd name="T73" fmla="*/ 764 h 919"/>
                <a:gd name="T74" fmla="*/ 976 w 1051"/>
                <a:gd name="T75" fmla="*/ 751 h 919"/>
                <a:gd name="T76" fmla="*/ 1000 w 1051"/>
                <a:gd name="T77" fmla="*/ 732 h 919"/>
                <a:gd name="T78" fmla="*/ 888 w 1051"/>
                <a:gd name="T79" fmla="*/ 283 h 919"/>
                <a:gd name="T80" fmla="*/ 960 w 1051"/>
                <a:gd name="T81" fmla="*/ 435 h 919"/>
                <a:gd name="T82" fmla="*/ 1040 w 1051"/>
                <a:gd name="T83" fmla="*/ 911 h 919"/>
                <a:gd name="T84" fmla="*/ 637 w 1051"/>
                <a:gd name="T85" fmla="*/ 304 h 919"/>
                <a:gd name="T86" fmla="*/ 632 w 1051"/>
                <a:gd name="T87" fmla="*/ 286 h 919"/>
                <a:gd name="T88" fmla="*/ 616 w 1051"/>
                <a:gd name="T89" fmla="*/ 254 h 919"/>
                <a:gd name="T90" fmla="*/ 843 w 1051"/>
                <a:gd name="T91" fmla="*/ 866 h 919"/>
                <a:gd name="T92" fmla="*/ 800 w 1051"/>
                <a:gd name="T93" fmla="*/ 871 h 919"/>
                <a:gd name="T94" fmla="*/ 862 w 1051"/>
                <a:gd name="T95" fmla="*/ 678 h 919"/>
                <a:gd name="T96" fmla="*/ 851 w 1051"/>
                <a:gd name="T97" fmla="*/ 678 h 919"/>
                <a:gd name="T98" fmla="*/ 704 w 1051"/>
                <a:gd name="T99" fmla="*/ 876 h 919"/>
                <a:gd name="T100" fmla="*/ 760 w 1051"/>
                <a:gd name="T101" fmla="*/ 604 h 919"/>
                <a:gd name="T102" fmla="*/ 870 w 1051"/>
                <a:gd name="T103" fmla="*/ 841 h 919"/>
                <a:gd name="T104" fmla="*/ 862 w 1051"/>
                <a:gd name="T105" fmla="*/ 857 h 919"/>
                <a:gd name="T106" fmla="*/ 928 w 1051"/>
                <a:gd name="T107" fmla="*/ 751 h 919"/>
                <a:gd name="T108" fmla="*/ 672 w 1051"/>
                <a:gd name="T109" fmla="*/ 467 h 919"/>
                <a:gd name="T110" fmla="*/ 880 w 1051"/>
                <a:gd name="T111" fmla="*/ 844 h 919"/>
                <a:gd name="T112" fmla="*/ 966 w 1051"/>
                <a:gd name="T113" fmla="*/ 761 h 919"/>
                <a:gd name="T114" fmla="*/ 998 w 1051"/>
                <a:gd name="T115" fmla="*/ 756 h 919"/>
                <a:gd name="T116" fmla="*/ 1016 w 1051"/>
                <a:gd name="T117" fmla="*/ 732 h 919"/>
                <a:gd name="T118" fmla="*/ 886 w 1051"/>
                <a:gd name="T119" fmla="*/ 831 h 919"/>
                <a:gd name="T120" fmla="*/ 960 w 1051"/>
                <a:gd name="T121" fmla="*/ 791 h 919"/>
                <a:gd name="T122" fmla="*/ 934 w 1051"/>
                <a:gd name="T123" fmla="*/ 823 h 919"/>
                <a:gd name="T124" fmla="*/ 995 w 1051"/>
                <a:gd name="T125" fmla="*/ 75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1" h="919">
                  <a:moveTo>
                    <a:pt x="384" y="187"/>
                  </a:moveTo>
                  <a:lnTo>
                    <a:pt x="381" y="190"/>
                  </a:lnTo>
                  <a:lnTo>
                    <a:pt x="376" y="192"/>
                  </a:lnTo>
                  <a:lnTo>
                    <a:pt x="376" y="195"/>
                  </a:lnTo>
                  <a:lnTo>
                    <a:pt x="381" y="192"/>
                  </a:lnTo>
                  <a:lnTo>
                    <a:pt x="384" y="190"/>
                  </a:lnTo>
                  <a:lnTo>
                    <a:pt x="387" y="187"/>
                  </a:lnTo>
                  <a:lnTo>
                    <a:pt x="384" y="187"/>
                  </a:lnTo>
                  <a:lnTo>
                    <a:pt x="384" y="187"/>
                  </a:lnTo>
                  <a:close/>
                  <a:moveTo>
                    <a:pt x="371" y="198"/>
                  </a:moveTo>
                  <a:lnTo>
                    <a:pt x="371" y="200"/>
                  </a:lnTo>
                  <a:lnTo>
                    <a:pt x="368" y="203"/>
                  </a:lnTo>
                  <a:lnTo>
                    <a:pt x="368" y="203"/>
                  </a:lnTo>
                  <a:lnTo>
                    <a:pt x="368" y="203"/>
                  </a:lnTo>
                  <a:lnTo>
                    <a:pt x="365" y="203"/>
                  </a:lnTo>
                  <a:lnTo>
                    <a:pt x="365" y="203"/>
                  </a:lnTo>
                  <a:lnTo>
                    <a:pt x="365" y="206"/>
                  </a:lnTo>
                  <a:lnTo>
                    <a:pt x="365" y="206"/>
                  </a:lnTo>
                  <a:lnTo>
                    <a:pt x="365" y="206"/>
                  </a:lnTo>
                  <a:lnTo>
                    <a:pt x="363" y="206"/>
                  </a:lnTo>
                  <a:lnTo>
                    <a:pt x="339" y="222"/>
                  </a:lnTo>
                  <a:lnTo>
                    <a:pt x="336" y="224"/>
                  </a:lnTo>
                  <a:lnTo>
                    <a:pt x="333" y="224"/>
                  </a:lnTo>
                  <a:lnTo>
                    <a:pt x="328" y="224"/>
                  </a:lnTo>
                  <a:lnTo>
                    <a:pt x="325" y="224"/>
                  </a:lnTo>
                  <a:lnTo>
                    <a:pt x="331" y="224"/>
                  </a:lnTo>
                  <a:lnTo>
                    <a:pt x="333" y="224"/>
                  </a:lnTo>
                  <a:lnTo>
                    <a:pt x="339" y="224"/>
                  </a:lnTo>
                  <a:lnTo>
                    <a:pt x="341" y="224"/>
                  </a:lnTo>
                  <a:lnTo>
                    <a:pt x="349" y="219"/>
                  </a:lnTo>
                  <a:lnTo>
                    <a:pt x="352" y="216"/>
                  </a:lnTo>
                  <a:lnTo>
                    <a:pt x="363" y="208"/>
                  </a:lnTo>
                  <a:lnTo>
                    <a:pt x="368" y="203"/>
                  </a:lnTo>
                  <a:lnTo>
                    <a:pt x="371" y="200"/>
                  </a:lnTo>
                  <a:lnTo>
                    <a:pt x="371" y="200"/>
                  </a:lnTo>
                  <a:lnTo>
                    <a:pt x="373" y="198"/>
                  </a:lnTo>
                  <a:lnTo>
                    <a:pt x="373" y="198"/>
                  </a:lnTo>
                  <a:lnTo>
                    <a:pt x="373" y="198"/>
                  </a:lnTo>
                  <a:lnTo>
                    <a:pt x="371" y="198"/>
                  </a:lnTo>
                  <a:close/>
                  <a:moveTo>
                    <a:pt x="328" y="216"/>
                  </a:moveTo>
                  <a:lnTo>
                    <a:pt x="328" y="214"/>
                  </a:lnTo>
                  <a:lnTo>
                    <a:pt x="325" y="214"/>
                  </a:lnTo>
                  <a:lnTo>
                    <a:pt x="325" y="214"/>
                  </a:lnTo>
                  <a:lnTo>
                    <a:pt x="323" y="214"/>
                  </a:lnTo>
                  <a:lnTo>
                    <a:pt x="320" y="214"/>
                  </a:lnTo>
                  <a:lnTo>
                    <a:pt x="317" y="216"/>
                  </a:lnTo>
                  <a:lnTo>
                    <a:pt x="317" y="216"/>
                  </a:lnTo>
                  <a:lnTo>
                    <a:pt x="312" y="216"/>
                  </a:lnTo>
                  <a:lnTo>
                    <a:pt x="312" y="216"/>
                  </a:lnTo>
                  <a:lnTo>
                    <a:pt x="315" y="219"/>
                  </a:lnTo>
                  <a:lnTo>
                    <a:pt x="317" y="219"/>
                  </a:lnTo>
                  <a:lnTo>
                    <a:pt x="317" y="219"/>
                  </a:lnTo>
                  <a:lnTo>
                    <a:pt x="317" y="222"/>
                  </a:lnTo>
                  <a:lnTo>
                    <a:pt x="320" y="222"/>
                  </a:lnTo>
                  <a:lnTo>
                    <a:pt x="320" y="222"/>
                  </a:lnTo>
                  <a:lnTo>
                    <a:pt x="323" y="222"/>
                  </a:lnTo>
                  <a:lnTo>
                    <a:pt x="325" y="222"/>
                  </a:lnTo>
                  <a:lnTo>
                    <a:pt x="325" y="222"/>
                  </a:lnTo>
                  <a:lnTo>
                    <a:pt x="325" y="219"/>
                  </a:lnTo>
                  <a:lnTo>
                    <a:pt x="325" y="219"/>
                  </a:lnTo>
                  <a:lnTo>
                    <a:pt x="325" y="216"/>
                  </a:lnTo>
                  <a:lnTo>
                    <a:pt x="328" y="216"/>
                  </a:lnTo>
                  <a:close/>
                  <a:moveTo>
                    <a:pt x="122" y="136"/>
                  </a:moveTo>
                  <a:lnTo>
                    <a:pt x="120" y="139"/>
                  </a:lnTo>
                  <a:lnTo>
                    <a:pt x="120" y="139"/>
                  </a:lnTo>
                  <a:lnTo>
                    <a:pt x="117" y="139"/>
                  </a:lnTo>
                  <a:lnTo>
                    <a:pt x="104" y="144"/>
                  </a:lnTo>
                  <a:lnTo>
                    <a:pt x="98" y="144"/>
                  </a:lnTo>
                  <a:lnTo>
                    <a:pt x="96" y="144"/>
                  </a:lnTo>
                  <a:lnTo>
                    <a:pt x="93" y="144"/>
                  </a:lnTo>
                  <a:lnTo>
                    <a:pt x="93" y="147"/>
                  </a:lnTo>
                  <a:lnTo>
                    <a:pt x="88" y="147"/>
                  </a:lnTo>
                  <a:lnTo>
                    <a:pt x="80" y="149"/>
                  </a:lnTo>
                  <a:lnTo>
                    <a:pt x="74" y="152"/>
                  </a:lnTo>
                  <a:lnTo>
                    <a:pt x="61" y="155"/>
                  </a:lnTo>
                  <a:lnTo>
                    <a:pt x="50" y="158"/>
                  </a:lnTo>
                  <a:lnTo>
                    <a:pt x="48" y="158"/>
                  </a:lnTo>
                  <a:lnTo>
                    <a:pt x="56" y="158"/>
                  </a:lnTo>
                  <a:lnTo>
                    <a:pt x="136" y="139"/>
                  </a:lnTo>
                  <a:lnTo>
                    <a:pt x="136" y="139"/>
                  </a:lnTo>
                  <a:lnTo>
                    <a:pt x="136" y="139"/>
                  </a:lnTo>
                  <a:lnTo>
                    <a:pt x="136" y="139"/>
                  </a:lnTo>
                  <a:lnTo>
                    <a:pt x="136" y="139"/>
                  </a:lnTo>
                  <a:lnTo>
                    <a:pt x="138" y="139"/>
                  </a:lnTo>
                  <a:lnTo>
                    <a:pt x="138" y="139"/>
                  </a:lnTo>
                  <a:lnTo>
                    <a:pt x="141" y="136"/>
                  </a:lnTo>
                  <a:lnTo>
                    <a:pt x="128" y="136"/>
                  </a:lnTo>
                  <a:lnTo>
                    <a:pt x="122" y="136"/>
                  </a:lnTo>
                  <a:close/>
                  <a:moveTo>
                    <a:pt x="1019" y="673"/>
                  </a:moveTo>
                  <a:lnTo>
                    <a:pt x="1019" y="676"/>
                  </a:lnTo>
                  <a:lnTo>
                    <a:pt x="1019" y="676"/>
                  </a:lnTo>
                  <a:lnTo>
                    <a:pt x="1019" y="676"/>
                  </a:lnTo>
                  <a:lnTo>
                    <a:pt x="1022" y="676"/>
                  </a:lnTo>
                  <a:lnTo>
                    <a:pt x="1022" y="673"/>
                  </a:lnTo>
                  <a:lnTo>
                    <a:pt x="1022" y="665"/>
                  </a:lnTo>
                  <a:lnTo>
                    <a:pt x="1022" y="665"/>
                  </a:lnTo>
                  <a:lnTo>
                    <a:pt x="1022" y="665"/>
                  </a:lnTo>
                  <a:lnTo>
                    <a:pt x="1019" y="665"/>
                  </a:lnTo>
                  <a:lnTo>
                    <a:pt x="1019" y="668"/>
                  </a:lnTo>
                  <a:lnTo>
                    <a:pt x="1019" y="668"/>
                  </a:lnTo>
                  <a:lnTo>
                    <a:pt x="1019" y="668"/>
                  </a:lnTo>
                  <a:lnTo>
                    <a:pt x="1019" y="670"/>
                  </a:lnTo>
                  <a:lnTo>
                    <a:pt x="1019" y="670"/>
                  </a:lnTo>
                  <a:lnTo>
                    <a:pt x="1019" y="670"/>
                  </a:lnTo>
                  <a:lnTo>
                    <a:pt x="1019" y="670"/>
                  </a:lnTo>
                  <a:lnTo>
                    <a:pt x="1019" y="670"/>
                  </a:lnTo>
                  <a:lnTo>
                    <a:pt x="1019" y="670"/>
                  </a:lnTo>
                  <a:lnTo>
                    <a:pt x="1019" y="670"/>
                  </a:lnTo>
                  <a:lnTo>
                    <a:pt x="1019" y="670"/>
                  </a:lnTo>
                  <a:lnTo>
                    <a:pt x="1019" y="670"/>
                  </a:lnTo>
                  <a:lnTo>
                    <a:pt x="1019" y="673"/>
                  </a:lnTo>
                  <a:lnTo>
                    <a:pt x="1019" y="673"/>
                  </a:lnTo>
                  <a:close/>
                  <a:moveTo>
                    <a:pt x="771" y="609"/>
                  </a:moveTo>
                  <a:lnTo>
                    <a:pt x="768" y="606"/>
                  </a:lnTo>
                  <a:lnTo>
                    <a:pt x="766" y="606"/>
                  </a:lnTo>
                  <a:lnTo>
                    <a:pt x="766" y="606"/>
                  </a:lnTo>
                  <a:lnTo>
                    <a:pt x="766" y="606"/>
                  </a:lnTo>
                  <a:lnTo>
                    <a:pt x="763" y="609"/>
                  </a:lnTo>
                  <a:lnTo>
                    <a:pt x="760" y="609"/>
                  </a:lnTo>
                  <a:lnTo>
                    <a:pt x="758" y="609"/>
                  </a:lnTo>
                  <a:lnTo>
                    <a:pt x="758" y="609"/>
                  </a:lnTo>
                  <a:lnTo>
                    <a:pt x="755" y="609"/>
                  </a:lnTo>
                  <a:lnTo>
                    <a:pt x="752" y="606"/>
                  </a:lnTo>
                  <a:lnTo>
                    <a:pt x="750" y="604"/>
                  </a:lnTo>
                  <a:lnTo>
                    <a:pt x="750" y="601"/>
                  </a:lnTo>
                  <a:lnTo>
                    <a:pt x="750" y="601"/>
                  </a:lnTo>
                  <a:lnTo>
                    <a:pt x="747" y="598"/>
                  </a:lnTo>
                  <a:lnTo>
                    <a:pt x="747" y="598"/>
                  </a:lnTo>
                  <a:lnTo>
                    <a:pt x="747" y="598"/>
                  </a:lnTo>
                  <a:lnTo>
                    <a:pt x="747" y="598"/>
                  </a:lnTo>
                  <a:lnTo>
                    <a:pt x="744" y="598"/>
                  </a:lnTo>
                  <a:lnTo>
                    <a:pt x="747" y="601"/>
                  </a:lnTo>
                  <a:lnTo>
                    <a:pt x="750" y="606"/>
                  </a:lnTo>
                  <a:lnTo>
                    <a:pt x="750" y="609"/>
                  </a:lnTo>
                  <a:lnTo>
                    <a:pt x="752" y="609"/>
                  </a:lnTo>
                  <a:lnTo>
                    <a:pt x="752" y="609"/>
                  </a:lnTo>
                  <a:lnTo>
                    <a:pt x="760" y="614"/>
                  </a:lnTo>
                  <a:lnTo>
                    <a:pt x="760" y="614"/>
                  </a:lnTo>
                  <a:lnTo>
                    <a:pt x="760" y="614"/>
                  </a:lnTo>
                  <a:lnTo>
                    <a:pt x="763" y="614"/>
                  </a:lnTo>
                  <a:lnTo>
                    <a:pt x="766" y="612"/>
                  </a:lnTo>
                  <a:lnTo>
                    <a:pt x="768" y="609"/>
                  </a:lnTo>
                  <a:lnTo>
                    <a:pt x="771" y="609"/>
                  </a:lnTo>
                  <a:lnTo>
                    <a:pt x="771" y="609"/>
                  </a:lnTo>
                  <a:lnTo>
                    <a:pt x="771" y="609"/>
                  </a:lnTo>
                  <a:close/>
                  <a:moveTo>
                    <a:pt x="1016" y="617"/>
                  </a:moveTo>
                  <a:lnTo>
                    <a:pt x="1016" y="614"/>
                  </a:lnTo>
                  <a:lnTo>
                    <a:pt x="1016" y="614"/>
                  </a:lnTo>
                  <a:lnTo>
                    <a:pt x="1016" y="609"/>
                  </a:lnTo>
                  <a:lnTo>
                    <a:pt x="1016" y="588"/>
                  </a:lnTo>
                  <a:lnTo>
                    <a:pt x="1016" y="585"/>
                  </a:lnTo>
                  <a:lnTo>
                    <a:pt x="1016" y="582"/>
                  </a:lnTo>
                  <a:lnTo>
                    <a:pt x="1016" y="580"/>
                  </a:lnTo>
                  <a:lnTo>
                    <a:pt x="1014" y="577"/>
                  </a:lnTo>
                  <a:lnTo>
                    <a:pt x="1014" y="574"/>
                  </a:lnTo>
                  <a:lnTo>
                    <a:pt x="1016" y="569"/>
                  </a:lnTo>
                  <a:lnTo>
                    <a:pt x="1014" y="550"/>
                  </a:lnTo>
                  <a:lnTo>
                    <a:pt x="1014" y="550"/>
                  </a:lnTo>
                  <a:lnTo>
                    <a:pt x="1014" y="545"/>
                  </a:lnTo>
                  <a:lnTo>
                    <a:pt x="1011" y="529"/>
                  </a:lnTo>
                  <a:lnTo>
                    <a:pt x="1011" y="524"/>
                  </a:lnTo>
                  <a:lnTo>
                    <a:pt x="1008" y="524"/>
                  </a:lnTo>
                  <a:lnTo>
                    <a:pt x="1008" y="521"/>
                  </a:lnTo>
                  <a:lnTo>
                    <a:pt x="1008" y="518"/>
                  </a:lnTo>
                  <a:lnTo>
                    <a:pt x="1008" y="516"/>
                  </a:lnTo>
                  <a:lnTo>
                    <a:pt x="1003" y="502"/>
                  </a:lnTo>
                  <a:lnTo>
                    <a:pt x="1003" y="502"/>
                  </a:lnTo>
                  <a:lnTo>
                    <a:pt x="1000" y="499"/>
                  </a:lnTo>
                  <a:lnTo>
                    <a:pt x="998" y="499"/>
                  </a:lnTo>
                  <a:lnTo>
                    <a:pt x="995" y="499"/>
                  </a:lnTo>
                  <a:lnTo>
                    <a:pt x="995" y="499"/>
                  </a:lnTo>
                  <a:lnTo>
                    <a:pt x="998" y="497"/>
                  </a:lnTo>
                  <a:lnTo>
                    <a:pt x="998" y="497"/>
                  </a:lnTo>
                  <a:lnTo>
                    <a:pt x="1000" y="497"/>
                  </a:lnTo>
                  <a:lnTo>
                    <a:pt x="1000" y="494"/>
                  </a:lnTo>
                  <a:lnTo>
                    <a:pt x="1000" y="494"/>
                  </a:lnTo>
                  <a:lnTo>
                    <a:pt x="998" y="489"/>
                  </a:lnTo>
                  <a:lnTo>
                    <a:pt x="992" y="481"/>
                  </a:lnTo>
                  <a:lnTo>
                    <a:pt x="990" y="475"/>
                  </a:lnTo>
                  <a:lnTo>
                    <a:pt x="987" y="475"/>
                  </a:lnTo>
                  <a:lnTo>
                    <a:pt x="987" y="473"/>
                  </a:lnTo>
                  <a:lnTo>
                    <a:pt x="982" y="470"/>
                  </a:lnTo>
                  <a:lnTo>
                    <a:pt x="982" y="470"/>
                  </a:lnTo>
                  <a:lnTo>
                    <a:pt x="976" y="465"/>
                  </a:lnTo>
                  <a:lnTo>
                    <a:pt x="976" y="465"/>
                  </a:lnTo>
                  <a:lnTo>
                    <a:pt x="974" y="467"/>
                  </a:lnTo>
                  <a:lnTo>
                    <a:pt x="971" y="467"/>
                  </a:lnTo>
                  <a:lnTo>
                    <a:pt x="968" y="465"/>
                  </a:lnTo>
                  <a:lnTo>
                    <a:pt x="968" y="465"/>
                  </a:lnTo>
                  <a:lnTo>
                    <a:pt x="966" y="462"/>
                  </a:lnTo>
                  <a:lnTo>
                    <a:pt x="963" y="462"/>
                  </a:lnTo>
                  <a:lnTo>
                    <a:pt x="966" y="462"/>
                  </a:lnTo>
                  <a:lnTo>
                    <a:pt x="966" y="462"/>
                  </a:lnTo>
                  <a:lnTo>
                    <a:pt x="968" y="462"/>
                  </a:lnTo>
                  <a:lnTo>
                    <a:pt x="968" y="462"/>
                  </a:lnTo>
                  <a:lnTo>
                    <a:pt x="971" y="465"/>
                  </a:lnTo>
                  <a:lnTo>
                    <a:pt x="976" y="465"/>
                  </a:lnTo>
                  <a:lnTo>
                    <a:pt x="979" y="465"/>
                  </a:lnTo>
                  <a:lnTo>
                    <a:pt x="979" y="467"/>
                  </a:lnTo>
                  <a:lnTo>
                    <a:pt x="979" y="465"/>
                  </a:lnTo>
                  <a:lnTo>
                    <a:pt x="952" y="425"/>
                  </a:lnTo>
                  <a:lnTo>
                    <a:pt x="944" y="406"/>
                  </a:lnTo>
                  <a:lnTo>
                    <a:pt x="891" y="326"/>
                  </a:lnTo>
                  <a:lnTo>
                    <a:pt x="888" y="320"/>
                  </a:lnTo>
                  <a:lnTo>
                    <a:pt x="883" y="315"/>
                  </a:lnTo>
                  <a:lnTo>
                    <a:pt x="880" y="307"/>
                  </a:lnTo>
                  <a:lnTo>
                    <a:pt x="878" y="304"/>
                  </a:lnTo>
                  <a:lnTo>
                    <a:pt x="872" y="291"/>
                  </a:lnTo>
                  <a:lnTo>
                    <a:pt x="872" y="286"/>
                  </a:lnTo>
                  <a:lnTo>
                    <a:pt x="870" y="283"/>
                  </a:lnTo>
                  <a:lnTo>
                    <a:pt x="867" y="278"/>
                  </a:lnTo>
                  <a:lnTo>
                    <a:pt x="867" y="275"/>
                  </a:lnTo>
                  <a:lnTo>
                    <a:pt x="867" y="275"/>
                  </a:lnTo>
                  <a:lnTo>
                    <a:pt x="864" y="272"/>
                  </a:lnTo>
                  <a:lnTo>
                    <a:pt x="859" y="259"/>
                  </a:lnTo>
                  <a:lnTo>
                    <a:pt x="862" y="259"/>
                  </a:lnTo>
                  <a:lnTo>
                    <a:pt x="867" y="264"/>
                  </a:lnTo>
                  <a:lnTo>
                    <a:pt x="872" y="264"/>
                  </a:lnTo>
                  <a:lnTo>
                    <a:pt x="875" y="267"/>
                  </a:lnTo>
                  <a:lnTo>
                    <a:pt x="872" y="270"/>
                  </a:lnTo>
                  <a:lnTo>
                    <a:pt x="872" y="272"/>
                  </a:lnTo>
                  <a:lnTo>
                    <a:pt x="872" y="270"/>
                  </a:lnTo>
                  <a:lnTo>
                    <a:pt x="872" y="272"/>
                  </a:lnTo>
                  <a:lnTo>
                    <a:pt x="872" y="275"/>
                  </a:lnTo>
                  <a:lnTo>
                    <a:pt x="872" y="278"/>
                  </a:lnTo>
                  <a:lnTo>
                    <a:pt x="872" y="280"/>
                  </a:lnTo>
                  <a:lnTo>
                    <a:pt x="875" y="283"/>
                  </a:lnTo>
                  <a:lnTo>
                    <a:pt x="878" y="283"/>
                  </a:lnTo>
                  <a:lnTo>
                    <a:pt x="886" y="283"/>
                  </a:lnTo>
                  <a:lnTo>
                    <a:pt x="886" y="283"/>
                  </a:lnTo>
                  <a:lnTo>
                    <a:pt x="888" y="283"/>
                  </a:lnTo>
                  <a:lnTo>
                    <a:pt x="888" y="280"/>
                  </a:lnTo>
                  <a:lnTo>
                    <a:pt x="886" y="280"/>
                  </a:lnTo>
                  <a:lnTo>
                    <a:pt x="886" y="278"/>
                  </a:lnTo>
                  <a:lnTo>
                    <a:pt x="888" y="278"/>
                  </a:lnTo>
                  <a:lnTo>
                    <a:pt x="888" y="278"/>
                  </a:lnTo>
                  <a:lnTo>
                    <a:pt x="888" y="280"/>
                  </a:lnTo>
                  <a:lnTo>
                    <a:pt x="888" y="280"/>
                  </a:lnTo>
                  <a:lnTo>
                    <a:pt x="891" y="278"/>
                  </a:lnTo>
                  <a:lnTo>
                    <a:pt x="894" y="280"/>
                  </a:lnTo>
                  <a:lnTo>
                    <a:pt x="896" y="280"/>
                  </a:lnTo>
                  <a:lnTo>
                    <a:pt x="896" y="283"/>
                  </a:lnTo>
                  <a:lnTo>
                    <a:pt x="899" y="288"/>
                  </a:lnTo>
                  <a:lnTo>
                    <a:pt x="899" y="294"/>
                  </a:lnTo>
                  <a:lnTo>
                    <a:pt x="899" y="312"/>
                  </a:lnTo>
                  <a:lnTo>
                    <a:pt x="902" y="337"/>
                  </a:lnTo>
                  <a:lnTo>
                    <a:pt x="904" y="342"/>
                  </a:lnTo>
                  <a:lnTo>
                    <a:pt x="910" y="350"/>
                  </a:lnTo>
                  <a:lnTo>
                    <a:pt x="920" y="363"/>
                  </a:lnTo>
                  <a:lnTo>
                    <a:pt x="920" y="369"/>
                  </a:lnTo>
                  <a:lnTo>
                    <a:pt x="926" y="371"/>
                  </a:lnTo>
                  <a:lnTo>
                    <a:pt x="926" y="371"/>
                  </a:lnTo>
                  <a:lnTo>
                    <a:pt x="928" y="374"/>
                  </a:lnTo>
                  <a:lnTo>
                    <a:pt x="931" y="379"/>
                  </a:lnTo>
                  <a:lnTo>
                    <a:pt x="931" y="374"/>
                  </a:lnTo>
                  <a:lnTo>
                    <a:pt x="918" y="361"/>
                  </a:lnTo>
                  <a:lnTo>
                    <a:pt x="915" y="353"/>
                  </a:lnTo>
                  <a:lnTo>
                    <a:pt x="912" y="353"/>
                  </a:lnTo>
                  <a:lnTo>
                    <a:pt x="910" y="347"/>
                  </a:lnTo>
                  <a:lnTo>
                    <a:pt x="904" y="334"/>
                  </a:lnTo>
                  <a:lnTo>
                    <a:pt x="904" y="326"/>
                  </a:lnTo>
                  <a:lnTo>
                    <a:pt x="904" y="323"/>
                  </a:lnTo>
                  <a:lnTo>
                    <a:pt x="902" y="323"/>
                  </a:lnTo>
                  <a:lnTo>
                    <a:pt x="904" y="320"/>
                  </a:lnTo>
                  <a:lnTo>
                    <a:pt x="902" y="307"/>
                  </a:lnTo>
                  <a:lnTo>
                    <a:pt x="902" y="307"/>
                  </a:lnTo>
                  <a:lnTo>
                    <a:pt x="902" y="307"/>
                  </a:lnTo>
                  <a:lnTo>
                    <a:pt x="902" y="304"/>
                  </a:lnTo>
                  <a:lnTo>
                    <a:pt x="904" y="304"/>
                  </a:lnTo>
                  <a:lnTo>
                    <a:pt x="904" y="302"/>
                  </a:lnTo>
                  <a:lnTo>
                    <a:pt x="904" y="302"/>
                  </a:lnTo>
                  <a:lnTo>
                    <a:pt x="907" y="299"/>
                  </a:lnTo>
                  <a:lnTo>
                    <a:pt x="907" y="296"/>
                  </a:lnTo>
                  <a:lnTo>
                    <a:pt x="904" y="294"/>
                  </a:lnTo>
                  <a:lnTo>
                    <a:pt x="899" y="286"/>
                  </a:lnTo>
                  <a:lnTo>
                    <a:pt x="891" y="275"/>
                  </a:lnTo>
                  <a:lnTo>
                    <a:pt x="883" y="267"/>
                  </a:lnTo>
                  <a:lnTo>
                    <a:pt x="872" y="254"/>
                  </a:lnTo>
                  <a:lnTo>
                    <a:pt x="851" y="230"/>
                  </a:lnTo>
                  <a:lnTo>
                    <a:pt x="851" y="227"/>
                  </a:lnTo>
                  <a:lnTo>
                    <a:pt x="848" y="224"/>
                  </a:lnTo>
                  <a:lnTo>
                    <a:pt x="846" y="224"/>
                  </a:lnTo>
                  <a:lnTo>
                    <a:pt x="846" y="222"/>
                  </a:lnTo>
                  <a:lnTo>
                    <a:pt x="846" y="219"/>
                  </a:lnTo>
                  <a:lnTo>
                    <a:pt x="830" y="200"/>
                  </a:lnTo>
                  <a:lnTo>
                    <a:pt x="819" y="179"/>
                  </a:lnTo>
                  <a:lnTo>
                    <a:pt x="808" y="166"/>
                  </a:lnTo>
                  <a:lnTo>
                    <a:pt x="800" y="155"/>
                  </a:lnTo>
                  <a:lnTo>
                    <a:pt x="800" y="155"/>
                  </a:lnTo>
                  <a:lnTo>
                    <a:pt x="800" y="152"/>
                  </a:lnTo>
                  <a:lnTo>
                    <a:pt x="798" y="149"/>
                  </a:lnTo>
                  <a:lnTo>
                    <a:pt x="798" y="147"/>
                  </a:lnTo>
                  <a:lnTo>
                    <a:pt x="792" y="139"/>
                  </a:lnTo>
                  <a:lnTo>
                    <a:pt x="790" y="131"/>
                  </a:lnTo>
                  <a:lnTo>
                    <a:pt x="787" y="131"/>
                  </a:lnTo>
                  <a:lnTo>
                    <a:pt x="787" y="128"/>
                  </a:lnTo>
                  <a:lnTo>
                    <a:pt x="784" y="123"/>
                  </a:lnTo>
                  <a:lnTo>
                    <a:pt x="784" y="120"/>
                  </a:lnTo>
                  <a:lnTo>
                    <a:pt x="784" y="120"/>
                  </a:lnTo>
                  <a:lnTo>
                    <a:pt x="784" y="120"/>
                  </a:lnTo>
                  <a:lnTo>
                    <a:pt x="782" y="117"/>
                  </a:lnTo>
                  <a:lnTo>
                    <a:pt x="782" y="117"/>
                  </a:lnTo>
                  <a:lnTo>
                    <a:pt x="782" y="117"/>
                  </a:lnTo>
                  <a:lnTo>
                    <a:pt x="782" y="115"/>
                  </a:lnTo>
                  <a:lnTo>
                    <a:pt x="782" y="115"/>
                  </a:lnTo>
                  <a:lnTo>
                    <a:pt x="779" y="115"/>
                  </a:lnTo>
                  <a:lnTo>
                    <a:pt x="779" y="112"/>
                  </a:lnTo>
                  <a:lnTo>
                    <a:pt x="774" y="96"/>
                  </a:lnTo>
                  <a:lnTo>
                    <a:pt x="771" y="85"/>
                  </a:lnTo>
                  <a:lnTo>
                    <a:pt x="771" y="83"/>
                  </a:lnTo>
                  <a:lnTo>
                    <a:pt x="766" y="77"/>
                  </a:lnTo>
                  <a:lnTo>
                    <a:pt x="766" y="77"/>
                  </a:lnTo>
                  <a:lnTo>
                    <a:pt x="758" y="61"/>
                  </a:lnTo>
                  <a:lnTo>
                    <a:pt x="758" y="56"/>
                  </a:lnTo>
                  <a:lnTo>
                    <a:pt x="758" y="51"/>
                  </a:lnTo>
                  <a:lnTo>
                    <a:pt x="758" y="48"/>
                  </a:lnTo>
                  <a:lnTo>
                    <a:pt x="755" y="48"/>
                  </a:lnTo>
                  <a:lnTo>
                    <a:pt x="755" y="48"/>
                  </a:lnTo>
                  <a:lnTo>
                    <a:pt x="755" y="45"/>
                  </a:lnTo>
                  <a:lnTo>
                    <a:pt x="755" y="43"/>
                  </a:lnTo>
                  <a:lnTo>
                    <a:pt x="752" y="40"/>
                  </a:lnTo>
                  <a:lnTo>
                    <a:pt x="752" y="40"/>
                  </a:lnTo>
                  <a:lnTo>
                    <a:pt x="752" y="37"/>
                  </a:lnTo>
                  <a:lnTo>
                    <a:pt x="750" y="37"/>
                  </a:lnTo>
                  <a:lnTo>
                    <a:pt x="750" y="37"/>
                  </a:lnTo>
                  <a:lnTo>
                    <a:pt x="750" y="37"/>
                  </a:lnTo>
                  <a:lnTo>
                    <a:pt x="747" y="35"/>
                  </a:lnTo>
                  <a:lnTo>
                    <a:pt x="747" y="35"/>
                  </a:lnTo>
                  <a:lnTo>
                    <a:pt x="744" y="32"/>
                  </a:lnTo>
                  <a:lnTo>
                    <a:pt x="744" y="32"/>
                  </a:lnTo>
                  <a:lnTo>
                    <a:pt x="742" y="29"/>
                  </a:lnTo>
                  <a:lnTo>
                    <a:pt x="739" y="29"/>
                  </a:lnTo>
                  <a:lnTo>
                    <a:pt x="739" y="27"/>
                  </a:lnTo>
                  <a:lnTo>
                    <a:pt x="739" y="24"/>
                  </a:lnTo>
                  <a:lnTo>
                    <a:pt x="739" y="21"/>
                  </a:lnTo>
                  <a:lnTo>
                    <a:pt x="739" y="19"/>
                  </a:lnTo>
                  <a:lnTo>
                    <a:pt x="739" y="19"/>
                  </a:lnTo>
                  <a:lnTo>
                    <a:pt x="742" y="19"/>
                  </a:lnTo>
                  <a:lnTo>
                    <a:pt x="742" y="21"/>
                  </a:lnTo>
                  <a:lnTo>
                    <a:pt x="742" y="21"/>
                  </a:lnTo>
                  <a:lnTo>
                    <a:pt x="744" y="21"/>
                  </a:lnTo>
                  <a:lnTo>
                    <a:pt x="744" y="27"/>
                  </a:lnTo>
                  <a:lnTo>
                    <a:pt x="744" y="29"/>
                  </a:lnTo>
                  <a:lnTo>
                    <a:pt x="747" y="29"/>
                  </a:lnTo>
                  <a:lnTo>
                    <a:pt x="747" y="32"/>
                  </a:lnTo>
                  <a:lnTo>
                    <a:pt x="747" y="27"/>
                  </a:lnTo>
                  <a:lnTo>
                    <a:pt x="744" y="16"/>
                  </a:lnTo>
                  <a:lnTo>
                    <a:pt x="744" y="11"/>
                  </a:lnTo>
                  <a:lnTo>
                    <a:pt x="744" y="8"/>
                  </a:lnTo>
                  <a:lnTo>
                    <a:pt x="744" y="8"/>
                  </a:lnTo>
                  <a:lnTo>
                    <a:pt x="744" y="8"/>
                  </a:lnTo>
                  <a:lnTo>
                    <a:pt x="744" y="8"/>
                  </a:lnTo>
                  <a:lnTo>
                    <a:pt x="744" y="8"/>
                  </a:lnTo>
                  <a:lnTo>
                    <a:pt x="742" y="8"/>
                  </a:lnTo>
                  <a:lnTo>
                    <a:pt x="742" y="8"/>
                  </a:lnTo>
                  <a:lnTo>
                    <a:pt x="739" y="8"/>
                  </a:lnTo>
                  <a:lnTo>
                    <a:pt x="739" y="8"/>
                  </a:lnTo>
                  <a:lnTo>
                    <a:pt x="736" y="8"/>
                  </a:lnTo>
                  <a:lnTo>
                    <a:pt x="736" y="5"/>
                  </a:lnTo>
                  <a:lnTo>
                    <a:pt x="736" y="5"/>
                  </a:lnTo>
                  <a:lnTo>
                    <a:pt x="734" y="5"/>
                  </a:lnTo>
                  <a:lnTo>
                    <a:pt x="728" y="8"/>
                  </a:lnTo>
                  <a:lnTo>
                    <a:pt x="728" y="8"/>
                  </a:lnTo>
                  <a:lnTo>
                    <a:pt x="723" y="8"/>
                  </a:lnTo>
                  <a:lnTo>
                    <a:pt x="723" y="8"/>
                  </a:lnTo>
                  <a:lnTo>
                    <a:pt x="720" y="8"/>
                  </a:lnTo>
                  <a:lnTo>
                    <a:pt x="720" y="8"/>
                  </a:lnTo>
                  <a:lnTo>
                    <a:pt x="718" y="8"/>
                  </a:lnTo>
                  <a:lnTo>
                    <a:pt x="718" y="8"/>
                  </a:lnTo>
                  <a:lnTo>
                    <a:pt x="710" y="5"/>
                  </a:lnTo>
                  <a:lnTo>
                    <a:pt x="710" y="5"/>
                  </a:lnTo>
                  <a:lnTo>
                    <a:pt x="707" y="5"/>
                  </a:lnTo>
                  <a:lnTo>
                    <a:pt x="707" y="5"/>
                  </a:lnTo>
                  <a:lnTo>
                    <a:pt x="704" y="5"/>
                  </a:lnTo>
                  <a:lnTo>
                    <a:pt x="704" y="5"/>
                  </a:lnTo>
                  <a:lnTo>
                    <a:pt x="702" y="5"/>
                  </a:lnTo>
                  <a:lnTo>
                    <a:pt x="702" y="5"/>
                  </a:lnTo>
                  <a:lnTo>
                    <a:pt x="691" y="3"/>
                  </a:lnTo>
                  <a:lnTo>
                    <a:pt x="688" y="0"/>
                  </a:lnTo>
                  <a:lnTo>
                    <a:pt x="685" y="0"/>
                  </a:lnTo>
                  <a:lnTo>
                    <a:pt x="685" y="0"/>
                  </a:lnTo>
                  <a:lnTo>
                    <a:pt x="683" y="0"/>
                  </a:lnTo>
                  <a:lnTo>
                    <a:pt x="683" y="0"/>
                  </a:lnTo>
                  <a:lnTo>
                    <a:pt x="683" y="0"/>
                  </a:lnTo>
                  <a:lnTo>
                    <a:pt x="680" y="0"/>
                  </a:lnTo>
                  <a:lnTo>
                    <a:pt x="680" y="0"/>
                  </a:lnTo>
                  <a:lnTo>
                    <a:pt x="677" y="0"/>
                  </a:lnTo>
                  <a:lnTo>
                    <a:pt x="677" y="3"/>
                  </a:lnTo>
                  <a:lnTo>
                    <a:pt x="677" y="3"/>
                  </a:lnTo>
                  <a:lnTo>
                    <a:pt x="677" y="3"/>
                  </a:lnTo>
                  <a:lnTo>
                    <a:pt x="677" y="3"/>
                  </a:lnTo>
                  <a:lnTo>
                    <a:pt x="677" y="5"/>
                  </a:lnTo>
                  <a:lnTo>
                    <a:pt x="677" y="5"/>
                  </a:lnTo>
                  <a:lnTo>
                    <a:pt x="677" y="5"/>
                  </a:lnTo>
                  <a:lnTo>
                    <a:pt x="677" y="5"/>
                  </a:lnTo>
                  <a:lnTo>
                    <a:pt x="675" y="5"/>
                  </a:lnTo>
                  <a:lnTo>
                    <a:pt x="675" y="5"/>
                  </a:lnTo>
                  <a:lnTo>
                    <a:pt x="675" y="5"/>
                  </a:lnTo>
                  <a:lnTo>
                    <a:pt x="672" y="8"/>
                  </a:lnTo>
                  <a:lnTo>
                    <a:pt x="672" y="8"/>
                  </a:lnTo>
                  <a:lnTo>
                    <a:pt x="672" y="8"/>
                  </a:lnTo>
                  <a:lnTo>
                    <a:pt x="672" y="11"/>
                  </a:lnTo>
                  <a:lnTo>
                    <a:pt x="672" y="11"/>
                  </a:lnTo>
                  <a:lnTo>
                    <a:pt x="672" y="11"/>
                  </a:lnTo>
                  <a:lnTo>
                    <a:pt x="672" y="13"/>
                  </a:lnTo>
                  <a:lnTo>
                    <a:pt x="672" y="13"/>
                  </a:lnTo>
                  <a:lnTo>
                    <a:pt x="672" y="13"/>
                  </a:lnTo>
                  <a:lnTo>
                    <a:pt x="672" y="16"/>
                  </a:lnTo>
                  <a:lnTo>
                    <a:pt x="672" y="19"/>
                  </a:lnTo>
                  <a:lnTo>
                    <a:pt x="672" y="19"/>
                  </a:lnTo>
                  <a:lnTo>
                    <a:pt x="672" y="21"/>
                  </a:lnTo>
                  <a:lnTo>
                    <a:pt x="672" y="24"/>
                  </a:lnTo>
                  <a:lnTo>
                    <a:pt x="672" y="24"/>
                  </a:lnTo>
                  <a:lnTo>
                    <a:pt x="672" y="27"/>
                  </a:lnTo>
                  <a:lnTo>
                    <a:pt x="672" y="27"/>
                  </a:lnTo>
                  <a:lnTo>
                    <a:pt x="672" y="29"/>
                  </a:lnTo>
                  <a:lnTo>
                    <a:pt x="675" y="29"/>
                  </a:lnTo>
                  <a:lnTo>
                    <a:pt x="677" y="32"/>
                  </a:lnTo>
                  <a:lnTo>
                    <a:pt x="677" y="32"/>
                  </a:lnTo>
                  <a:lnTo>
                    <a:pt x="677" y="35"/>
                  </a:lnTo>
                  <a:lnTo>
                    <a:pt x="677" y="35"/>
                  </a:lnTo>
                  <a:lnTo>
                    <a:pt x="677" y="37"/>
                  </a:lnTo>
                  <a:lnTo>
                    <a:pt x="677" y="45"/>
                  </a:lnTo>
                  <a:lnTo>
                    <a:pt x="677" y="56"/>
                  </a:lnTo>
                  <a:lnTo>
                    <a:pt x="677" y="56"/>
                  </a:lnTo>
                  <a:lnTo>
                    <a:pt x="677" y="59"/>
                  </a:lnTo>
                  <a:lnTo>
                    <a:pt x="677" y="61"/>
                  </a:lnTo>
                  <a:lnTo>
                    <a:pt x="677" y="64"/>
                  </a:lnTo>
                  <a:lnTo>
                    <a:pt x="677" y="64"/>
                  </a:lnTo>
                  <a:lnTo>
                    <a:pt x="677" y="64"/>
                  </a:lnTo>
                  <a:lnTo>
                    <a:pt x="677" y="64"/>
                  </a:lnTo>
                  <a:lnTo>
                    <a:pt x="675" y="67"/>
                  </a:lnTo>
                  <a:lnTo>
                    <a:pt x="675" y="67"/>
                  </a:lnTo>
                  <a:lnTo>
                    <a:pt x="672" y="67"/>
                  </a:lnTo>
                  <a:lnTo>
                    <a:pt x="669" y="67"/>
                  </a:lnTo>
                  <a:lnTo>
                    <a:pt x="669" y="67"/>
                  </a:lnTo>
                  <a:lnTo>
                    <a:pt x="664" y="67"/>
                  </a:lnTo>
                  <a:lnTo>
                    <a:pt x="664" y="67"/>
                  </a:lnTo>
                  <a:lnTo>
                    <a:pt x="661" y="67"/>
                  </a:lnTo>
                  <a:lnTo>
                    <a:pt x="661" y="67"/>
                  </a:lnTo>
                  <a:lnTo>
                    <a:pt x="661" y="67"/>
                  </a:lnTo>
                  <a:lnTo>
                    <a:pt x="661" y="67"/>
                  </a:lnTo>
                  <a:lnTo>
                    <a:pt x="659" y="61"/>
                  </a:lnTo>
                  <a:lnTo>
                    <a:pt x="656" y="59"/>
                  </a:lnTo>
                  <a:lnTo>
                    <a:pt x="656" y="59"/>
                  </a:lnTo>
                  <a:lnTo>
                    <a:pt x="656" y="59"/>
                  </a:lnTo>
                  <a:lnTo>
                    <a:pt x="656" y="56"/>
                  </a:lnTo>
                  <a:lnTo>
                    <a:pt x="656" y="53"/>
                  </a:lnTo>
                  <a:lnTo>
                    <a:pt x="656" y="53"/>
                  </a:lnTo>
                  <a:lnTo>
                    <a:pt x="656" y="53"/>
                  </a:lnTo>
                  <a:lnTo>
                    <a:pt x="656" y="53"/>
                  </a:lnTo>
                  <a:lnTo>
                    <a:pt x="656" y="51"/>
                  </a:lnTo>
                  <a:lnTo>
                    <a:pt x="656" y="51"/>
                  </a:lnTo>
                  <a:lnTo>
                    <a:pt x="656" y="51"/>
                  </a:lnTo>
                  <a:lnTo>
                    <a:pt x="651" y="45"/>
                  </a:lnTo>
                  <a:lnTo>
                    <a:pt x="651" y="45"/>
                  </a:lnTo>
                  <a:lnTo>
                    <a:pt x="651" y="45"/>
                  </a:lnTo>
                  <a:lnTo>
                    <a:pt x="651" y="45"/>
                  </a:lnTo>
                  <a:lnTo>
                    <a:pt x="651" y="45"/>
                  </a:lnTo>
                  <a:lnTo>
                    <a:pt x="651" y="43"/>
                  </a:lnTo>
                  <a:lnTo>
                    <a:pt x="651" y="43"/>
                  </a:lnTo>
                  <a:lnTo>
                    <a:pt x="651" y="43"/>
                  </a:lnTo>
                  <a:lnTo>
                    <a:pt x="651" y="43"/>
                  </a:lnTo>
                  <a:lnTo>
                    <a:pt x="645" y="43"/>
                  </a:lnTo>
                  <a:lnTo>
                    <a:pt x="643" y="43"/>
                  </a:lnTo>
                  <a:lnTo>
                    <a:pt x="635" y="43"/>
                  </a:lnTo>
                  <a:lnTo>
                    <a:pt x="629" y="43"/>
                  </a:lnTo>
                  <a:lnTo>
                    <a:pt x="621" y="45"/>
                  </a:lnTo>
                  <a:lnTo>
                    <a:pt x="613" y="45"/>
                  </a:lnTo>
                  <a:lnTo>
                    <a:pt x="603" y="45"/>
                  </a:lnTo>
                  <a:lnTo>
                    <a:pt x="592" y="48"/>
                  </a:lnTo>
                  <a:lnTo>
                    <a:pt x="581" y="48"/>
                  </a:lnTo>
                  <a:lnTo>
                    <a:pt x="568" y="48"/>
                  </a:lnTo>
                  <a:lnTo>
                    <a:pt x="557" y="51"/>
                  </a:lnTo>
                  <a:lnTo>
                    <a:pt x="544" y="51"/>
                  </a:lnTo>
                  <a:lnTo>
                    <a:pt x="531" y="51"/>
                  </a:lnTo>
                  <a:lnTo>
                    <a:pt x="517" y="53"/>
                  </a:lnTo>
                  <a:lnTo>
                    <a:pt x="504" y="53"/>
                  </a:lnTo>
                  <a:lnTo>
                    <a:pt x="491" y="56"/>
                  </a:lnTo>
                  <a:lnTo>
                    <a:pt x="477" y="56"/>
                  </a:lnTo>
                  <a:lnTo>
                    <a:pt x="464" y="59"/>
                  </a:lnTo>
                  <a:lnTo>
                    <a:pt x="451" y="59"/>
                  </a:lnTo>
                  <a:lnTo>
                    <a:pt x="437" y="59"/>
                  </a:lnTo>
                  <a:lnTo>
                    <a:pt x="424" y="61"/>
                  </a:lnTo>
                  <a:lnTo>
                    <a:pt x="413" y="61"/>
                  </a:lnTo>
                  <a:lnTo>
                    <a:pt x="400" y="61"/>
                  </a:lnTo>
                  <a:lnTo>
                    <a:pt x="389" y="64"/>
                  </a:lnTo>
                  <a:lnTo>
                    <a:pt x="379" y="64"/>
                  </a:lnTo>
                  <a:lnTo>
                    <a:pt x="371" y="64"/>
                  </a:lnTo>
                  <a:lnTo>
                    <a:pt x="363" y="64"/>
                  </a:lnTo>
                  <a:lnTo>
                    <a:pt x="355" y="67"/>
                  </a:lnTo>
                  <a:lnTo>
                    <a:pt x="349" y="67"/>
                  </a:lnTo>
                  <a:lnTo>
                    <a:pt x="344" y="67"/>
                  </a:lnTo>
                  <a:lnTo>
                    <a:pt x="341" y="67"/>
                  </a:lnTo>
                  <a:lnTo>
                    <a:pt x="339" y="67"/>
                  </a:lnTo>
                  <a:lnTo>
                    <a:pt x="336" y="67"/>
                  </a:lnTo>
                  <a:lnTo>
                    <a:pt x="333" y="67"/>
                  </a:lnTo>
                  <a:lnTo>
                    <a:pt x="333" y="67"/>
                  </a:lnTo>
                  <a:lnTo>
                    <a:pt x="325" y="61"/>
                  </a:lnTo>
                  <a:lnTo>
                    <a:pt x="323" y="53"/>
                  </a:lnTo>
                  <a:lnTo>
                    <a:pt x="323" y="48"/>
                  </a:lnTo>
                  <a:lnTo>
                    <a:pt x="320" y="45"/>
                  </a:lnTo>
                  <a:lnTo>
                    <a:pt x="320" y="40"/>
                  </a:lnTo>
                  <a:lnTo>
                    <a:pt x="317" y="40"/>
                  </a:lnTo>
                  <a:lnTo>
                    <a:pt x="317" y="37"/>
                  </a:lnTo>
                  <a:lnTo>
                    <a:pt x="315" y="35"/>
                  </a:lnTo>
                  <a:lnTo>
                    <a:pt x="315" y="35"/>
                  </a:lnTo>
                  <a:lnTo>
                    <a:pt x="312" y="32"/>
                  </a:lnTo>
                  <a:lnTo>
                    <a:pt x="312" y="32"/>
                  </a:lnTo>
                  <a:lnTo>
                    <a:pt x="312" y="32"/>
                  </a:lnTo>
                  <a:lnTo>
                    <a:pt x="312" y="29"/>
                  </a:lnTo>
                  <a:lnTo>
                    <a:pt x="293" y="32"/>
                  </a:lnTo>
                  <a:lnTo>
                    <a:pt x="275" y="35"/>
                  </a:lnTo>
                  <a:lnTo>
                    <a:pt x="253" y="37"/>
                  </a:lnTo>
                  <a:lnTo>
                    <a:pt x="235" y="40"/>
                  </a:lnTo>
                  <a:lnTo>
                    <a:pt x="216" y="43"/>
                  </a:lnTo>
                  <a:lnTo>
                    <a:pt x="197" y="45"/>
                  </a:lnTo>
                  <a:lnTo>
                    <a:pt x="179" y="48"/>
                  </a:lnTo>
                  <a:lnTo>
                    <a:pt x="160" y="51"/>
                  </a:lnTo>
                  <a:lnTo>
                    <a:pt x="141" y="53"/>
                  </a:lnTo>
                  <a:lnTo>
                    <a:pt x="122" y="56"/>
                  </a:lnTo>
                  <a:lnTo>
                    <a:pt x="101" y="56"/>
                  </a:lnTo>
                  <a:lnTo>
                    <a:pt x="82" y="59"/>
                  </a:lnTo>
                  <a:lnTo>
                    <a:pt x="64" y="61"/>
                  </a:lnTo>
                  <a:lnTo>
                    <a:pt x="45" y="64"/>
                  </a:lnTo>
                  <a:lnTo>
                    <a:pt x="26" y="67"/>
                  </a:lnTo>
                  <a:lnTo>
                    <a:pt x="8" y="69"/>
                  </a:lnTo>
                  <a:lnTo>
                    <a:pt x="2" y="69"/>
                  </a:lnTo>
                  <a:lnTo>
                    <a:pt x="2" y="72"/>
                  </a:lnTo>
                  <a:lnTo>
                    <a:pt x="2" y="77"/>
                  </a:lnTo>
                  <a:lnTo>
                    <a:pt x="2" y="77"/>
                  </a:lnTo>
                  <a:lnTo>
                    <a:pt x="0" y="83"/>
                  </a:lnTo>
                  <a:lnTo>
                    <a:pt x="0" y="85"/>
                  </a:lnTo>
                  <a:lnTo>
                    <a:pt x="0" y="85"/>
                  </a:lnTo>
                  <a:lnTo>
                    <a:pt x="0" y="88"/>
                  </a:lnTo>
                  <a:lnTo>
                    <a:pt x="0" y="88"/>
                  </a:lnTo>
                  <a:lnTo>
                    <a:pt x="0" y="88"/>
                  </a:lnTo>
                  <a:lnTo>
                    <a:pt x="2" y="91"/>
                  </a:lnTo>
                  <a:lnTo>
                    <a:pt x="2" y="93"/>
                  </a:lnTo>
                  <a:lnTo>
                    <a:pt x="10" y="99"/>
                  </a:lnTo>
                  <a:lnTo>
                    <a:pt x="10" y="99"/>
                  </a:lnTo>
                  <a:lnTo>
                    <a:pt x="13" y="104"/>
                  </a:lnTo>
                  <a:lnTo>
                    <a:pt x="16" y="104"/>
                  </a:lnTo>
                  <a:lnTo>
                    <a:pt x="18" y="107"/>
                  </a:lnTo>
                  <a:lnTo>
                    <a:pt x="29" y="112"/>
                  </a:lnTo>
                  <a:lnTo>
                    <a:pt x="29" y="112"/>
                  </a:lnTo>
                  <a:lnTo>
                    <a:pt x="29" y="112"/>
                  </a:lnTo>
                  <a:lnTo>
                    <a:pt x="29" y="115"/>
                  </a:lnTo>
                  <a:lnTo>
                    <a:pt x="29" y="115"/>
                  </a:lnTo>
                  <a:lnTo>
                    <a:pt x="29" y="120"/>
                  </a:lnTo>
                  <a:lnTo>
                    <a:pt x="29" y="125"/>
                  </a:lnTo>
                  <a:lnTo>
                    <a:pt x="26" y="128"/>
                  </a:lnTo>
                  <a:lnTo>
                    <a:pt x="26" y="131"/>
                  </a:lnTo>
                  <a:lnTo>
                    <a:pt x="26" y="131"/>
                  </a:lnTo>
                  <a:lnTo>
                    <a:pt x="29" y="133"/>
                  </a:lnTo>
                  <a:lnTo>
                    <a:pt x="32" y="139"/>
                  </a:lnTo>
                  <a:lnTo>
                    <a:pt x="32" y="139"/>
                  </a:lnTo>
                  <a:lnTo>
                    <a:pt x="32" y="139"/>
                  </a:lnTo>
                  <a:lnTo>
                    <a:pt x="34" y="141"/>
                  </a:lnTo>
                  <a:lnTo>
                    <a:pt x="34" y="141"/>
                  </a:lnTo>
                  <a:lnTo>
                    <a:pt x="37" y="141"/>
                  </a:lnTo>
                  <a:lnTo>
                    <a:pt x="40" y="141"/>
                  </a:lnTo>
                  <a:lnTo>
                    <a:pt x="40" y="141"/>
                  </a:lnTo>
                  <a:lnTo>
                    <a:pt x="40" y="144"/>
                  </a:lnTo>
                  <a:lnTo>
                    <a:pt x="40" y="144"/>
                  </a:lnTo>
                  <a:lnTo>
                    <a:pt x="40" y="147"/>
                  </a:lnTo>
                  <a:lnTo>
                    <a:pt x="37" y="147"/>
                  </a:lnTo>
                  <a:lnTo>
                    <a:pt x="34" y="149"/>
                  </a:lnTo>
                  <a:lnTo>
                    <a:pt x="32" y="155"/>
                  </a:lnTo>
                  <a:lnTo>
                    <a:pt x="32" y="155"/>
                  </a:lnTo>
                  <a:lnTo>
                    <a:pt x="34" y="155"/>
                  </a:lnTo>
                  <a:lnTo>
                    <a:pt x="34" y="158"/>
                  </a:lnTo>
                  <a:lnTo>
                    <a:pt x="32" y="158"/>
                  </a:lnTo>
                  <a:lnTo>
                    <a:pt x="32" y="160"/>
                  </a:lnTo>
                  <a:lnTo>
                    <a:pt x="29" y="160"/>
                  </a:lnTo>
                  <a:lnTo>
                    <a:pt x="26" y="160"/>
                  </a:lnTo>
                  <a:lnTo>
                    <a:pt x="26" y="163"/>
                  </a:lnTo>
                  <a:lnTo>
                    <a:pt x="29" y="163"/>
                  </a:lnTo>
                  <a:lnTo>
                    <a:pt x="29" y="163"/>
                  </a:lnTo>
                  <a:lnTo>
                    <a:pt x="26" y="163"/>
                  </a:lnTo>
                  <a:lnTo>
                    <a:pt x="24" y="166"/>
                  </a:lnTo>
                  <a:lnTo>
                    <a:pt x="24" y="166"/>
                  </a:lnTo>
                  <a:lnTo>
                    <a:pt x="24" y="166"/>
                  </a:lnTo>
                  <a:lnTo>
                    <a:pt x="21" y="168"/>
                  </a:lnTo>
                  <a:lnTo>
                    <a:pt x="21" y="168"/>
                  </a:lnTo>
                  <a:lnTo>
                    <a:pt x="21" y="168"/>
                  </a:lnTo>
                  <a:lnTo>
                    <a:pt x="21" y="168"/>
                  </a:lnTo>
                  <a:lnTo>
                    <a:pt x="24" y="168"/>
                  </a:lnTo>
                  <a:lnTo>
                    <a:pt x="26" y="168"/>
                  </a:lnTo>
                  <a:lnTo>
                    <a:pt x="26" y="166"/>
                  </a:lnTo>
                  <a:lnTo>
                    <a:pt x="45" y="160"/>
                  </a:lnTo>
                  <a:lnTo>
                    <a:pt x="48" y="158"/>
                  </a:lnTo>
                  <a:lnTo>
                    <a:pt x="45" y="158"/>
                  </a:lnTo>
                  <a:lnTo>
                    <a:pt x="48" y="155"/>
                  </a:lnTo>
                  <a:lnTo>
                    <a:pt x="50" y="155"/>
                  </a:lnTo>
                  <a:lnTo>
                    <a:pt x="50" y="155"/>
                  </a:lnTo>
                  <a:lnTo>
                    <a:pt x="50" y="152"/>
                  </a:lnTo>
                  <a:lnTo>
                    <a:pt x="50" y="149"/>
                  </a:lnTo>
                  <a:lnTo>
                    <a:pt x="50" y="147"/>
                  </a:lnTo>
                  <a:lnTo>
                    <a:pt x="53" y="147"/>
                  </a:lnTo>
                  <a:lnTo>
                    <a:pt x="56" y="147"/>
                  </a:lnTo>
                  <a:lnTo>
                    <a:pt x="58" y="144"/>
                  </a:lnTo>
                  <a:lnTo>
                    <a:pt x="58" y="141"/>
                  </a:lnTo>
                  <a:lnTo>
                    <a:pt x="58" y="141"/>
                  </a:lnTo>
                  <a:lnTo>
                    <a:pt x="58" y="141"/>
                  </a:lnTo>
                  <a:lnTo>
                    <a:pt x="58" y="141"/>
                  </a:lnTo>
                  <a:lnTo>
                    <a:pt x="61" y="141"/>
                  </a:lnTo>
                  <a:lnTo>
                    <a:pt x="64" y="136"/>
                  </a:lnTo>
                  <a:lnTo>
                    <a:pt x="64" y="133"/>
                  </a:lnTo>
                  <a:lnTo>
                    <a:pt x="61" y="131"/>
                  </a:lnTo>
                  <a:lnTo>
                    <a:pt x="58" y="128"/>
                  </a:lnTo>
                  <a:lnTo>
                    <a:pt x="58" y="128"/>
                  </a:lnTo>
                  <a:lnTo>
                    <a:pt x="58" y="123"/>
                  </a:lnTo>
                  <a:lnTo>
                    <a:pt x="58" y="120"/>
                  </a:lnTo>
                  <a:lnTo>
                    <a:pt x="58" y="120"/>
                  </a:lnTo>
                  <a:lnTo>
                    <a:pt x="61" y="120"/>
                  </a:lnTo>
                  <a:lnTo>
                    <a:pt x="61" y="123"/>
                  </a:lnTo>
                  <a:lnTo>
                    <a:pt x="64" y="123"/>
                  </a:lnTo>
                  <a:lnTo>
                    <a:pt x="64" y="123"/>
                  </a:lnTo>
                  <a:lnTo>
                    <a:pt x="64" y="125"/>
                  </a:lnTo>
                  <a:lnTo>
                    <a:pt x="64" y="125"/>
                  </a:lnTo>
                  <a:lnTo>
                    <a:pt x="64" y="128"/>
                  </a:lnTo>
                  <a:lnTo>
                    <a:pt x="66" y="128"/>
                  </a:lnTo>
                  <a:lnTo>
                    <a:pt x="69" y="128"/>
                  </a:lnTo>
                  <a:lnTo>
                    <a:pt x="69" y="131"/>
                  </a:lnTo>
                  <a:lnTo>
                    <a:pt x="69" y="133"/>
                  </a:lnTo>
                  <a:lnTo>
                    <a:pt x="69" y="136"/>
                  </a:lnTo>
                  <a:lnTo>
                    <a:pt x="69" y="136"/>
                  </a:lnTo>
                  <a:lnTo>
                    <a:pt x="72" y="139"/>
                  </a:lnTo>
                  <a:lnTo>
                    <a:pt x="72" y="139"/>
                  </a:lnTo>
                  <a:lnTo>
                    <a:pt x="74" y="136"/>
                  </a:lnTo>
                  <a:lnTo>
                    <a:pt x="74" y="131"/>
                  </a:lnTo>
                  <a:lnTo>
                    <a:pt x="74" y="128"/>
                  </a:lnTo>
                  <a:lnTo>
                    <a:pt x="77" y="120"/>
                  </a:lnTo>
                  <a:lnTo>
                    <a:pt x="77" y="120"/>
                  </a:lnTo>
                  <a:lnTo>
                    <a:pt x="77" y="117"/>
                  </a:lnTo>
                  <a:lnTo>
                    <a:pt x="74" y="115"/>
                  </a:lnTo>
                  <a:lnTo>
                    <a:pt x="77" y="117"/>
                  </a:lnTo>
                  <a:lnTo>
                    <a:pt x="80" y="120"/>
                  </a:lnTo>
                  <a:lnTo>
                    <a:pt x="82" y="123"/>
                  </a:lnTo>
                  <a:lnTo>
                    <a:pt x="82" y="120"/>
                  </a:lnTo>
                  <a:lnTo>
                    <a:pt x="85" y="120"/>
                  </a:lnTo>
                  <a:lnTo>
                    <a:pt x="85" y="120"/>
                  </a:lnTo>
                  <a:lnTo>
                    <a:pt x="85" y="123"/>
                  </a:lnTo>
                  <a:lnTo>
                    <a:pt x="80" y="123"/>
                  </a:lnTo>
                  <a:lnTo>
                    <a:pt x="80" y="125"/>
                  </a:lnTo>
                  <a:lnTo>
                    <a:pt x="80" y="128"/>
                  </a:lnTo>
                  <a:lnTo>
                    <a:pt x="80" y="128"/>
                  </a:lnTo>
                  <a:lnTo>
                    <a:pt x="80" y="131"/>
                  </a:lnTo>
                  <a:lnTo>
                    <a:pt x="80" y="131"/>
                  </a:lnTo>
                  <a:lnTo>
                    <a:pt x="82" y="131"/>
                  </a:lnTo>
                  <a:lnTo>
                    <a:pt x="82" y="131"/>
                  </a:lnTo>
                  <a:lnTo>
                    <a:pt x="85" y="133"/>
                  </a:lnTo>
                  <a:lnTo>
                    <a:pt x="85" y="133"/>
                  </a:lnTo>
                  <a:lnTo>
                    <a:pt x="88" y="133"/>
                  </a:lnTo>
                  <a:lnTo>
                    <a:pt x="90" y="133"/>
                  </a:lnTo>
                  <a:lnTo>
                    <a:pt x="93" y="133"/>
                  </a:lnTo>
                  <a:lnTo>
                    <a:pt x="96" y="136"/>
                  </a:lnTo>
                  <a:lnTo>
                    <a:pt x="96" y="139"/>
                  </a:lnTo>
                  <a:lnTo>
                    <a:pt x="93" y="136"/>
                  </a:lnTo>
                  <a:lnTo>
                    <a:pt x="90" y="136"/>
                  </a:lnTo>
                  <a:lnTo>
                    <a:pt x="88" y="136"/>
                  </a:lnTo>
                  <a:lnTo>
                    <a:pt x="82" y="144"/>
                  </a:lnTo>
                  <a:lnTo>
                    <a:pt x="80" y="144"/>
                  </a:lnTo>
                  <a:lnTo>
                    <a:pt x="74" y="144"/>
                  </a:lnTo>
                  <a:lnTo>
                    <a:pt x="66" y="147"/>
                  </a:lnTo>
                  <a:lnTo>
                    <a:pt x="61" y="149"/>
                  </a:lnTo>
                  <a:lnTo>
                    <a:pt x="61" y="149"/>
                  </a:lnTo>
                  <a:lnTo>
                    <a:pt x="61" y="152"/>
                  </a:lnTo>
                  <a:lnTo>
                    <a:pt x="61" y="152"/>
                  </a:lnTo>
                  <a:lnTo>
                    <a:pt x="66" y="152"/>
                  </a:lnTo>
                  <a:lnTo>
                    <a:pt x="77" y="147"/>
                  </a:lnTo>
                  <a:lnTo>
                    <a:pt x="96" y="141"/>
                  </a:lnTo>
                  <a:lnTo>
                    <a:pt x="104" y="141"/>
                  </a:lnTo>
                  <a:lnTo>
                    <a:pt x="106" y="139"/>
                  </a:lnTo>
                  <a:lnTo>
                    <a:pt x="109" y="139"/>
                  </a:lnTo>
                  <a:lnTo>
                    <a:pt x="112" y="139"/>
                  </a:lnTo>
                  <a:lnTo>
                    <a:pt x="120" y="136"/>
                  </a:lnTo>
                  <a:lnTo>
                    <a:pt x="130" y="136"/>
                  </a:lnTo>
                  <a:lnTo>
                    <a:pt x="130" y="136"/>
                  </a:lnTo>
                  <a:lnTo>
                    <a:pt x="130" y="133"/>
                  </a:lnTo>
                  <a:lnTo>
                    <a:pt x="130" y="133"/>
                  </a:lnTo>
                  <a:lnTo>
                    <a:pt x="133" y="133"/>
                  </a:lnTo>
                  <a:lnTo>
                    <a:pt x="136" y="131"/>
                  </a:lnTo>
                  <a:lnTo>
                    <a:pt x="136" y="128"/>
                  </a:lnTo>
                  <a:lnTo>
                    <a:pt x="138" y="128"/>
                  </a:lnTo>
                  <a:lnTo>
                    <a:pt x="138" y="128"/>
                  </a:lnTo>
                  <a:lnTo>
                    <a:pt x="141" y="128"/>
                  </a:lnTo>
                  <a:lnTo>
                    <a:pt x="141" y="128"/>
                  </a:lnTo>
                  <a:lnTo>
                    <a:pt x="144" y="125"/>
                  </a:lnTo>
                  <a:lnTo>
                    <a:pt x="144" y="125"/>
                  </a:lnTo>
                  <a:lnTo>
                    <a:pt x="144" y="120"/>
                  </a:lnTo>
                  <a:lnTo>
                    <a:pt x="141" y="120"/>
                  </a:lnTo>
                  <a:lnTo>
                    <a:pt x="144" y="120"/>
                  </a:lnTo>
                  <a:lnTo>
                    <a:pt x="144" y="123"/>
                  </a:lnTo>
                  <a:lnTo>
                    <a:pt x="146" y="123"/>
                  </a:lnTo>
                  <a:lnTo>
                    <a:pt x="146" y="120"/>
                  </a:lnTo>
                  <a:lnTo>
                    <a:pt x="146" y="120"/>
                  </a:lnTo>
                  <a:lnTo>
                    <a:pt x="149" y="120"/>
                  </a:lnTo>
                  <a:lnTo>
                    <a:pt x="152" y="120"/>
                  </a:lnTo>
                  <a:lnTo>
                    <a:pt x="149" y="123"/>
                  </a:lnTo>
                  <a:lnTo>
                    <a:pt x="149" y="125"/>
                  </a:lnTo>
                  <a:lnTo>
                    <a:pt x="152" y="128"/>
                  </a:lnTo>
                  <a:lnTo>
                    <a:pt x="152" y="128"/>
                  </a:lnTo>
                  <a:lnTo>
                    <a:pt x="155" y="125"/>
                  </a:lnTo>
                  <a:lnTo>
                    <a:pt x="155" y="125"/>
                  </a:lnTo>
                  <a:lnTo>
                    <a:pt x="157" y="123"/>
                  </a:lnTo>
                  <a:lnTo>
                    <a:pt x="160" y="123"/>
                  </a:lnTo>
                  <a:lnTo>
                    <a:pt x="165" y="120"/>
                  </a:lnTo>
                  <a:lnTo>
                    <a:pt x="168" y="120"/>
                  </a:lnTo>
                  <a:lnTo>
                    <a:pt x="173" y="120"/>
                  </a:lnTo>
                  <a:lnTo>
                    <a:pt x="176" y="120"/>
                  </a:lnTo>
                  <a:lnTo>
                    <a:pt x="176" y="117"/>
                  </a:lnTo>
                  <a:lnTo>
                    <a:pt x="179" y="123"/>
                  </a:lnTo>
                  <a:lnTo>
                    <a:pt x="181" y="123"/>
                  </a:lnTo>
                  <a:lnTo>
                    <a:pt x="181" y="123"/>
                  </a:lnTo>
                  <a:lnTo>
                    <a:pt x="184" y="120"/>
                  </a:lnTo>
                  <a:lnTo>
                    <a:pt x="187" y="123"/>
                  </a:lnTo>
                  <a:lnTo>
                    <a:pt x="184" y="123"/>
                  </a:lnTo>
                  <a:lnTo>
                    <a:pt x="184" y="123"/>
                  </a:lnTo>
                  <a:lnTo>
                    <a:pt x="184" y="125"/>
                  </a:lnTo>
                  <a:lnTo>
                    <a:pt x="189" y="131"/>
                  </a:lnTo>
                  <a:lnTo>
                    <a:pt x="189" y="131"/>
                  </a:lnTo>
                  <a:lnTo>
                    <a:pt x="189" y="131"/>
                  </a:lnTo>
                  <a:lnTo>
                    <a:pt x="189" y="133"/>
                  </a:lnTo>
                  <a:lnTo>
                    <a:pt x="189" y="133"/>
                  </a:lnTo>
                  <a:lnTo>
                    <a:pt x="187" y="133"/>
                  </a:lnTo>
                  <a:lnTo>
                    <a:pt x="187" y="133"/>
                  </a:lnTo>
                  <a:lnTo>
                    <a:pt x="179" y="131"/>
                  </a:lnTo>
                  <a:lnTo>
                    <a:pt x="176" y="128"/>
                  </a:lnTo>
                  <a:lnTo>
                    <a:pt x="173" y="128"/>
                  </a:lnTo>
                  <a:lnTo>
                    <a:pt x="173" y="128"/>
                  </a:lnTo>
                  <a:lnTo>
                    <a:pt x="171" y="128"/>
                  </a:lnTo>
                  <a:lnTo>
                    <a:pt x="171" y="131"/>
                  </a:lnTo>
                  <a:lnTo>
                    <a:pt x="173" y="131"/>
                  </a:lnTo>
                  <a:lnTo>
                    <a:pt x="176" y="131"/>
                  </a:lnTo>
                  <a:lnTo>
                    <a:pt x="176" y="131"/>
                  </a:lnTo>
                  <a:lnTo>
                    <a:pt x="176" y="133"/>
                  </a:lnTo>
                  <a:lnTo>
                    <a:pt x="176" y="133"/>
                  </a:lnTo>
                  <a:lnTo>
                    <a:pt x="173" y="133"/>
                  </a:lnTo>
                  <a:lnTo>
                    <a:pt x="168" y="133"/>
                  </a:lnTo>
                  <a:lnTo>
                    <a:pt x="168" y="133"/>
                  </a:lnTo>
                  <a:lnTo>
                    <a:pt x="165" y="131"/>
                  </a:lnTo>
                  <a:lnTo>
                    <a:pt x="165" y="128"/>
                  </a:lnTo>
                  <a:lnTo>
                    <a:pt x="165" y="128"/>
                  </a:lnTo>
                  <a:lnTo>
                    <a:pt x="165" y="128"/>
                  </a:lnTo>
                  <a:lnTo>
                    <a:pt x="165" y="128"/>
                  </a:lnTo>
                  <a:lnTo>
                    <a:pt x="165" y="131"/>
                  </a:lnTo>
                  <a:lnTo>
                    <a:pt x="163" y="133"/>
                  </a:lnTo>
                  <a:lnTo>
                    <a:pt x="163" y="133"/>
                  </a:lnTo>
                  <a:lnTo>
                    <a:pt x="163" y="136"/>
                  </a:lnTo>
                  <a:lnTo>
                    <a:pt x="155" y="133"/>
                  </a:lnTo>
                  <a:lnTo>
                    <a:pt x="144" y="136"/>
                  </a:lnTo>
                  <a:lnTo>
                    <a:pt x="141" y="136"/>
                  </a:lnTo>
                  <a:lnTo>
                    <a:pt x="141" y="136"/>
                  </a:lnTo>
                  <a:lnTo>
                    <a:pt x="141" y="136"/>
                  </a:lnTo>
                  <a:lnTo>
                    <a:pt x="141" y="136"/>
                  </a:lnTo>
                  <a:lnTo>
                    <a:pt x="144" y="139"/>
                  </a:lnTo>
                  <a:lnTo>
                    <a:pt x="160" y="139"/>
                  </a:lnTo>
                  <a:lnTo>
                    <a:pt x="181" y="141"/>
                  </a:lnTo>
                  <a:lnTo>
                    <a:pt x="197" y="144"/>
                  </a:lnTo>
                  <a:lnTo>
                    <a:pt x="211" y="149"/>
                  </a:lnTo>
                  <a:lnTo>
                    <a:pt x="224" y="152"/>
                  </a:lnTo>
                  <a:lnTo>
                    <a:pt x="240" y="163"/>
                  </a:lnTo>
                  <a:lnTo>
                    <a:pt x="243" y="163"/>
                  </a:lnTo>
                  <a:lnTo>
                    <a:pt x="240" y="160"/>
                  </a:lnTo>
                  <a:lnTo>
                    <a:pt x="240" y="160"/>
                  </a:lnTo>
                  <a:lnTo>
                    <a:pt x="240" y="160"/>
                  </a:lnTo>
                  <a:lnTo>
                    <a:pt x="243" y="160"/>
                  </a:lnTo>
                  <a:lnTo>
                    <a:pt x="243" y="160"/>
                  </a:lnTo>
                  <a:lnTo>
                    <a:pt x="240" y="158"/>
                  </a:lnTo>
                  <a:lnTo>
                    <a:pt x="237" y="158"/>
                  </a:lnTo>
                  <a:lnTo>
                    <a:pt x="237" y="155"/>
                  </a:lnTo>
                  <a:lnTo>
                    <a:pt x="240" y="152"/>
                  </a:lnTo>
                  <a:lnTo>
                    <a:pt x="237" y="149"/>
                  </a:lnTo>
                  <a:lnTo>
                    <a:pt x="235" y="149"/>
                  </a:lnTo>
                  <a:lnTo>
                    <a:pt x="235" y="149"/>
                  </a:lnTo>
                  <a:lnTo>
                    <a:pt x="232" y="147"/>
                  </a:lnTo>
                  <a:lnTo>
                    <a:pt x="229" y="149"/>
                  </a:lnTo>
                  <a:lnTo>
                    <a:pt x="227" y="149"/>
                  </a:lnTo>
                  <a:lnTo>
                    <a:pt x="227" y="149"/>
                  </a:lnTo>
                  <a:lnTo>
                    <a:pt x="224" y="149"/>
                  </a:lnTo>
                  <a:lnTo>
                    <a:pt x="224" y="147"/>
                  </a:lnTo>
                  <a:lnTo>
                    <a:pt x="224" y="144"/>
                  </a:lnTo>
                  <a:lnTo>
                    <a:pt x="227" y="141"/>
                  </a:lnTo>
                  <a:lnTo>
                    <a:pt x="229" y="141"/>
                  </a:lnTo>
                  <a:lnTo>
                    <a:pt x="232" y="141"/>
                  </a:lnTo>
                  <a:lnTo>
                    <a:pt x="232" y="139"/>
                  </a:lnTo>
                  <a:lnTo>
                    <a:pt x="235" y="136"/>
                  </a:lnTo>
                  <a:lnTo>
                    <a:pt x="237" y="139"/>
                  </a:lnTo>
                  <a:lnTo>
                    <a:pt x="237" y="141"/>
                  </a:lnTo>
                  <a:lnTo>
                    <a:pt x="240" y="144"/>
                  </a:lnTo>
                  <a:lnTo>
                    <a:pt x="240" y="147"/>
                  </a:lnTo>
                  <a:lnTo>
                    <a:pt x="240" y="147"/>
                  </a:lnTo>
                  <a:lnTo>
                    <a:pt x="243" y="144"/>
                  </a:lnTo>
                  <a:lnTo>
                    <a:pt x="243" y="144"/>
                  </a:lnTo>
                  <a:lnTo>
                    <a:pt x="243" y="141"/>
                  </a:lnTo>
                  <a:lnTo>
                    <a:pt x="245" y="141"/>
                  </a:lnTo>
                  <a:lnTo>
                    <a:pt x="248" y="141"/>
                  </a:lnTo>
                  <a:lnTo>
                    <a:pt x="248" y="141"/>
                  </a:lnTo>
                  <a:lnTo>
                    <a:pt x="248" y="141"/>
                  </a:lnTo>
                  <a:lnTo>
                    <a:pt x="251" y="141"/>
                  </a:lnTo>
                  <a:lnTo>
                    <a:pt x="253" y="133"/>
                  </a:lnTo>
                  <a:lnTo>
                    <a:pt x="253" y="133"/>
                  </a:lnTo>
                  <a:lnTo>
                    <a:pt x="256" y="133"/>
                  </a:lnTo>
                  <a:lnTo>
                    <a:pt x="256" y="136"/>
                  </a:lnTo>
                  <a:lnTo>
                    <a:pt x="259" y="139"/>
                  </a:lnTo>
                  <a:lnTo>
                    <a:pt x="256" y="139"/>
                  </a:lnTo>
                  <a:lnTo>
                    <a:pt x="253" y="144"/>
                  </a:lnTo>
                  <a:lnTo>
                    <a:pt x="248" y="144"/>
                  </a:lnTo>
                  <a:lnTo>
                    <a:pt x="248" y="144"/>
                  </a:lnTo>
                  <a:lnTo>
                    <a:pt x="243" y="152"/>
                  </a:lnTo>
                  <a:lnTo>
                    <a:pt x="240" y="155"/>
                  </a:lnTo>
                  <a:lnTo>
                    <a:pt x="243" y="155"/>
                  </a:lnTo>
                  <a:lnTo>
                    <a:pt x="243" y="155"/>
                  </a:lnTo>
                  <a:lnTo>
                    <a:pt x="243" y="158"/>
                  </a:lnTo>
                  <a:lnTo>
                    <a:pt x="248" y="158"/>
                  </a:lnTo>
                  <a:lnTo>
                    <a:pt x="251" y="158"/>
                  </a:lnTo>
                  <a:lnTo>
                    <a:pt x="251" y="160"/>
                  </a:lnTo>
                  <a:lnTo>
                    <a:pt x="253" y="160"/>
                  </a:lnTo>
                  <a:lnTo>
                    <a:pt x="256" y="160"/>
                  </a:lnTo>
                  <a:lnTo>
                    <a:pt x="259" y="163"/>
                  </a:lnTo>
                  <a:lnTo>
                    <a:pt x="261" y="163"/>
                  </a:lnTo>
                  <a:lnTo>
                    <a:pt x="261" y="163"/>
                  </a:lnTo>
                  <a:lnTo>
                    <a:pt x="261" y="163"/>
                  </a:lnTo>
                  <a:lnTo>
                    <a:pt x="261" y="160"/>
                  </a:lnTo>
                  <a:lnTo>
                    <a:pt x="261" y="160"/>
                  </a:lnTo>
                  <a:lnTo>
                    <a:pt x="264" y="160"/>
                  </a:lnTo>
                  <a:lnTo>
                    <a:pt x="264" y="160"/>
                  </a:lnTo>
                  <a:lnTo>
                    <a:pt x="267" y="158"/>
                  </a:lnTo>
                  <a:lnTo>
                    <a:pt x="269" y="158"/>
                  </a:lnTo>
                  <a:lnTo>
                    <a:pt x="269" y="158"/>
                  </a:lnTo>
                  <a:lnTo>
                    <a:pt x="267" y="160"/>
                  </a:lnTo>
                  <a:lnTo>
                    <a:pt x="267" y="163"/>
                  </a:lnTo>
                  <a:lnTo>
                    <a:pt x="269" y="163"/>
                  </a:lnTo>
                  <a:lnTo>
                    <a:pt x="269" y="163"/>
                  </a:lnTo>
                  <a:lnTo>
                    <a:pt x="272" y="166"/>
                  </a:lnTo>
                  <a:lnTo>
                    <a:pt x="272" y="168"/>
                  </a:lnTo>
                  <a:lnTo>
                    <a:pt x="272" y="171"/>
                  </a:lnTo>
                  <a:lnTo>
                    <a:pt x="275" y="171"/>
                  </a:lnTo>
                  <a:lnTo>
                    <a:pt x="275" y="171"/>
                  </a:lnTo>
                  <a:lnTo>
                    <a:pt x="277" y="168"/>
                  </a:lnTo>
                  <a:lnTo>
                    <a:pt x="277" y="166"/>
                  </a:lnTo>
                  <a:lnTo>
                    <a:pt x="277" y="168"/>
                  </a:lnTo>
                  <a:lnTo>
                    <a:pt x="277" y="168"/>
                  </a:lnTo>
                  <a:lnTo>
                    <a:pt x="277" y="168"/>
                  </a:lnTo>
                  <a:lnTo>
                    <a:pt x="280" y="168"/>
                  </a:lnTo>
                  <a:lnTo>
                    <a:pt x="283" y="168"/>
                  </a:lnTo>
                  <a:lnTo>
                    <a:pt x="283" y="168"/>
                  </a:lnTo>
                  <a:lnTo>
                    <a:pt x="283" y="171"/>
                  </a:lnTo>
                  <a:lnTo>
                    <a:pt x="283" y="171"/>
                  </a:lnTo>
                  <a:lnTo>
                    <a:pt x="280" y="171"/>
                  </a:lnTo>
                  <a:lnTo>
                    <a:pt x="280" y="174"/>
                  </a:lnTo>
                  <a:lnTo>
                    <a:pt x="277" y="174"/>
                  </a:lnTo>
                  <a:lnTo>
                    <a:pt x="272" y="174"/>
                  </a:lnTo>
                  <a:lnTo>
                    <a:pt x="269" y="171"/>
                  </a:lnTo>
                  <a:lnTo>
                    <a:pt x="267" y="168"/>
                  </a:lnTo>
                  <a:lnTo>
                    <a:pt x="264" y="166"/>
                  </a:lnTo>
                  <a:lnTo>
                    <a:pt x="256" y="166"/>
                  </a:lnTo>
                  <a:lnTo>
                    <a:pt x="256" y="163"/>
                  </a:lnTo>
                  <a:lnTo>
                    <a:pt x="248" y="160"/>
                  </a:lnTo>
                  <a:lnTo>
                    <a:pt x="245" y="163"/>
                  </a:lnTo>
                  <a:lnTo>
                    <a:pt x="248" y="163"/>
                  </a:lnTo>
                  <a:lnTo>
                    <a:pt x="256" y="168"/>
                  </a:lnTo>
                  <a:lnTo>
                    <a:pt x="256" y="168"/>
                  </a:lnTo>
                  <a:lnTo>
                    <a:pt x="275" y="179"/>
                  </a:lnTo>
                  <a:lnTo>
                    <a:pt x="272" y="179"/>
                  </a:lnTo>
                  <a:lnTo>
                    <a:pt x="269" y="179"/>
                  </a:lnTo>
                  <a:lnTo>
                    <a:pt x="264" y="176"/>
                  </a:lnTo>
                  <a:lnTo>
                    <a:pt x="264" y="174"/>
                  </a:lnTo>
                  <a:lnTo>
                    <a:pt x="261" y="174"/>
                  </a:lnTo>
                  <a:lnTo>
                    <a:pt x="264" y="176"/>
                  </a:lnTo>
                  <a:lnTo>
                    <a:pt x="264" y="176"/>
                  </a:lnTo>
                  <a:lnTo>
                    <a:pt x="264" y="176"/>
                  </a:lnTo>
                  <a:lnTo>
                    <a:pt x="264" y="179"/>
                  </a:lnTo>
                  <a:lnTo>
                    <a:pt x="269" y="182"/>
                  </a:lnTo>
                  <a:lnTo>
                    <a:pt x="283" y="184"/>
                  </a:lnTo>
                  <a:lnTo>
                    <a:pt x="285" y="187"/>
                  </a:lnTo>
                  <a:lnTo>
                    <a:pt x="288" y="190"/>
                  </a:lnTo>
                  <a:lnTo>
                    <a:pt x="291" y="190"/>
                  </a:lnTo>
                  <a:lnTo>
                    <a:pt x="291" y="192"/>
                  </a:lnTo>
                  <a:lnTo>
                    <a:pt x="293" y="195"/>
                  </a:lnTo>
                  <a:lnTo>
                    <a:pt x="296" y="200"/>
                  </a:lnTo>
                  <a:lnTo>
                    <a:pt x="299" y="203"/>
                  </a:lnTo>
                  <a:lnTo>
                    <a:pt x="299" y="214"/>
                  </a:lnTo>
                  <a:lnTo>
                    <a:pt x="299" y="214"/>
                  </a:lnTo>
                  <a:lnTo>
                    <a:pt x="301" y="214"/>
                  </a:lnTo>
                  <a:lnTo>
                    <a:pt x="299" y="216"/>
                  </a:lnTo>
                  <a:lnTo>
                    <a:pt x="299" y="216"/>
                  </a:lnTo>
                  <a:lnTo>
                    <a:pt x="296" y="219"/>
                  </a:lnTo>
                  <a:lnTo>
                    <a:pt x="296" y="219"/>
                  </a:lnTo>
                  <a:lnTo>
                    <a:pt x="293" y="219"/>
                  </a:lnTo>
                  <a:lnTo>
                    <a:pt x="291" y="214"/>
                  </a:lnTo>
                  <a:lnTo>
                    <a:pt x="288" y="211"/>
                  </a:lnTo>
                  <a:lnTo>
                    <a:pt x="288" y="208"/>
                  </a:lnTo>
                  <a:lnTo>
                    <a:pt x="288" y="206"/>
                  </a:lnTo>
                  <a:lnTo>
                    <a:pt x="285" y="195"/>
                  </a:lnTo>
                  <a:lnTo>
                    <a:pt x="285" y="195"/>
                  </a:lnTo>
                  <a:lnTo>
                    <a:pt x="285" y="198"/>
                  </a:lnTo>
                  <a:lnTo>
                    <a:pt x="285" y="203"/>
                  </a:lnTo>
                  <a:lnTo>
                    <a:pt x="288" y="216"/>
                  </a:lnTo>
                  <a:lnTo>
                    <a:pt x="291" y="216"/>
                  </a:lnTo>
                  <a:lnTo>
                    <a:pt x="293" y="219"/>
                  </a:lnTo>
                  <a:lnTo>
                    <a:pt x="296" y="219"/>
                  </a:lnTo>
                  <a:lnTo>
                    <a:pt x="299" y="216"/>
                  </a:lnTo>
                  <a:lnTo>
                    <a:pt x="301" y="216"/>
                  </a:lnTo>
                  <a:lnTo>
                    <a:pt x="304" y="216"/>
                  </a:lnTo>
                  <a:lnTo>
                    <a:pt x="307" y="216"/>
                  </a:lnTo>
                  <a:lnTo>
                    <a:pt x="323" y="211"/>
                  </a:lnTo>
                  <a:lnTo>
                    <a:pt x="325" y="208"/>
                  </a:lnTo>
                  <a:lnTo>
                    <a:pt x="336" y="208"/>
                  </a:lnTo>
                  <a:lnTo>
                    <a:pt x="339" y="208"/>
                  </a:lnTo>
                  <a:lnTo>
                    <a:pt x="339" y="203"/>
                  </a:lnTo>
                  <a:lnTo>
                    <a:pt x="341" y="203"/>
                  </a:lnTo>
                  <a:lnTo>
                    <a:pt x="344" y="200"/>
                  </a:lnTo>
                  <a:lnTo>
                    <a:pt x="347" y="198"/>
                  </a:lnTo>
                  <a:lnTo>
                    <a:pt x="347" y="198"/>
                  </a:lnTo>
                  <a:lnTo>
                    <a:pt x="349" y="195"/>
                  </a:lnTo>
                  <a:lnTo>
                    <a:pt x="349" y="195"/>
                  </a:lnTo>
                  <a:lnTo>
                    <a:pt x="352" y="195"/>
                  </a:lnTo>
                  <a:lnTo>
                    <a:pt x="349" y="203"/>
                  </a:lnTo>
                  <a:lnTo>
                    <a:pt x="349" y="203"/>
                  </a:lnTo>
                  <a:lnTo>
                    <a:pt x="349" y="206"/>
                  </a:lnTo>
                  <a:lnTo>
                    <a:pt x="352" y="206"/>
                  </a:lnTo>
                  <a:lnTo>
                    <a:pt x="352" y="203"/>
                  </a:lnTo>
                  <a:lnTo>
                    <a:pt x="355" y="203"/>
                  </a:lnTo>
                  <a:lnTo>
                    <a:pt x="357" y="200"/>
                  </a:lnTo>
                  <a:lnTo>
                    <a:pt x="357" y="200"/>
                  </a:lnTo>
                  <a:lnTo>
                    <a:pt x="360" y="198"/>
                  </a:lnTo>
                  <a:lnTo>
                    <a:pt x="363" y="195"/>
                  </a:lnTo>
                  <a:lnTo>
                    <a:pt x="365" y="195"/>
                  </a:lnTo>
                  <a:lnTo>
                    <a:pt x="368" y="195"/>
                  </a:lnTo>
                  <a:lnTo>
                    <a:pt x="373" y="187"/>
                  </a:lnTo>
                  <a:lnTo>
                    <a:pt x="376" y="184"/>
                  </a:lnTo>
                  <a:lnTo>
                    <a:pt x="381" y="182"/>
                  </a:lnTo>
                  <a:lnTo>
                    <a:pt x="387" y="176"/>
                  </a:lnTo>
                  <a:lnTo>
                    <a:pt x="392" y="171"/>
                  </a:lnTo>
                  <a:lnTo>
                    <a:pt x="395" y="174"/>
                  </a:lnTo>
                  <a:lnTo>
                    <a:pt x="395" y="174"/>
                  </a:lnTo>
                  <a:lnTo>
                    <a:pt x="397" y="171"/>
                  </a:lnTo>
                  <a:lnTo>
                    <a:pt x="400" y="171"/>
                  </a:lnTo>
                  <a:lnTo>
                    <a:pt x="405" y="171"/>
                  </a:lnTo>
                  <a:lnTo>
                    <a:pt x="411" y="171"/>
                  </a:lnTo>
                  <a:lnTo>
                    <a:pt x="411" y="174"/>
                  </a:lnTo>
                  <a:lnTo>
                    <a:pt x="411" y="174"/>
                  </a:lnTo>
                  <a:lnTo>
                    <a:pt x="408" y="174"/>
                  </a:lnTo>
                  <a:lnTo>
                    <a:pt x="411" y="171"/>
                  </a:lnTo>
                  <a:lnTo>
                    <a:pt x="413" y="168"/>
                  </a:lnTo>
                  <a:lnTo>
                    <a:pt x="411" y="166"/>
                  </a:lnTo>
                  <a:lnTo>
                    <a:pt x="408" y="166"/>
                  </a:lnTo>
                  <a:lnTo>
                    <a:pt x="400" y="166"/>
                  </a:lnTo>
                  <a:lnTo>
                    <a:pt x="400" y="166"/>
                  </a:lnTo>
                  <a:lnTo>
                    <a:pt x="397" y="163"/>
                  </a:lnTo>
                  <a:lnTo>
                    <a:pt x="397" y="163"/>
                  </a:lnTo>
                  <a:lnTo>
                    <a:pt x="395" y="163"/>
                  </a:lnTo>
                  <a:lnTo>
                    <a:pt x="397" y="160"/>
                  </a:lnTo>
                  <a:lnTo>
                    <a:pt x="400" y="160"/>
                  </a:lnTo>
                  <a:lnTo>
                    <a:pt x="403" y="160"/>
                  </a:lnTo>
                  <a:lnTo>
                    <a:pt x="405" y="163"/>
                  </a:lnTo>
                  <a:lnTo>
                    <a:pt x="408" y="163"/>
                  </a:lnTo>
                  <a:lnTo>
                    <a:pt x="411" y="163"/>
                  </a:lnTo>
                  <a:lnTo>
                    <a:pt x="411" y="163"/>
                  </a:lnTo>
                  <a:lnTo>
                    <a:pt x="408" y="160"/>
                  </a:lnTo>
                  <a:lnTo>
                    <a:pt x="408" y="158"/>
                  </a:lnTo>
                  <a:lnTo>
                    <a:pt x="408" y="160"/>
                  </a:lnTo>
                  <a:lnTo>
                    <a:pt x="405" y="160"/>
                  </a:lnTo>
                  <a:lnTo>
                    <a:pt x="405" y="160"/>
                  </a:lnTo>
                  <a:lnTo>
                    <a:pt x="405" y="160"/>
                  </a:lnTo>
                  <a:lnTo>
                    <a:pt x="405" y="158"/>
                  </a:lnTo>
                  <a:lnTo>
                    <a:pt x="405" y="158"/>
                  </a:lnTo>
                  <a:lnTo>
                    <a:pt x="405" y="158"/>
                  </a:lnTo>
                  <a:lnTo>
                    <a:pt x="405" y="158"/>
                  </a:lnTo>
                  <a:lnTo>
                    <a:pt x="405" y="155"/>
                  </a:lnTo>
                  <a:lnTo>
                    <a:pt x="405" y="155"/>
                  </a:lnTo>
                  <a:lnTo>
                    <a:pt x="405" y="155"/>
                  </a:lnTo>
                  <a:lnTo>
                    <a:pt x="405" y="155"/>
                  </a:lnTo>
                  <a:lnTo>
                    <a:pt x="405" y="155"/>
                  </a:lnTo>
                  <a:lnTo>
                    <a:pt x="405" y="152"/>
                  </a:lnTo>
                  <a:lnTo>
                    <a:pt x="408" y="152"/>
                  </a:lnTo>
                  <a:lnTo>
                    <a:pt x="411" y="149"/>
                  </a:lnTo>
                  <a:lnTo>
                    <a:pt x="413" y="149"/>
                  </a:lnTo>
                  <a:lnTo>
                    <a:pt x="416" y="149"/>
                  </a:lnTo>
                  <a:lnTo>
                    <a:pt x="416" y="147"/>
                  </a:lnTo>
                  <a:lnTo>
                    <a:pt x="416" y="147"/>
                  </a:lnTo>
                  <a:lnTo>
                    <a:pt x="419" y="144"/>
                  </a:lnTo>
                  <a:lnTo>
                    <a:pt x="419" y="144"/>
                  </a:lnTo>
                  <a:lnTo>
                    <a:pt x="419" y="144"/>
                  </a:lnTo>
                  <a:lnTo>
                    <a:pt x="419" y="144"/>
                  </a:lnTo>
                  <a:lnTo>
                    <a:pt x="421" y="144"/>
                  </a:lnTo>
                  <a:lnTo>
                    <a:pt x="419" y="144"/>
                  </a:lnTo>
                  <a:lnTo>
                    <a:pt x="421" y="144"/>
                  </a:lnTo>
                  <a:lnTo>
                    <a:pt x="424" y="144"/>
                  </a:lnTo>
                  <a:lnTo>
                    <a:pt x="424" y="141"/>
                  </a:lnTo>
                  <a:lnTo>
                    <a:pt x="424" y="141"/>
                  </a:lnTo>
                  <a:lnTo>
                    <a:pt x="424" y="141"/>
                  </a:lnTo>
                  <a:lnTo>
                    <a:pt x="427" y="141"/>
                  </a:lnTo>
                  <a:lnTo>
                    <a:pt x="427" y="141"/>
                  </a:lnTo>
                  <a:lnTo>
                    <a:pt x="427" y="141"/>
                  </a:lnTo>
                  <a:lnTo>
                    <a:pt x="427" y="141"/>
                  </a:lnTo>
                  <a:lnTo>
                    <a:pt x="427" y="144"/>
                  </a:lnTo>
                  <a:lnTo>
                    <a:pt x="429" y="144"/>
                  </a:lnTo>
                  <a:lnTo>
                    <a:pt x="429" y="144"/>
                  </a:lnTo>
                  <a:lnTo>
                    <a:pt x="432" y="141"/>
                  </a:lnTo>
                  <a:lnTo>
                    <a:pt x="440" y="141"/>
                  </a:lnTo>
                  <a:lnTo>
                    <a:pt x="445" y="139"/>
                  </a:lnTo>
                  <a:lnTo>
                    <a:pt x="448" y="139"/>
                  </a:lnTo>
                  <a:lnTo>
                    <a:pt x="456" y="144"/>
                  </a:lnTo>
                  <a:lnTo>
                    <a:pt x="469" y="149"/>
                  </a:lnTo>
                  <a:lnTo>
                    <a:pt x="475" y="152"/>
                  </a:lnTo>
                  <a:lnTo>
                    <a:pt x="477" y="149"/>
                  </a:lnTo>
                  <a:lnTo>
                    <a:pt x="480" y="152"/>
                  </a:lnTo>
                  <a:lnTo>
                    <a:pt x="483" y="155"/>
                  </a:lnTo>
                  <a:lnTo>
                    <a:pt x="485" y="155"/>
                  </a:lnTo>
                  <a:lnTo>
                    <a:pt x="485" y="155"/>
                  </a:lnTo>
                  <a:lnTo>
                    <a:pt x="491" y="158"/>
                  </a:lnTo>
                  <a:lnTo>
                    <a:pt x="493" y="160"/>
                  </a:lnTo>
                  <a:lnTo>
                    <a:pt x="493" y="160"/>
                  </a:lnTo>
                  <a:lnTo>
                    <a:pt x="499" y="166"/>
                  </a:lnTo>
                  <a:lnTo>
                    <a:pt x="501" y="168"/>
                  </a:lnTo>
                  <a:lnTo>
                    <a:pt x="501" y="168"/>
                  </a:lnTo>
                  <a:lnTo>
                    <a:pt x="504" y="168"/>
                  </a:lnTo>
                  <a:lnTo>
                    <a:pt x="504" y="168"/>
                  </a:lnTo>
                  <a:lnTo>
                    <a:pt x="504" y="171"/>
                  </a:lnTo>
                  <a:lnTo>
                    <a:pt x="507" y="174"/>
                  </a:lnTo>
                  <a:lnTo>
                    <a:pt x="507" y="176"/>
                  </a:lnTo>
                  <a:lnTo>
                    <a:pt x="507" y="179"/>
                  </a:lnTo>
                  <a:lnTo>
                    <a:pt x="509" y="179"/>
                  </a:lnTo>
                  <a:lnTo>
                    <a:pt x="512" y="182"/>
                  </a:lnTo>
                  <a:lnTo>
                    <a:pt x="515" y="184"/>
                  </a:lnTo>
                  <a:lnTo>
                    <a:pt x="520" y="184"/>
                  </a:lnTo>
                  <a:lnTo>
                    <a:pt x="520" y="184"/>
                  </a:lnTo>
                  <a:lnTo>
                    <a:pt x="523" y="187"/>
                  </a:lnTo>
                  <a:lnTo>
                    <a:pt x="523" y="187"/>
                  </a:lnTo>
                  <a:lnTo>
                    <a:pt x="525" y="187"/>
                  </a:lnTo>
                  <a:lnTo>
                    <a:pt x="528" y="187"/>
                  </a:lnTo>
                  <a:lnTo>
                    <a:pt x="531" y="187"/>
                  </a:lnTo>
                  <a:lnTo>
                    <a:pt x="531" y="190"/>
                  </a:lnTo>
                  <a:lnTo>
                    <a:pt x="533" y="192"/>
                  </a:lnTo>
                  <a:lnTo>
                    <a:pt x="533" y="195"/>
                  </a:lnTo>
                  <a:lnTo>
                    <a:pt x="533" y="198"/>
                  </a:lnTo>
                  <a:lnTo>
                    <a:pt x="531" y="200"/>
                  </a:lnTo>
                  <a:lnTo>
                    <a:pt x="533" y="203"/>
                  </a:lnTo>
                  <a:lnTo>
                    <a:pt x="533" y="203"/>
                  </a:lnTo>
                  <a:lnTo>
                    <a:pt x="533" y="206"/>
                  </a:lnTo>
                  <a:lnTo>
                    <a:pt x="533" y="208"/>
                  </a:lnTo>
                  <a:lnTo>
                    <a:pt x="536" y="208"/>
                  </a:lnTo>
                  <a:lnTo>
                    <a:pt x="539" y="208"/>
                  </a:lnTo>
                  <a:lnTo>
                    <a:pt x="539" y="208"/>
                  </a:lnTo>
                  <a:lnTo>
                    <a:pt x="547" y="216"/>
                  </a:lnTo>
                  <a:lnTo>
                    <a:pt x="549" y="216"/>
                  </a:lnTo>
                  <a:lnTo>
                    <a:pt x="555" y="216"/>
                  </a:lnTo>
                  <a:lnTo>
                    <a:pt x="557" y="219"/>
                  </a:lnTo>
                  <a:lnTo>
                    <a:pt x="560" y="222"/>
                  </a:lnTo>
                  <a:lnTo>
                    <a:pt x="563" y="224"/>
                  </a:lnTo>
                  <a:lnTo>
                    <a:pt x="565" y="230"/>
                  </a:lnTo>
                  <a:lnTo>
                    <a:pt x="565" y="230"/>
                  </a:lnTo>
                  <a:lnTo>
                    <a:pt x="568" y="232"/>
                  </a:lnTo>
                  <a:lnTo>
                    <a:pt x="568" y="232"/>
                  </a:lnTo>
                  <a:lnTo>
                    <a:pt x="568" y="235"/>
                  </a:lnTo>
                  <a:lnTo>
                    <a:pt x="568" y="235"/>
                  </a:lnTo>
                  <a:lnTo>
                    <a:pt x="571" y="235"/>
                  </a:lnTo>
                  <a:lnTo>
                    <a:pt x="573" y="238"/>
                  </a:lnTo>
                  <a:lnTo>
                    <a:pt x="576" y="238"/>
                  </a:lnTo>
                  <a:lnTo>
                    <a:pt x="579" y="238"/>
                  </a:lnTo>
                  <a:lnTo>
                    <a:pt x="579" y="238"/>
                  </a:lnTo>
                  <a:lnTo>
                    <a:pt x="581" y="240"/>
                  </a:lnTo>
                  <a:lnTo>
                    <a:pt x="581" y="240"/>
                  </a:lnTo>
                  <a:lnTo>
                    <a:pt x="579" y="243"/>
                  </a:lnTo>
                  <a:lnTo>
                    <a:pt x="581" y="246"/>
                  </a:lnTo>
                  <a:lnTo>
                    <a:pt x="581" y="246"/>
                  </a:lnTo>
                  <a:lnTo>
                    <a:pt x="584" y="246"/>
                  </a:lnTo>
                  <a:lnTo>
                    <a:pt x="584" y="246"/>
                  </a:lnTo>
                  <a:lnTo>
                    <a:pt x="584" y="248"/>
                  </a:lnTo>
                  <a:lnTo>
                    <a:pt x="584" y="248"/>
                  </a:lnTo>
                  <a:lnTo>
                    <a:pt x="587" y="248"/>
                  </a:lnTo>
                  <a:lnTo>
                    <a:pt x="589" y="248"/>
                  </a:lnTo>
                  <a:lnTo>
                    <a:pt x="589" y="248"/>
                  </a:lnTo>
                  <a:lnTo>
                    <a:pt x="592" y="248"/>
                  </a:lnTo>
                  <a:lnTo>
                    <a:pt x="592" y="248"/>
                  </a:lnTo>
                  <a:lnTo>
                    <a:pt x="597" y="246"/>
                  </a:lnTo>
                  <a:lnTo>
                    <a:pt x="597" y="246"/>
                  </a:lnTo>
                  <a:lnTo>
                    <a:pt x="600" y="246"/>
                  </a:lnTo>
                  <a:lnTo>
                    <a:pt x="603" y="248"/>
                  </a:lnTo>
                  <a:lnTo>
                    <a:pt x="605" y="248"/>
                  </a:lnTo>
                  <a:lnTo>
                    <a:pt x="608" y="246"/>
                  </a:lnTo>
                  <a:lnTo>
                    <a:pt x="608" y="246"/>
                  </a:lnTo>
                  <a:lnTo>
                    <a:pt x="611" y="248"/>
                  </a:lnTo>
                  <a:lnTo>
                    <a:pt x="611" y="248"/>
                  </a:lnTo>
                  <a:lnTo>
                    <a:pt x="611" y="246"/>
                  </a:lnTo>
                  <a:lnTo>
                    <a:pt x="613" y="246"/>
                  </a:lnTo>
                  <a:lnTo>
                    <a:pt x="613" y="248"/>
                  </a:lnTo>
                  <a:lnTo>
                    <a:pt x="616" y="251"/>
                  </a:lnTo>
                  <a:lnTo>
                    <a:pt x="616" y="251"/>
                  </a:lnTo>
                  <a:lnTo>
                    <a:pt x="619" y="254"/>
                  </a:lnTo>
                  <a:lnTo>
                    <a:pt x="616" y="254"/>
                  </a:lnTo>
                  <a:lnTo>
                    <a:pt x="619" y="256"/>
                  </a:lnTo>
                  <a:lnTo>
                    <a:pt x="624" y="259"/>
                  </a:lnTo>
                  <a:lnTo>
                    <a:pt x="624" y="259"/>
                  </a:lnTo>
                  <a:lnTo>
                    <a:pt x="624" y="264"/>
                  </a:lnTo>
                  <a:lnTo>
                    <a:pt x="624" y="267"/>
                  </a:lnTo>
                  <a:lnTo>
                    <a:pt x="624" y="267"/>
                  </a:lnTo>
                  <a:lnTo>
                    <a:pt x="624" y="267"/>
                  </a:lnTo>
                  <a:lnTo>
                    <a:pt x="627" y="270"/>
                  </a:lnTo>
                  <a:lnTo>
                    <a:pt x="627" y="270"/>
                  </a:lnTo>
                  <a:lnTo>
                    <a:pt x="627" y="272"/>
                  </a:lnTo>
                  <a:lnTo>
                    <a:pt x="627" y="275"/>
                  </a:lnTo>
                  <a:lnTo>
                    <a:pt x="635" y="280"/>
                  </a:lnTo>
                  <a:lnTo>
                    <a:pt x="635" y="280"/>
                  </a:lnTo>
                  <a:lnTo>
                    <a:pt x="635" y="280"/>
                  </a:lnTo>
                  <a:lnTo>
                    <a:pt x="637" y="280"/>
                  </a:lnTo>
                  <a:lnTo>
                    <a:pt x="640" y="280"/>
                  </a:lnTo>
                  <a:lnTo>
                    <a:pt x="640" y="283"/>
                  </a:lnTo>
                  <a:lnTo>
                    <a:pt x="640" y="283"/>
                  </a:lnTo>
                  <a:lnTo>
                    <a:pt x="643" y="291"/>
                  </a:lnTo>
                  <a:lnTo>
                    <a:pt x="643" y="291"/>
                  </a:lnTo>
                  <a:lnTo>
                    <a:pt x="643" y="296"/>
                  </a:lnTo>
                  <a:lnTo>
                    <a:pt x="640" y="294"/>
                  </a:lnTo>
                  <a:lnTo>
                    <a:pt x="637" y="291"/>
                  </a:lnTo>
                  <a:lnTo>
                    <a:pt x="637" y="294"/>
                  </a:lnTo>
                  <a:lnTo>
                    <a:pt x="637" y="296"/>
                  </a:lnTo>
                  <a:lnTo>
                    <a:pt x="640" y="299"/>
                  </a:lnTo>
                  <a:lnTo>
                    <a:pt x="640" y="299"/>
                  </a:lnTo>
                  <a:lnTo>
                    <a:pt x="640" y="302"/>
                  </a:lnTo>
                  <a:lnTo>
                    <a:pt x="643" y="302"/>
                  </a:lnTo>
                  <a:lnTo>
                    <a:pt x="643" y="302"/>
                  </a:lnTo>
                  <a:lnTo>
                    <a:pt x="643" y="302"/>
                  </a:lnTo>
                  <a:lnTo>
                    <a:pt x="645" y="307"/>
                  </a:lnTo>
                  <a:lnTo>
                    <a:pt x="645" y="307"/>
                  </a:lnTo>
                  <a:lnTo>
                    <a:pt x="645" y="310"/>
                  </a:lnTo>
                  <a:lnTo>
                    <a:pt x="645" y="310"/>
                  </a:lnTo>
                  <a:lnTo>
                    <a:pt x="645" y="312"/>
                  </a:lnTo>
                  <a:lnTo>
                    <a:pt x="645" y="312"/>
                  </a:lnTo>
                  <a:lnTo>
                    <a:pt x="645" y="312"/>
                  </a:lnTo>
                  <a:lnTo>
                    <a:pt x="645" y="315"/>
                  </a:lnTo>
                  <a:lnTo>
                    <a:pt x="645" y="315"/>
                  </a:lnTo>
                  <a:lnTo>
                    <a:pt x="645" y="318"/>
                  </a:lnTo>
                  <a:lnTo>
                    <a:pt x="645" y="331"/>
                  </a:lnTo>
                  <a:lnTo>
                    <a:pt x="645" y="334"/>
                  </a:lnTo>
                  <a:lnTo>
                    <a:pt x="645" y="337"/>
                  </a:lnTo>
                  <a:lnTo>
                    <a:pt x="645" y="345"/>
                  </a:lnTo>
                  <a:lnTo>
                    <a:pt x="645" y="350"/>
                  </a:lnTo>
                  <a:lnTo>
                    <a:pt x="645" y="350"/>
                  </a:lnTo>
                  <a:lnTo>
                    <a:pt x="645" y="350"/>
                  </a:lnTo>
                  <a:lnTo>
                    <a:pt x="643" y="353"/>
                  </a:lnTo>
                  <a:lnTo>
                    <a:pt x="640" y="366"/>
                  </a:lnTo>
                  <a:lnTo>
                    <a:pt x="643" y="363"/>
                  </a:lnTo>
                  <a:lnTo>
                    <a:pt x="643" y="363"/>
                  </a:lnTo>
                  <a:lnTo>
                    <a:pt x="643" y="363"/>
                  </a:lnTo>
                  <a:lnTo>
                    <a:pt x="643" y="366"/>
                  </a:lnTo>
                  <a:lnTo>
                    <a:pt x="643" y="369"/>
                  </a:lnTo>
                  <a:lnTo>
                    <a:pt x="640" y="371"/>
                  </a:lnTo>
                  <a:lnTo>
                    <a:pt x="640" y="377"/>
                  </a:lnTo>
                  <a:lnTo>
                    <a:pt x="640" y="377"/>
                  </a:lnTo>
                  <a:lnTo>
                    <a:pt x="637" y="379"/>
                  </a:lnTo>
                  <a:lnTo>
                    <a:pt x="637" y="379"/>
                  </a:lnTo>
                  <a:lnTo>
                    <a:pt x="637" y="382"/>
                  </a:lnTo>
                  <a:lnTo>
                    <a:pt x="637" y="385"/>
                  </a:lnTo>
                  <a:lnTo>
                    <a:pt x="637" y="385"/>
                  </a:lnTo>
                  <a:lnTo>
                    <a:pt x="640" y="390"/>
                  </a:lnTo>
                  <a:lnTo>
                    <a:pt x="640" y="393"/>
                  </a:lnTo>
                  <a:lnTo>
                    <a:pt x="643" y="393"/>
                  </a:lnTo>
                  <a:lnTo>
                    <a:pt x="640" y="395"/>
                  </a:lnTo>
                  <a:lnTo>
                    <a:pt x="640" y="395"/>
                  </a:lnTo>
                  <a:lnTo>
                    <a:pt x="640" y="401"/>
                  </a:lnTo>
                  <a:lnTo>
                    <a:pt x="640" y="414"/>
                  </a:lnTo>
                  <a:lnTo>
                    <a:pt x="637" y="425"/>
                  </a:lnTo>
                  <a:lnTo>
                    <a:pt x="637" y="422"/>
                  </a:lnTo>
                  <a:lnTo>
                    <a:pt x="637" y="419"/>
                  </a:lnTo>
                  <a:lnTo>
                    <a:pt x="637" y="419"/>
                  </a:lnTo>
                  <a:lnTo>
                    <a:pt x="637" y="417"/>
                  </a:lnTo>
                  <a:lnTo>
                    <a:pt x="637" y="417"/>
                  </a:lnTo>
                  <a:lnTo>
                    <a:pt x="635" y="419"/>
                  </a:lnTo>
                  <a:lnTo>
                    <a:pt x="635" y="422"/>
                  </a:lnTo>
                  <a:lnTo>
                    <a:pt x="635" y="425"/>
                  </a:lnTo>
                  <a:lnTo>
                    <a:pt x="635" y="427"/>
                  </a:lnTo>
                  <a:lnTo>
                    <a:pt x="637" y="430"/>
                  </a:lnTo>
                  <a:lnTo>
                    <a:pt x="637" y="433"/>
                  </a:lnTo>
                  <a:lnTo>
                    <a:pt x="640" y="435"/>
                  </a:lnTo>
                  <a:lnTo>
                    <a:pt x="648" y="443"/>
                  </a:lnTo>
                  <a:lnTo>
                    <a:pt x="651" y="446"/>
                  </a:lnTo>
                  <a:lnTo>
                    <a:pt x="653" y="449"/>
                  </a:lnTo>
                  <a:lnTo>
                    <a:pt x="653" y="451"/>
                  </a:lnTo>
                  <a:lnTo>
                    <a:pt x="656" y="454"/>
                  </a:lnTo>
                  <a:lnTo>
                    <a:pt x="656" y="454"/>
                  </a:lnTo>
                  <a:lnTo>
                    <a:pt x="656" y="451"/>
                  </a:lnTo>
                  <a:lnTo>
                    <a:pt x="656" y="449"/>
                  </a:lnTo>
                  <a:lnTo>
                    <a:pt x="653" y="446"/>
                  </a:lnTo>
                  <a:lnTo>
                    <a:pt x="651" y="443"/>
                  </a:lnTo>
                  <a:lnTo>
                    <a:pt x="643" y="435"/>
                  </a:lnTo>
                  <a:lnTo>
                    <a:pt x="640" y="435"/>
                  </a:lnTo>
                  <a:lnTo>
                    <a:pt x="643" y="433"/>
                  </a:lnTo>
                  <a:lnTo>
                    <a:pt x="645" y="433"/>
                  </a:lnTo>
                  <a:lnTo>
                    <a:pt x="651" y="438"/>
                  </a:lnTo>
                  <a:lnTo>
                    <a:pt x="653" y="438"/>
                  </a:lnTo>
                  <a:lnTo>
                    <a:pt x="656" y="443"/>
                  </a:lnTo>
                  <a:lnTo>
                    <a:pt x="656" y="443"/>
                  </a:lnTo>
                  <a:lnTo>
                    <a:pt x="659" y="443"/>
                  </a:lnTo>
                  <a:lnTo>
                    <a:pt x="659" y="443"/>
                  </a:lnTo>
                  <a:lnTo>
                    <a:pt x="659" y="446"/>
                  </a:lnTo>
                  <a:lnTo>
                    <a:pt x="661" y="449"/>
                  </a:lnTo>
                  <a:lnTo>
                    <a:pt x="661" y="449"/>
                  </a:lnTo>
                  <a:lnTo>
                    <a:pt x="661" y="449"/>
                  </a:lnTo>
                  <a:lnTo>
                    <a:pt x="664" y="449"/>
                  </a:lnTo>
                  <a:lnTo>
                    <a:pt x="667" y="446"/>
                  </a:lnTo>
                  <a:lnTo>
                    <a:pt x="667" y="443"/>
                  </a:lnTo>
                  <a:lnTo>
                    <a:pt x="667" y="441"/>
                  </a:lnTo>
                  <a:lnTo>
                    <a:pt x="667" y="441"/>
                  </a:lnTo>
                  <a:lnTo>
                    <a:pt x="667" y="435"/>
                  </a:lnTo>
                  <a:lnTo>
                    <a:pt x="667" y="435"/>
                  </a:lnTo>
                  <a:lnTo>
                    <a:pt x="667" y="433"/>
                  </a:lnTo>
                  <a:lnTo>
                    <a:pt x="669" y="430"/>
                  </a:lnTo>
                  <a:lnTo>
                    <a:pt x="669" y="430"/>
                  </a:lnTo>
                  <a:lnTo>
                    <a:pt x="669" y="427"/>
                  </a:lnTo>
                  <a:lnTo>
                    <a:pt x="667" y="425"/>
                  </a:lnTo>
                  <a:lnTo>
                    <a:pt x="667" y="425"/>
                  </a:lnTo>
                  <a:lnTo>
                    <a:pt x="669" y="422"/>
                  </a:lnTo>
                  <a:lnTo>
                    <a:pt x="672" y="419"/>
                  </a:lnTo>
                  <a:lnTo>
                    <a:pt x="667" y="422"/>
                  </a:lnTo>
                  <a:lnTo>
                    <a:pt x="661" y="419"/>
                  </a:lnTo>
                  <a:lnTo>
                    <a:pt x="656" y="417"/>
                  </a:lnTo>
                  <a:lnTo>
                    <a:pt x="651" y="417"/>
                  </a:lnTo>
                  <a:lnTo>
                    <a:pt x="653" y="414"/>
                  </a:lnTo>
                  <a:lnTo>
                    <a:pt x="659" y="411"/>
                  </a:lnTo>
                  <a:lnTo>
                    <a:pt x="659" y="409"/>
                  </a:lnTo>
                  <a:lnTo>
                    <a:pt x="656" y="411"/>
                  </a:lnTo>
                  <a:lnTo>
                    <a:pt x="653" y="411"/>
                  </a:lnTo>
                  <a:lnTo>
                    <a:pt x="653" y="409"/>
                  </a:lnTo>
                  <a:lnTo>
                    <a:pt x="653" y="409"/>
                  </a:lnTo>
                  <a:lnTo>
                    <a:pt x="653" y="409"/>
                  </a:lnTo>
                  <a:lnTo>
                    <a:pt x="653" y="406"/>
                  </a:lnTo>
                  <a:lnTo>
                    <a:pt x="653" y="406"/>
                  </a:lnTo>
                  <a:lnTo>
                    <a:pt x="653" y="403"/>
                  </a:lnTo>
                  <a:lnTo>
                    <a:pt x="653" y="403"/>
                  </a:lnTo>
                  <a:lnTo>
                    <a:pt x="653" y="401"/>
                  </a:lnTo>
                  <a:lnTo>
                    <a:pt x="659" y="406"/>
                  </a:lnTo>
                  <a:lnTo>
                    <a:pt x="659" y="403"/>
                  </a:lnTo>
                  <a:lnTo>
                    <a:pt x="659" y="403"/>
                  </a:lnTo>
                  <a:lnTo>
                    <a:pt x="659" y="403"/>
                  </a:lnTo>
                  <a:lnTo>
                    <a:pt x="659" y="403"/>
                  </a:lnTo>
                  <a:lnTo>
                    <a:pt x="661" y="406"/>
                  </a:lnTo>
                  <a:lnTo>
                    <a:pt x="664" y="406"/>
                  </a:lnTo>
                  <a:lnTo>
                    <a:pt x="664" y="409"/>
                  </a:lnTo>
                  <a:lnTo>
                    <a:pt x="664" y="409"/>
                  </a:lnTo>
                  <a:lnTo>
                    <a:pt x="664" y="411"/>
                  </a:lnTo>
                  <a:lnTo>
                    <a:pt x="667" y="409"/>
                  </a:lnTo>
                  <a:lnTo>
                    <a:pt x="669" y="409"/>
                  </a:lnTo>
                  <a:lnTo>
                    <a:pt x="672" y="411"/>
                  </a:lnTo>
                  <a:lnTo>
                    <a:pt x="675" y="414"/>
                  </a:lnTo>
                  <a:lnTo>
                    <a:pt x="675" y="422"/>
                  </a:lnTo>
                  <a:lnTo>
                    <a:pt x="675" y="425"/>
                  </a:lnTo>
                  <a:lnTo>
                    <a:pt x="677" y="427"/>
                  </a:lnTo>
                  <a:lnTo>
                    <a:pt x="677" y="427"/>
                  </a:lnTo>
                  <a:lnTo>
                    <a:pt x="683" y="427"/>
                  </a:lnTo>
                  <a:lnTo>
                    <a:pt x="683" y="425"/>
                  </a:lnTo>
                  <a:lnTo>
                    <a:pt x="683" y="425"/>
                  </a:lnTo>
                  <a:lnTo>
                    <a:pt x="683" y="422"/>
                  </a:lnTo>
                  <a:lnTo>
                    <a:pt x="680" y="417"/>
                  </a:lnTo>
                  <a:lnTo>
                    <a:pt x="680" y="414"/>
                  </a:lnTo>
                  <a:lnTo>
                    <a:pt x="683" y="414"/>
                  </a:lnTo>
                  <a:lnTo>
                    <a:pt x="685" y="411"/>
                  </a:lnTo>
                  <a:lnTo>
                    <a:pt x="685" y="411"/>
                  </a:lnTo>
                  <a:lnTo>
                    <a:pt x="688" y="411"/>
                  </a:lnTo>
                  <a:lnTo>
                    <a:pt x="691" y="419"/>
                  </a:lnTo>
                  <a:lnTo>
                    <a:pt x="693" y="425"/>
                  </a:lnTo>
                  <a:lnTo>
                    <a:pt x="693" y="427"/>
                  </a:lnTo>
                  <a:lnTo>
                    <a:pt x="693" y="430"/>
                  </a:lnTo>
                  <a:lnTo>
                    <a:pt x="691" y="433"/>
                  </a:lnTo>
                  <a:lnTo>
                    <a:pt x="691" y="435"/>
                  </a:lnTo>
                  <a:lnTo>
                    <a:pt x="685" y="438"/>
                  </a:lnTo>
                  <a:lnTo>
                    <a:pt x="685" y="441"/>
                  </a:lnTo>
                  <a:lnTo>
                    <a:pt x="685" y="443"/>
                  </a:lnTo>
                  <a:lnTo>
                    <a:pt x="685" y="443"/>
                  </a:lnTo>
                  <a:lnTo>
                    <a:pt x="683" y="446"/>
                  </a:lnTo>
                  <a:lnTo>
                    <a:pt x="683" y="446"/>
                  </a:lnTo>
                  <a:lnTo>
                    <a:pt x="683" y="449"/>
                  </a:lnTo>
                  <a:lnTo>
                    <a:pt x="683" y="449"/>
                  </a:lnTo>
                  <a:lnTo>
                    <a:pt x="680" y="451"/>
                  </a:lnTo>
                  <a:lnTo>
                    <a:pt x="677" y="454"/>
                  </a:lnTo>
                  <a:lnTo>
                    <a:pt x="677" y="459"/>
                  </a:lnTo>
                  <a:lnTo>
                    <a:pt x="677" y="462"/>
                  </a:lnTo>
                  <a:lnTo>
                    <a:pt x="675" y="462"/>
                  </a:lnTo>
                  <a:lnTo>
                    <a:pt x="675" y="465"/>
                  </a:lnTo>
                  <a:lnTo>
                    <a:pt x="675" y="465"/>
                  </a:lnTo>
                  <a:lnTo>
                    <a:pt x="675" y="467"/>
                  </a:lnTo>
                  <a:lnTo>
                    <a:pt x="675" y="465"/>
                  </a:lnTo>
                  <a:lnTo>
                    <a:pt x="677" y="465"/>
                  </a:lnTo>
                  <a:lnTo>
                    <a:pt x="677" y="467"/>
                  </a:lnTo>
                  <a:lnTo>
                    <a:pt x="675" y="467"/>
                  </a:lnTo>
                  <a:lnTo>
                    <a:pt x="672" y="470"/>
                  </a:lnTo>
                  <a:lnTo>
                    <a:pt x="669" y="470"/>
                  </a:lnTo>
                  <a:lnTo>
                    <a:pt x="672" y="470"/>
                  </a:lnTo>
                  <a:lnTo>
                    <a:pt x="675" y="473"/>
                  </a:lnTo>
                  <a:lnTo>
                    <a:pt x="675" y="473"/>
                  </a:lnTo>
                  <a:lnTo>
                    <a:pt x="677" y="473"/>
                  </a:lnTo>
                  <a:lnTo>
                    <a:pt x="675" y="473"/>
                  </a:lnTo>
                  <a:lnTo>
                    <a:pt x="669" y="473"/>
                  </a:lnTo>
                  <a:lnTo>
                    <a:pt x="667" y="473"/>
                  </a:lnTo>
                  <a:lnTo>
                    <a:pt x="667" y="475"/>
                  </a:lnTo>
                  <a:lnTo>
                    <a:pt x="667" y="475"/>
                  </a:lnTo>
                  <a:lnTo>
                    <a:pt x="667" y="475"/>
                  </a:lnTo>
                  <a:lnTo>
                    <a:pt x="669" y="475"/>
                  </a:lnTo>
                  <a:lnTo>
                    <a:pt x="669" y="475"/>
                  </a:lnTo>
                  <a:lnTo>
                    <a:pt x="669" y="475"/>
                  </a:lnTo>
                  <a:lnTo>
                    <a:pt x="669" y="475"/>
                  </a:lnTo>
                  <a:lnTo>
                    <a:pt x="669" y="478"/>
                  </a:lnTo>
                  <a:lnTo>
                    <a:pt x="669" y="478"/>
                  </a:lnTo>
                  <a:lnTo>
                    <a:pt x="669" y="481"/>
                  </a:lnTo>
                  <a:lnTo>
                    <a:pt x="667" y="478"/>
                  </a:lnTo>
                  <a:lnTo>
                    <a:pt x="664" y="478"/>
                  </a:lnTo>
                  <a:lnTo>
                    <a:pt x="661" y="478"/>
                  </a:lnTo>
                  <a:lnTo>
                    <a:pt x="661" y="475"/>
                  </a:lnTo>
                  <a:lnTo>
                    <a:pt x="659" y="473"/>
                  </a:lnTo>
                  <a:lnTo>
                    <a:pt x="659" y="473"/>
                  </a:lnTo>
                  <a:lnTo>
                    <a:pt x="659" y="475"/>
                  </a:lnTo>
                  <a:lnTo>
                    <a:pt x="661" y="481"/>
                  </a:lnTo>
                  <a:lnTo>
                    <a:pt x="664" y="481"/>
                  </a:lnTo>
                  <a:lnTo>
                    <a:pt x="667" y="483"/>
                  </a:lnTo>
                  <a:lnTo>
                    <a:pt x="672" y="483"/>
                  </a:lnTo>
                  <a:lnTo>
                    <a:pt x="677" y="486"/>
                  </a:lnTo>
                  <a:lnTo>
                    <a:pt x="680" y="486"/>
                  </a:lnTo>
                  <a:lnTo>
                    <a:pt x="680" y="489"/>
                  </a:lnTo>
                  <a:lnTo>
                    <a:pt x="683" y="494"/>
                  </a:lnTo>
                  <a:lnTo>
                    <a:pt x="685" y="499"/>
                  </a:lnTo>
                  <a:lnTo>
                    <a:pt x="688" y="502"/>
                  </a:lnTo>
                  <a:lnTo>
                    <a:pt x="685" y="502"/>
                  </a:lnTo>
                  <a:lnTo>
                    <a:pt x="685" y="502"/>
                  </a:lnTo>
                  <a:lnTo>
                    <a:pt x="685" y="502"/>
                  </a:lnTo>
                  <a:lnTo>
                    <a:pt x="685" y="502"/>
                  </a:lnTo>
                  <a:lnTo>
                    <a:pt x="685" y="502"/>
                  </a:lnTo>
                  <a:lnTo>
                    <a:pt x="685" y="505"/>
                  </a:lnTo>
                  <a:lnTo>
                    <a:pt x="688" y="507"/>
                  </a:lnTo>
                  <a:lnTo>
                    <a:pt x="688" y="510"/>
                  </a:lnTo>
                  <a:lnTo>
                    <a:pt x="691" y="513"/>
                  </a:lnTo>
                  <a:lnTo>
                    <a:pt x="693" y="513"/>
                  </a:lnTo>
                  <a:lnTo>
                    <a:pt x="691" y="510"/>
                  </a:lnTo>
                  <a:lnTo>
                    <a:pt x="693" y="510"/>
                  </a:lnTo>
                  <a:lnTo>
                    <a:pt x="693" y="513"/>
                  </a:lnTo>
                  <a:lnTo>
                    <a:pt x="696" y="513"/>
                  </a:lnTo>
                  <a:lnTo>
                    <a:pt x="696" y="516"/>
                  </a:lnTo>
                  <a:lnTo>
                    <a:pt x="696" y="516"/>
                  </a:lnTo>
                  <a:lnTo>
                    <a:pt x="693" y="516"/>
                  </a:lnTo>
                  <a:lnTo>
                    <a:pt x="693" y="513"/>
                  </a:lnTo>
                  <a:lnTo>
                    <a:pt x="693" y="516"/>
                  </a:lnTo>
                  <a:lnTo>
                    <a:pt x="699" y="521"/>
                  </a:lnTo>
                  <a:lnTo>
                    <a:pt x="702" y="526"/>
                  </a:lnTo>
                  <a:lnTo>
                    <a:pt x="715" y="548"/>
                  </a:lnTo>
                  <a:lnTo>
                    <a:pt x="718" y="550"/>
                  </a:lnTo>
                  <a:lnTo>
                    <a:pt x="718" y="550"/>
                  </a:lnTo>
                  <a:lnTo>
                    <a:pt x="718" y="550"/>
                  </a:lnTo>
                  <a:lnTo>
                    <a:pt x="720" y="550"/>
                  </a:lnTo>
                  <a:lnTo>
                    <a:pt x="718" y="550"/>
                  </a:lnTo>
                  <a:lnTo>
                    <a:pt x="718" y="545"/>
                  </a:lnTo>
                  <a:lnTo>
                    <a:pt x="715" y="545"/>
                  </a:lnTo>
                  <a:lnTo>
                    <a:pt x="720" y="548"/>
                  </a:lnTo>
                  <a:lnTo>
                    <a:pt x="726" y="558"/>
                  </a:lnTo>
                  <a:lnTo>
                    <a:pt x="728" y="561"/>
                  </a:lnTo>
                  <a:lnTo>
                    <a:pt x="731" y="561"/>
                  </a:lnTo>
                  <a:lnTo>
                    <a:pt x="731" y="561"/>
                  </a:lnTo>
                  <a:lnTo>
                    <a:pt x="734" y="561"/>
                  </a:lnTo>
                  <a:lnTo>
                    <a:pt x="734" y="561"/>
                  </a:lnTo>
                  <a:lnTo>
                    <a:pt x="736" y="561"/>
                  </a:lnTo>
                  <a:lnTo>
                    <a:pt x="736" y="561"/>
                  </a:lnTo>
                  <a:lnTo>
                    <a:pt x="736" y="561"/>
                  </a:lnTo>
                  <a:lnTo>
                    <a:pt x="739" y="561"/>
                  </a:lnTo>
                  <a:lnTo>
                    <a:pt x="739" y="561"/>
                  </a:lnTo>
                  <a:lnTo>
                    <a:pt x="739" y="561"/>
                  </a:lnTo>
                  <a:lnTo>
                    <a:pt x="739" y="561"/>
                  </a:lnTo>
                  <a:lnTo>
                    <a:pt x="742" y="561"/>
                  </a:lnTo>
                  <a:lnTo>
                    <a:pt x="742" y="564"/>
                  </a:lnTo>
                  <a:lnTo>
                    <a:pt x="742" y="561"/>
                  </a:lnTo>
                  <a:lnTo>
                    <a:pt x="742" y="561"/>
                  </a:lnTo>
                  <a:lnTo>
                    <a:pt x="742" y="558"/>
                  </a:lnTo>
                  <a:lnTo>
                    <a:pt x="742" y="558"/>
                  </a:lnTo>
                  <a:lnTo>
                    <a:pt x="744" y="561"/>
                  </a:lnTo>
                  <a:lnTo>
                    <a:pt x="744" y="564"/>
                  </a:lnTo>
                  <a:lnTo>
                    <a:pt x="747" y="564"/>
                  </a:lnTo>
                  <a:lnTo>
                    <a:pt x="747" y="561"/>
                  </a:lnTo>
                  <a:lnTo>
                    <a:pt x="747" y="558"/>
                  </a:lnTo>
                  <a:lnTo>
                    <a:pt x="744" y="553"/>
                  </a:lnTo>
                  <a:lnTo>
                    <a:pt x="742" y="548"/>
                  </a:lnTo>
                  <a:lnTo>
                    <a:pt x="742" y="548"/>
                  </a:lnTo>
                  <a:lnTo>
                    <a:pt x="739" y="548"/>
                  </a:lnTo>
                  <a:lnTo>
                    <a:pt x="736" y="542"/>
                  </a:lnTo>
                  <a:lnTo>
                    <a:pt x="736" y="542"/>
                  </a:lnTo>
                  <a:lnTo>
                    <a:pt x="734" y="542"/>
                  </a:lnTo>
                  <a:lnTo>
                    <a:pt x="734" y="542"/>
                  </a:lnTo>
                  <a:lnTo>
                    <a:pt x="728" y="537"/>
                  </a:lnTo>
                  <a:lnTo>
                    <a:pt x="728" y="537"/>
                  </a:lnTo>
                  <a:lnTo>
                    <a:pt x="726" y="534"/>
                  </a:lnTo>
                  <a:lnTo>
                    <a:pt x="728" y="534"/>
                  </a:lnTo>
                  <a:lnTo>
                    <a:pt x="731" y="537"/>
                  </a:lnTo>
                  <a:lnTo>
                    <a:pt x="734" y="540"/>
                  </a:lnTo>
                  <a:lnTo>
                    <a:pt x="736" y="540"/>
                  </a:lnTo>
                  <a:lnTo>
                    <a:pt x="739" y="540"/>
                  </a:lnTo>
                  <a:lnTo>
                    <a:pt x="739" y="540"/>
                  </a:lnTo>
                  <a:lnTo>
                    <a:pt x="739" y="542"/>
                  </a:lnTo>
                  <a:lnTo>
                    <a:pt x="742" y="542"/>
                  </a:lnTo>
                  <a:lnTo>
                    <a:pt x="744" y="545"/>
                  </a:lnTo>
                  <a:lnTo>
                    <a:pt x="744" y="545"/>
                  </a:lnTo>
                  <a:lnTo>
                    <a:pt x="744" y="542"/>
                  </a:lnTo>
                  <a:lnTo>
                    <a:pt x="747" y="542"/>
                  </a:lnTo>
                  <a:lnTo>
                    <a:pt x="747" y="542"/>
                  </a:lnTo>
                  <a:lnTo>
                    <a:pt x="747" y="540"/>
                  </a:lnTo>
                  <a:lnTo>
                    <a:pt x="750" y="540"/>
                  </a:lnTo>
                  <a:lnTo>
                    <a:pt x="752" y="540"/>
                  </a:lnTo>
                  <a:lnTo>
                    <a:pt x="755" y="537"/>
                  </a:lnTo>
                  <a:lnTo>
                    <a:pt x="760" y="534"/>
                  </a:lnTo>
                  <a:lnTo>
                    <a:pt x="763" y="532"/>
                  </a:lnTo>
                  <a:lnTo>
                    <a:pt x="763" y="532"/>
                  </a:lnTo>
                  <a:lnTo>
                    <a:pt x="763" y="537"/>
                  </a:lnTo>
                  <a:lnTo>
                    <a:pt x="763" y="537"/>
                  </a:lnTo>
                  <a:lnTo>
                    <a:pt x="760" y="537"/>
                  </a:lnTo>
                  <a:lnTo>
                    <a:pt x="758" y="540"/>
                  </a:lnTo>
                  <a:lnTo>
                    <a:pt x="752" y="542"/>
                  </a:lnTo>
                  <a:lnTo>
                    <a:pt x="750" y="545"/>
                  </a:lnTo>
                  <a:lnTo>
                    <a:pt x="752" y="548"/>
                  </a:lnTo>
                  <a:lnTo>
                    <a:pt x="755" y="550"/>
                  </a:lnTo>
                  <a:lnTo>
                    <a:pt x="755" y="550"/>
                  </a:lnTo>
                  <a:lnTo>
                    <a:pt x="758" y="550"/>
                  </a:lnTo>
                  <a:lnTo>
                    <a:pt x="758" y="556"/>
                  </a:lnTo>
                  <a:lnTo>
                    <a:pt x="758" y="558"/>
                  </a:lnTo>
                  <a:lnTo>
                    <a:pt x="758" y="574"/>
                  </a:lnTo>
                  <a:lnTo>
                    <a:pt x="758" y="577"/>
                  </a:lnTo>
                  <a:lnTo>
                    <a:pt x="758" y="580"/>
                  </a:lnTo>
                  <a:lnTo>
                    <a:pt x="763" y="585"/>
                  </a:lnTo>
                  <a:lnTo>
                    <a:pt x="763" y="585"/>
                  </a:lnTo>
                  <a:lnTo>
                    <a:pt x="763" y="590"/>
                  </a:lnTo>
                  <a:lnTo>
                    <a:pt x="763" y="590"/>
                  </a:lnTo>
                  <a:lnTo>
                    <a:pt x="763" y="593"/>
                  </a:lnTo>
                  <a:lnTo>
                    <a:pt x="766" y="596"/>
                  </a:lnTo>
                  <a:lnTo>
                    <a:pt x="766" y="598"/>
                  </a:lnTo>
                  <a:lnTo>
                    <a:pt x="768" y="598"/>
                  </a:lnTo>
                  <a:lnTo>
                    <a:pt x="771" y="596"/>
                  </a:lnTo>
                  <a:lnTo>
                    <a:pt x="771" y="593"/>
                  </a:lnTo>
                  <a:lnTo>
                    <a:pt x="774" y="596"/>
                  </a:lnTo>
                  <a:lnTo>
                    <a:pt x="774" y="596"/>
                  </a:lnTo>
                  <a:lnTo>
                    <a:pt x="776" y="593"/>
                  </a:lnTo>
                  <a:lnTo>
                    <a:pt x="776" y="593"/>
                  </a:lnTo>
                  <a:lnTo>
                    <a:pt x="776" y="593"/>
                  </a:lnTo>
                  <a:lnTo>
                    <a:pt x="779" y="582"/>
                  </a:lnTo>
                  <a:lnTo>
                    <a:pt x="782" y="580"/>
                  </a:lnTo>
                  <a:lnTo>
                    <a:pt x="784" y="574"/>
                  </a:lnTo>
                  <a:lnTo>
                    <a:pt x="787" y="572"/>
                  </a:lnTo>
                  <a:lnTo>
                    <a:pt x="787" y="569"/>
                  </a:lnTo>
                  <a:lnTo>
                    <a:pt x="790" y="569"/>
                  </a:lnTo>
                  <a:lnTo>
                    <a:pt x="792" y="566"/>
                  </a:lnTo>
                  <a:lnTo>
                    <a:pt x="795" y="566"/>
                  </a:lnTo>
                  <a:lnTo>
                    <a:pt x="795" y="569"/>
                  </a:lnTo>
                  <a:lnTo>
                    <a:pt x="795" y="569"/>
                  </a:lnTo>
                  <a:lnTo>
                    <a:pt x="792" y="572"/>
                  </a:lnTo>
                  <a:lnTo>
                    <a:pt x="792" y="572"/>
                  </a:lnTo>
                  <a:lnTo>
                    <a:pt x="790" y="572"/>
                  </a:lnTo>
                  <a:lnTo>
                    <a:pt x="790" y="572"/>
                  </a:lnTo>
                  <a:lnTo>
                    <a:pt x="790" y="574"/>
                  </a:lnTo>
                  <a:lnTo>
                    <a:pt x="787" y="574"/>
                  </a:lnTo>
                  <a:lnTo>
                    <a:pt x="784" y="580"/>
                  </a:lnTo>
                  <a:lnTo>
                    <a:pt x="782" y="582"/>
                  </a:lnTo>
                  <a:lnTo>
                    <a:pt x="784" y="585"/>
                  </a:lnTo>
                  <a:lnTo>
                    <a:pt x="782" y="590"/>
                  </a:lnTo>
                  <a:lnTo>
                    <a:pt x="779" y="593"/>
                  </a:lnTo>
                  <a:lnTo>
                    <a:pt x="776" y="598"/>
                  </a:lnTo>
                  <a:lnTo>
                    <a:pt x="776" y="598"/>
                  </a:lnTo>
                  <a:lnTo>
                    <a:pt x="776" y="598"/>
                  </a:lnTo>
                  <a:lnTo>
                    <a:pt x="774" y="598"/>
                  </a:lnTo>
                  <a:lnTo>
                    <a:pt x="774" y="598"/>
                  </a:lnTo>
                  <a:lnTo>
                    <a:pt x="771" y="598"/>
                  </a:lnTo>
                  <a:lnTo>
                    <a:pt x="771" y="598"/>
                  </a:lnTo>
                  <a:lnTo>
                    <a:pt x="771" y="598"/>
                  </a:lnTo>
                  <a:lnTo>
                    <a:pt x="771" y="601"/>
                  </a:lnTo>
                  <a:lnTo>
                    <a:pt x="771" y="604"/>
                  </a:lnTo>
                  <a:lnTo>
                    <a:pt x="771" y="604"/>
                  </a:lnTo>
                  <a:lnTo>
                    <a:pt x="774" y="604"/>
                  </a:lnTo>
                  <a:lnTo>
                    <a:pt x="774" y="604"/>
                  </a:lnTo>
                  <a:lnTo>
                    <a:pt x="774" y="604"/>
                  </a:lnTo>
                  <a:lnTo>
                    <a:pt x="776" y="604"/>
                  </a:lnTo>
                  <a:lnTo>
                    <a:pt x="782" y="606"/>
                  </a:lnTo>
                  <a:lnTo>
                    <a:pt x="784" y="604"/>
                  </a:lnTo>
                  <a:lnTo>
                    <a:pt x="787" y="604"/>
                  </a:lnTo>
                  <a:lnTo>
                    <a:pt x="787" y="606"/>
                  </a:lnTo>
                  <a:lnTo>
                    <a:pt x="787" y="606"/>
                  </a:lnTo>
                  <a:lnTo>
                    <a:pt x="787" y="606"/>
                  </a:lnTo>
                  <a:lnTo>
                    <a:pt x="790" y="604"/>
                  </a:lnTo>
                  <a:lnTo>
                    <a:pt x="787" y="601"/>
                  </a:lnTo>
                  <a:lnTo>
                    <a:pt x="787" y="598"/>
                  </a:lnTo>
                  <a:lnTo>
                    <a:pt x="787" y="601"/>
                  </a:lnTo>
                  <a:lnTo>
                    <a:pt x="792" y="604"/>
                  </a:lnTo>
                  <a:lnTo>
                    <a:pt x="792" y="606"/>
                  </a:lnTo>
                  <a:lnTo>
                    <a:pt x="795" y="609"/>
                  </a:lnTo>
                  <a:lnTo>
                    <a:pt x="795" y="617"/>
                  </a:lnTo>
                  <a:lnTo>
                    <a:pt x="795" y="617"/>
                  </a:lnTo>
                  <a:lnTo>
                    <a:pt x="795" y="617"/>
                  </a:lnTo>
                  <a:lnTo>
                    <a:pt x="792" y="617"/>
                  </a:lnTo>
                  <a:lnTo>
                    <a:pt x="795" y="620"/>
                  </a:lnTo>
                  <a:lnTo>
                    <a:pt x="800" y="625"/>
                  </a:lnTo>
                  <a:lnTo>
                    <a:pt x="800" y="625"/>
                  </a:lnTo>
                  <a:lnTo>
                    <a:pt x="800" y="628"/>
                  </a:lnTo>
                  <a:lnTo>
                    <a:pt x="800" y="630"/>
                  </a:lnTo>
                  <a:lnTo>
                    <a:pt x="803" y="641"/>
                  </a:lnTo>
                  <a:lnTo>
                    <a:pt x="806" y="652"/>
                  </a:lnTo>
                  <a:lnTo>
                    <a:pt x="808" y="652"/>
                  </a:lnTo>
                  <a:lnTo>
                    <a:pt x="806" y="649"/>
                  </a:lnTo>
                  <a:lnTo>
                    <a:pt x="806" y="649"/>
                  </a:lnTo>
                  <a:lnTo>
                    <a:pt x="806" y="646"/>
                  </a:lnTo>
                  <a:lnTo>
                    <a:pt x="808" y="646"/>
                  </a:lnTo>
                  <a:lnTo>
                    <a:pt x="811" y="654"/>
                  </a:lnTo>
                  <a:lnTo>
                    <a:pt x="814" y="660"/>
                  </a:lnTo>
                  <a:lnTo>
                    <a:pt x="816" y="660"/>
                  </a:lnTo>
                  <a:lnTo>
                    <a:pt x="816" y="662"/>
                  </a:lnTo>
                  <a:lnTo>
                    <a:pt x="816" y="665"/>
                  </a:lnTo>
                  <a:lnTo>
                    <a:pt x="819" y="665"/>
                  </a:lnTo>
                  <a:lnTo>
                    <a:pt x="819" y="665"/>
                  </a:lnTo>
                  <a:lnTo>
                    <a:pt x="822" y="665"/>
                  </a:lnTo>
                  <a:lnTo>
                    <a:pt x="824" y="665"/>
                  </a:lnTo>
                  <a:lnTo>
                    <a:pt x="827" y="665"/>
                  </a:lnTo>
                  <a:lnTo>
                    <a:pt x="827" y="668"/>
                  </a:lnTo>
                  <a:lnTo>
                    <a:pt x="824" y="668"/>
                  </a:lnTo>
                  <a:lnTo>
                    <a:pt x="824" y="670"/>
                  </a:lnTo>
                  <a:lnTo>
                    <a:pt x="824" y="670"/>
                  </a:lnTo>
                  <a:lnTo>
                    <a:pt x="822" y="670"/>
                  </a:lnTo>
                  <a:lnTo>
                    <a:pt x="819" y="670"/>
                  </a:lnTo>
                  <a:lnTo>
                    <a:pt x="819" y="668"/>
                  </a:lnTo>
                  <a:lnTo>
                    <a:pt x="816" y="670"/>
                  </a:lnTo>
                  <a:lnTo>
                    <a:pt x="819" y="673"/>
                  </a:lnTo>
                  <a:lnTo>
                    <a:pt x="819" y="676"/>
                  </a:lnTo>
                  <a:lnTo>
                    <a:pt x="822" y="676"/>
                  </a:lnTo>
                  <a:lnTo>
                    <a:pt x="822" y="676"/>
                  </a:lnTo>
                  <a:lnTo>
                    <a:pt x="822" y="676"/>
                  </a:lnTo>
                  <a:lnTo>
                    <a:pt x="822" y="676"/>
                  </a:lnTo>
                  <a:lnTo>
                    <a:pt x="822" y="676"/>
                  </a:lnTo>
                  <a:lnTo>
                    <a:pt x="822" y="676"/>
                  </a:lnTo>
                  <a:lnTo>
                    <a:pt x="824" y="673"/>
                  </a:lnTo>
                  <a:lnTo>
                    <a:pt x="824" y="673"/>
                  </a:lnTo>
                  <a:lnTo>
                    <a:pt x="824" y="673"/>
                  </a:lnTo>
                  <a:lnTo>
                    <a:pt x="824" y="673"/>
                  </a:lnTo>
                  <a:lnTo>
                    <a:pt x="827" y="673"/>
                  </a:lnTo>
                  <a:lnTo>
                    <a:pt x="827" y="673"/>
                  </a:lnTo>
                  <a:lnTo>
                    <a:pt x="830" y="673"/>
                  </a:lnTo>
                  <a:lnTo>
                    <a:pt x="830" y="673"/>
                  </a:lnTo>
                  <a:lnTo>
                    <a:pt x="830" y="670"/>
                  </a:lnTo>
                  <a:lnTo>
                    <a:pt x="832" y="668"/>
                  </a:lnTo>
                  <a:lnTo>
                    <a:pt x="832" y="670"/>
                  </a:lnTo>
                  <a:lnTo>
                    <a:pt x="835" y="670"/>
                  </a:lnTo>
                  <a:lnTo>
                    <a:pt x="835" y="670"/>
                  </a:lnTo>
                  <a:lnTo>
                    <a:pt x="838" y="670"/>
                  </a:lnTo>
                  <a:lnTo>
                    <a:pt x="838" y="673"/>
                  </a:lnTo>
                  <a:lnTo>
                    <a:pt x="838" y="673"/>
                  </a:lnTo>
                  <a:lnTo>
                    <a:pt x="838" y="673"/>
                  </a:lnTo>
                  <a:lnTo>
                    <a:pt x="838" y="673"/>
                  </a:lnTo>
                  <a:lnTo>
                    <a:pt x="838" y="673"/>
                  </a:lnTo>
                  <a:lnTo>
                    <a:pt x="840" y="673"/>
                  </a:lnTo>
                  <a:lnTo>
                    <a:pt x="840" y="670"/>
                  </a:lnTo>
                  <a:lnTo>
                    <a:pt x="840" y="670"/>
                  </a:lnTo>
                  <a:lnTo>
                    <a:pt x="843" y="673"/>
                  </a:lnTo>
                  <a:lnTo>
                    <a:pt x="846" y="673"/>
                  </a:lnTo>
                  <a:lnTo>
                    <a:pt x="848" y="673"/>
                  </a:lnTo>
                  <a:lnTo>
                    <a:pt x="848" y="676"/>
                  </a:lnTo>
                  <a:lnTo>
                    <a:pt x="851" y="673"/>
                  </a:lnTo>
                  <a:lnTo>
                    <a:pt x="851" y="673"/>
                  </a:lnTo>
                  <a:lnTo>
                    <a:pt x="854" y="676"/>
                  </a:lnTo>
                  <a:lnTo>
                    <a:pt x="856" y="676"/>
                  </a:lnTo>
                  <a:lnTo>
                    <a:pt x="856" y="676"/>
                  </a:lnTo>
                  <a:lnTo>
                    <a:pt x="862" y="676"/>
                  </a:lnTo>
                  <a:lnTo>
                    <a:pt x="862" y="678"/>
                  </a:lnTo>
                  <a:lnTo>
                    <a:pt x="867" y="678"/>
                  </a:lnTo>
                  <a:lnTo>
                    <a:pt x="870" y="681"/>
                  </a:lnTo>
                  <a:lnTo>
                    <a:pt x="872" y="684"/>
                  </a:lnTo>
                  <a:lnTo>
                    <a:pt x="872" y="686"/>
                  </a:lnTo>
                  <a:lnTo>
                    <a:pt x="870" y="689"/>
                  </a:lnTo>
                  <a:lnTo>
                    <a:pt x="870" y="689"/>
                  </a:lnTo>
                  <a:lnTo>
                    <a:pt x="872" y="692"/>
                  </a:lnTo>
                  <a:lnTo>
                    <a:pt x="872" y="692"/>
                  </a:lnTo>
                  <a:lnTo>
                    <a:pt x="875" y="695"/>
                  </a:lnTo>
                  <a:lnTo>
                    <a:pt x="875" y="695"/>
                  </a:lnTo>
                  <a:lnTo>
                    <a:pt x="878" y="695"/>
                  </a:lnTo>
                  <a:lnTo>
                    <a:pt x="880" y="695"/>
                  </a:lnTo>
                  <a:lnTo>
                    <a:pt x="880" y="697"/>
                  </a:lnTo>
                  <a:lnTo>
                    <a:pt x="883" y="700"/>
                  </a:lnTo>
                  <a:lnTo>
                    <a:pt x="883" y="700"/>
                  </a:lnTo>
                  <a:lnTo>
                    <a:pt x="883" y="703"/>
                  </a:lnTo>
                  <a:lnTo>
                    <a:pt x="886" y="705"/>
                  </a:lnTo>
                  <a:lnTo>
                    <a:pt x="888" y="713"/>
                  </a:lnTo>
                  <a:lnTo>
                    <a:pt x="891" y="713"/>
                  </a:lnTo>
                  <a:lnTo>
                    <a:pt x="891" y="713"/>
                  </a:lnTo>
                  <a:lnTo>
                    <a:pt x="894" y="713"/>
                  </a:lnTo>
                  <a:lnTo>
                    <a:pt x="896" y="713"/>
                  </a:lnTo>
                  <a:lnTo>
                    <a:pt x="896" y="713"/>
                  </a:lnTo>
                  <a:lnTo>
                    <a:pt x="896" y="716"/>
                  </a:lnTo>
                  <a:lnTo>
                    <a:pt x="896" y="716"/>
                  </a:lnTo>
                  <a:lnTo>
                    <a:pt x="894" y="719"/>
                  </a:lnTo>
                  <a:lnTo>
                    <a:pt x="894" y="721"/>
                  </a:lnTo>
                  <a:lnTo>
                    <a:pt x="899" y="724"/>
                  </a:lnTo>
                  <a:lnTo>
                    <a:pt x="902" y="729"/>
                  </a:lnTo>
                  <a:lnTo>
                    <a:pt x="902" y="732"/>
                  </a:lnTo>
                  <a:lnTo>
                    <a:pt x="904" y="735"/>
                  </a:lnTo>
                  <a:lnTo>
                    <a:pt x="904" y="735"/>
                  </a:lnTo>
                  <a:lnTo>
                    <a:pt x="904" y="737"/>
                  </a:lnTo>
                  <a:lnTo>
                    <a:pt x="912" y="740"/>
                  </a:lnTo>
                  <a:lnTo>
                    <a:pt x="918" y="740"/>
                  </a:lnTo>
                  <a:lnTo>
                    <a:pt x="918" y="740"/>
                  </a:lnTo>
                  <a:lnTo>
                    <a:pt x="920" y="740"/>
                  </a:lnTo>
                  <a:lnTo>
                    <a:pt x="926" y="740"/>
                  </a:lnTo>
                  <a:lnTo>
                    <a:pt x="928" y="743"/>
                  </a:lnTo>
                  <a:lnTo>
                    <a:pt x="936" y="748"/>
                  </a:lnTo>
                  <a:lnTo>
                    <a:pt x="936" y="751"/>
                  </a:lnTo>
                  <a:lnTo>
                    <a:pt x="936" y="753"/>
                  </a:lnTo>
                  <a:lnTo>
                    <a:pt x="934" y="756"/>
                  </a:lnTo>
                  <a:lnTo>
                    <a:pt x="931" y="756"/>
                  </a:lnTo>
                  <a:lnTo>
                    <a:pt x="928" y="759"/>
                  </a:lnTo>
                  <a:lnTo>
                    <a:pt x="926" y="756"/>
                  </a:lnTo>
                  <a:lnTo>
                    <a:pt x="926" y="756"/>
                  </a:lnTo>
                  <a:lnTo>
                    <a:pt x="928" y="756"/>
                  </a:lnTo>
                  <a:lnTo>
                    <a:pt x="928" y="756"/>
                  </a:lnTo>
                  <a:lnTo>
                    <a:pt x="928" y="756"/>
                  </a:lnTo>
                  <a:lnTo>
                    <a:pt x="928" y="753"/>
                  </a:lnTo>
                  <a:lnTo>
                    <a:pt x="918" y="751"/>
                  </a:lnTo>
                  <a:lnTo>
                    <a:pt x="918" y="751"/>
                  </a:lnTo>
                  <a:lnTo>
                    <a:pt x="915" y="751"/>
                  </a:lnTo>
                  <a:lnTo>
                    <a:pt x="912" y="745"/>
                  </a:lnTo>
                  <a:lnTo>
                    <a:pt x="912" y="745"/>
                  </a:lnTo>
                  <a:lnTo>
                    <a:pt x="910" y="745"/>
                  </a:lnTo>
                  <a:lnTo>
                    <a:pt x="910" y="743"/>
                  </a:lnTo>
                  <a:lnTo>
                    <a:pt x="907" y="743"/>
                  </a:lnTo>
                  <a:lnTo>
                    <a:pt x="907" y="743"/>
                  </a:lnTo>
                  <a:lnTo>
                    <a:pt x="907" y="743"/>
                  </a:lnTo>
                  <a:lnTo>
                    <a:pt x="904" y="748"/>
                  </a:lnTo>
                  <a:lnTo>
                    <a:pt x="904" y="753"/>
                  </a:lnTo>
                  <a:lnTo>
                    <a:pt x="904" y="759"/>
                  </a:lnTo>
                  <a:lnTo>
                    <a:pt x="907" y="764"/>
                  </a:lnTo>
                  <a:lnTo>
                    <a:pt x="910" y="767"/>
                  </a:lnTo>
                  <a:lnTo>
                    <a:pt x="918" y="772"/>
                  </a:lnTo>
                  <a:lnTo>
                    <a:pt x="918" y="772"/>
                  </a:lnTo>
                  <a:lnTo>
                    <a:pt x="926" y="769"/>
                  </a:lnTo>
                  <a:lnTo>
                    <a:pt x="928" y="767"/>
                  </a:lnTo>
                  <a:lnTo>
                    <a:pt x="934" y="767"/>
                  </a:lnTo>
                  <a:lnTo>
                    <a:pt x="939" y="764"/>
                  </a:lnTo>
                  <a:lnTo>
                    <a:pt x="942" y="764"/>
                  </a:lnTo>
                  <a:lnTo>
                    <a:pt x="942" y="761"/>
                  </a:lnTo>
                  <a:lnTo>
                    <a:pt x="944" y="761"/>
                  </a:lnTo>
                  <a:lnTo>
                    <a:pt x="947" y="759"/>
                  </a:lnTo>
                  <a:lnTo>
                    <a:pt x="950" y="759"/>
                  </a:lnTo>
                  <a:lnTo>
                    <a:pt x="952" y="759"/>
                  </a:lnTo>
                  <a:lnTo>
                    <a:pt x="952" y="761"/>
                  </a:lnTo>
                  <a:lnTo>
                    <a:pt x="952" y="761"/>
                  </a:lnTo>
                  <a:lnTo>
                    <a:pt x="952" y="761"/>
                  </a:lnTo>
                  <a:lnTo>
                    <a:pt x="955" y="761"/>
                  </a:lnTo>
                  <a:lnTo>
                    <a:pt x="955" y="761"/>
                  </a:lnTo>
                  <a:lnTo>
                    <a:pt x="955" y="759"/>
                  </a:lnTo>
                  <a:lnTo>
                    <a:pt x="955" y="761"/>
                  </a:lnTo>
                  <a:lnTo>
                    <a:pt x="955" y="761"/>
                  </a:lnTo>
                  <a:lnTo>
                    <a:pt x="958" y="761"/>
                  </a:lnTo>
                  <a:lnTo>
                    <a:pt x="958" y="761"/>
                  </a:lnTo>
                  <a:lnTo>
                    <a:pt x="958" y="761"/>
                  </a:lnTo>
                  <a:lnTo>
                    <a:pt x="958" y="761"/>
                  </a:lnTo>
                  <a:lnTo>
                    <a:pt x="958" y="759"/>
                  </a:lnTo>
                  <a:lnTo>
                    <a:pt x="958" y="759"/>
                  </a:lnTo>
                  <a:lnTo>
                    <a:pt x="960" y="761"/>
                  </a:lnTo>
                  <a:lnTo>
                    <a:pt x="963" y="761"/>
                  </a:lnTo>
                  <a:lnTo>
                    <a:pt x="963" y="761"/>
                  </a:lnTo>
                  <a:lnTo>
                    <a:pt x="966" y="759"/>
                  </a:lnTo>
                  <a:lnTo>
                    <a:pt x="968" y="756"/>
                  </a:lnTo>
                  <a:lnTo>
                    <a:pt x="968" y="756"/>
                  </a:lnTo>
                  <a:lnTo>
                    <a:pt x="971" y="756"/>
                  </a:lnTo>
                  <a:lnTo>
                    <a:pt x="971" y="756"/>
                  </a:lnTo>
                  <a:lnTo>
                    <a:pt x="974" y="756"/>
                  </a:lnTo>
                  <a:lnTo>
                    <a:pt x="971" y="756"/>
                  </a:lnTo>
                  <a:lnTo>
                    <a:pt x="971" y="753"/>
                  </a:lnTo>
                  <a:lnTo>
                    <a:pt x="971" y="753"/>
                  </a:lnTo>
                  <a:lnTo>
                    <a:pt x="971" y="753"/>
                  </a:lnTo>
                  <a:lnTo>
                    <a:pt x="976" y="751"/>
                  </a:lnTo>
                  <a:lnTo>
                    <a:pt x="976" y="751"/>
                  </a:lnTo>
                  <a:lnTo>
                    <a:pt x="976" y="751"/>
                  </a:lnTo>
                  <a:lnTo>
                    <a:pt x="976" y="751"/>
                  </a:lnTo>
                  <a:lnTo>
                    <a:pt x="976" y="751"/>
                  </a:lnTo>
                  <a:lnTo>
                    <a:pt x="976" y="751"/>
                  </a:lnTo>
                  <a:lnTo>
                    <a:pt x="979" y="751"/>
                  </a:lnTo>
                  <a:lnTo>
                    <a:pt x="979" y="745"/>
                  </a:lnTo>
                  <a:lnTo>
                    <a:pt x="979" y="743"/>
                  </a:lnTo>
                  <a:lnTo>
                    <a:pt x="982" y="743"/>
                  </a:lnTo>
                  <a:lnTo>
                    <a:pt x="987" y="743"/>
                  </a:lnTo>
                  <a:lnTo>
                    <a:pt x="987" y="740"/>
                  </a:lnTo>
                  <a:lnTo>
                    <a:pt x="990" y="743"/>
                  </a:lnTo>
                  <a:lnTo>
                    <a:pt x="990" y="743"/>
                  </a:lnTo>
                  <a:lnTo>
                    <a:pt x="990" y="743"/>
                  </a:lnTo>
                  <a:lnTo>
                    <a:pt x="987" y="743"/>
                  </a:lnTo>
                  <a:lnTo>
                    <a:pt x="987" y="743"/>
                  </a:lnTo>
                  <a:lnTo>
                    <a:pt x="987" y="745"/>
                  </a:lnTo>
                  <a:lnTo>
                    <a:pt x="987" y="745"/>
                  </a:lnTo>
                  <a:lnTo>
                    <a:pt x="987" y="745"/>
                  </a:lnTo>
                  <a:lnTo>
                    <a:pt x="990" y="745"/>
                  </a:lnTo>
                  <a:lnTo>
                    <a:pt x="990" y="748"/>
                  </a:lnTo>
                  <a:lnTo>
                    <a:pt x="990" y="748"/>
                  </a:lnTo>
                  <a:lnTo>
                    <a:pt x="992" y="745"/>
                  </a:lnTo>
                  <a:lnTo>
                    <a:pt x="995" y="745"/>
                  </a:lnTo>
                  <a:lnTo>
                    <a:pt x="998" y="748"/>
                  </a:lnTo>
                  <a:lnTo>
                    <a:pt x="998" y="751"/>
                  </a:lnTo>
                  <a:lnTo>
                    <a:pt x="998" y="751"/>
                  </a:lnTo>
                  <a:lnTo>
                    <a:pt x="998" y="748"/>
                  </a:lnTo>
                  <a:lnTo>
                    <a:pt x="995" y="745"/>
                  </a:lnTo>
                  <a:lnTo>
                    <a:pt x="992" y="745"/>
                  </a:lnTo>
                  <a:lnTo>
                    <a:pt x="990" y="745"/>
                  </a:lnTo>
                  <a:lnTo>
                    <a:pt x="992" y="743"/>
                  </a:lnTo>
                  <a:lnTo>
                    <a:pt x="995" y="740"/>
                  </a:lnTo>
                  <a:lnTo>
                    <a:pt x="995" y="740"/>
                  </a:lnTo>
                  <a:lnTo>
                    <a:pt x="995" y="743"/>
                  </a:lnTo>
                  <a:lnTo>
                    <a:pt x="998" y="743"/>
                  </a:lnTo>
                  <a:lnTo>
                    <a:pt x="1000" y="745"/>
                  </a:lnTo>
                  <a:lnTo>
                    <a:pt x="1003" y="748"/>
                  </a:lnTo>
                  <a:lnTo>
                    <a:pt x="1003" y="745"/>
                  </a:lnTo>
                  <a:lnTo>
                    <a:pt x="1000" y="745"/>
                  </a:lnTo>
                  <a:lnTo>
                    <a:pt x="1000" y="743"/>
                  </a:lnTo>
                  <a:lnTo>
                    <a:pt x="1000" y="740"/>
                  </a:lnTo>
                  <a:lnTo>
                    <a:pt x="1000" y="740"/>
                  </a:lnTo>
                  <a:lnTo>
                    <a:pt x="1000" y="735"/>
                  </a:lnTo>
                  <a:lnTo>
                    <a:pt x="1000" y="735"/>
                  </a:lnTo>
                  <a:lnTo>
                    <a:pt x="1000" y="735"/>
                  </a:lnTo>
                  <a:lnTo>
                    <a:pt x="1000" y="732"/>
                  </a:lnTo>
                  <a:lnTo>
                    <a:pt x="1006" y="724"/>
                  </a:lnTo>
                  <a:lnTo>
                    <a:pt x="1011" y="721"/>
                  </a:lnTo>
                  <a:lnTo>
                    <a:pt x="1011" y="719"/>
                  </a:lnTo>
                  <a:lnTo>
                    <a:pt x="1008" y="719"/>
                  </a:lnTo>
                  <a:lnTo>
                    <a:pt x="1006" y="716"/>
                  </a:lnTo>
                  <a:lnTo>
                    <a:pt x="1006" y="716"/>
                  </a:lnTo>
                  <a:lnTo>
                    <a:pt x="1006" y="713"/>
                  </a:lnTo>
                  <a:lnTo>
                    <a:pt x="1006" y="711"/>
                  </a:lnTo>
                  <a:lnTo>
                    <a:pt x="1006" y="711"/>
                  </a:lnTo>
                  <a:lnTo>
                    <a:pt x="1006" y="711"/>
                  </a:lnTo>
                  <a:lnTo>
                    <a:pt x="1006" y="708"/>
                  </a:lnTo>
                  <a:lnTo>
                    <a:pt x="1003" y="705"/>
                  </a:lnTo>
                  <a:lnTo>
                    <a:pt x="1003" y="703"/>
                  </a:lnTo>
                  <a:lnTo>
                    <a:pt x="1003" y="700"/>
                  </a:lnTo>
                  <a:lnTo>
                    <a:pt x="1006" y="697"/>
                  </a:lnTo>
                  <a:lnTo>
                    <a:pt x="1006" y="695"/>
                  </a:lnTo>
                  <a:lnTo>
                    <a:pt x="1006" y="689"/>
                  </a:lnTo>
                  <a:lnTo>
                    <a:pt x="1006" y="686"/>
                  </a:lnTo>
                  <a:lnTo>
                    <a:pt x="1008" y="681"/>
                  </a:lnTo>
                  <a:lnTo>
                    <a:pt x="1008" y="676"/>
                  </a:lnTo>
                  <a:lnTo>
                    <a:pt x="1008" y="670"/>
                  </a:lnTo>
                  <a:lnTo>
                    <a:pt x="1008" y="670"/>
                  </a:lnTo>
                  <a:lnTo>
                    <a:pt x="1011" y="668"/>
                  </a:lnTo>
                  <a:lnTo>
                    <a:pt x="1011" y="668"/>
                  </a:lnTo>
                  <a:lnTo>
                    <a:pt x="1014" y="668"/>
                  </a:lnTo>
                  <a:lnTo>
                    <a:pt x="1014" y="668"/>
                  </a:lnTo>
                  <a:lnTo>
                    <a:pt x="1016" y="665"/>
                  </a:lnTo>
                  <a:lnTo>
                    <a:pt x="1014" y="660"/>
                  </a:lnTo>
                  <a:lnTo>
                    <a:pt x="1016" y="654"/>
                  </a:lnTo>
                  <a:lnTo>
                    <a:pt x="1016" y="649"/>
                  </a:lnTo>
                  <a:lnTo>
                    <a:pt x="1019" y="644"/>
                  </a:lnTo>
                  <a:lnTo>
                    <a:pt x="1019" y="644"/>
                  </a:lnTo>
                  <a:lnTo>
                    <a:pt x="1019" y="644"/>
                  </a:lnTo>
                  <a:lnTo>
                    <a:pt x="1022" y="649"/>
                  </a:lnTo>
                  <a:lnTo>
                    <a:pt x="1022" y="654"/>
                  </a:lnTo>
                  <a:lnTo>
                    <a:pt x="1022" y="660"/>
                  </a:lnTo>
                  <a:lnTo>
                    <a:pt x="1024" y="660"/>
                  </a:lnTo>
                  <a:lnTo>
                    <a:pt x="1019" y="620"/>
                  </a:lnTo>
                  <a:lnTo>
                    <a:pt x="1016" y="617"/>
                  </a:lnTo>
                  <a:close/>
                  <a:moveTo>
                    <a:pt x="894" y="288"/>
                  </a:moveTo>
                  <a:lnTo>
                    <a:pt x="894" y="286"/>
                  </a:lnTo>
                  <a:lnTo>
                    <a:pt x="891" y="280"/>
                  </a:lnTo>
                  <a:lnTo>
                    <a:pt x="891" y="280"/>
                  </a:lnTo>
                  <a:lnTo>
                    <a:pt x="888" y="283"/>
                  </a:lnTo>
                  <a:lnTo>
                    <a:pt x="886" y="286"/>
                  </a:lnTo>
                  <a:lnTo>
                    <a:pt x="883" y="286"/>
                  </a:lnTo>
                  <a:lnTo>
                    <a:pt x="883" y="288"/>
                  </a:lnTo>
                  <a:lnTo>
                    <a:pt x="883" y="291"/>
                  </a:lnTo>
                  <a:lnTo>
                    <a:pt x="880" y="291"/>
                  </a:lnTo>
                  <a:lnTo>
                    <a:pt x="880" y="294"/>
                  </a:lnTo>
                  <a:lnTo>
                    <a:pt x="880" y="299"/>
                  </a:lnTo>
                  <a:lnTo>
                    <a:pt x="883" y="302"/>
                  </a:lnTo>
                  <a:lnTo>
                    <a:pt x="886" y="312"/>
                  </a:lnTo>
                  <a:lnTo>
                    <a:pt x="886" y="315"/>
                  </a:lnTo>
                  <a:lnTo>
                    <a:pt x="888" y="318"/>
                  </a:lnTo>
                  <a:lnTo>
                    <a:pt x="896" y="331"/>
                  </a:lnTo>
                  <a:lnTo>
                    <a:pt x="899" y="334"/>
                  </a:lnTo>
                  <a:lnTo>
                    <a:pt x="896" y="331"/>
                  </a:lnTo>
                  <a:lnTo>
                    <a:pt x="896" y="328"/>
                  </a:lnTo>
                  <a:lnTo>
                    <a:pt x="894" y="326"/>
                  </a:lnTo>
                  <a:lnTo>
                    <a:pt x="894" y="326"/>
                  </a:lnTo>
                  <a:lnTo>
                    <a:pt x="894" y="323"/>
                  </a:lnTo>
                  <a:lnTo>
                    <a:pt x="894" y="320"/>
                  </a:lnTo>
                  <a:lnTo>
                    <a:pt x="891" y="304"/>
                  </a:lnTo>
                  <a:lnTo>
                    <a:pt x="891" y="299"/>
                  </a:lnTo>
                  <a:lnTo>
                    <a:pt x="894" y="288"/>
                  </a:lnTo>
                  <a:close/>
                  <a:moveTo>
                    <a:pt x="899" y="337"/>
                  </a:moveTo>
                  <a:lnTo>
                    <a:pt x="902" y="337"/>
                  </a:lnTo>
                  <a:lnTo>
                    <a:pt x="902" y="339"/>
                  </a:lnTo>
                  <a:lnTo>
                    <a:pt x="902" y="339"/>
                  </a:lnTo>
                  <a:lnTo>
                    <a:pt x="902" y="339"/>
                  </a:lnTo>
                  <a:lnTo>
                    <a:pt x="902" y="339"/>
                  </a:lnTo>
                  <a:lnTo>
                    <a:pt x="902" y="337"/>
                  </a:lnTo>
                  <a:lnTo>
                    <a:pt x="899" y="334"/>
                  </a:lnTo>
                  <a:lnTo>
                    <a:pt x="899" y="334"/>
                  </a:lnTo>
                  <a:lnTo>
                    <a:pt x="899" y="334"/>
                  </a:lnTo>
                  <a:lnTo>
                    <a:pt x="899" y="337"/>
                  </a:lnTo>
                  <a:close/>
                  <a:moveTo>
                    <a:pt x="939" y="393"/>
                  </a:moveTo>
                  <a:lnTo>
                    <a:pt x="942" y="395"/>
                  </a:lnTo>
                  <a:lnTo>
                    <a:pt x="942" y="398"/>
                  </a:lnTo>
                  <a:lnTo>
                    <a:pt x="944" y="398"/>
                  </a:lnTo>
                  <a:lnTo>
                    <a:pt x="944" y="401"/>
                  </a:lnTo>
                  <a:lnTo>
                    <a:pt x="947" y="406"/>
                  </a:lnTo>
                  <a:lnTo>
                    <a:pt x="947" y="409"/>
                  </a:lnTo>
                  <a:lnTo>
                    <a:pt x="950" y="409"/>
                  </a:lnTo>
                  <a:lnTo>
                    <a:pt x="950" y="411"/>
                  </a:lnTo>
                  <a:lnTo>
                    <a:pt x="958" y="433"/>
                  </a:lnTo>
                  <a:lnTo>
                    <a:pt x="960" y="435"/>
                  </a:lnTo>
                  <a:lnTo>
                    <a:pt x="963" y="438"/>
                  </a:lnTo>
                  <a:lnTo>
                    <a:pt x="963" y="438"/>
                  </a:lnTo>
                  <a:lnTo>
                    <a:pt x="963" y="438"/>
                  </a:lnTo>
                  <a:lnTo>
                    <a:pt x="966" y="441"/>
                  </a:lnTo>
                  <a:lnTo>
                    <a:pt x="966" y="441"/>
                  </a:lnTo>
                  <a:lnTo>
                    <a:pt x="976" y="457"/>
                  </a:lnTo>
                  <a:lnTo>
                    <a:pt x="979" y="462"/>
                  </a:lnTo>
                  <a:lnTo>
                    <a:pt x="982" y="465"/>
                  </a:lnTo>
                  <a:lnTo>
                    <a:pt x="984" y="467"/>
                  </a:lnTo>
                  <a:lnTo>
                    <a:pt x="984" y="467"/>
                  </a:lnTo>
                  <a:lnTo>
                    <a:pt x="984" y="467"/>
                  </a:lnTo>
                  <a:lnTo>
                    <a:pt x="982" y="465"/>
                  </a:lnTo>
                  <a:lnTo>
                    <a:pt x="952" y="411"/>
                  </a:lnTo>
                  <a:lnTo>
                    <a:pt x="950" y="409"/>
                  </a:lnTo>
                  <a:lnTo>
                    <a:pt x="950" y="406"/>
                  </a:lnTo>
                  <a:lnTo>
                    <a:pt x="950" y="403"/>
                  </a:lnTo>
                  <a:lnTo>
                    <a:pt x="947" y="401"/>
                  </a:lnTo>
                  <a:lnTo>
                    <a:pt x="939" y="393"/>
                  </a:lnTo>
                  <a:lnTo>
                    <a:pt x="936" y="387"/>
                  </a:lnTo>
                  <a:lnTo>
                    <a:pt x="934" y="382"/>
                  </a:lnTo>
                  <a:lnTo>
                    <a:pt x="934" y="379"/>
                  </a:lnTo>
                  <a:lnTo>
                    <a:pt x="934" y="379"/>
                  </a:lnTo>
                  <a:lnTo>
                    <a:pt x="934" y="379"/>
                  </a:lnTo>
                  <a:lnTo>
                    <a:pt x="934" y="379"/>
                  </a:lnTo>
                  <a:lnTo>
                    <a:pt x="934" y="379"/>
                  </a:lnTo>
                  <a:lnTo>
                    <a:pt x="934" y="379"/>
                  </a:lnTo>
                  <a:lnTo>
                    <a:pt x="934" y="379"/>
                  </a:lnTo>
                  <a:lnTo>
                    <a:pt x="931" y="379"/>
                  </a:lnTo>
                  <a:lnTo>
                    <a:pt x="931" y="379"/>
                  </a:lnTo>
                  <a:lnTo>
                    <a:pt x="934" y="385"/>
                  </a:lnTo>
                  <a:lnTo>
                    <a:pt x="939" y="393"/>
                  </a:lnTo>
                  <a:close/>
                  <a:moveTo>
                    <a:pt x="1024" y="919"/>
                  </a:moveTo>
                  <a:lnTo>
                    <a:pt x="1027" y="919"/>
                  </a:lnTo>
                  <a:lnTo>
                    <a:pt x="1027" y="919"/>
                  </a:lnTo>
                  <a:lnTo>
                    <a:pt x="1027" y="919"/>
                  </a:lnTo>
                  <a:lnTo>
                    <a:pt x="1024" y="919"/>
                  </a:lnTo>
                  <a:close/>
                  <a:moveTo>
                    <a:pt x="1038" y="914"/>
                  </a:moveTo>
                  <a:lnTo>
                    <a:pt x="1038" y="911"/>
                  </a:lnTo>
                  <a:lnTo>
                    <a:pt x="1038" y="911"/>
                  </a:lnTo>
                  <a:lnTo>
                    <a:pt x="1038" y="914"/>
                  </a:lnTo>
                  <a:close/>
                  <a:moveTo>
                    <a:pt x="1040" y="911"/>
                  </a:moveTo>
                  <a:lnTo>
                    <a:pt x="1040" y="911"/>
                  </a:lnTo>
                  <a:lnTo>
                    <a:pt x="1040" y="911"/>
                  </a:lnTo>
                  <a:lnTo>
                    <a:pt x="1040" y="911"/>
                  </a:lnTo>
                  <a:close/>
                  <a:moveTo>
                    <a:pt x="1046" y="906"/>
                  </a:moveTo>
                  <a:lnTo>
                    <a:pt x="1048" y="906"/>
                  </a:lnTo>
                  <a:lnTo>
                    <a:pt x="1046" y="906"/>
                  </a:lnTo>
                  <a:lnTo>
                    <a:pt x="1046" y="906"/>
                  </a:lnTo>
                  <a:close/>
                  <a:moveTo>
                    <a:pt x="1051" y="906"/>
                  </a:moveTo>
                  <a:lnTo>
                    <a:pt x="1051" y="906"/>
                  </a:lnTo>
                  <a:lnTo>
                    <a:pt x="1051" y="906"/>
                  </a:lnTo>
                  <a:lnTo>
                    <a:pt x="1051" y="906"/>
                  </a:lnTo>
                  <a:close/>
                  <a:moveTo>
                    <a:pt x="643" y="318"/>
                  </a:moveTo>
                  <a:lnTo>
                    <a:pt x="643" y="318"/>
                  </a:lnTo>
                  <a:lnTo>
                    <a:pt x="643" y="318"/>
                  </a:lnTo>
                  <a:lnTo>
                    <a:pt x="643" y="318"/>
                  </a:lnTo>
                  <a:lnTo>
                    <a:pt x="643" y="318"/>
                  </a:lnTo>
                  <a:lnTo>
                    <a:pt x="643" y="318"/>
                  </a:lnTo>
                  <a:lnTo>
                    <a:pt x="643" y="318"/>
                  </a:lnTo>
                  <a:lnTo>
                    <a:pt x="643" y="318"/>
                  </a:lnTo>
                  <a:lnTo>
                    <a:pt x="643" y="318"/>
                  </a:lnTo>
                  <a:lnTo>
                    <a:pt x="643" y="318"/>
                  </a:lnTo>
                  <a:close/>
                  <a:moveTo>
                    <a:pt x="640" y="286"/>
                  </a:moveTo>
                  <a:lnTo>
                    <a:pt x="640" y="286"/>
                  </a:lnTo>
                  <a:lnTo>
                    <a:pt x="640" y="286"/>
                  </a:lnTo>
                  <a:lnTo>
                    <a:pt x="640" y="286"/>
                  </a:lnTo>
                  <a:lnTo>
                    <a:pt x="640" y="286"/>
                  </a:lnTo>
                  <a:lnTo>
                    <a:pt x="640" y="286"/>
                  </a:lnTo>
                  <a:lnTo>
                    <a:pt x="640" y="286"/>
                  </a:lnTo>
                  <a:lnTo>
                    <a:pt x="640" y="283"/>
                  </a:lnTo>
                  <a:lnTo>
                    <a:pt x="640" y="283"/>
                  </a:lnTo>
                  <a:lnTo>
                    <a:pt x="637" y="283"/>
                  </a:lnTo>
                  <a:lnTo>
                    <a:pt x="637" y="283"/>
                  </a:lnTo>
                  <a:lnTo>
                    <a:pt x="637" y="283"/>
                  </a:lnTo>
                  <a:lnTo>
                    <a:pt x="637" y="286"/>
                  </a:lnTo>
                  <a:lnTo>
                    <a:pt x="640" y="286"/>
                  </a:lnTo>
                  <a:close/>
                  <a:moveTo>
                    <a:pt x="640" y="302"/>
                  </a:moveTo>
                  <a:lnTo>
                    <a:pt x="640" y="302"/>
                  </a:lnTo>
                  <a:lnTo>
                    <a:pt x="640" y="302"/>
                  </a:lnTo>
                  <a:lnTo>
                    <a:pt x="643" y="302"/>
                  </a:lnTo>
                  <a:lnTo>
                    <a:pt x="643" y="302"/>
                  </a:lnTo>
                  <a:lnTo>
                    <a:pt x="640" y="302"/>
                  </a:lnTo>
                  <a:close/>
                  <a:moveTo>
                    <a:pt x="637" y="304"/>
                  </a:moveTo>
                  <a:lnTo>
                    <a:pt x="637" y="304"/>
                  </a:lnTo>
                  <a:lnTo>
                    <a:pt x="637" y="304"/>
                  </a:lnTo>
                  <a:lnTo>
                    <a:pt x="637" y="304"/>
                  </a:lnTo>
                  <a:lnTo>
                    <a:pt x="637" y="304"/>
                  </a:lnTo>
                  <a:lnTo>
                    <a:pt x="637" y="304"/>
                  </a:lnTo>
                  <a:lnTo>
                    <a:pt x="637" y="304"/>
                  </a:lnTo>
                  <a:lnTo>
                    <a:pt x="637" y="304"/>
                  </a:lnTo>
                  <a:lnTo>
                    <a:pt x="637" y="304"/>
                  </a:lnTo>
                  <a:lnTo>
                    <a:pt x="637" y="307"/>
                  </a:lnTo>
                  <a:lnTo>
                    <a:pt x="637" y="307"/>
                  </a:lnTo>
                  <a:lnTo>
                    <a:pt x="640" y="307"/>
                  </a:lnTo>
                  <a:lnTo>
                    <a:pt x="640" y="307"/>
                  </a:lnTo>
                  <a:lnTo>
                    <a:pt x="640" y="307"/>
                  </a:lnTo>
                  <a:lnTo>
                    <a:pt x="640" y="304"/>
                  </a:lnTo>
                  <a:lnTo>
                    <a:pt x="640" y="304"/>
                  </a:lnTo>
                  <a:lnTo>
                    <a:pt x="640" y="304"/>
                  </a:lnTo>
                  <a:lnTo>
                    <a:pt x="637" y="304"/>
                  </a:lnTo>
                  <a:close/>
                  <a:moveTo>
                    <a:pt x="640" y="310"/>
                  </a:moveTo>
                  <a:lnTo>
                    <a:pt x="640" y="307"/>
                  </a:lnTo>
                  <a:lnTo>
                    <a:pt x="640" y="310"/>
                  </a:lnTo>
                  <a:lnTo>
                    <a:pt x="640" y="310"/>
                  </a:lnTo>
                  <a:lnTo>
                    <a:pt x="640" y="310"/>
                  </a:lnTo>
                  <a:close/>
                  <a:moveTo>
                    <a:pt x="637" y="296"/>
                  </a:moveTo>
                  <a:lnTo>
                    <a:pt x="637" y="296"/>
                  </a:lnTo>
                  <a:lnTo>
                    <a:pt x="635" y="296"/>
                  </a:lnTo>
                  <a:lnTo>
                    <a:pt x="635" y="299"/>
                  </a:lnTo>
                  <a:lnTo>
                    <a:pt x="635" y="299"/>
                  </a:lnTo>
                  <a:lnTo>
                    <a:pt x="637" y="299"/>
                  </a:lnTo>
                  <a:lnTo>
                    <a:pt x="637" y="299"/>
                  </a:lnTo>
                  <a:lnTo>
                    <a:pt x="635" y="299"/>
                  </a:lnTo>
                  <a:lnTo>
                    <a:pt x="635" y="302"/>
                  </a:lnTo>
                  <a:lnTo>
                    <a:pt x="637" y="302"/>
                  </a:lnTo>
                  <a:lnTo>
                    <a:pt x="637" y="302"/>
                  </a:lnTo>
                  <a:lnTo>
                    <a:pt x="637" y="299"/>
                  </a:lnTo>
                  <a:lnTo>
                    <a:pt x="637" y="299"/>
                  </a:lnTo>
                  <a:lnTo>
                    <a:pt x="637" y="296"/>
                  </a:lnTo>
                  <a:close/>
                  <a:moveTo>
                    <a:pt x="640" y="315"/>
                  </a:moveTo>
                  <a:lnTo>
                    <a:pt x="640" y="315"/>
                  </a:lnTo>
                  <a:lnTo>
                    <a:pt x="640" y="312"/>
                  </a:lnTo>
                  <a:lnTo>
                    <a:pt x="640" y="315"/>
                  </a:lnTo>
                  <a:close/>
                  <a:moveTo>
                    <a:pt x="632" y="286"/>
                  </a:moveTo>
                  <a:lnTo>
                    <a:pt x="629" y="286"/>
                  </a:lnTo>
                  <a:lnTo>
                    <a:pt x="629" y="286"/>
                  </a:lnTo>
                  <a:lnTo>
                    <a:pt x="632" y="286"/>
                  </a:lnTo>
                  <a:lnTo>
                    <a:pt x="632" y="286"/>
                  </a:lnTo>
                  <a:lnTo>
                    <a:pt x="632" y="286"/>
                  </a:lnTo>
                  <a:lnTo>
                    <a:pt x="632" y="286"/>
                  </a:lnTo>
                  <a:lnTo>
                    <a:pt x="632" y="286"/>
                  </a:lnTo>
                  <a:lnTo>
                    <a:pt x="632" y="286"/>
                  </a:lnTo>
                  <a:lnTo>
                    <a:pt x="632" y="286"/>
                  </a:lnTo>
                  <a:lnTo>
                    <a:pt x="632" y="286"/>
                  </a:lnTo>
                  <a:lnTo>
                    <a:pt x="632" y="286"/>
                  </a:lnTo>
                  <a:close/>
                  <a:moveTo>
                    <a:pt x="632" y="294"/>
                  </a:moveTo>
                  <a:lnTo>
                    <a:pt x="632" y="294"/>
                  </a:lnTo>
                  <a:lnTo>
                    <a:pt x="629" y="294"/>
                  </a:lnTo>
                  <a:lnTo>
                    <a:pt x="632" y="294"/>
                  </a:lnTo>
                  <a:lnTo>
                    <a:pt x="632" y="294"/>
                  </a:lnTo>
                  <a:lnTo>
                    <a:pt x="632" y="294"/>
                  </a:lnTo>
                  <a:lnTo>
                    <a:pt x="632" y="294"/>
                  </a:lnTo>
                  <a:lnTo>
                    <a:pt x="632" y="294"/>
                  </a:lnTo>
                  <a:lnTo>
                    <a:pt x="635" y="294"/>
                  </a:lnTo>
                  <a:lnTo>
                    <a:pt x="632" y="294"/>
                  </a:lnTo>
                  <a:lnTo>
                    <a:pt x="632" y="294"/>
                  </a:lnTo>
                  <a:close/>
                  <a:moveTo>
                    <a:pt x="629" y="288"/>
                  </a:moveTo>
                  <a:lnTo>
                    <a:pt x="629" y="288"/>
                  </a:lnTo>
                  <a:lnTo>
                    <a:pt x="629" y="288"/>
                  </a:lnTo>
                  <a:lnTo>
                    <a:pt x="629" y="288"/>
                  </a:lnTo>
                  <a:lnTo>
                    <a:pt x="629" y="288"/>
                  </a:lnTo>
                  <a:close/>
                  <a:moveTo>
                    <a:pt x="637" y="286"/>
                  </a:moveTo>
                  <a:lnTo>
                    <a:pt x="637" y="286"/>
                  </a:lnTo>
                  <a:lnTo>
                    <a:pt x="637" y="286"/>
                  </a:lnTo>
                  <a:lnTo>
                    <a:pt x="637" y="286"/>
                  </a:lnTo>
                  <a:lnTo>
                    <a:pt x="635" y="286"/>
                  </a:lnTo>
                  <a:lnTo>
                    <a:pt x="635" y="286"/>
                  </a:lnTo>
                  <a:lnTo>
                    <a:pt x="635" y="286"/>
                  </a:lnTo>
                  <a:lnTo>
                    <a:pt x="635" y="286"/>
                  </a:lnTo>
                  <a:lnTo>
                    <a:pt x="635" y="286"/>
                  </a:lnTo>
                  <a:lnTo>
                    <a:pt x="635" y="286"/>
                  </a:lnTo>
                  <a:lnTo>
                    <a:pt x="637" y="286"/>
                  </a:lnTo>
                  <a:close/>
                  <a:moveTo>
                    <a:pt x="629" y="299"/>
                  </a:moveTo>
                  <a:lnTo>
                    <a:pt x="629" y="299"/>
                  </a:lnTo>
                  <a:lnTo>
                    <a:pt x="629" y="296"/>
                  </a:lnTo>
                  <a:lnTo>
                    <a:pt x="629" y="296"/>
                  </a:lnTo>
                  <a:lnTo>
                    <a:pt x="629" y="299"/>
                  </a:lnTo>
                  <a:close/>
                  <a:moveTo>
                    <a:pt x="616" y="254"/>
                  </a:moveTo>
                  <a:lnTo>
                    <a:pt x="613" y="256"/>
                  </a:lnTo>
                  <a:lnTo>
                    <a:pt x="613" y="256"/>
                  </a:lnTo>
                  <a:lnTo>
                    <a:pt x="613" y="256"/>
                  </a:lnTo>
                  <a:lnTo>
                    <a:pt x="613" y="256"/>
                  </a:lnTo>
                  <a:lnTo>
                    <a:pt x="616" y="256"/>
                  </a:lnTo>
                  <a:lnTo>
                    <a:pt x="616" y="256"/>
                  </a:lnTo>
                  <a:lnTo>
                    <a:pt x="616" y="256"/>
                  </a:lnTo>
                  <a:lnTo>
                    <a:pt x="616" y="254"/>
                  </a:lnTo>
                  <a:close/>
                  <a:moveTo>
                    <a:pt x="587" y="254"/>
                  </a:moveTo>
                  <a:lnTo>
                    <a:pt x="584" y="254"/>
                  </a:lnTo>
                  <a:lnTo>
                    <a:pt x="584" y="254"/>
                  </a:lnTo>
                  <a:lnTo>
                    <a:pt x="584" y="254"/>
                  </a:lnTo>
                  <a:lnTo>
                    <a:pt x="584" y="256"/>
                  </a:lnTo>
                  <a:lnTo>
                    <a:pt x="584" y="256"/>
                  </a:lnTo>
                  <a:lnTo>
                    <a:pt x="587" y="254"/>
                  </a:lnTo>
                  <a:lnTo>
                    <a:pt x="587" y="254"/>
                  </a:lnTo>
                  <a:lnTo>
                    <a:pt x="587" y="254"/>
                  </a:lnTo>
                  <a:lnTo>
                    <a:pt x="587" y="254"/>
                  </a:lnTo>
                  <a:close/>
                  <a:moveTo>
                    <a:pt x="635" y="283"/>
                  </a:moveTo>
                  <a:lnTo>
                    <a:pt x="635" y="283"/>
                  </a:lnTo>
                  <a:lnTo>
                    <a:pt x="637" y="283"/>
                  </a:lnTo>
                  <a:lnTo>
                    <a:pt x="637" y="283"/>
                  </a:lnTo>
                  <a:lnTo>
                    <a:pt x="637" y="283"/>
                  </a:lnTo>
                  <a:lnTo>
                    <a:pt x="635" y="283"/>
                  </a:lnTo>
                  <a:lnTo>
                    <a:pt x="635" y="280"/>
                  </a:lnTo>
                  <a:lnTo>
                    <a:pt x="635" y="280"/>
                  </a:lnTo>
                  <a:lnTo>
                    <a:pt x="635" y="280"/>
                  </a:lnTo>
                  <a:lnTo>
                    <a:pt x="635" y="283"/>
                  </a:lnTo>
                  <a:lnTo>
                    <a:pt x="635" y="283"/>
                  </a:lnTo>
                  <a:lnTo>
                    <a:pt x="635" y="283"/>
                  </a:lnTo>
                  <a:close/>
                  <a:moveTo>
                    <a:pt x="635" y="307"/>
                  </a:moveTo>
                  <a:lnTo>
                    <a:pt x="635" y="307"/>
                  </a:lnTo>
                  <a:lnTo>
                    <a:pt x="635" y="307"/>
                  </a:lnTo>
                  <a:lnTo>
                    <a:pt x="635" y="307"/>
                  </a:lnTo>
                  <a:lnTo>
                    <a:pt x="635" y="307"/>
                  </a:lnTo>
                  <a:lnTo>
                    <a:pt x="635" y="307"/>
                  </a:lnTo>
                  <a:lnTo>
                    <a:pt x="635" y="307"/>
                  </a:lnTo>
                  <a:close/>
                  <a:moveTo>
                    <a:pt x="848" y="863"/>
                  </a:moveTo>
                  <a:lnTo>
                    <a:pt x="848" y="860"/>
                  </a:lnTo>
                  <a:lnTo>
                    <a:pt x="848" y="860"/>
                  </a:lnTo>
                  <a:lnTo>
                    <a:pt x="848" y="860"/>
                  </a:lnTo>
                  <a:lnTo>
                    <a:pt x="848" y="860"/>
                  </a:lnTo>
                  <a:lnTo>
                    <a:pt x="848" y="860"/>
                  </a:lnTo>
                  <a:lnTo>
                    <a:pt x="846" y="863"/>
                  </a:lnTo>
                  <a:lnTo>
                    <a:pt x="843" y="866"/>
                  </a:lnTo>
                  <a:lnTo>
                    <a:pt x="843" y="866"/>
                  </a:lnTo>
                  <a:lnTo>
                    <a:pt x="840" y="866"/>
                  </a:lnTo>
                  <a:lnTo>
                    <a:pt x="840" y="866"/>
                  </a:lnTo>
                  <a:lnTo>
                    <a:pt x="840" y="868"/>
                  </a:lnTo>
                  <a:lnTo>
                    <a:pt x="840" y="866"/>
                  </a:lnTo>
                  <a:lnTo>
                    <a:pt x="840" y="868"/>
                  </a:lnTo>
                  <a:lnTo>
                    <a:pt x="843" y="866"/>
                  </a:lnTo>
                  <a:lnTo>
                    <a:pt x="846" y="866"/>
                  </a:lnTo>
                  <a:lnTo>
                    <a:pt x="846" y="863"/>
                  </a:lnTo>
                  <a:lnTo>
                    <a:pt x="848" y="863"/>
                  </a:lnTo>
                  <a:lnTo>
                    <a:pt x="848" y="863"/>
                  </a:lnTo>
                  <a:lnTo>
                    <a:pt x="848" y="863"/>
                  </a:lnTo>
                  <a:lnTo>
                    <a:pt x="848" y="863"/>
                  </a:lnTo>
                  <a:lnTo>
                    <a:pt x="848" y="863"/>
                  </a:lnTo>
                  <a:lnTo>
                    <a:pt x="848" y="863"/>
                  </a:lnTo>
                  <a:lnTo>
                    <a:pt x="848" y="863"/>
                  </a:lnTo>
                  <a:lnTo>
                    <a:pt x="848" y="863"/>
                  </a:lnTo>
                  <a:lnTo>
                    <a:pt x="848" y="863"/>
                  </a:lnTo>
                  <a:lnTo>
                    <a:pt x="848" y="863"/>
                  </a:lnTo>
                  <a:lnTo>
                    <a:pt x="848" y="863"/>
                  </a:lnTo>
                  <a:lnTo>
                    <a:pt x="848" y="863"/>
                  </a:lnTo>
                  <a:lnTo>
                    <a:pt x="848" y="863"/>
                  </a:lnTo>
                  <a:lnTo>
                    <a:pt x="851" y="863"/>
                  </a:lnTo>
                  <a:lnTo>
                    <a:pt x="851" y="863"/>
                  </a:lnTo>
                  <a:lnTo>
                    <a:pt x="848" y="863"/>
                  </a:lnTo>
                  <a:close/>
                  <a:moveTo>
                    <a:pt x="840" y="676"/>
                  </a:moveTo>
                  <a:lnTo>
                    <a:pt x="840" y="676"/>
                  </a:lnTo>
                  <a:lnTo>
                    <a:pt x="840" y="676"/>
                  </a:lnTo>
                  <a:lnTo>
                    <a:pt x="840" y="676"/>
                  </a:lnTo>
                  <a:lnTo>
                    <a:pt x="840" y="678"/>
                  </a:lnTo>
                  <a:lnTo>
                    <a:pt x="840" y="678"/>
                  </a:lnTo>
                  <a:lnTo>
                    <a:pt x="840" y="678"/>
                  </a:lnTo>
                  <a:lnTo>
                    <a:pt x="840" y="676"/>
                  </a:lnTo>
                  <a:close/>
                  <a:moveTo>
                    <a:pt x="800" y="866"/>
                  </a:moveTo>
                  <a:lnTo>
                    <a:pt x="798" y="866"/>
                  </a:lnTo>
                  <a:lnTo>
                    <a:pt x="798" y="866"/>
                  </a:lnTo>
                  <a:lnTo>
                    <a:pt x="798" y="868"/>
                  </a:lnTo>
                  <a:lnTo>
                    <a:pt x="798" y="866"/>
                  </a:lnTo>
                  <a:lnTo>
                    <a:pt x="798" y="866"/>
                  </a:lnTo>
                  <a:lnTo>
                    <a:pt x="800" y="868"/>
                  </a:lnTo>
                  <a:lnTo>
                    <a:pt x="800" y="868"/>
                  </a:lnTo>
                  <a:lnTo>
                    <a:pt x="803" y="868"/>
                  </a:lnTo>
                  <a:lnTo>
                    <a:pt x="803" y="871"/>
                  </a:lnTo>
                  <a:lnTo>
                    <a:pt x="803" y="868"/>
                  </a:lnTo>
                  <a:lnTo>
                    <a:pt x="800" y="868"/>
                  </a:lnTo>
                  <a:lnTo>
                    <a:pt x="800" y="866"/>
                  </a:lnTo>
                  <a:close/>
                  <a:moveTo>
                    <a:pt x="800" y="871"/>
                  </a:moveTo>
                  <a:lnTo>
                    <a:pt x="800" y="874"/>
                  </a:lnTo>
                  <a:lnTo>
                    <a:pt x="800" y="871"/>
                  </a:lnTo>
                  <a:lnTo>
                    <a:pt x="803" y="871"/>
                  </a:lnTo>
                  <a:lnTo>
                    <a:pt x="800" y="871"/>
                  </a:lnTo>
                  <a:lnTo>
                    <a:pt x="800" y="871"/>
                  </a:lnTo>
                  <a:close/>
                  <a:moveTo>
                    <a:pt x="798" y="874"/>
                  </a:moveTo>
                  <a:lnTo>
                    <a:pt x="798" y="874"/>
                  </a:lnTo>
                  <a:lnTo>
                    <a:pt x="798" y="874"/>
                  </a:lnTo>
                  <a:lnTo>
                    <a:pt x="798" y="874"/>
                  </a:lnTo>
                  <a:lnTo>
                    <a:pt x="798" y="874"/>
                  </a:lnTo>
                  <a:lnTo>
                    <a:pt x="798" y="874"/>
                  </a:lnTo>
                  <a:lnTo>
                    <a:pt x="798" y="874"/>
                  </a:lnTo>
                  <a:lnTo>
                    <a:pt x="798" y="874"/>
                  </a:lnTo>
                  <a:lnTo>
                    <a:pt x="798" y="874"/>
                  </a:lnTo>
                  <a:close/>
                  <a:moveTo>
                    <a:pt x="859" y="855"/>
                  </a:moveTo>
                  <a:lnTo>
                    <a:pt x="859" y="855"/>
                  </a:lnTo>
                  <a:lnTo>
                    <a:pt x="859" y="855"/>
                  </a:lnTo>
                  <a:lnTo>
                    <a:pt x="856" y="857"/>
                  </a:lnTo>
                  <a:lnTo>
                    <a:pt x="854" y="857"/>
                  </a:lnTo>
                  <a:lnTo>
                    <a:pt x="854" y="857"/>
                  </a:lnTo>
                  <a:lnTo>
                    <a:pt x="854" y="857"/>
                  </a:lnTo>
                  <a:lnTo>
                    <a:pt x="854" y="857"/>
                  </a:lnTo>
                  <a:lnTo>
                    <a:pt x="851" y="857"/>
                  </a:lnTo>
                  <a:lnTo>
                    <a:pt x="851" y="857"/>
                  </a:lnTo>
                  <a:lnTo>
                    <a:pt x="851" y="860"/>
                  </a:lnTo>
                  <a:lnTo>
                    <a:pt x="851" y="860"/>
                  </a:lnTo>
                  <a:lnTo>
                    <a:pt x="854" y="860"/>
                  </a:lnTo>
                  <a:lnTo>
                    <a:pt x="854" y="860"/>
                  </a:lnTo>
                  <a:lnTo>
                    <a:pt x="851" y="863"/>
                  </a:lnTo>
                  <a:lnTo>
                    <a:pt x="851" y="863"/>
                  </a:lnTo>
                  <a:lnTo>
                    <a:pt x="851" y="863"/>
                  </a:lnTo>
                  <a:lnTo>
                    <a:pt x="851" y="863"/>
                  </a:lnTo>
                  <a:lnTo>
                    <a:pt x="859" y="857"/>
                  </a:lnTo>
                  <a:lnTo>
                    <a:pt x="859" y="857"/>
                  </a:lnTo>
                  <a:lnTo>
                    <a:pt x="859" y="855"/>
                  </a:lnTo>
                  <a:close/>
                  <a:moveTo>
                    <a:pt x="864" y="686"/>
                  </a:moveTo>
                  <a:lnTo>
                    <a:pt x="864" y="686"/>
                  </a:lnTo>
                  <a:lnTo>
                    <a:pt x="864" y="686"/>
                  </a:lnTo>
                  <a:lnTo>
                    <a:pt x="864" y="684"/>
                  </a:lnTo>
                  <a:lnTo>
                    <a:pt x="864" y="684"/>
                  </a:lnTo>
                  <a:lnTo>
                    <a:pt x="864" y="684"/>
                  </a:lnTo>
                  <a:lnTo>
                    <a:pt x="867" y="684"/>
                  </a:lnTo>
                  <a:lnTo>
                    <a:pt x="867" y="684"/>
                  </a:lnTo>
                  <a:lnTo>
                    <a:pt x="867" y="681"/>
                  </a:lnTo>
                  <a:lnTo>
                    <a:pt x="864" y="681"/>
                  </a:lnTo>
                  <a:lnTo>
                    <a:pt x="864" y="681"/>
                  </a:lnTo>
                  <a:lnTo>
                    <a:pt x="862" y="678"/>
                  </a:lnTo>
                  <a:lnTo>
                    <a:pt x="862" y="678"/>
                  </a:lnTo>
                  <a:lnTo>
                    <a:pt x="859" y="678"/>
                  </a:lnTo>
                  <a:lnTo>
                    <a:pt x="856" y="678"/>
                  </a:lnTo>
                  <a:lnTo>
                    <a:pt x="856" y="681"/>
                  </a:lnTo>
                  <a:lnTo>
                    <a:pt x="859" y="681"/>
                  </a:lnTo>
                  <a:lnTo>
                    <a:pt x="859" y="684"/>
                  </a:lnTo>
                  <a:lnTo>
                    <a:pt x="859" y="684"/>
                  </a:lnTo>
                  <a:lnTo>
                    <a:pt x="859" y="684"/>
                  </a:lnTo>
                  <a:lnTo>
                    <a:pt x="862" y="684"/>
                  </a:lnTo>
                  <a:lnTo>
                    <a:pt x="862" y="686"/>
                  </a:lnTo>
                  <a:lnTo>
                    <a:pt x="864" y="686"/>
                  </a:lnTo>
                  <a:close/>
                  <a:moveTo>
                    <a:pt x="867" y="684"/>
                  </a:moveTo>
                  <a:lnTo>
                    <a:pt x="864" y="684"/>
                  </a:lnTo>
                  <a:lnTo>
                    <a:pt x="864" y="686"/>
                  </a:lnTo>
                  <a:lnTo>
                    <a:pt x="867" y="686"/>
                  </a:lnTo>
                  <a:lnTo>
                    <a:pt x="870" y="686"/>
                  </a:lnTo>
                  <a:lnTo>
                    <a:pt x="870" y="684"/>
                  </a:lnTo>
                  <a:lnTo>
                    <a:pt x="870" y="684"/>
                  </a:lnTo>
                  <a:lnTo>
                    <a:pt x="867" y="684"/>
                  </a:lnTo>
                  <a:lnTo>
                    <a:pt x="867" y="684"/>
                  </a:lnTo>
                  <a:lnTo>
                    <a:pt x="867" y="684"/>
                  </a:lnTo>
                  <a:lnTo>
                    <a:pt x="867" y="684"/>
                  </a:lnTo>
                  <a:lnTo>
                    <a:pt x="867" y="684"/>
                  </a:lnTo>
                  <a:close/>
                  <a:moveTo>
                    <a:pt x="795" y="871"/>
                  </a:moveTo>
                  <a:lnTo>
                    <a:pt x="798" y="871"/>
                  </a:lnTo>
                  <a:lnTo>
                    <a:pt x="795" y="871"/>
                  </a:lnTo>
                  <a:lnTo>
                    <a:pt x="795" y="871"/>
                  </a:lnTo>
                  <a:close/>
                  <a:moveTo>
                    <a:pt x="843" y="673"/>
                  </a:moveTo>
                  <a:lnTo>
                    <a:pt x="843" y="673"/>
                  </a:lnTo>
                  <a:lnTo>
                    <a:pt x="840" y="673"/>
                  </a:lnTo>
                  <a:lnTo>
                    <a:pt x="840" y="676"/>
                  </a:lnTo>
                  <a:lnTo>
                    <a:pt x="840" y="676"/>
                  </a:lnTo>
                  <a:lnTo>
                    <a:pt x="843" y="676"/>
                  </a:lnTo>
                  <a:lnTo>
                    <a:pt x="843" y="676"/>
                  </a:lnTo>
                  <a:lnTo>
                    <a:pt x="843" y="678"/>
                  </a:lnTo>
                  <a:lnTo>
                    <a:pt x="843" y="681"/>
                  </a:lnTo>
                  <a:lnTo>
                    <a:pt x="843" y="681"/>
                  </a:lnTo>
                  <a:lnTo>
                    <a:pt x="846" y="678"/>
                  </a:lnTo>
                  <a:lnTo>
                    <a:pt x="846" y="676"/>
                  </a:lnTo>
                  <a:lnTo>
                    <a:pt x="843" y="676"/>
                  </a:lnTo>
                  <a:lnTo>
                    <a:pt x="843" y="676"/>
                  </a:lnTo>
                  <a:lnTo>
                    <a:pt x="843" y="676"/>
                  </a:lnTo>
                  <a:lnTo>
                    <a:pt x="843" y="676"/>
                  </a:lnTo>
                  <a:lnTo>
                    <a:pt x="843" y="673"/>
                  </a:lnTo>
                  <a:close/>
                  <a:moveTo>
                    <a:pt x="851" y="678"/>
                  </a:moveTo>
                  <a:lnTo>
                    <a:pt x="851" y="681"/>
                  </a:lnTo>
                  <a:lnTo>
                    <a:pt x="851" y="678"/>
                  </a:lnTo>
                  <a:lnTo>
                    <a:pt x="854" y="681"/>
                  </a:lnTo>
                  <a:lnTo>
                    <a:pt x="854" y="681"/>
                  </a:lnTo>
                  <a:lnTo>
                    <a:pt x="854" y="681"/>
                  </a:lnTo>
                  <a:lnTo>
                    <a:pt x="856" y="684"/>
                  </a:lnTo>
                  <a:lnTo>
                    <a:pt x="856" y="681"/>
                  </a:lnTo>
                  <a:lnTo>
                    <a:pt x="856" y="681"/>
                  </a:lnTo>
                  <a:lnTo>
                    <a:pt x="856" y="681"/>
                  </a:lnTo>
                  <a:lnTo>
                    <a:pt x="856" y="681"/>
                  </a:lnTo>
                  <a:lnTo>
                    <a:pt x="854" y="678"/>
                  </a:lnTo>
                  <a:lnTo>
                    <a:pt x="854" y="676"/>
                  </a:lnTo>
                  <a:lnTo>
                    <a:pt x="854" y="676"/>
                  </a:lnTo>
                  <a:lnTo>
                    <a:pt x="851" y="676"/>
                  </a:lnTo>
                  <a:lnTo>
                    <a:pt x="851" y="678"/>
                  </a:lnTo>
                  <a:lnTo>
                    <a:pt x="848" y="678"/>
                  </a:lnTo>
                  <a:lnTo>
                    <a:pt x="848" y="678"/>
                  </a:lnTo>
                  <a:lnTo>
                    <a:pt x="848" y="681"/>
                  </a:lnTo>
                  <a:lnTo>
                    <a:pt x="848" y="681"/>
                  </a:lnTo>
                  <a:lnTo>
                    <a:pt x="848" y="681"/>
                  </a:lnTo>
                  <a:lnTo>
                    <a:pt x="848" y="681"/>
                  </a:lnTo>
                  <a:lnTo>
                    <a:pt x="848" y="681"/>
                  </a:lnTo>
                  <a:lnTo>
                    <a:pt x="848" y="681"/>
                  </a:lnTo>
                  <a:lnTo>
                    <a:pt x="848" y="681"/>
                  </a:lnTo>
                  <a:lnTo>
                    <a:pt x="848" y="678"/>
                  </a:lnTo>
                  <a:lnTo>
                    <a:pt x="848" y="678"/>
                  </a:lnTo>
                  <a:lnTo>
                    <a:pt x="851" y="678"/>
                  </a:lnTo>
                  <a:close/>
                  <a:moveTo>
                    <a:pt x="827" y="676"/>
                  </a:moveTo>
                  <a:lnTo>
                    <a:pt x="824" y="676"/>
                  </a:lnTo>
                  <a:lnTo>
                    <a:pt x="824" y="678"/>
                  </a:lnTo>
                  <a:lnTo>
                    <a:pt x="822" y="678"/>
                  </a:lnTo>
                  <a:lnTo>
                    <a:pt x="822" y="678"/>
                  </a:lnTo>
                  <a:lnTo>
                    <a:pt x="822" y="678"/>
                  </a:lnTo>
                  <a:lnTo>
                    <a:pt x="824" y="681"/>
                  </a:lnTo>
                  <a:lnTo>
                    <a:pt x="824" y="681"/>
                  </a:lnTo>
                  <a:lnTo>
                    <a:pt x="824" y="681"/>
                  </a:lnTo>
                  <a:lnTo>
                    <a:pt x="824" y="681"/>
                  </a:lnTo>
                  <a:lnTo>
                    <a:pt x="824" y="681"/>
                  </a:lnTo>
                  <a:lnTo>
                    <a:pt x="827" y="681"/>
                  </a:lnTo>
                  <a:lnTo>
                    <a:pt x="827" y="681"/>
                  </a:lnTo>
                  <a:lnTo>
                    <a:pt x="830" y="678"/>
                  </a:lnTo>
                  <a:lnTo>
                    <a:pt x="827" y="676"/>
                  </a:lnTo>
                  <a:lnTo>
                    <a:pt x="827" y="676"/>
                  </a:lnTo>
                  <a:close/>
                  <a:moveTo>
                    <a:pt x="704" y="876"/>
                  </a:moveTo>
                  <a:lnTo>
                    <a:pt x="704" y="876"/>
                  </a:lnTo>
                  <a:lnTo>
                    <a:pt x="704" y="876"/>
                  </a:lnTo>
                  <a:lnTo>
                    <a:pt x="704" y="876"/>
                  </a:lnTo>
                  <a:close/>
                  <a:moveTo>
                    <a:pt x="704" y="876"/>
                  </a:moveTo>
                  <a:lnTo>
                    <a:pt x="704" y="876"/>
                  </a:lnTo>
                  <a:lnTo>
                    <a:pt x="704" y="876"/>
                  </a:lnTo>
                  <a:lnTo>
                    <a:pt x="704" y="876"/>
                  </a:lnTo>
                  <a:close/>
                  <a:moveTo>
                    <a:pt x="704" y="876"/>
                  </a:moveTo>
                  <a:lnTo>
                    <a:pt x="704" y="876"/>
                  </a:lnTo>
                  <a:lnTo>
                    <a:pt x="704" y="876"/>
                  </a:lnTo>
                  <a:lnTo>
                    <a:pt x="704" y="876"/>
                  </a:lnTo>
                  <a:close/>
                  <a:moveTo>
                    <a:pt x="696" y="876"/>
                  </a:moveTo>
                  <a:lnTo>
                    <a:pt x="696" y="876"/>
                  </a:lnTo>
                  <a:lnTo>
                    <a:pt x="696" y="876"/>
                  </a:lnTo>
                  <a:lnTo>
                    <a:pt x="696" y="876"/>
                  </a:lnTo>
                  <a:close/>
                  <a:moveTo>
                    <a:pt x="680" y="497"/>
                  </a:moveTo>
                  <a:lnTo>
                    <a:pt x="675" y="491"/>
                  </a:lnTo>
                  <a:lnTo>
                    <a:pt x="669" y="486"/>
                  </a:lnTo>
                  <a:lnTo>
                    <a:pt x="669" y="486"/>
                  </a:lnTo>
                  <a:lnTo>
                    <a:pt x="669" y="486"/>
                  </a:lnTo>
                  <a:lnTo>
                    <a:pt x="667" y="483"/>
                  </a:lnTo>
                  <a:lnTo>
                    <a:pt x="667" y="486"/>
                  </a:lnTo>
                  <a:lnTo>
                    <a:pt x="669" y="489"/>
                  </a:lnTo>
                  <a:lnTo>
                    <a:pt x="669" y="489"/>
                  </a:lnTo>
                  <a:lnTo>
                    <a:pt x="672" y="491"/>
                  </a:lnTo>
                  <a:lnTo>
                    <a:pt x="677" y="497"/>
                  </a:lnTo>
                  <a:lnTo>
                    <a:pt x="680" y="497"/>
                  </a:lnTo>
                  <a:lnTo>
                    <a:pt x="680" y="497"/>
                  </a:lnTo>
                  <a:lnTo>
                    <a:pt x="680" y="497"/>
                  </a:lnTo>
                  <a:lnTo>
                    <a:pt x="680" y="497"/>
                  </a:lnTo>
                  <a:close/>
                  <a:moveTo>
                    <a:pt x="752" y="580"/>
                  </a:moveTo>
                  <a:lnTo>
                    <a:pt x="750" y="577"/>
                  </a:lnTo>
                  <a:lnTo>
                    <a:pt x="747" y="577"/>
                  </a:lnTo>
                  <a:lnTo>
                    <a:pt x="747" y="577"/>
                  </a:lnTo>
                  <a:lnTo>
                    <a:pt x="747" y="577"/>
                  </a:lnTo>
                  <a:lnTo>
                    <a:pt x="744" y="577"/>
                  </a:lnTo>
                  <a:lnTo>
                    <a:pt x="747" y="580"/>
                  </a:lnTo>
                  <a:lnTo>
                    <a:pt x="750" y="585"/>
                  </a:lnTo>
                  <a:lnTo>
                    <a:pt x="752" y="588"/>
                  </a:lnTo>
                  <a:lnTo>
                    <a:pt x="752" y="590"/>
                  </a:lnTo>
                  <a:lnTo>
                    <a:pt x="755" y="593"/>
                  </a:lnTo>
                  <a:lnTo>
                    <a:pt x="758" y="601"/>
                  </a:lnTo>
                  <a:lnTo>
                    <a:pt x="760" y="604"/>
                  </a:lnTo>
                  <a:lnTo>
                    <a:pt x="760" y="604"/>
                  </a:lnTo>
                  <a:lnTo>
                    <a:pt x="760" y="604"/>
                  </a:lnTo>
                  <a:lnTo>
                    <a:pt x="763" y="604"/>
                  </a:lnTo>
                  <a:lnTo>
                    <a:pt x="763" y="601"/>
                  </a:lnTo>
                  <a:lnTo>
                    <a:pt x="760" y="593"/>
                  </a:lnTo>
                  <a:lnTo>
                    <a:pt x="758" y="593"/>
                  </a:lnTo>
                  <a:lnTo>
                    <a:pt x="755" y="590"/>
                  </a:lnTo>
                  <a:lnTo>
                    <a:pt x="755" y="588"/>
                  </a:lnTo>
                  <a:lnTo>
                    <a:pt x="755" y="582"/>
                  </a:lnTo>
                  <a:lnTo>
                    <a:pt x="752" y="580"/>
                  </a:lnTo>
                  <a:close/>
                  <a:moveTo>
                    <a:pt x="795" y="874"/>
                  </a:moveTo>
                  <a:lnTo>
                    <a:pt x="795" y="874"/>
                  </a:lnTo>
                  <a:lnTo>
                    <a:pt x="795" y="874"/>
                  </a:lnTo>
                  <a:lnTo>
                    <a:pt x="795" y="874"/>
                  </a:lnTo>
                  <a:lnTo>
                    <a:pt x="795" y="874"/>
                  </a:lnTo>
                  <a:close/>
                  <a:moveTo>
                    <a:pt x="707" y="874"/>
                  </a:moveTo>
                  <a:lnTo>
                    <a:pt x="707" y="874"/>
                  </a:lnTo>
                  <a:lnTo>
                    <a:pt x="704" y="874"/>
                  </a:lnTo>
                  <a:lnTo>
                    <a:pt x="707" y="874"/>
                  </a:lnTo>
                  <a:lnTo>
                    <a:pt x="707" y="874"/>
                  </a:lnTo>
                  <a:lnTo>
                    <a:pt x="707" y="874"/>
                  </a:lnTo>
                  <a:lnTo>
                    <a:pt x="707" y="874"/>
                  </a:lnTo>
                  <a:lnTo>
                    <a:pt x="707" y="874"/>
                  </a:lnTo>
                  <a:lnTo>
                    <a:pt x="707" y="874"/>
                  </a:lnTo>
                  <a:close/>
                  <a:moveTo>
                    <a:pt x="795" y="871"/>
                  </a:moveTo>
                  <a:lnTo>
                    <a:pt x="795" y="871"/>
                  </a:lnTo>
                  <a:lnTo>
                    <a:pt x="795" y="871"/>
                  </a:lnTo>
                  <a:lnTo>
                    <a:pt x="795" y="871"/>
                  </a:lnTo>
                  <a:close/>
                  <a:moveTo>
                    <a:pt x="742" y="588"/>
                  </a:moveTo>
                  <a:lnTo>
                    <a:pt x="739" y="582"/>
                  </a:lnTo>
                  <a:lnTo>
                    <a:pt x="736" y="580"/>
                  </a:lnTo>
                  <a:lnTo>
                    <a:pt x="736" y="577"/>
                  </a:lnTo>
                  <a:lnTo>
                    <a:pt x="736" y="577"/>
                  </a:lnTo>
                  <a:lnTo>
                    <a:pt x="736" y="577"/>
                  </a:lnTo>
                  <a:lnTo>
                    <a:pt x="736" y="577"/>
                  </a:lnTo>
                  <a:lnTo>
                    <a:pt x="739" y="585"/>
                  </a:lnTo>
                  <a:lnTo>
                    <a:pt x="739" y="588"/>
                  </a:lnTo>
                  <a:lnTo>
                    <a:pt x="742" y="590"/>
                  </a:lnTo>
                  <a:lnTo>
                    <a:pt x="742" y="590"/>
                  </a:lnTo>
                  <a:lnTo>
                    <a:pt x="742" y="590"/>
                  </a:lnTo>
                  <a:lnTo>
                    <a:pt x="742" y="588"/>
                  </a:lnTo>
                  <a:close/>
                  <a:moveTo>
                    <a:pt x="872" y="841"/>
                  </a:moveTo>
                  <a:lnTo>
                    <a:pt x="870" y="841"/>
                  </a:lnTo>
                  <a:lnTo>
                    <a:pt x="870" y="841"/>
                  </a:lnTo>
                  <a:lnTo>
                    <a:pt x="870" y="841"/>
                  </a:lnTo>
                  <a:lnTo>
                    <a:pt x="870" y="841"/>
                  </a:lnTo>
                  <a:lnTo>
                    <a:pt x="870" y="841"/>
                  </a:lnTo>
                  <a:lnTo>
                    <a:pt x="870" y="841"/>
                  </a:lnTo>
                  <a:lnTo>
                    <a:pt x="870" y="841"/>
                  </a:lnTo>
                  <a:lnTo>
                    <a:pt x="870" y="841"/>
                  </a:lnTo>
                  <a:lnTo>
                    <a:pt x="870" y="841"/>
                  </a:lnTo>
                  <a:lnTo>
                    <a:pt x="870" y="841"/>
                  </a:lnTo>
                  <a:lnTo>
                    <a:pt x="870" y="844"/>
                  </a:lnTo>
                  <a:lnTo>
                    <a:pt x="870" y="844"/>
                  </a:lnTo>
                  <a:lnTo>
                    <a:pt x="870" y="844"/>
                  </a:lnTo>
                  <a:lnTo>
                    <a:pt x="870" y="844"/>
                  </a:lnTo>
                  <a:lnTo>
                    <a:pt x="870" y="844"/>
                  </a:lnTo>
                  <a:lnTo>
                    <a:pt x="870" y="844"/>
                  </a:lnTo>
                  <a:lnTo>
                    <a:pt x="870" y="844"/>
                  </a:lnTo>
                  <a:lnTo>
                    <a:pt x="870" y="847"/>
                  </a:lnTo>
                  <a:lnTo>
                    <a:pt x="870" y="847"/>
                  </a:lnTo>
                  <a:lnTo>
                    <a:pt x="870" y="847"/>
                  </a:lnTo>
                  <a:lnTo>
                    <a:pt x="872" y="847"/>
                  </a:lnTo>
                  <a:lnTo>
                    <a:pt x="875" y="847"/>
                  </a:lnTo>
                  <a:lnTo>
                    <a:pt x="875" y="847"/>
                  </a:lnTo>
                  <a:lnTo>
                    <a:pt x="875" y="849"/>
                  </a:lnTo>
                  <a:lnTo>
                    <a:pt x="875" y="849"/>
                  </a:lnTo>
                  <a:lnTo>
                    <a:pt x="872" y="847"/>
                  </a:lnTo>
                  <a:lnTo>
                    <a:pt x="872" y="847"/>
                  </a:lnTo>
                  <a:lnTo>
                    <a:pt x="872" y="847"/>
                  </a:lnTo>
                  <a:lnTo>
                    <a:pt x="867" y="847"/>
                  </a:lnTo>
                  <a:lnTo>
                    <a:pt x="867" y="847"/>
                  </a:lnTo>
                  <a:lnTo>
                    <a:pt x="867" y="847"/>
                  </a:lnTo>
                  <a:lnTo>
                    <a:pt x="867" y="847"/>
                  </a:lnTo>
                  <a:lnTo>
                    <a:pt x="867" y="847"/>
                  </a:lnTo>
                  <a:lnTo>
                    <a:pt x="870" y="849"/>
                  </a:lnTo>
                  <a:lnTo>
                    <a:pt x="872" y="849"/>
                  </a:lnTo>
                  <a:lnTo>
                    <a:pt x="870" y="849"/>
                  </a:lnTo>
                  <a:lnTo>
                    <a:pt x="870" y="852"/>
                  </a:lnTo>
                  <a:lnTo>
                    <a:pt x="870" y="852"/>
                  </a:lnTo>
                  <a:lnTo>
                    <a:pt x="870" y="852"/>
                  </a:lnTo>
                  <a:lnTo>
                    <a:pt x="867" y="855"/>
                  </a:lnTo>
                  <a:lnTo>
                    <a:pt x="864" y="852"/>
                  </a:lnTo>
                  <a:lnTo>
                    <a:pt x="864" y="852"/>
                  </a:lnTo>
                  <a:lnTo>
                    <a:pt x="864" y="852"/>
                  </a:lnTo>
                  <a:lnTo>
                    <a:pt x="864" y="855"/>
                  </a:lnTo>
                  <a:lnTo>
                    <a:pt x="862" y="857"/>
                  </a:lnTo>
                  <a:lnTo>
                    <a:pt x="862" y="857"/>
                  </a:lnTo>
                  <a:lnTo>
                    <a:pt x="862" y="857"/>
                  </a:lnTo>
                  <a:lnTo>
                    <a:pt x="862" y="857"/>
                  </a:lnTo>
                  <a:lnTo>
                    <a:pt x="870" y="852"/>
                  </a:lnTo>
                  <a:lnTo>
                    <a:pt x="875" y="852"/>
                  </a:lnTo>
                  <a:lnTo>
                    <a:pt x="878" y="847"/>
                  </a:lnTo>
                  <a:lnTo>
                    <a:pt x="878" y="847"/>
                  </a:lnTo>
                  <a:lnTo>
                    <a:pt x="872" y="841"/>
                  </a:lnTo>
                  <a:close/>
                  <a:moveTo>
                    <a:pt x="734" y="566"/>
                  </a:moveTo>
                  <a:lnTo>
                    <a:pt x="731" y="564"/>
                  </a:lnTo>
                  <a:lnTo>
                    <a:pt x="731" y="564"/>
                  </a:lnTo>
                  <a:lnTo>
                    <a:pt x="731" y="564"/>
                  </a:lnTo>
                  <a:lnTo>
                    <a:pt x="731" y="564"/>
                  </a:lnTo>
                  <a:lnTo>
                    <a:pt x="731" y="564"/>
                  </a:lnTo>
                  <a:lnTo>
                    <a:pt x="731" y="564"/>
                  </a:lnTo>
                  <a:lnTo>
                    <a:pt x="731" y="566"/>
                  </a:lnTo>
                  <a:lnTo>
                    <a:pt x="734" y="574"/>
                  </a:lnTo>
                  <a:lnTo>
                    <a:pt x="734" y="577"/>
                  </a:lnTo>
                  <a:lnTo>
                    <a:pt x="734" y="577"/>
                  </a:lnTo>
                  <a:lnTo>
                    <a:pt x="734" y="577"/>
                  </a:lnTo>
                  <a:lnTo>
                    <a:pt x="734" y="572"/>
                  </a:lnTo>
                  <a:lnTo>
                    <a:pt x="734" y="569"/>
                  </a:lnTo>
                  <a:lnTo>
                    <a:pt x="734" y="566"/>
                  </a:lnTo>
                  <a:close/>
                  <a:moveTo>
                    <a:pt x="912" y="745"/>
                  </a:moveTo>
                  <a:lnTo>
                    <a:pt x="912" y="745"/>
                  </a:lnTo>
                  <a:lnTo>
                    <a:pt x="912" y="745"/>
                  </a:lnTo>
                  <a:lnTo>
                    <a:pt x="915" y="743"/>
                  </a:lnTo>
                  <a:lnTo>
                    <a:pt x="915" y="743"/>
                  </a:lnTo>
                  <a:lnTo>
                    <a:pt x="915" y="743"/>
                  </a:lnTo>
                  <a:lnTo>
                    <a:pt x="912" y="743"/>
                  </a:lnTo>
                  <a:lnTo>
                    <a:pt x="912" y="743"/>
                  </a:lnTo>
                  <a:lnTo>
                    <a:pt x="910" y="743"/>
                  </a:lnTo>
                  <a:lnTo>
                    <a:pt x="910" y="743"/>
                  </a:lnTo>
                  <a:lnTo>
                    <a:pt x="910" y="743"/>
                  </a:lnTo>
                  <a:lnTo>
                    <a:pt x="910" y="743"/>
                  </a:lnTo>
                  <a:lnTo>
                    <a:pt x="910" y="743"/>
                  </a:lnTo>
                  <a:lnTo>
                    <a:pt x="912" y="745"/>
                  </a:lnTo>
                  <a:close/>
                  <a:moveTo>
                    <a:pt x="928" y="751"/>
                  </a:moveTo>
                  <a:lnTo>
                    <a:pt x="931" y="751"/>
                  </a:lnTo>
                  <a:lnTo>
                    <a:pt x="931" y="751"/>
                  </a:lnTo>
                  <a:lnTo>
                    <a:pt x="931" y="751"/>
                  </a:lnTo>
                  <a:lnTo>
                    <a:pt x="928" y="751"/>
                  </a:lnTo>
                  <a:lnTo>
                    <a:pt x="928" y="751"/>
                  </a:lnTo>
                  <a:lnTo>
                    <a:pt x="928" y="751"/>
                  </a:lnTo>
                  <a:lnTo>
                    <a:pt x="928" y="751"/>
                  </a:lnTo>
                  <a:lnTo>
                    <a:pt x="928" y="751"/>
                  </a:lnTo>
                  <a:lnTo>
                    <a:pt x="928" y="751"/>
                  </a:lnTo>
                  <a:close/>
                  <a:moveTo>
                    <a:pt x="931" y="756"/>
                  </a:moveTo>
                  <a:lnTo>
                    <a:pt x="934" y="756"/>
                  </a:lnTo>
                  <a:lnTo>
                    <a:pt x="934" y="756"/>
                  </a:lnTo>
                  <a:lnTo>
                    <a:pt x="934" y="753"/>
                  </a:lnTo>
                  <a:lnTo>
                    <a:pt x="934" y="753"/>
                  </a:lnTo>
                  <a:lnTo>
                    <a:pt x="934" y="753"/>
                  </a:lnTo>
                  <a:lnTo>
                    <a:pt x="934" y="753"/>
                  </a:lnTo>
                  <a:lnTo>
                    <a:pt x="934" y="753"/>
                  </a:lnTo>
                  <a:lnTo>
                    <a:pt x="934" y="753"/>
                  </a:lnTo>
                  <a:lnTo>
                    <a:pt x="934" y="753"/>
                  </a:lnTo>
                  <a:lnTo>
                    <a:pt x="934" y="753"/>
                  </a:lnTo>
                  <a:lnTo>
                    <a:pt x="934" y="753"/>
                  </a:lnTo>
                  <a:lnTo>
                    <a:pt x="931" y="756"/>
                  </a:lnTo>
                  <a:close/>
                  <a:moveTo>
                    <a:pt x="918" y="745"/>
                  </a:moveTo>
                  <a:lnTo>
                    <a:pt x="920" y="743"/>
                  </a:lnTo>
                  <a:lnTo>
                    <a:pt x="920" y="743"/>
                  </a:lnTo>
                  <a:lnTo>
                    <a:pt x="918" y="743"/>
                  </a:lnTo>
                  <a:lnTo>
                    <a:pt x="918" y="743"/>
                  </a:lnTo>
                  <a:lnTo>
                    <a:pt x="915" y="743"/>
                  </a:lnTo>
                  <a:lnTo>
                    <a:pt x="918" y="745"/>
                  </a:lnTo>
                  <a:lnTo>
                    <a:pt x="918" y="745"/>
                  </a:lnTo>
                  <a:lnTo>
                    <a:pt x="918" y="745"/>
                  </a:lnTo>
                  <a:close/>
                  <a:moveTo>
                    <a:pt x="915" y="745"/>
                  </a:moveTo>
                  <a:lnTo>
                    <a:pt x="915" y="748"/>
                  </a:lnTo>
                  <a:lnTo>
                    <a:pt x="918" y="751"/>
                  </a:lnTo>
                  <a:lnTo>
                    <a:pt x="918" y="751"/>
                  </a:lnTo>
                  <a:lnTo>
                    <a:pt x="920" y="748"/>
                  </a:lnTo>
                  <a:lnTo>
                    <a:pt x="920" y="748"/>
                  </a:lnTo>
                  <a:lnTo>
                    <a:pt x="920" y="745"/>
                  </a:lnTo>
                  <a:lnTo>
                    <a:pt x="920" y="745"/>
                  </a:lnTo>
                  <a:lnTo>
                    <a:pt x="920" y="745"/>
                  </a:lnTo>
                  <a:lnTo>
                    <a:pt x="918" y="745"/>
                  </a:lnTo>
                  <a:lnTo>
                    <a:pt x="915" y="745"/>
                  </a:lnTo>
                  <a:lnTo>
                    <a:pt x="915" y="745"/>
                  </a:lnTo>
                  <a:close/>
                  <a:moveTo>
                    <a:pt x="915" y="740"/>
                  </a:moveTo>
                  <a:lnTo>
                    <a:pt x="915" y="740"/>
                  </a:lnTo>
                  <a:lnTo>
                    <a:pt x="912" y="740"/>
                  </a:lnTo>
                  <a:lnTo>
                    <a:pt x="910" y="740"/>
                  </a:lnTo>
                  <a:lnTo>
                    <a:pt x="910" y="740"/>
                  </a:lnTo>
                  <a:lnTo>
                    <a:pt x="910" y="740"/>
                  </a:lnTo>
                  <a:lnTo>
                    <a:pt x="910" y="740"/>
                  </a:lnTo>
                  <a:lnTo>
                    <a:pt x="915" y="740"/>
                  </a:lnTo>
                  <a:close/>
                  <a:moveTo>
                    <a:pt x="672" y="467"/>
                  </a:moveTo>
                  <a:lnTo>
                    <a:pt x="672" y="467"/>
                  </a:lnTo>
                  <a:lnTo>
                    <a:pt x="672" y="467"/>
                  </a:lnTo>
                  <a:lnTo>
                    <a:pt x="672" y="467"/>
                  </a:lnTo>
                  <a:lnTo>
                    <a:pt x="672" y="467"/>
                  </a:lnTo>
                  <a:lnTo>
                    <a:pt x="672" y="467"/>
                  </a:lnTo>
                  <a:lnTo>
                    <a:pt x="672" y="467"/>
                  </a:lnTo>
                  <a:lnTo>
                    <a:pt x="675" y="467"/>
                  </a:lnTo>
                  <a:lnTo>
                    <a:pt x="675" y="467"/>
                  </a:lnTo>
                  <a:lnTo>
                    <a:pt x="675" y="467"/>
                  </a:lnTo>
                  <a:lnTo>
                    <a:pt x="675" y="467"/>
                  </a:lnTo>
                  <a:lnTo>
                    <a:pt x="675" y="467"/>
                  </a:lnTo>
                  <a:lnTo>
                    <a:pt x="675" y="467"/>
                  </a:lnTo>
                  <a:lnTo>
                    <a:pt x="675" y="467"/>
                  </a:lnTo>
                  <a:lnTo>
                    <a:pt x="675" y="467"/>
                  </a:lnTo>
                  <a:lnTo>
                    <a:pt x="672" y="467"/>
                  </a:lnTo>
                  <a:close/>
                  <a:moveTo>
                    <a:pt x="934" y="751"/>
                  </a:moveTo>
                  <a:lnTo>
                    <a:pt x="936" y="751"/>
                  </a:lnTo>
                  <a:lnTo>
                    <a:pt x="936" y="753"/>
                  </a:lnTo>
                  <a:lnTo>
                    <a:pt x="936" y="753"/>
                  </a:lnTo>
                  <a:lnTo>
                    <a:pt x="936" y="751"/>
                  </a:lnTo>
                  <a:lnTo>
                    <a:pt x="936" y="751"/>
                  </a:lnTo>
                  <a:lnTo>
                    <a:pt x="936" y="748"/>
                  </a:lnTo>
                  <a:lnTo>
                    <a:pt x="934" y="748"/>
                  </a:lnTo>
                  <a:lnTo>
                    <a:pt x="934" y="748"/>
                  </a:lnTo>
                  <a:lnTo>
                    <a:pt x="934" y="751"/>
                  </a:lnTo>
                  <a:lnTo>
                    <a:pt x="934" y="751"/>
                  </a:lnTo>
                  <a:lnTo>
                    <a:pt x="934" y="751"/>
                  </a:lnTo>
                  <a:close/>
                  <a:moveTo>
                    <a:pt x="878" y="841"/>
                  </a:moveTo>
                  <a:lnTo>
                    <a:pt x="878" y="839"/>
                  </a:lnTo>
                  <a:lnTo>
                    <a:pt x="878" y="839"/>
                  </a:lnTo>
                  <a:lnTo>
                    <a:pt x="878" y="839"/>
                  </a:lnTo>
                  <a:lnTo>
                    <a:pt x="875" y="839"/>
                  </a:lnTo>
                  <a:lnTo>
                    <a:pt x="875" y="839"/>
                  </a:lnTo>
                  <a:lnTo>
                    <a:pt x="875" y="839"/>
                  </a:lnTo>
                  <a:lnTo>
                    <a:pt x="875" y="841"/>
                  </a:lnTo>
                  <a:lnTo>
                    <a:pt x="875" y="841"/>
                  </a:lnTo>
                  <a:lnTo>
                    <a:pt x="875" y="844"/>
                  </a:lnTo>
                  <a:lnTo>
                    <a:pt x="875" y="844"/>
                  </a:lnTo>
                  <a:lnTo>
                    <a:pt x="875" y="844"/>
                  </a:lnTo>
                  <a:lnTo>
                    <a:pt x="878" y="844"/>
                  </a:lnTo>
                  <a:lnTo>
                    <a:pt x="878" y="844"/>
                  </a:lnTo>
                  <a:lnTo>
                    <a:pt x="878" y="844"/>
                  </a:lnTo>
                  <a:lnTo>
                    <a:pt x="878" y="844"/>
                  </a:lnTo>
                  <a:lnTo>
                    <a:pt x="880" y="844"/>
                  </a:lnTo>
                  <a:lnTo>
                    <a:pt x="880" y="844"/>
                  </a:lnTo>
                  <a:lnTo>
                    <a:pt x="880" y="844"/>
                  </a:lnTo>
                  <a:lnTo>
                    <a:pt x="880" y="841"/>
                  </a:lnTo>
                  <a:lnTo>
                    <a:pt x="878" y="841"/>
                  </a:lnTo>
                  <a:close/>
                  <a:moveTo>
                    <a:pt x="645" y="331"/>
                  </a:moveTo>
                  <a:lnTo>
                    <a:pt x="645" y="331"/>
                  </a:lnTo>
                  <a:lnTo>
                    <a:pt x="645" y="331"/>
                  </a:lnTo>
                  <a:lnTo>
                    <a:pt x="645" y="331"/>
                  </a:lnTo>
                  <a:lnTo>
                    <a:pt x="645" y="328"/>
                  </a:lnTo>
                  <a:lnTo>
                    <a:pt x="645" y="328"/>
                  </a:lnTo>
                  <a:lnTo>
                    <a:pt x="645" y="328"/>
                  </a:lnTo>
                  <a:lnTo>
                    <a:pt x="645" y="328"/>
                  </a:lnTo>
                  <a:lnTo>
                    <a:pt x="645" y="331"/>
                  </a:lnTo>
                  <a:close/>
                  <a:moveTo>
                    <a:pt x="987" y="751"/>
                  </a:moveTo>
                  <a:lnTo>
                    <a:pt x="987" y="751"/>
                  </a:lnTo>
                  <a:lnTo>
                    <a:pt x="987" y="751"/>
                  </a:lnTo>
                  <a:lnTo>
                    <a:pt x="984" y="751"/>
                  </a:lnTo>
                  <a:lnTo>
                    <a:pt x="984" y="751"/>
                  </a:lnTo>
                  <a:lnTo>
                    <a:pt x="984" y="751"/>
                  </a:lnTo>
                  <a:lnTo>
                    <a:pt x="987" y="751"/>
                  </a:lnTo>
                  <a:lnTo>
                    <a:pt x="987" y="751"/>
                  </a:lnTo>
                  <a:close/>
                  <a:moveTo>
                    <a:pt x="971" y="764"/>
                  </a:moveTo>
                  <a:lnTo>
                    <a:pt x="971" y="761"/>
                  </a:lnTo>
                  <a:lnTo>
                    <a:pt x="968" y="761"/>
                  </a:lnTo>
                  <a:lnTo>
                    <a:pt x="968" y="764"/>
                  </a:lnTo>
                  <a:lnTo>
                    <a:pt x="971" y="764"/>
                  </a:lnTo>
                  <a:lnTo>
                    <a:pt x="971" y="764"/>
                  </a:lnTo>
                  <a:close/>
                  <a:moveTo>
                    <a:pt x="974" y="793"/>
                  </a:moveTo>
                  <a:lnTo>
                    <a:pt x="974" y="793"/>
                  </a:lnTo>
                  <a:lnTo>
                    <a:pt x="974" y="793"/>
                  </a:lnTo>
                  <a:lnTo>
                    <a:pt x="974" y="793"/>
                  </a:lnTo>
                  <a:close/>
                  <a:moveTo>
                    <a:pt x="974" y="764"/>
                  </a:moveTo>
                  <a:lnTo>
                    <a:pt x="974" y="764"/>
                  </a:lnTo>
                  <a:lnTo>
                    <a:pt x="974" y="764"/>
                  </a:lnTo>
                  <a:lnTo>
                    <a:pt x="974" y="764"/>
                  </a:lnTo>
                  <a:lnTo>
                    <a:pt x="974" y="764"/>
                  </a:lnTo>
                  <a:lnTo>
                    <a:pt x="974" y="764"/>
                  </a:lnTo>
                  <a:lnTo>
                    <a:pt x="974" y="767"/>
                  </a:lnTo>
                  <a:lnTo>
                    <a:pt x="974" y="767"/>
                  </a:lnTo>
                  <a:lnTo>
                    <a:pt x="974" y="764"/>
                  </a:lnTo>
                  <a:lnTo>
                    <a:pt x="974" y="764"/>
                  </a:lnTo>
                  <a:lnTo>
                    <a:pt x="974" y="764"/>
                  </a:lnTo>
                  <a:close/>
                  <a:moveTo>
                    <a:pt x="966" y="761"/>
                  </a:moveTo>
                  <a:lnTo>
                    <a:pt x="966" y="761"/>
                  </a:lnTo>
                  <a:lnTo>
                    <a:pt x="966" y="761"/>
                  </a:lnTo>
                  <a:lnTo>
                    <a:pt x="966" y="761"/>
                  </a:lnTo>
                  <a:close/>
                  <a:moveTo>
                    <a:pt x="971" y="799"/>
                  </a:moveTo>
                  <a:lnTo>
                    <a:pt x="971" y="799"/>
                  </a:lnTo>
                  <a:lnTo>
                    <a:pt x="968" y="801"/>
                  </a:lnTo>
                  <a:lnTo>
                    <a:pt x="968" y="801"/>
                  </a:lnTo>
                  <a:lnTo>
                    <a:pt x="971" y="801"/>
                  </a:lnTo>
                  <a:lnTo>
                    <a:pt x="971" y="799"/>
                  </a:lnTo>
                  <a:lnTo>
                    <a:pt x="974" y="799"/>
                  </a:lnTo>
                  <a:lnTo>
                    <a:pt x="974" y="796"/>
                  </a:lnTo>
                  <a:lnTo>
                    <a:pt x="974" y="796"/>
                  </a:lnTo>
                  <a:lnTo>
                    <a:pt x="971" y="799"/>
                  </a:lnTo>
                  <a:close/>
                  <a:moveTo>
                    <a:pt x="982" y="785"/>
                  </a:moveTo>
                  <a:lnTo>
                    <a:pt x="982" y="788"/>
                  </a:lnTo>
                  <a:lnTo>
                    <a:pt x="979" y="793"/>
                  </a:lnTo>
                  <a:lnTo>
                    <a:pt x="979" y="791"/>
                  </a:lnTo>
                  <a:lnTo>
                    <a:pt x="982" y="788"/>
                  </a:lnTo>
                  <a:lnTo>
                    <a:pt x="982" y="788"/>
                  </a:lnTo>
                  <a:lnTo>
                    <a:pt x="982" y="785"/>
                  </a:lnTo>
                  <a:lnTo>
                    <a:pt x="982" y="785"/>
                  </a:lnTo>
                  <a:close/>
                  <a:moveTo>
                    <a:pt x="976" y="764"/>
                  </a:moveTo>
                  <a:lnTo>
                    <a:pt x="976" y="764"/>
                  </a:lnTo>
                  <a:lnTo>
                    <a:pt x="976" y="761"/>
                  </a:lnTo>
                  <a:lnTo>
                    <a:pt x="974" y="759"/>
                  </a:lnTo>
                  <a:lnTo>
                    <a:pt x="974" y="759"/>
                  </a:lnTo>
                  <a:lnTo>
                    <a:pt x="974" y="761"/>
                  </a:lnTo>
                  <a:lnTo>
                    <a:pt x="974" y="761"/>
                  </a:lnTo>
                  <a:lnTo>
                    <a:pt x="976" y="764"/>
                  </a:lnTo>
                  <a:close/>
                  <a:moveTo>
                    <a:pt x="1016" y="721"/>
                  </a:moveTo>
                  <a:lnTo>
                    <a:pt x="1014" y="724"/>
                  </a:lnTo>
                  <a:lnTo>
                    <a:pt x="1011" y="729"/>
                  </a:lnTo>
                  <a:lnTo>
                    <a:pt x="1008" y="729"/>
                  </a:lnTo>
                  <a:lnTo>
                    <a:pt x="1006" y="732"/>
                  </a:lnTo>
                  <a:lnTo>
                    <a:pt x="1006" y="732"/>
                  </a:lnTo>
                  <a:lnTo>
                    <a:pt x="1006" y="735"/>
                  </a:lnTo>
                  <a:lnTo>
                    <a:pt x="1006" y="735"/>
                  </a:lnTo>
                  <a:lnTo>
                    <a:pt x="1008" y="735"/>
                  </a:lnTo>
                  <a:lnTo>
                    <a:pt x="1008" y="737"/>
                  </a:lnTo>
                  <a:lnTo>
                    <a:pt x="1008" y="740"/>
                  </a:lnTo>
                  <a:lnTo>
                    <a:pt x="1003" y="745"/>
                  </a:lnTo>
                  <a:lnTo>
                    <a:pt x="1003" y="753"/>
                  </a:lnTo>
                  <a:lnTo>
                    <a:pt x="998" y="753"/>
                  </a:lnTo>
                  <a:lnTo>
                    <a:pt x="998" y="756"/>
                  </a:lnTo>
                  <a:lnTo>
                    <a:pt x="998" y="756"/>
                  </a:lnTo>
                  <a:lnTo>
                    <a:pt x="998" y="756"/>
                  </a:lnTo>
                  <a:lnTo>
                    <a:pt x="998" y="753"/>
                  </a:lnTo>
                  <a:lnTo>
                    <a:pt x="998" y="753"/>
                  </a:lnTo>
                  <a:lnTo>
                    <a:pt x="1000" y="756"/>
                  </a:lnTo>
                  <a:lnTo>
                    <a:pt x="1000" y="756"/>
                  </a:lnTo>
                  <a:lnTo>
                    <a:pt x="1000" y="759"/>
                  </a:lnTo>
                  <a:lnTo>
                    <a:pt x="1000" y="756"/>
                  </a:lnTo>
                  <a:lnTo>
                    <a:pt x="1000" y="756"/>
                  </a:lnTo>
                  <a:lnTo>
                    <a:pt x="1000" y="756"/>
                  </a:lnTo>
                  <a:lnTo>
                    <a:pt x="1000" y="756"/>
                  </a:lnTo>
                  <a:lnTo>
                    <a:pt x="1000" y="759"/>
                  </a:lnTo>
                  <a:lnTo>
                    <a:pt x="1000" y="759"/>
                  </a:lnTo>
                  <a:lnTo>
                    <a:pt x="1000" y="761"/>
                  </a:lnTo>
                  <a:lnTo>
                    <a:pt x="998" y="761"/>
                  </a:lnTo>
                  <a:lnTo>
                    <a:pt x="995" y="761"/>
                  </a:lnTo>
                  <a:lnTo>
                    <a:pt x="995" y="764"/>
                  </a:lnTo>
                  <a:lnTo>
                    <a:pt x="995" y="767"/>
                  </a:lnTo>
                  <a:lnTo>
                    <a:pt x="992" y="769"/>
                  </a:lnTo>
                  <a:lnTo>
                    <a:pt x="992" y="772"/>
                  </a:lnTo>
                  <a:lnTo>
                    <a:pt x="990" y="775"/>
                  </a:lnTo>
                  <a:lnTo>
                    <a:pt x="990" y="775"/>
                  </a:lnTo>
                  <a:lnTo>
                    <a:pt x="990" y="775"/>
                  </a:lnTo>
                  <a:lnTo>
                    <a:pt x="987" y="780"/>
                  </a:lnTo>
                  <a:lnTo>
                    <a:pt x="987" y="780"/>
                  </a:lnTo>
                  <a:lnTo>
                    <a:pt x="984" y="783"/>
                  </a:lnTo>
                  <a:lnTo>
                    <a:pt x="984" y="783"/>
                  </a:lnTo>
                  <a:lnTo>
                    <a:pt x="984" y="785"/>
                  </a:lnTo>
                  <a:lnTo>
                    <a:pt x="984" y="785"/>
                  </a:lnTo>
                  <a:lnTo>
                    <a:pt x="984" y="785"/>
                  </a:lnTo>
                  <a:lnTo>
                    <a:pt x="987" y="783"/>
                  </a:lnTo>
                  <a:lnTo>
                    <a:pt x="990" y="780"/>
                  </a:lnTo>
                  <a:lnTo>
                    <a:pt x="992" y="775"/>
                  </a:lnTo>
                  <a:lnTo>
                    <a:pt x="995" y="769"/>
                  </a:lnTo>
                  <a:lnTo>
                    <a:pt x="998" y="767"/>
                  </a:lnTo>
                  <a:lnTo>
                    <a:pt x="998" y="764"/>
                  </a:lnTo>
                  <a:lnTo>
                    <a:pt x="998" y="764"/>
                  </a:lnTo>
                  <a:lnTo>
                    <a:pt x="1000" y="764"/>
                  </a:lnTo>
                  <a:lnTo>
                    <a:pt x="1000" y="761"/>
                  </a:lnTo>
                  <a:lnTo>
                    <a:pt x="1008" y="751"/>
                  </a:lnTo>
                  <a:lnTo>
                    <a:pt x="1008" y="751"/>
                  </a:lnTo>
                  <a:lnTo>
                    <a:pt x="1008" y="748"/>
                  </a:lnTo>
                  <a:lnTo>
                    <a:pt x="1008" y="743"/>
                  </a:lnTo>
                  <a:lnTo>
                    <a:pt x="1011" y="737"/>
                  </a:lnTo>
                  <a:lnTo>
                    <a:pt x="1016" y="732"/>
                  </a:lnTo>
                  <a:lnTo>
                    <a:pt x="1016" y="729"/>
                  </a:lnTo>
                  <a:lnTo>
                    <a:pt x="1016" y="729"/>
                  </a:lnTo>
                  <a:lnTo>
                    <a:pt x="1016" y="727"/>
                  </a:lnTo>
                  <a:lnTo>
                    <a:pt x="1016" y="727"/>
                  </a:lnTo>
                  <a:lnTo>
                    <a:pt x="1016" y="724"/>
                  </a:lnTo>
                  <a:lnTo>
                    <a:pt x="1016" y="724"/>
                  </a:lnTo>
                  <a:lnTo>
                    <a:pt x="1019" y="724"/>
                  </a:lnTo>
                  <a:lnTo>
                    <a:pt x="1019" y="724"/>
                  </a:lnTo>
                  <a:lnTo>
                    <a:pt x="1019" y="721"/>
                  </a:lnTo>
                  <a:lnTo>
                    <a:pt x="1016" y="721"/>
                  </a:lnTo>
                  <a:lnTo>
                    <a:pt x="1016" y="721"/>
                  </a:lnTo>
                  <a:close/>
                  <a:moveTo>
                    <a:pt x="982" y="753"/>
                  </a:moveTo>
                  <a:lnTo>
                    <a:pt x="979" y="753"/>
                  </a:lnTo>
                  <a:lnTo>
                    <a:pt x="979" y="753"/>
                  </a:lnTo>
                  <a:lnTo>
                    <a:pt x="979" y="753"/>
                  </a:lnTo>
                  <a:lnTo>
                    <a:pt x="979" y="756"/>
                  </a:lnTo>
                  <a:lnTo>
                    <a:pt x="979" y="756"/>
                  </a:lnTo>
                  <a:lnTo>
                    <a:pt x="982" y="753"/>
                  </a:lnTo>
                  <a:close/>
                  <a:moveTo>
                    <a:pt x="974" y="767"/>
                  </a:moveTo>
                  <a:lnTo>
                    <a:pt x="976" y="769"/>
                  </a:lnTo>
                  <a:lnTo>
                    <a:pt x="976" y="767"/>
                  </a:lnTo>
                  <a:lnTo>
                    <a:pt x="976" y="767"/>
                  </a:lnTo>
                  <a:lnTo>
                    <a:pt x="974" y="767"/>
                  </a:lnTo>
                  <a:close/>
                  <a:moveTo>
                    <a:pt x="966" y="780"/>
                  </a:moveTo>
                  <a:lnTo>
                    <a:pt x="968" y="780"/>
                  </a:lnTo>
                  <a:lnTo>
                    <a:pt x="966" y="780"/>
                  </a:lnTo>
                  <a:lnTo>
                    <a:pt x="966" y="780"/>
                  </a:lnTo>
                  <a:close/>
                  <a:moveTo>
                    <a:pt x="971" y="764"/>
                  </a:moveTo>
                  <a:lnTo>
                    <a:pt x="971" y="764"/>
                  </a:lnTo>
                  <a:lnTo>
                    <a:pt x="974" y="767"/>
                  </a:lnTo>
                  <a:lnTo>
                    <a:pt x="971" y="764"/>
                  </a:lnTo>
                  <a:close/>
                  <a:moveTo>
                    <a:pt x="907" y="836"/>
                  </a:moveTo>
                  <a:lnTo>
                    <a:pt x="904" y="839"/>
                  </a:lnTo>
                  <a:lnTo>
                    <a:pt x="907" y="839"/>
                  </a:lnTo>
                  <a:lnTo>
                    <a:pt x="907" y="839"/>
                  </a:lnTo>
                  <a:lnTo>
                    <a:pt x="907" y="839"/>
                  </a:lnTo>
                  <a:lnTo>
                    <a:pt x="907" y="836"/>
                  </a:lnTo>
                  <a:lnTo>
                    <a:pt x="907" y="836"/>
                  </a:lnTo>
                  <a:close/>
                  <a:moveTo>
                    <a:pt x="891" y="833"/>
                  </a:moveTo>
                  <a:lnTo>
                    <a:pt x="886" y="831"/>
                  </a:lnTo>
                  <a:lnTo>
                    <a:pt x="886" y="831"/>
                  </a:lnTo>
                  <a:lnTo>
                    <a:pt x="886" y="831"/>
                  </a:lnTo>
                  <a:lnTo>
                    <a:pt x="886" y="831"/>
                  </a:lnTo>
                  <a:lnTo>
                    <a:pt x="886" y="831"/>
                  </a:lnTo>
                  <a:lnTo>
                    <a:pt x="883" y="831"/>
                  </a:lnTo>
                  <a:lnTo>
                    <a:pt x="886" y="831"/>
                  </a:lnTo>
                  <a:lnTo>
                    <a:pt x="886" y="831"/>
                  </a:lnTo>
                  <a:lnTo>
                    <a:pt x="883" y="831"/>
                  </a:lnTo>
                  <a:lnTo>
                    <a:pt x="894" y="841"/>
                  </a:lnTo>
                  <a:lnTo>
                    <a:pt x="896" y="844"/>
                  </a:lnTo>
                  <a:lnTo>
                    <a:pt x="896" y="844"/>
                  </a:lnTo>
                  <a:lnTo>
                    <a:pt x="896" y="844"/>
                  </a:lnTo>
                  <a:lnTo>
                    <a:pt x="899" y="841"/>
                  </a:lnTo>
                  <a:lnTo>
                    <a:pt x="896" y="836"/>
                  </a:lnTo>
                  <a:lnTo>
                    <a:pt x="891" y="833"/>
                  </a:lnTo>
                  <a:close/>
                  <a:moveTo>
                    <a:pt x="883" y="839"/>
                  </a:moveTo>
                  <a:lnTo>
                    <a:pt x="883" y="841"/>
                  </a:lnTo>
                  <a:lnTo>
                    <a:pt x="883" y="841"/>
                  </a:lnTo>
                  <a:lnTo>
                    <a:pt x="883" y="841"/>
                  </a:lnTo>
                  <a:lnTo>
                    <a:pt x="883" y="841"/>
                  </a:lnTo>
                  <a:lnTo>
                    <a:pt x="883" y="841"/>
                  </a:lnTo>
                  <a:lnTo>
                    <a:pt x="883" y="841"/>
                  </a:lnTo>
                  <a:lnTo>
                    <a:pt x="883" y="844"/>
                  </a:lnTo>
                  <a:lnTo>
                    <a:pt x="883" y="844"/>
                  </a:lnTo>
                  <a:lnTo>
                    <a:pt x="886" y="844"/>
                  </a:lnTo>
                  <a:lnTo>
                    <a:pt x="886" y="841"/>
                  </a:lnTo>
                  <a:lnTo>
                    <a:pt x="883" y="841"/>
                  </a:lnTo>
                  <a:lnTo>
                    <a:pt x="883" y="839"/>
                  </a:lnTo>
                  <a:close/>
                  <a:moveTo>
                    <a:pt x="886" y="844"/>
                  </a:moveTo>
                  <a:lnTo>
                    <a:pt x="888" y="844"/>
                  </a:lnTo>
                  <a:lnTo>
                    <a:pt x="888" y="844"/>
                  </a:lnTo>
                  <a:lnTo>
                    <a:pt x="888" y="841"/>
                  </a:lnTo>
                  <a:lnTo>
                    <a:pt x="888" y="841"/>
                  </a:lnTo>
                  <a:lnTo>
                    <a:pt x="886" y="844"/>
                  </a:lnTo>
                  <a:close/>
                  <a:moveTo>
                    <a:pt x="899" y="833"/>
                  </a:moveTo>
                  <a:lnTo>
                    <a:pt x="896" y="833"/>
                  </a:lnTo>
                  <a:lnTo>
                    <a:pt x="896" y="836"/>
                  </a:lnTo>
                  <a:lnTo>
                    <a:pt x="896" y="836"/>
                  </a:lnTo>
                  <a:lnTo>
                    <a:pt x="896" y="836"/>
                  </a:lnTo>
                  <a:lnTo>
                    <a:pt x="899" y="836"/>
                  </a:lnTo>
                  <a:lnTo>
                    <a:pt x="899" y="839"/>
                  </a:lnTo>
                  <a:lnTo>
                    <a:pt x="899" y="836"/>
                  </a:lnTo>
                  <a:lnTo>
                    <a:pt x="899" y="836"/>
                  </a:lnTo>
                  <a:lnTo>
                    <a:pt x="899" y="833"/>
                  </a:lnTo>
                  <a:close/>
                  <a:moveTo>
                    <a:pt x="960" y="791"/>
                  </a:moveTo>
                  <a:lnTo>
                    <a:pt x="960" y="791"/>
                  </a:lnTo>
                  <a:lnTo>
                    <a:pt x="960" y="791"/>
                  </a:lnTo>
                  <a:lnTo>
                    <a:pt x="960" y="791"/>
                  </a:lnTo>
                  <a:close/>
                  <a:moveTo>
                    <a:pt x="963" y="804"/>
                  </a:moveTo>
                  <a:lnTo>
                    <a:pt x="963" y="804"/>
                  </a:lnTo>
                  <a:lnTo>
                    <a:pt x="963" y="804"/>
                  </a:lnTo>
                  <a:lnTo>
                    <a:pt x="963" y="807"/>
                  </a:lnTo>
                  <a:lnTo>
                    <a:pt x="963" y="807"/>
                  </a:lnTo>
                  <a:lnTo>
                    <a:pt x="963" y="807"/>
                  </a:lnTo>
                  <a:lnTo>
                    <a:pt x="960" y="804"/>
                  </a:lnTo>
                  <a:lnTo>
                    <a:pt x="960" y="804"/>
                  </a:lnTo>
                  <a:lnTo>
                    <a:pt x="960" y="804"/>
                  </a:lnTo>
                  <a:lnTo>
                    <a:pt x="960" y="804"/>
                  </a:lnTo>
                  <a:lnTo>
                    <a:pt x="958" y="809"/>
                  </a:lnTo>
                  <a:lnTo>
                    <a:pt x="955" y="809"/>
                  </a:lnTo>
                  <a:lnTo>
                    <a:pt x="955" y="809"/>
                  </a:lnTo>
                  <a:lnTo>
                    <a:pt x="955" y="809"/>
                  </a:lnTo>
                  <a:lnTo>
                    <a:pt x="960" y="809"/>
                  </a:lnTo>
                  <a:lnTo>
                    <a:pt x="963" y="809"/>
                  </a:lnTo>
                  <a:lnTo>
                    <a:pt x="963" y="807"/>
                  </a:lnTo>
                  <a:lnTo>
                    <a:pt x="963" y="807"/>
                  </a:lnTo>
                  <a:lnTo>
                    <a:pt x="963" y="807"/>
                  </a:lnTo>
                  <a:lnTo>
                    <a:pt x="963" y="804"/>
                  </a:lnTo>
                  <a:lnTo>
                    <a:pt x="963" y="804"/>
                  </a:lnTo>
                  <a:close/>
                  <a:moveTo>
                    <a:pt x="950" y="780"/>
                  </a:moveTo>
                  <a:lnTo>
                    <a:pt x="950" y="780"/>
                  </a:lnTo>
                  <a:lnTo>
                    <a:pt x="950" y="780"/>
                  </a:lnTo>
                  <a:lnTo>
                    <a:pt x="950" y="780"/>
                  </a:lnTo>
                  <a:close/>
                  <a:moveTo>
                    <a:pt x="934" y="823"/>
                  </a:moveTo>
                  <a:lnTo>
                    <a:pt x="934" y="823"/>
                  </a:lnTo>
                  <a:lnTo>
                    <a:pt x="931" y="825"/>
                  </a:lnTo>
                  <a:lnTo>
                    <a:pt x="926" y="828"/>
                  </a:lnTo>
                  <a:lnTo>
                    <a:pt x="923" y="831"/>
                  </a:lnTo>
                  <a:lnTo>
                    <a:pt x="923" y="831"/>
                  </a:lnTo>
                  <a:lnTo>
                    <a:pt x="923" y="831"/>
                  </a:lnTo>
                  <a:lnTo>
                    <a:pt x="926" y="828"/>
                  </a:lnTo>
                  <a:lnTo>
                    <a:pt x="928" y="828"/>
                  </a:lnTo>
                  <a:lnTo>
                    <a:pt x="928" y="831"/>
                  </a:lnTo>
                  <a:lnTo>
                    <a:pt x="928" y="831"/>
                  </a:lnTo>
                  <a:lnTo>
                    <a:pt x="928" y="831"/>
                  </a:lnTo>
                  <a:lnTo>
                    <a:pt x="928" y="831"/>
                  </a:lnTo>
                  <a:lnTo>
                    <a:pt x="928" y="831"/>
                  </a:lnTo>
                  <a:lnTo>
                    <a:pt x="931" y="828"/>
                  </a:lnTo>
                  <a:lnTo>
                    <a:pt x="931" y="828"/>
                  </a:lnTo>
                  <a:lnTo>
                    <a:pt x="934" y="825"/>
                  </a:lnTo>
                  <a:lnTo>
                    <a:pt x="934" y="825"/>
                  </a:lnTo>
                  <a:lnTo>
                    <a:pt x="934" y="823"/>
                  </a:lnTo>
                  <a:lnTo>
                    <a:pt x="934" y="823"/>
                  </a:lnTo>
                  <a:close/>
                  <a:moveTo>
                    <a:pt x="947" y="815"/>
                  </a:moveTo>
                  <a:lnTo>
                    <a:pt x="947" y="815"/>
                  </a:lnTo>
                  <a:lnTo>
                    <a:pt x="944" y="817"/>
                  </a:lnTo>
                  <a:lnTo>
                    <a:pt x="934" y="825"/>
                  </a:lnTo>
                  <a:lnTo>
                    <a:pt x="936" y="825"/>
                  </a:lnTo>
                  <a:lnTo>
                    <a:pt x="936" y="825"/>
                  </a:lnTo>
                  <a:lnTo>
                    <a:pt x="944" y="820"/>
                  </a:lnTo>
                  <a:lnTo>
                    <a:pt x="944" y="817"/>
                  </a:lnTo>
                  <a:lnTo>
                    <a:pt x="947" y="817"/>
                  </a:lnTo>
                  <a:lnTo>
                    <a:pt x="947" y="817"/>
                  </a:lnTo>
                  <a:lnTo>
                    <a:pt x="947" y="817"/>
                  </a:lnTo>
                  <a:lnTo>
                    <a:pt x="947" y="815"/>
                  </a:lnTo>
                  <a:lnTo>
                    <a:pt x="947" y="815"/>
                  </a:lnTo>
                  <a:close/>
                  <a:moveTo>
                    <a:pt x="963" y="777"/>
                  </a:moveTo>
                  <a:lnTo>
                    <a:pt x="963" y="775"/>
                  </a:lnTo>
                  <a:lnTo>
                    <a:pt x="963" y="775"/>
                  </a:lnTo>
                  <a:lnTo>
                    <a:pt x="963" y="777"/>
                  </a:lnTo>
                  <a:lnTo>
                    <a:pt x="963" y="777"/>
                  </a:lnTo>
                  <a:close/>
                  <a:moveTo>
                    <a:pt x="1022" y="700"/>
                  </a:moveTo>
                  <a:lnTo>
                    <a:pt x="1022" y="700"/>
                  </a:lnTo>
                  <a:lnTo>
                    <a:pt x="1022" y="700"/>
                  </a:lnTo>
                  <a:lnTo>
                    <a:pt x="1022" y="700"/>
                  </a:lnTo>
                  <a:lnTo>
                    <a:pt x="1022" y="711"/>
                  </a:lnTo>
                  <a:lnTo>
                    <a:pt x="1019" y="711"/>
                  </a:lnTo>
                  <a:lnTo>
                    <a:pt x="1019" y="713"/>
                  </a:lnTo>
                  <a:lnTo>
                    <a:pt x="1019" y="713"/>
                  </a:lnTo>
                  <a:lnTo>
                    <a:pt x="1019" y="713"/>
                  </a:lnTo>
                  <a:lnTo>
                    <a:pt x="1019" y="713"/>
                  </a:lnTo>
                  <a:lnTo>
                    <a:pt x="1019" y="713"/>
                  </a:lnTo>
                  <a:lnTo>
                    <a:pt x="1019" y="713"/>
                  </a:lnTo>
                  <a:lnTo>
                    <a:pt x="1019" y="713"/>
                  </a:lnTo>
                  <a:lnTo>
                    <a:pt x="1019" y="713"/>
                  </a:lnTo>
                  <a:lnTo>
                    <a:pt x="1022" y="711"/>
                  </a:lnTo>
                  <a:lnTo>
                    <a:pt x="1022" y="708"/>
                  </a:lnTo>
                  <a:lnTo>
                    <a:pt x="1022" y="705"/>
                  </a:lnTo>
                  <a:lnTo>
                    <a:pt x="1022" y="703"/>
                  </a:lnTo>
                  <a:lnTo>
                    <a:pt x="1022" y="703"/>
                  </a:lnTo>
                  <a:lnTo>
                    <a:pt x="1022" y="700"/>
                  </a:lnTo>
                  <a:lnTo>
                    <a:pt x="1022" y="700"/>
                  </a:lnTo>
                  <a:lnTo>
                    <a:pt x="1022" y="700"/>
                  </a:lnTo>
                  <a:close/>
                  <a:moveTo>
                    <a:pt x="995" y="759"/>
                  </a:moveTo>
                  <a:lnTo>
                    <a:pt x="995" y="759"/>
                  </a:lnTo>
                  <a:lnTo>
                    <a:pt x="995" y="759"/>
                  </a:lnTo>
                  <a:lnTo>
                    <a:pt x="995" y="759"/>
                  </a:lnTo>
                  <a:lnTo>
                    <a:pt x="995" y="761"/>
                  </a:lnTo>
                  <a:lnTo>
                    <a:pt x="992" y="761"/>
                  </a:lnTo>
                  <a:lnTo>
                    <a:pt x="992" y="761"/>
                  </a:lnTo>
                  <a:lnTo>
                    <a:pt x="995" y="761"/>
                  </a:lnTo>
                  <a:lnTo>
                    <a:pt x="995" y="759"/>
                  </a:lnTo>
                  <a:lnTo>
                    <a:pt x="995" y="759"/>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50" name="Freeform 47">
              <a:extLst>
                <a:ext uri="{FF2B5EF4-FFF2-40B4-BE49-F238E27FC236}">
                  <a16:creationId xmlns="" xmlns:a16="http://schemas.microsoft.com/office/drawing/2014/main" id="{AB68992D-C558-473C-AA1B-F35BB34F9CD5}"/>
                </a:ext>
              </a:extLst>
            </p:cNvPr>
            <p:cNvSpPr>
              <a:spLocks/>
            </p:cNvSpPr>
            <p:nvPr/>
          </p:nvSpPr>
          <p:spPr bwMode="auto">
            <a:xfrm>
              <a:off x="6276" y="1237"/>
              <a:ext cx="120" cy="195"/>
            </a:xfrm>
            <a:custGeom>
              <a:avLst/>
              <a:gdLst>
                <a:gd name="T0" fmla="*/ 35 w 120"/>
                <a:gd name="T1" fmla="*/ 8 h 195"/>
                <a:gd name="T2" fmla="*/ 32 w 120"/>
                <a:gd name="T3" fmla="*/ 16 h 195"/>
                <a:gd name="T4" fmla="*/ 24 w 120"/>
                <a:gd name="T5" fmla="*/ 27 h 195"/>
                <a:gd name="T6" fmla="*/ 24 w 120"/>
                <a:gd name="T7" fmla="*/ 32 h 195"/>
                <a:gd name="T8" fmla="*/ 27 w 120"/>
                <a:gd name="T9" fmla="*/ 37 h 195"/>
                <a:gd name="T10" fmla="*/ 32 w 120"/>
                <a:gd name="T11" fmla="*/ 43 h 195"/>
                <a:gd name="T12" fmla="*/ 29 w 120"/>
                <a:gd name="T13" fmla="*/ 51 h 195"/>
                <a:gd name="T14" fmla="*/ 35 w 120"/>
                <a:gd name="T15" fmla="*/ 56 h 195"/>
                <a:gd name="T16" fmla="*/ 45 w 120"/>
                <a:gd name="T17" fmla="*/ 67 h 195"/>
                <a:gd name="T18" fmla="*/ 48 w 120"/>
                <a:gd name="T19" fmla="*/ 67 h 195"/>
                <a:gd name="T20" fmla="*/ 56 w 120"/>
                <a:gd name="T21" fmla="*/ 77 h 195"/>
                <a:gd name="T22" fmla="*/ 61 w 120"/>
                <a:gd name="T23" fmla="*/ 93 h 195"/>
                <a:gd name="T24" fmla="*/ 64 w 120"/>
                <a:gd name="T25" fmla="*/ 99 h 195"/>
                <a:gd name="T26" fmla="*/ 67 w 120"/>
                <a:gd name="T27" fmla="*/ 104 h 195"/>
                <a:gd name="T28" fmla="*/ 75 w 120"/>
                <a:gd name="T29" fmla="*/ 115 h 195"/>
                <a:gd name="T30" fmla="*/ 77 w 120"/>
                <a:gd name="T31" fmla="*/ 120 h 195"/>
                <a:gd name="T32" fmla="*/ 96 w 120"/>
                <a:gd name="T33" fmla="*/ 134 h 195"/>
                <a:gd name="T34" fmla="*/ 104 w 120"/>
                <a:gd name="T35" fmla="*/ 131 h 195"/>
                <a:gd name="T36" fmla="*/ 112 w 120"/>
                <a:gd name="T37" fmla="*/ 152 h 195"/>
                <a:gd name="T38" fmla="*/ 107 w 120"/>
                <a:gd name="T39" fmla="*/ 144 h 195"/>
                <a:gd name="T40" fmla="*/ 104 w 120"/>
                <a:gd name="T41" fmla="*/ 152 h 195"/>
                <a:gd name="T42" fmla="*/ 101 w 120"/>
                <a:gd name="T43" fmla="*/ 152 h 195"/>
                <a:gd name="T44" fmla="*/ 101 w 120"/>
                <a:gd name="T45" fmla="*/ 152 h 195"/>
                <a:gd name="T46" fmla="*/ 107 w 120"/>
                <a:gd name="T47" fmla="*/ 155 h 195"/>
                <a:gd name="T48" fmla="*/ 99 w 120"/>
                <a:gd name="T49" fmla="*/ 160 h 195"/>
                <a:gd name="T50" fmla="*/ 99 w 120"/>
                <a:gd name="T51" fmla="*/ 163 h 195"/>
                <a:gd name="T52" fmla="*/ 99 w 120"/>
                <a:gd name="T53" fmla="*/ 166 h 195"/>
                <a:gd name="T54" fmla="*/ 107 w 120"/>
                <a:gd name="T55" fmla="*/ 160 h 195"/>
                <a:gd name="T56" fmla="*/ 110 w 120"/>
                <a:gd name="T57" fmla="*/ 163 h 195"/>
                <a:gd name="T58" fmla="*/ 112 w 120"/>
                <a:gd name="T59" fmla="*/ 158 h 195"/>
                <a:gd name="T60" fmla="*/ 112 w 120"/>
                <a:gd name="T61" fmla="*/ 155 h 195"/>
                <a:gd name="T62" fmla="*/ 115 w 120"/>
                <a:gd name="T63" fmla="*/ 166 h 195"/>
                <a:gd name="T64" fmla="*/ 120 w 120"/>
                <a:gd name="T65" fmla="*/ 174 h 195"/>
                <a:gd name="T66" fmla="*/ 118 w 120"/>
                <a:gd name="T67" fmla="*/ 179 h 195"/>
                <a:gd name="T68" fmla="*/ 115 w 120"/>
                <a:gd name="T69" fmla="*/ 179 h 195"/>
                <a:gd name="T70" fmla="*/ 107 w 120"/>
                <a:gd name="T71" fmla="*/ 182 h 195"/>
                <a:gd name="T72" fmla="*/ 83 w 120"/>
                <a:gd name="T73" fmla="*/ 187 h 195"/>
                <a:gd name="T74" fmla="*/ 56 w 120"/>
                <a:gd name="T75" fmla="*/ 192 h 195"/>
                <a:gd name="T76" fmla="*/ 45 w 120"/>
                <a:gd name="T77" fmla="*/ 182 h 195"/>
                <a:gd name="T78" fmla="*/ 37 w 120"/>
                <a:gd name="T79" fmla="*/ 152 h 195"/>
                <a:gd name="T80" fmla="*/ 29 w 120"/>
                <a:gd name="T81" fmla="*/ 123 h 195"/>
                <a:gd name="T82" fmla="*/ 21 w 120"/>
                <a:gd name="T83" fmla="*/ 93 h 195"/>
                <a:gd name="T84" fmla="*/ 11 w 120"/>
                <a:gd name="T85" fmla="*/ 61 h 195"/>
                <a:gd name="T86" fmla="*/ 3 w 120"/>
                <a:gd name="T87" fmla="*/ 32 h 195"/>
                <a:gd name="T88" fmla="*/ 3 w 120"/>
                <a:gd name="T89" fmla="*/ 24 h 195"/>
                <a:gd name="T90" fmla="*/ 8 w 120"/>
                <a:gd name="T91" fmla="*/ 8 h 195"/>
                <a:gd name="T92" fmla="*/ 13 w 120"/>
                <a:gd name="T93" fmla="*/ 3 h 195"/>
                <a:gd name="T94" fmla="*/ 21 w 120"/>
                <a:gd name="T95" fmla="*/ 0 h 195"/>
                <a:gd name="T96" fmla="*/ 35 w 120"/>
                <a:gd name="T97" fmla="*/ 0 h 195"/>
                <a:gd name="T98" fmla="*/ 37 w 120"/>
                <a:gd name="T99" fmla="*/ 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 h="195">
                  <a:moveTo>
                    <a:pt x="37" y="3"/>
                  </a:moveTo>
                  <a:lnTo>
                    <a:pt x="37" y="3"/>
                  </a:lnTo>
                  <a:lnTo>
                    <a:pt x="35" y="8"/>
                  </a:lnTo>
                  <a:lnTo>
                    <a:pt x="32" y="8"/>
                  </a:lnTo>
                  <a:lnTo>
                    <a:pt x="32" y="13"/>
                  </a:lnTo>
                  <a:lnTo>
                    <a:pt x="32" y="16"/>
                  </a:lnTo>
                  <a:lnTo>
                    <a:pt x="29" y="24"/>
                  </a:lnTo>
                  <a:lnTo>
                    <a:pt x="27" y="24"/>
                  </a:lnTo>
                  <a:lnTo>
                    <a:pt x="24" y="27"/>
                  </a:lnTo>
                  <a:lnTo>
                    <a:pt x="24" y="29"/>
                  </a:lnTo>
                  <a:lnTo>
                    <a:pt x="24" y="29"/>
                  </a:lnTo>
                  <a:lnTo>
                    <a:pt x="24" y="32"/>
                  </a:lnTo>
                  <a:lnTo>
                    <a:pt x="24" y="32"/>
                  </a:lnTo>
                  <a:lnTo>
                    <a:pt x="24" y="35"/>
                  </a:lnTo>
                  <a:lnTo>
                    <a:pt x="27" y="37"/>
                  </a:lnTo>
                  <a:lnTo>
                    <a:pt x="29" y="37"/>
                  </a:lnTo>
                  <a:lnTo>
                    <a:pt x="32" y="40"/>
                  </a:lnTo>
                  <a:lnTo>
                    <a:pt x="32" y="43"/>
                  </a:lnTo>
                  <a:lnTo>
                    <a:pt x="32" y="45"/>
                  </a:lnTo>
                  <a:lnTo>
                    <a:pt x="29" y="48"/>
                  </a:lnTo>
                  <a:lnTo>
                    <a:pt x="29" y="51"/>
                  </a:lnTo>
                  <a:lnTo>
                    <a:pt x="32" y="53"/>
                  </a:lnTo>
                  <a:lnTo>
                    <a:pt x="35" y="56"/>
                  </a:lnTo>
                  <a:lnTo>
                    <a:pt x="35" y="56"/>
                  </a:lnTo>
                  <a:lnTo>
                    <a:pt x="37" y="59"/>
                  </a:lnTo>
                  <a:lnTo>
                    <a:pt x="43" y="67"/>
                  </a:lnTo>
                  <a:lnTo>
                    <a:pt x="45" y="67"/>
                  </a:lnTo>
                  <a:lnTo>
                    <a:pt x="45" y="67"/>
                  </a:lnTo>
                  <a:lnTo>
                    <a:pt x="48" y="67"/>
                  </a:lnTo>
                  <a:lnTo>
                    <a:pt x="48" y="67"/>
                  </a:lnTo>
                  <a:lnTo>
                    <a:pt x="51" y="69"/>
                  </a:lnTo>
                  <a:lnTo>
                    <a:pt x="56" y="75"/>
                  </a:lnTo>
                  <a:lnTo>
                    <a:pt x="56" y="77"/>
                  </a:lnTo>
                  <a:lnTo>
                    <a:pt x="59" y="80"/>
                  </a:lnTo>
                  <a:lnTo>
                    <a:pt x="59" y="91"/>
                  </a:lnTo>
                  <a:lnTo>
                    <a:pt x="61" y="93"/>
                  </a:lnTo>
                  <a:lnTo>
                    <a:pt x="61" y="93"/>
                  </a:lnTo>
                  <a:lnTo>
                    <a:pt x="61" y="96"/>
                  </a:lnTo>
                  <a:lnTo>
                    <a:pt x="64" y="99"/>
                  </a:lnTo>
                  <a:lnTo>
                    <a:pt x="64" y="101"/>
                  </a:lnTo>
                  <a:lnTo>
                    <a:pt x="64" y="101"/>
                  </a:lnTo>
                  <a:lnTo>
                    <a:pt x="67" y="104"/>
                  </a:lnTo>
                  <a:lnTo>
                    <a:pt x="69" y="107"/>
                  </a:lnTo>
                  <a:lnTo>
                    <a:pt x="75" y="112"/>
                  </a:lnTo>
                  <a:lnTo>
                    <a:pt x="75" y="115"/>
                  </a:lnTo>
                  <a:lnTo>
                    <a:pt x="77" y="117"/>
                  </a:lnTo>
                  <a:lnTo>
                    <a:pt x="77" y="120"/>
                  </a:lnTo>
                  <a:lnTo>
                    <a:pt x="77" y="120"/>
                  </a:lnTo>
                  <a:lnTo>
                    <a:pt x="85" y="126"/>
                  </a:lnTo>
                  <a:lnTo>
                    <a:pt x="93" y="131"/>
                  </a:lnTo>
                  <a:lnTo>
                    <a:pt x="96" y="134"/>
                  </a:lnTo>
                  <a:lnTo>
                    <a:pt x="101" y="134"/>
                  </a:lnTo>
                  <a:lnTo>
                    <a:pt x="104" y="134"/>
                  </a:lnTo>
                  <a:lnTo>
                    <a:pt x="104" y="131"/>
                  </a:lnTo>
                  <a:lnTo>
                    <a:pt x="107" y="134"/>
                  </a:lnTo>
                  <a:lnTo>
                    <a:pt x="112" y="147"/>
                  </a:lnTo>
                  <a:lnTo>
                    <a:pt x="112" y="152"/>
                  </a:lnTo>
                  <a:lnTo>
                    <a:pt x="112" y="152"/>
                  </a:lnTo>
                  <a:lnTo>
                    <a:pt x="110" y="147"/>
                  </a:lnTo>
                  <a:lnTo>
                    <a:pt x="107" y="144"/>
                  </a:lnTo>
                  <a:lnTo>
                    <a:pt x="101" y="147"/>
                  </a:lnTo>
                  <a:lnTo>
                    <a:pt x="101" y="147"/>
                  </a:lnTo>
                  <a:lnTo>
                    <a:pt x="104" y="152"/>
                  </a:lnTo>
                  <a:lnTo>
                    <a:pt x="104" y="152"/>
                  </a:lnTo>
                  <a:lnTo>
                    <a:pt x="104" y="152"/>
                  </a:lnTo>
                  <a:lnTo>
                    <a:pt x="101" y="152"/>
                  </a:lnTo>
                  <a:lnTo>
                    <a:pt x="101" y="152"/>
                  </a:lnTo>
                  <a:lnTo>
                    <a:pt x="101" y="152"/>
                  </a:lnTo>
                  <a:lnTo>
                    <a:pt x="101" y="152"/>
                  </a:lnTo>
                  <a:lnTo>
                    <a:pt x="104" y="152"/>
                  </a:lnTo>
                  <a:lnTo>
                    <a:pt x="104" y="155"/>
                  </a:lnTo>
                  <a:lnTo>
                    <a:pt x="107" y="155"/>
                  </a:lnTo>
                  <a:lnTo>
                    <a:pt x="110" y="155"/>
                  </a:lnTo>
                  <a:lnTo>
                    <a:pt x="107" y="158"/>
                  </a:lnTo>
                  <a:lnTo>
                    <a:pt x="99" y="160"/>
                  </a:lnTo>
                  <a:lnTo>
                    <a:pt x="99" y="163"/>
                  </a:lnTo>
                  <a:lnTo>
                    <a:pt x="101" y="163"/>
                  </a:lnTo>
                  <a:lnTo>
                    <a:pt x="99" y="163"/>
                  </a:lnTo>
                  <a:lnTo>
                    <a:pt x="99" y="166"/>
                  </a:lnTo>
                  <a:lnTo>
                    <a:pt x="99" y="166"/>
                  </a:lnTo>
                  <a:lnTo>
                    <a:pt x="99" y="166"/>
                  </a:lnTo>
                  <a:lnTo>
                    <a:pt x="101" y="166"/>
                  </a:lnTo>
                  <a:lnTo>
                    <a:pt x="104" y="163"/>
                  </a:lnTo>
                  <a:lnTo>
                    <a:pt x="107" y="160"/>
                  </a:lnTo>
                  <a:lnTo>
                    <a:pt x="107" y="163"/>
                  </a:lnTo>
                  <a:lnTo>
                    <a:pt x="110" y="163"/>
                  </a:lnTo>
                  <a:lnTo>
                    <a:pt x="110" y="163"/>
                  </a:lnTo>
                  <a:lnTo>
                    <a:pt x="112" y="163"/>
                  </a:lnTo>
                  <a:lnTo>
                    <a:pt x="112" y="160"/>
                  </a:lnTo>
                  <a:lnTo>
                    <a:pt x="112" y="158"/>
                  </a:lnTo>
                  <a:lnTo>
                    <a:pt x="112" y="158"/>
                  </a:lnTo>
                  <a:lnTo>
                    <a:pt x="112" y="158"/>
                  </a:lnTo>
                  <a:lnTo>
                    <a:pt x="112" y="155"/>
                  </a:lnTo>
                  <a:lnTo>
                    <a:pt x="115" y="158"/>
                  </a:lnTo>
                  <a:lnTo>
                    <a:pt x="115" y="158"/>
                  </a:lnTo>
                  <a:lnTo>
                    <a:pt x="115" y="166"/>
                  </a:lnTo>
                  <a:lnTo>
                    <a:pt x="118" y="168"/>
                  </a:lnTo>
                  <a:lnTo>
                    <a:pt x="118" y="171"/>
                  </a:lnTo>
                  <a:lnTo>
                    <a:pt x="120" y="174"/>
                  </a:lnTo>
                  <a:lnTo>
                    <a:pt x="120" y="179"/>
                  </a:lnTo>
                  <a:lnTo>
                    <a:pt x="118" y="179"/>
                  </a:lnTo>
                  <a:lnTo>
                    <a:pt x="118" y="179"/>
                  </a:lnTo>
                  <a:lnTo>
                    <a:pt x="118" y="176"/>
                  </a:lnTo>
                  <a:lnTo>
                    <a:pt x="118" y="176"/>
                  </a:lnTo>
                  <a:lnTo>
                    <a:pt x="115" y="179"/>
                  </a:lnTo>
                  <a:lnTo>
                    <a:pt x="115" y="179"/>
                  </a:lnTo>
                  <a:lnTo>
                    <a:pt x="112" y="179"/>
                  </a:lnTo>
                  <a:lnTo>
                    <a:pt x="107" y="182"/>
                  </a:lnTo>
                  <a:lnTo>
                    <a:pt x="99" y="182"/>
                  </a:lnTo>
                  <a:lnTo>
                    <a:pt x="91" y="184"/>
                  </a:lnTo>
                  <a:lnTo>
                    <a:pt x="83" y="187"/>
                  </a:lnTo>
                  <a:lnTo>
                    <a:pt x="75" y="187"/>
                  </a:lnTo>
                  <a:lnTo>
                    <a:pt x="64" y="190"/>
                  </a:lnTo>
                  <a:lnTo>
                    <a:pt x="56" y="192"/>
                  </a:lnTo>
                  <a:lnTo>
                    <a:pt x="48" y="195"/>
                  </a:lnTo>
                  <a:lnTo>
                    <a:pt x="45" y="187"/>
                  </a:lnTo>
                  <a:lnTo>
                    <a:pt x="45" y="182"/>
                  </a:lnTo>
                  <a:lnTo>
                    <a:pt x="43" y="171"/>
                  </a:lnTo>
                  <a:lnTo>
                    <a:pt x="40" y="160"/>
                  </a:lnTo>
                  <a:lnTo>
                    <a:pt x="37" y="152"/>
                  </a:lnTo>
                  <a:lnTo>
                    <a:pt x="35" y="142"/>
                  </a:lnTo>
                  <a:lnTo>
                    <a:pt x="32" y="131"/>
                  </a:lnTo>
                  <a:lnTo>
                    <a:pt x="29" y="123"/>
                  </a:lnTo>
                  <a:lnTo>
                    <a:pt x="27" y="112"/>
                  </a:lnTo>
                  <a:lnTo>
                    <a:pt x="24" y="101"/>
                  </a:lnTo>
                  <a:lnTo>
                    <a:pt x="21" y="93"/>
                  </a:lnTo>
                  <a:lnTo>
                    <a:pt x="19" y="83"/>
                  </a:lnTo>
                  <a:lnTo>
                    <a:pt x="16" y="72"/>
                  </a:lnTo>
                  <a:lnTo>
                    <a:pt x="11" y="61"/>
                  </a:lnTo>
                  <a:lnTo>
                    <a:pt x="8" y="53"/>
                  </a:lnTo>
                  <a:lnTo>
                    <a:pt x="5" y="43"/>
                  </a:lnTo>
                  <a:lnTo>
                    <a:pt x="3" y="32"/>
                  </a:lnTo>
                  <a:lnTo>
                    <a:pt x="0" y="24"/>
                  </a:lnTo>
                  <a:lnTo>
                    <a:pt x="3" y="24"/>
                  </a:lnTo>
                  <a:lnTo>
                    <a:pt x="3" y="24"/>
                  </a:lnTo>
                  <a:lnTo>
                    <a:pt x="3" y="19"/>
                  </a:lnTo>
                  <a:lnTo>
                    <a:pt x="5" y="13"/>
                  </a:lnTo>
                  <a:lnTo>
                    <a:pt x="8" y="8"/>
                  </a:lnTo>
                  <a:lnTo>
                    <a:pt x="8" y="8"/>
                  </a:lnTo>
                  <a:lnTo>
                    <a:pt x="11" y="5"/>
                  </a:lnTo>
                  <a:lnTo>
                    <a:pt x="13" y="3"/>
                  </a:lnTo>
                  <a:lnTo>
                    <a:pt x="16" y="3"/>
                  </a:lnTo>
                  <a:lnTo>
                    <a:pt x="19" y="0"/>
                  </a:lnTo>
                  <a:lnTo>
                    <a:pt x="21" y="0"/>
                  </a:lnTo>
                  <a:lnTo>
                    <a:pt x="27" y="0"/>
                  </a:lnTo>
                  <a:lnTo>
                    <a:pt x="32" y="0"/>
                  </a:lnTo>
                  <a:lnTo>
                    <a:pt x="35" y="0"/>
                  </a:lnTo>
                  <a:lnTo>
                    <a:pt x="37" y="3"/>
                  </a:lnTo>
                  <a:lnTo>
                    <a:pt x="37" y="3"/>
                  </a:lnTo>
                  <a:lnTo>
                    <a:pt x="37" y="3"/>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51" name="Freeform 48">
              <a:extLst>
                <a:ext uri="{FF2B5EF4-FFF2-40B4-BE49-F238E27FC236}">
                  <a16:creationId xmlns="" xmlns:a16="http://schemas.microsoft.com/office/drawing/2014/main" id="{E34DDE9A-5ADF-436D-A7C2-8D1F75267513}"/>
                </a:ext>
              </a:extLst>
            </p:cNvPr>
            <p:cNvSpPr>
              <a:spLocks/>
            </p:cNvSpPr>
            <p:nvPr/>
          </p:nvSpPr>
          <p:spPr bwMode="auto">
            <a:xfrm>
              <a:off x="6156" y="1387"/>
              <a:ext cx="21" cy="26"/>
            </a:xfrm>
            <a:custGeom>
              <a:avLst/>
              <a:gdLst>
                <a:gd name="T0" fmla="*/ 16 w 21"/>
                <a:gd name="T1" fmla="*/ 26 h 26"/>
                <a:gd name="T2" fmla="*/ 13 w 21"/>
                <a:gd name="T3" fmla="*/ 24 h 26"/>
                <a:gd name="T4" fmla="*/ 13 w 21"/>
                <a:gd name="T5" fmla="*/ 16 h 26"/>
                <a:gd name="T6" fmla="*/ 8 w 21"/>
                <a:gd name="T7" fmla="*/ 13 h 26"/>
                <a:gd name="T8" fmla="*/ 8 w 21"/>
                <a:gd name="T9" fmla="*/ 13 h 26"/>
                <a:gd name="T10" fmla="*/ 5 w 21"/>
                <a:gd name="T11" fmla="*/ 13 h 26"/>
                <a:gd name="T12" fmla="*/ 3 w 21"/>
                <a:gd name="T13" fmla="*/ 10 h 26"/>
                <a:gd name="T14" fmla="*/ 0 w 21"/>
                <a:gd name="T15" fmla="*/ 10 h 26"/>
                <a:gd name="T16" fmla="*/ 8 w 21"/>
                <a:gd name="T17" fmla="*/ 0 h 26"/>
                <a:gd name="T18" fmla="*/ 21 w 21"/>
                <a:gd name="T19" fmla="*/ 13 h 26"/>
                <a:gd name="T20" fmla="*/ 16 w 21"/>
                <a:gd name="T21" fmla="*/ 26 h 26"/>
                <a:gd name="T22" fmla="*/ 16 w 21"/>
                <a:gd name="T2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6">
                  <a:moveTo>
                    <a:pt x="16" y="26"/>
                  </a:moveTo>
                  <a:lnTo>
                    <a:pt x="13" y="24"/>
                  </a:lnTo>
                  <a:lnTo>
                    <a:pt x="13" y="16"/>
                  </a:lnTo>
                  <a:lnTo>
                    <a:pt x="8" y="13"/>
                  </a:lnTo>
                  <a:lnTo>
                    <a:pt x="8" y="13"/>
                  </a:lnTo>
                  <a:lnTo>
                    <a:pt x="5" y="13"/>
                  </a:lnTo>
                  <a:lnTo>
                    <a:pt x="3" y="10"/>
                  </a:lnTo>
                  <a:lnTo>
                    <a:pt x="0" y="10"/>
                  </a:lnTo>
                  <a:lnTo>
                    <a:pt x="8" y="0"/>
                  </a:lnTo>
                  <a:lnTo>
                    <a:pt x="21" y="13"/>
                  </a:lnTo>
                  <a:lnTo>
                    <a:pt x="16" y="26"/>
                  </a:lnTo>
                  <a:lnTo>
                    <a:pt x="16" y="26"/>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52" name="Freeform 49">
              <a:extLst>
                <a:ext uri="{FF2B5EF4-FFF2-40B4-BE49-F238E27FC236}">
                  <a16:creationId xmlns="" xmlns:a16="http://schemas.microsoft.com/office/drawing/2014/main" id="{97643276-F537-41EF-8C77-8D9806DF44AF}"/>
                </a:ext>
              </a:extLst>
            </p:cNvPr>
            <p:cNvSpPr>
              <a:spLocks/>
            </p:cNvSpPr>
            <p:nvPr/>
          </p:nvSpPr>
          <p:spPr bwMode="auto">
            <a:xfrm>
              <a:off x="6447" y="850"/>
              <a:ext cx="195" cy="184"/>
            </a:xfrm>
            <a:custGeom>
              <a:avLst/>
              <a:gdLst>
                <a:gd name="T0" fmla="*/ 181 w 195"/>
                <a:gd name="T1" fmla="*/ 24 h 184"/>
                <a:gd name="T2" fmla="*/ 189 w 195"/>
                <a:gd name="T3" fmla="*/ 53 h 184"/>
                <a:gd name="T4" fmla="*/ 195 w 195"/>
                <a:gd name="T5" fmla="*/ 80 h 184"/>
                <a:gd name="T6" fmla="*/ 195 w 195"/>
                <a:gd name="T7" fmla="*/ 90 h 184"/>
                <a:gd name="T8" fmla="*/ 192 w 195"/>
                <a:gd name="T9" fmla="*/ 93 h 184"/>
                <a:gd name="T10" fmla="*/ 187 w 195"/>
                <a:gd name="T11" fmla="*/ 90 h 184"/>
                <a:gd name="T12" fmla="*/ 168 w 195"/>
                <a:gd name="T13" fmla="*/ 96 h 184"/>
                <a:gd name="T14" fmla="*/ 165 w 195"/>
                <a:gd name="T15" fmla="*/ 104 h 184"/>
                <a:gd name="T16" fmla="*/ 155 w 195"/>
                <a:gd name="T17" fmla="*/ 106 h 184"/>
                <a:gd name="T18" fmla="*/ 144 w 195"/>
                <a:gd name="T19" fmla="*/ 109 h 184"/>
                <a:gd name="T20" fmla="*/ 141 w 195"/>
                <a:gd name="T21" fmla="*/ 106 h 184"/>
                <a:gd name="T22" fmla="*/ 139 w 195"/>
                <a:gd name="T23" fmla="*/ 101 h 184"/>
                <a:gd name="T24" fmla="*/ 141 w 195"/>
                <a:gd name="T25" fmla="*/ 106 h 184"/>
                <a:gd name="T26" fmla="*/ 141 w 195"/>
                <a:gd name="T27" fmla="*/ 114 h 184"/>
                <a:gd name="T28" fmla="*/ 131 w 195"/>
                <a:gd name="T29" fmla="*/ 117 h 184"/>
                <a:gd name="T30" fmla="*/ 125 w 195"/>
                <a:gd name="T31" fmla="*/ 120 h 184"/>
                <a:gd name="T32" fmla="*/ 123 w 195"/>
                <a:gd name="T33" fmla="*/ 120 h 184"/>
                <a:gd name="T34" fmla="*/ 109 w 195"/>
                <a:gd name="T35" fmla="*/ 122 h 184"/>
                <a:gd name="T36" fmla="*/ 107 w 195"/>
                <a:gd name="T37" fmla="*/ 125 h 184"/>
                <a:gd name="T38" fmla="*/ 99 w 195"/>
                <a:gd name="T39" fmla="*/ 125 h 184"/>
                <a:gd name="T40" fmla="*/ 93 w 195"/>
                <a:gd name="T41" fmla="*/ 128 h 184"/>
                <a:gd name="T42" fmla="*/ 85 w 195"/>
                <a:gd name="T43" fmla="*/ 125 h 184"/>
                <a:gd name="T44" fmla="*/ 83 w 195"/>
                <a:gd name="T45" fmla="*/ 128 h 184"/>
                <a:gd name="T46" fmla="*/ 75 w 195"/>
                <a:gd name="T47" fmla="*/ 138 h 184"/>
                <a:gd name="T48" fmla="*/ 69 w 195"/>
                <a:gd name="T49" fmla="*/ 144 h 184"/>
                <a:gd name="T50" fmla="*/ 67 w 195"/>
                <a:gd name="T51" fmla="*/ 146 h 184"/>
                <a:gd name="T52" fmla="*/ 61 w 195"/>
                <a:gd name="T53" fmla="*/ 149 h 184"/>
                <a:gd name="T54" fmla="*/ 56 w 195"/>
                <a:gd name="T55" fmla="*/ 152 h 184"/>
                <a:gd name="T56" fmla="*/ 56 w 195"/>
                <a:gd name="T57" fmla="*/ 152 h 184"/>
                <a:gd name="T58" fmla="*/ 53 w 195"/>
                <a:gd name="T59" fmla="*/ 155 h 184"/>
                <a:gd name="T60" fmla="*/ 51 w 195"/>
                <a:gd name="T61" fmla="*/ 157 h 184"/>
                <a:gd name="T62" fmla="*/ 45 w 195"/>
                <a:gd name="T63" fmla="*/ 160 h 184"/>
                <a:gd name="T64" fmla="*/ 43 w 195"/>
                <a:gd name="T65" fmla="*/ 165 h 184"/>
                <a:gd name="T66" fmla="*/ 32 w 195"/>
                <a:gd name="T67" fmla="*/ 173 h 184"/>
                <a:gd name="T68" fmla="*/ 27 w 195"/>
                <a:gd name="T69" fmla="*/ 179 h 184"/>
                <a:gd name="T70" fmla="*/ 19 w 195"/>
                <a:gd name="T71" fmla="*/ 179 h 184"/>
                <a:gd name="T72" fmla="*/ 16 w 195"/>
                <a:gd name="T73" fmla="*/ 181 h 184"/>
                <a:gd name="T74" fmla="*/ 13 w 195"/>
                <a:gd name="T75" fmla="*/ 181 h 184"/>
                <a:gd name="T76" fmla="*/ 5 w 195"/>
                <a:gd name="T77" fmla="*/ 173 h 184"/>
                <a:gd name="T78" fmla="*/ 21 w 195"/>
                <a:gd name="T79" fmla="*/ 157 h 184"/>
                <a:gd name="T80" fmla="*/ 21 w 195"/>
                <a:gd name="T81" fmla="*/ 146 h 184"/>
                <a:gd name="T82" fmla="*/ 16 w 195"/>
                <a:gd name="T83" fmla="*/ 133 h 184"/>
                <a:gd name="T84" fmla="*/ 11 w 195"/>
                <a:gd name="T85" fmla="*/ 106 h 184"/>
                <a:gd name="T86" fmla="*/ 8 w 195"/>
                <a:gd name="T87" fmla="*/ 82 h 184"/>
                <a:gd name="T88" fmla="*/ 3 w 195"/>
                <a:gd name="T89" fmla="*/ 58 h 184"/>
                <a:gd name="T90" fmla="*/ 13 w 195"/>
                <a:gd name="T91" fmla="*/ 34 h 184"/>
                <a:gd name="T92" fmla="*/ 59 w 195"/>
                <a:gd name="T93" fmla="*/ 26 h 184"/>
                <a:gd name="T94" fmla="*/ 75 w 195"/>
                <a:gd name="T95" fmla="*/ 26 h 184"/>
                <a:gd name="T96" fmla="*/ 93 w 195"/>
                <a:gd name="T97" fmla="*/ 18 h 184"/>
                <a:gd name="T98" fmla="*/ 117 w 195"/>
                <a:gd name="T99" fmla="*/ 13 h 184"/>
                <a:gd name="T100" fmla="*/ 173 w 195"/>
                <a:gd name="T101"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5" h="184">
                  <a:moveTo>
                    <a:pt x="173" y="0"/>
                  </a:moveTo>
                  <a:lnTo>
                    <a:pt x="176" y="8"/>
                  </a:lnTo>
                  <a:lnTo>
                    <a:pt x="179" y="16"/>
                  </a:lnTo>
                  <a:lnTo>
                    <a:pt x="181" y="24"/>
                  </a:lnTo>
                  <a:lnTo>
                    <a:pt x="184" y="32"/>
                  </a:lnTo>
                  <a:lnTo>
                    <a:pt x="184" y="40"/>
                  </a:lnTo>
                  <a:lnTo>
                    <a:pt x="187" y="48"/>
                  </a:lnTo>
                  <a:lnTo>
                    <a:pt x="189" y="53"/>
                  </a:lnTo>
                  <a:lnTo>
                    <a:pt x="192" y="61"/>
                  </a:lnTo>
                  <a:lnTo>
                    <a:pt x="192" y="66"/>
                  </a:lnTo>
                  <a:lnTo>
                    <a:pt x="192" y="72"/>
                  </a:lnTo>
                  <a:lnTo>
                    <a:pt x="195" y="80"/>
                  </a:lnTo>
                  <a:lnTo>
                    <a:pt x="195" y="80"/>
                  </a:lnTo>
                  <a:lnTo>
                    <a:pt x="192" y="82"/>
                  </a:lnTo>
                  <a:lnTo>
                    <a:pt x="192" y="85"/>
                  </a:lnTo>
                  <a:lnTo>
                    <a:pt x="195" y="90"/>
                  </a:lnTo>
                  <a:lnTo>
                    <a:pt x="195" y="93"/>
                  </a:lnTo>
                  <a:lnTo>
                    <a:pt x="192" y="96"/>
                  </a:lnTo>
                  <a:lnTo>
                    <a:pt x="189" y="93"/>
                  </a:lnTo>
                  <a:lnTo>
                    <a:pt x="192" y="93"/>
                  </a:lnTo>
                  <a:lnTo>
                    <a:pt x="192" y="93"/>
                  </a:lnTo>
                  <a:lnTo>
                    <a:pt x="189" y="93"/>
                  </a:lnTo>
                  <a:lnTo>
                    <a:pt x="189" y="90"/>
                  </a:lnTo>
                  <a:lnTo>
                    <a:pt x="187" y="90"/>
                  </a:lnTo>
                  <a:lnTo>
                    <a:pt x="181" y="93"/>
                  </a:lnTo>
                  <a:lnTo>
                    <a:pt x="179" y="93"/>
                  </a:lnTo>
                  <a:lnTo>
                    <a:pt x="173" y="98"/>
                  </a:lnTo>
                  <a:lnTo>
                    <a:pt x="168" y="96"/>
                  </a:lnTo>
                  <a:lnTo>
                    <a:pt x="168" y="98"/>
                  </a:lnTo>
                  <a:lnTo>
                    <a:pt x="168" y="101"/>
                  </a:lnTo>
                  <a:lnTo>
                    <a:pt x="168" y="101"/>
                  </a:lnTo>
                  <a:lnTo>
                    <a:pt x="165" y="104"/>
                  </a:lnTo>
                  <a:lnTo>
                    <a:pt x="160" y="101"/>
                  </a:lnTo>
                  <a:lnTo>
                    <a:pt x="157" y="104"/>
                  </a:lnTo>
                  <a:lnTo>
                    <a:pt x="157" y="106"/>
                  </a:lnTo>
                  <a:lnTo>
                    <a:pt x="155" y="106"/>
                  </a:lnTo>
                  <a:lnTo>
                    <a:pt x="149" y="112"/>
                  </a:lnTo>
                  <a:lnTo>
                    <a:pt x="147" y="109"/>
                  </a:lnTo>
                  <a:lnTo>
                    <a:pt x="144" y="109"/>
                  </a:lnTo>
                  <a:lnTo>
                    <a:pt x="144" y="109"/>
                  </a:lnTo>
                  <a:lnTo>
                    <a:pt x="141" y="109"/>
                  </a:lnTo>
                  <a:lnTo>
                    <a:pt x="141" y="109"/>
                  </a:lnTo>
                  <a:lnTo>
                    <a:pt x="141" y="106"/>
                  </a:lnTo>
                  <a:lnTo>
                    <a:pt x="141" y="106"/>
                  </a:lnTo>
                  <a:lnTo>
                    <a:pt x="141" y="104"/>
                  </a:lnTo>
                  <a:lnTo>
                    <a:pt x="141" y="104"/>
                  </a:lnTo>
                  <a:lnTo>
                    <a:pt x="139" y="104"/>
                  </a:lnTo>
                  <a:lnTo>
                    <a:pt x="139" y="101"/>
                  </a:lnTo>
                  <a:lnTo>
                    <a:pt x="136" y="101"/>
                  </a:lnTo>
                  <a:lnTo>
                    <a:pt x="136" y="104"/>
                  </a:lnTo>
                  <a:lnTo>
                    <a:pt x="139" y="106"/>
                  </a:lnTo>
                  <a:lnTo>
                    <a:pt x="141" y="106"/>
                  </a:lnTo>
                  <a:lnTo>
                    <a:pt x="141" y="112"/>
                  </a:lnTo>
                  <a:lnTo>
                    <a:pt x="141" y="112"/>
                  </a:lnTo>
                  <a:lnTo>
                    <a:pt x="141" y="112"/>
                  </a:lnTo>
                  <a:lnTo>
                    <a:pt x="141" y="114"/>
                  </a:lnTo>
                  <a:lnTo>
                    <a:pt x="139" y="114"/>
                  </a:lnTo>
                  <a:lnTo>
                    <a:pt x="133" y="114"/>
                  </a:lnTo>
                  <a:lnTo>
                    <a:pt x="131" y="114"/>
                  </a:lnTo>
                  <a:lnTo>
                    <a:pt x="131" y="117"/>
                  </a:lnTo>
                  <a:lnTo>
                    <a:pt x="128" y="117"/>
                  </a:lnTo>
                  <a:lnTo>
                    <a:pt x="128" y="120"/>
                  </a:lnTo>
                  <a:lnTo>
                    <a:pt x="125" y="120"/>
                  </a:lnTo>
                  <a:lnTo>
                    <a:pt x="125" y="120"/>
                  </a:lnTo>
                  <a:lnTo>
                    <a:pt x="125" y="120"/>
                  </a:lnTo>
                  <a:lnTo>
                    <a:pt x="125" y="120"/>
                  </a:lnTo>
                  <a:lnTo>
                    <a:pt x="125" y="120"/>
                  </a:lnTo>
                  <a:lnTo>
                    <a:pt x="123" y="120"/>
                  </a:lnTo>
                  <a:lnTo>
                    <a:pt x="120" y="120"/>
                  </a:lnTo>
                  <a:lnTo>
                    <a:pt x="117" y="120"/>
                  </a:lnTo>
                  <a:lnTo>
                    <a:pt x="109" y="122"/>
                  </a:lnTo>
                  <a:lnTo>
                    <a:pt x="109" y="122"/>
                  </a:lnTo>
                  <a:lnTo>
                    <a:pt x="109" y="125"/>
                  </a:lnTo>
                  <a:lnTo>
                    <a:pt x="109" y="125"/>
                  </a:lnTo>
                  <a:lnTo>
                    <a:pt x="107" y="125"/>
                  </a:lnTo>
                  <a:lnTo>
                    <a:pt x="107" y="125"/>
                  </a:lnTo>
                  <a:lnTo>
                    <a:pt x="104" y="125"/>
                  </a:lnTo>
                  <a:lnTo>
                    <a:pt x="104" y="125"/>
                  </a:lnTo>
                  <a:lnTo>
                    <a:pt x="101" y="125"/>
                  </a:lnTo>
                  <a:lnTo>
                    <a:pt x="99" y="125"/>
                  </a:lnTo>
                  <a:lnTo>
                    <a:pt x="99" y="125"/>
                  </a:lnTo>
                  <a:lnTo>
                    <a:pt x="96" y="128"/>
                  </a:lnTo>
                  <a:lnTo>
                    <a:pt x="96" y="128"/>
                  </a:lnTo>
                  <a:lnTo>
                    <a:pt x="93" y="128"/>
                  </a:lnTo>
                  <a:lnTo>
                    <a:pt x="88" y="130"/>
                  </a:lnTo>
                  <a:lnTo>
                    <a:pt x="85" y="128"/>
                  </a:lnTo>
                  <a:lnTo>
                    <a:pt x="85" y="128"/>
                  </a:lnTo>
                  <a:lnTo>
                    <a:pt x="85" y="125"/>
                  </a:lnTo>
                  <a:lnTo>
                    <a:pt x="83" y="125"/>
                  </a:lnTo>
                  <a:lnTo>
                    <a:pt x="83" y="125"/>
                  </a:lnTo>
                  <a:lnTo>
                    <a:pt x="83" y="128"/>
                  </a:lnTo>
                  <a:lnTo>
                    <a:pt x="83" y="128"/>
                  </a:lnTo>
                  <a:lnTo>
                    <a:pt x="80" y="133"/>
                  </a:lnTo>
                  <a:lnTo>
                    <a:pt x="77" y="136"/>
                  </a:lnTo>
                  <a:lnTo>
                    <a:pt x="77" y="138"/>
                  </a:lnTo>
                  <a:lnTo>
                    <a:pt x="75" y="138"/>
                  </a:lnTo>
                  <a:lnTo>
                    <a:pt x="72" y="138"/>
                  </a:lnTo>
                  <a:lnTo>
                    <a:pt x="72" y="141"/>
                  </a:lnTo>
                  <a:lnTo>
                    <a:pt x="72" y="141"/>
                  </a:lnTo>
                  <a:lnTo>
                    <a:pt x="69" y="144"/>
                  </a:lnTo>
                  <a:lnTo>
                    <a:pt x="69" y="144"/>
                  </a:lnTo>
                  <a:lnTo>
                    <a:pt x="67" y="146"/>
                  </a:lnTo>
                  <a:lnTo>
                    <a:pt x="67" y="146"/>
                  </a:lnTo>
                  <a:lnTo>
                    <a:pt x="67" y="146"/>
                  </a:lnTo>
                  <a:lnTo>
                    <a:pt x="67" y="149"/>
                  </a:lnTo>
                  <a:lnTo>
                    <a:pt x="64" y="149"/>
                  </a:lnTo>
                  <a:lnTo>
                    <a:pt x="64" y="149"/>
                  </a:lnTo>
                  <a:lnTo>
                    <a:pt x="61" y="149"/>
                  </a:lnTo>
                  <a:lnTo>
                    <a:pt x="61" y="146"/>
                  </a:lnTo>
                  <a:lnTo>
                    <a:pt x="61" y="149"/>
                  </a:lnTo>
                  <a:lnTo>
                    <a:pt x="59" y="152"/>
                  </a:lnTo>
                  <a:lnTo>
                    <a:pt x="56" y="152"/>
                  </a:lnTo>
                  <a:lnTo>
                    <a:pt x="56" y="152"/>
                  </a:lnTo>
                  <a:lnTo>
                    <a:pt x="56" y="152"/>
                  </a:lnTo>
                  <a:lnTo>
                    <a:pt x="56" y="152"/>
                  </a:lnTo>
                  <a:lnTo>
                    <a:pt x="56" y="152"/>
                  </a:lnTo>
                  <a:lnTo>
                    <a:pt x="56" y="152"/>
                  </a:lnTo>
                  <a:lnTo>
                    <a:pt x="56" y="152"/>
                  </a:lnTo>
                  <a:lnTo>
                    <a:pt x="56" y="155"/>
                  </a:lnTo>
                  <a:lnTo>
                    <a:pt x="53" y="155"/>
                  </a:lnTo>
                  <a:lnTo>
                    <a:pt x="53" y="157"/>
                  </a:lnTo>
                  <a:lnTo>
                    <a:pt x="53" y="157"/>
                  </a:lnTo>
                  <a:lnTo>
                    <a:pt x="51" y="157"/>
                  </a:lnTo>
                  <a:lnTo>
                    <a:pt x="51" y="157"/>
                  </a:lnTo>
                  <a:lnTo>
                    <a:pt x="48" y="157"/>
                  </a:lnTo>
                  <a:lnTo>
                    <a:pt x="48" y="157"/>
                  </a:lnTo>
                  <a:lnTo>
                    <a:pt x="48" y="160"/>
                  </a:lnTo>
                  <a:lnTo>
                    <a:pt x="45" y="160"/>
                  </a:lnTo>
                  <a:lnTo>
                    <a:pt x="45" y="160"/>
                  </a:lnTo>
                  <a:lnTo>
                    <a:pt x="43" y="163"/>
                  </a:lnTo>
                  <a:lnTo>
                    <a:pt x="43" y="163"/>
                  </a:lnTo>
                  <a:lnTo>
                    <a:pt x="43" y="165"/>
                  </a:lnTo>
                  <a:lnTo>
                    <a:pt x="37" y="168"/>
                  </a:lnTo>
                  <a:lnTo>
                    <a:pt x="37" y="168"/>
                  </a:lnTo>
                  <a:lnTo>
                    <a:pt x="32" y="173"/>
                  </a:lnTo>
                  <a:lnTo>
                    <a:pt x="32" y="173"/>
                  </a:lnTo>
                  <a:lnTo>
                    <a:pt x="29" y="173"/>
                  </a:lnTo>
                  <a:lnTo>
                    <a:pt x="29" y="176"/>
                  </a:lnTo>
                  <a:lnTo>
                    <a:pt x="27" y="176"/>
                  </a:lnTo>
                  <a:lnTo>
                    <a:pt x="27" y="179"/>
                  </a:lnTo>
                  <a:lnTo>
                    <a:pt x="24" y="179"/>
                  </a:lnTo>
                  <a:lnTo>
                    <a:pt x="24" y="181"/>
                  </a:lnTo>
                  <a:lnTo>
                    <a:pt x="21" y="179"/>
                  </a:lnTo>
                  <a:lnTo>
                    <a:pt x="19" y="179"/>
                  </a:lnTo>
                  <a:lnTo>
                    <a:pt x="19" y="181"/>
                  </a:lnTo>
                  <a:lnTo>
                    <a:pt x="19" y="181"/>
                  </a:lnTo>
                  <a:lnTo>
                    <a:pt x="16" y="184"/>
                  </a:lnTo>
                  <a:lnTo>
                    <a:pt x="16" y="181"/>
                  </a:lnTo>
                  <a:lnTo>
                    <a:pt x="16" y="181"/>
                  </a:lnTo>
                  <a:lnTo>
                    <a:pt x="13" y="181"/>
                  </a:lnTo>
                  <a:lnTo>
                    <a:pt x="13" y="181"/>
                  </a:lnTo>
                  <a:lnTo>
                    <a:pt x="13" y="181"/>
                  </a:lnTo>
                  <a:lnTo>
                    <a:pt x="13" y="179"/>
                  </a:lnTo>
                  <a:lnTo>
                    <a:pt x="11" y="176"/>
                  </a:lnTo>
                  <a:lnTo>
                    <a:pt x="5" y="173"/>
                  </a:lnTo>
                  <a:lnTo>
                    <a:pt x="5" y="173"/>
                  </a:lnTo>
                  <a:lnTo>
                    <a:pt x="5" y="171"/>
                  </a:lnTo>
                  <a:lnTo>
                    <a:pt x="11" y="168"/>
                  </a:lnTo>
                  <a:lnTo>
                    <a:pt x="16" y="163"/>
                  </a:lnTo>
                  <a:lnTo>
                    <a:pt x="21" y="157"/>
                  </a:lnTo>
                  <a:lnTo>
                    <a:pt x="24" y="152"/>
                  </a:lnTo>
                  <a:lnTo>
                    <a:pt x="27" y="152"/>
                  </a:lnTo>
                  <a:lnTo>
                    <a:pt x="24" y="149"/>
                  </a:lnTo>
                  <a:lnTo>
                    <a:pt x="21" y="146"/>
                  </a:lnTo>
                  <a:lnTo>
                    <a:pt x="21" y="144"/>
                  </a:lnTo>
                  <a:lnTo>
                    <a:pt x="19" y="141"/>
                  </a:lnTo>
                  <a:lnTo>
                    <a:pt x="16" y="138"/>
                  </a:lnTo>
                  <a:lnTo>
                    <a:pt x="16" y="133"/>
                  </a:lnTo>
                  <a:lnTo>
                    <a:pt x="16" y="128"/>
                  </a:lnTo>
                  <a:lnTo>
                    <a:pt x="13" y="120"/>
                  </a:lnTo>
                  <a:lnTo>
                    <a:pt x="13" y="114"/>
                  </a:lnTo>
                  <a:lnTo>
                    <a:pt x="11" y="106"/>
                  </a:lnTo>
                  <a:lnTo>
                    <a:pt x="11" y="101"/>
                  </a:lnTo>
                  <a:lnTo>
                    <a:pt x="11" y="96"/>
                  </a:lnTo>
                  <a:lnTo>
                    <a:pt x="8" y="88"/>
                  </a:lnTo>
                  <a:lnTo>
                    <a:pt x="8" y="82"/>
                  </a:lnTo>
                  <a:lnTo>
                    <a:pt x="5" y="77"/>
                  </a:lnTo>
                  <a:lnTo>
                    <a:pt x="5" y="69"/>
                  </a:lnTo>
                  <a:lnTo>
                    <a:pt x="3" y="64"/>
                  </a:lnTo>
                  <a:lnTo>
                    <a:pt x="3" y="58"/>
                  </a:lnTo>
                  <a:lnTo>
                    <a:pt x="3" y="50"/>
                  </a:lnTo>
                  <a:lnTo>
                    <a:pt x="0" y="45"/>
                  </a:lnTo>
                  <a:lnTo>
                    <a:pt x="0" y="37"/>
                  </a:lnTo>
                  <a:lnTo>
                    <a:pt x="13" y="34"/>
                  </a:lnTo>
                  <a:lnTo>
                    <a:pt x="24" y="32"/>
                  </a:lnTo>
                  <a:lnTo>
                    <a:pt x="37" y="29"/>
                  </a:lnTo>
                  <a:lnTo>
                    <a:pt x="51" y="26"/>
                  </a:lnTo>
                  <a:lnTo>
                    <a:pt x="59" y="26"/>
                  </a:lnTo>
                  <a:lnTo>
                    <a:pt x="64" y="24"/>
                  </a:lnTo>
                  <a:lnTo>
                    <a:pt x="69" y="24"/>
                  </a:lnTo>
                  <a:lnTo>
                    <a:pt x="72" y="26"/>
                  </a:lnTo>
                  <a:lnTo>
                    <a:pt x="75" y="26"/>
                  </a:lnTo>
                  <a:lnTo>
                    <a:pt x="75" y="24"/>
                  </a:lnTo>
                  <a:lnTo>
                    <a:pt x="88" y="18"/>
                  </a:lnTo>
                  <a:lnTo>
                    <a:pt x="91" y="18"/>
                  </a:lnTo>
                  <a:lnTo>
                    <a:pt x="93" y="18"/>
                  </a:lnTo>
                  <a:lnTo>
                    <a:pt x="93" y="18"/>
                  </a:lnTo>
                  <a:lnTo>
                    <a:pt x="96" y="18"/>
                  </a:lnTo>
                  <a:lnTo>
                    <a:pt x="101" y="16"/>
                  </a:lnTo>
                  <a:lnTo>
                    <a:pt x="117" y="13"/>
                  </a:lnTo>
                  <a:lnTo>
                    <a:pt x="131" y="8"/>
                  </a:lnTo>
                  <a:lnTo>
                    <a:pt x="147" y="5"/>
                  </a:lnTo>
                  <a:lnTo>
                    <a:pt x="163" y="2"/>
                  </a:lnTo>
                  <a:lnTo>
                    <a:pt x="173" y="0"/>
                  </a:lnTo>
                  <a:lnTo>
                    <a:pt x="173" y="0"/>
                  </a:lnTo>
                  <a:lnTo>
                    <a:pt x="173" y="0"/>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53" name="Freeform 50">
              <a:extLst>
                <a:ext uri="{FF2B5EF4-FFF2-40B4-BE49-F238E27FC236}">
                  <a16:creationId xmlns="" xmlns:a16="http://schemas.microsoft.com/office/drawing/2014/main" id="{B7270892-8B0C-4C16-9051-D92524EFA42C}"/>
                </a:ext>
              </a:extLst>
            </p:cNvPr>
            <p:cNvSpPr>
              <a:spLocks/>
            </p:cNvSpPr>
            <p:nvPr/>
          </p:nvSpPr>
          <p:spPr bwMode="auto">
            <a:xfrm>
              <a:off x="2626" y="1333"/>
              <a:ext cx="800" cy="596"/>
            </a:xfrm>
            <a:custGeom>
              <a:avLst/>
              <a:gdLst>
                <a:gd name="T0" fmla="*/ 798 w 800"/>
                <a:gd name="T1" fmla="*/ 200 h 596"/>
                <a:gd name="T2" fmla="*/ 798 w 800"/>
                <a:gd name="T3" fmla="*/ 241 h 596"/>
                <a:gd name="T4" fmla="*/ 798 w 800"/>
                <a:gd name="T5" fmla="*/ 281 h 596"/>
                <a:gd name="T6" fmla="*/ 798 w 800"/>
                <a:gd name="T7" fmla="*/ 321 h 596"/>
                <a:gd name="T8" fmla="*/ 795 w 800"/>
                <a:gd name="T9" fmla="*/ 358 h 596"/>
                <a:gd name="T10" fmla="*/ 795 w 800"/>
                <a:gd name="T11" fmla="*/ 398 h 596"/>
                <a:gd name="T12" fmla="*/ 795 w 800"/>
                <a:gd name="T13" fmla="*/ 438 h 596"/>
                <a:gd name="T14" fmla="*/ 795 w 800"/>
                <a:gd name="T15" fmla="*/ 476 h 596"/>
                <a:gd name="T16" fmla="*/ 792 w 800"/>
                <a:gd name="T17" fmla="*/ 516 h 596"/>
                <a:gd name="T18" fmla="*/ 792 w 800"/>
                <a:gd name="T19" fmla="*/ 556 h 596"/>
                <a:gd name="T20" fmla="*/ 792 w 800"/>
                <a:gd name="T21" fmla="*/ 596 h 596"/>
                <a:gd name="T22" fmla="*/ 750 w 800"/>
                <a:gd name="T23" fmla="*/ 593 h 596"/>
                <a:gd name="T24" fmla="*/ 710 w 800"/>
                <a:gd name="T25" fmla="*/ 593 h 596"/>
                <a:gd name="T26" fmla="*/ 659 w 800"/>
                <a:gd name="T27" fmla="*/ 591 h 596"/>
                <a:gd name="T28" fmla="*/ 595 w 800"/>
                <a:gd name="T29" fmla="*/ 591 h 596"/>
                <a:gd name="T30" fmla="*/ 531 w 800"/>
                <a:gd name="T31" fmla="*/ 588 h 596"/>
                <a:gd name="T32" fmla="*/ 467 w 800"/>
                <a:gd name="T33" fmla="*/ 585 h 596"/>
                <a:gd name="T34" fmla="*/ 403 w 800"/>
                <a:gd name="T35" fmla="*/ 583 h 596"/>
                <a:gd name="T36" fmla="*/ 339 w 800"/>
                <a:gd name="T37" fmla="*/ 577 h 596"/>
                <a:gd name="T38" fmla="*/ 275 w 800"/>
                <a:gd name="T39" fmla="*/ 575 h 596"/>
                <a:gd name="T40" fmla="*/ 211 w 800"/>
                <a:gd name="T41" fmla="*/ 572 h 596"/>
                <a:gd name="T42" fmla="*/ 147 w 800"/>
                <a:gd name="T43" fmla="*/ 567 h 596"/>
                <a:gd name="T44" fmla="*/ 85 w 800"/>
                <a:gd name="T45" fmla="*/ 561 h 596"/>
                <a:gd name="T46" fmla="*/ 21 w 800"/>
                <a:gd name="T47" fmla="*/ 556 h 596"/>
                <a:gd name="T48" fmla="*/ 3 w 800"/>
                <a:gd name="T49" fmla="*/ 521 h 596"/>
                <a:gd name="T50" fmla="*/ 5 w 800"/>
                <a:gd name="T51" fmla="*/ 468 h 596"/>
                <a:gd name="T52" fmla="*/ 11 w 800"/>
                <a:gd name="T53" fmla="*/ 417 h 596"/>
                <a:gd name="T54" fmla="*/ 13 w 800"/>
                <a:gd name="T55" fmla="*/ 363 h 596"/>
                <a:gd name="T56" fmla="*/ 19 w 800"/>
                <a:gd name="T57" fmla="*/ 310 h 596"/>
                <a:gd name="T58" fmla="*/ 24 w 800"/>
                <a:gd name="T59" fmla="*/ 259 h 596"/>
                <a:gd name="T60" fmla="*/ 27 w 800"/>
                <a:gd name="T61" fmla="*/ 206 h 596"/>
                <a:gd name="T62" fmla="*/ 32 w 800"/>
                <a:gd name="T63" fmla="*/ 155 h 596"/>
                <a:gd name="T64" fmla="*/ 35 w 800"/>
                <a:gd name="T65" fmla="*/ 102 h 596"/>
                <a:gd name="T66" fmla="*/ 40 w 800"/>
                <a:gd name="T67" fmla="*/ 51 h 596"/>
                <a:gd name="T68" fmla="*/ 45 w 800"/>
                <a:gd name="T69" fmla="*/ 0 h 596"/>
                <a:gd name="T70" fmla="*/ 96 w 800"/>
                <a:gd name="T71" fmla="*/ 3 h 596"/>
                <a:gd name="T72" fmla="*/ 147 w 800"/>
                <a:gd name="T73" fmla="*/ 5 h 596"/>
                <a:gd name="T74" fmla="*/ 197 w 800"/>
                <a:gd name="T75" fmla="*/ 11 h 596"/>
                <a:gd name="T76" fmla="*/ 248 w 800"/>
                <a:gd name="T77" fmla="*/ 13 h 596"/>
                <a:gd name="T78" fmla="*/ 299 w 800"/>
                <a:gd name="T79" fmla="*/ 16 h 596"/>
                <a:gd name="T80" fmla="*/ 349 w 800"/>
                <a:gd name="T81" fmla="*/ 19 h 596"/>
                <a:gd name="T82" fmla="*/ 400 w 800"/>
                <a:gd name="T83" fmla="*/ 21 h 596"/>
                <a:gd name="T84" fmla="*/ 451 w 800"/>
                <a:gd name="T85" fmla="*/ 24 h 596"/>
                <a:gd name="T86" fmla="*/ 502 w 800"/>
                <a:gd name="T87" fmla="*/ 27 h 596"/>
                <a:gd name="T88" fmla="*/ 552 w 800"/>
                <a:gd name="T89" fmla="*/ 30 h 596"/>
                <a:gd name="T90" fmla="*/ 598 w 800"/>
                <a:gd name="T91" fmla="*/ 32 h 596"/>
                <a:gd name="T92" fmla="*/ 638 w 800"/>
                <a:gd name="T93" fmla="*/ 32 h 596"/>
                <a:gd name="T94" fmla="*/ 675 w 800"/>
                <a:gd name="T95" fmla="*/ 35 h 596"/>
                <a:gd name="T96" fmla="*/ 715 w 800"/>
                <a:gd name="T97" fmla="*/ 35 h 596"/>
                <a:gd name="T98" fmla="*/ 752 w 800"/>
                <a:gd name="T99" fmla="*/ 35 h 596"/>
                <a:gd name="T100" fmla="*/ 792 w 800"/>
                <a:gd name="T101" fmla="*/ 38 h 596"/>
                <a:gd name="T102" fmla="*/ 800 w 800"/>
                <a:gd name="T103" fmla="*/ 54 h 596"/>
                <a:gd name="T104" fmla="*/ 800 w 800"/>
                <a:gd name="T105" fmla="*/ 80 h 596"/>
                <a:gd name="T106" fmla="*/ 800 w 800"/>
                <a:gd name="T107" fmla="*/ 107 h 596"/>
                <a:gd name="T108" fmla="*/ 800 w 800"/>
                <a:gd name="T109" fmla="*/ 131 h 596"/>
                <a:gd name="T110" fmla="*/ 798 w 800"/>
                <a:gd name="T111" fmla="*/ 158 h 596"/>
                <a:gd name="T112" fmla="*/ 798 w 800"/>
                <a:gd name="T113" fmla="*/ 17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00" h="596">
                  <a:moveTo>
                    <a:pt x="798" y="176"/>
                  </a:moveTo>
                  <a:lnTo>
                    <a:pt x="798" y="190"/>
                  </a:lnTo>
                  <a:lnTo>
                    <a:pt x="798" y="200"/>
                  </a:lnTo>
                  <a:lnTo>
                    <a:pt x="798" y="214"/>
                  </a:lnTo>
                  <a:lnTo>
                    <a:pt x="798" y="227"/>
                  </a:lnTo>
                  <a:lnTo>
                    <a:pt x="798" y="241"/>
                  </a:lnTo>
                  <a:lnTo>
                    <a:pt x="798" y="254"/>
                  </a:lnTo>
                  <a:lnTo>
                    <a:pt x="798" y="267"/>
                  </a:lnTo>
                  <a:lnTo>
                    <a:pt x="798" y="281"/>
                  </a:lnTo>
                  <a:lnTo>
                    <a:pt x="798" y="294"/>
                  </a:lnTo>
                  <a:lnTo>
                    <a:pt x="798" y="307"/>
                  </a:lnTo>
                  <a:lnTo>
                    <a:pt x="798" y="321"/>
                  </a:lnTo>
                  <a:lnTo>
                    <a:pt x="795" y="331"/>
                  </a:lnTo>
                  <a:lnTo>
                    <a:pt x="795" y="345"/>
                  </a:lnTo>
                  <a:lnTo>
                    <a:pt x="795" y="358"/>
                  </a:lnTo>
                  <a:lnTo>
                    <a:pt x="795" y="371"/>
                  </a:lnTo>
                  <a:lnTo>
                    <a:pt x="795" y="385"/>
                  </a:lnTo>
                  <a:lnTo>
                    <a:pt x="795" y="398"/>
                  </a:lnTo>
                  <a:lnTo>
                    <a:pt x="795" y="412"/>
                  </a:lnTo>
                  <a:lnTo>
                    <a:pt x="795" y="425"/>
                  </a:lnTo>
                  <a:lnTo>
                    <a:pt x="795" y="438"/>
                  </a:lnTo>
                  <a:lnTo>
                    <a:pt x="795" y="452"/>
                  </a:lnTo>
                  <a:lnTo>
                    <a:pt x="795" y="462"/>
                  </a:lnTo>
                  <a:lnTo>
                    <a:pt x="795" y="476"/>
                  </a:lnTo>
                  <a:lnTo>
                    <a:pt x="795" y="489"/>
                  </a:lnTo>
                  <a:lnTo>
                    <a:pt x="795" y="502"/>
                  </a:lnTo>
                  <a:lnTo>
                    <a:pt x="792" y="516"/>
                  </a:lnTo>
                  <a:lnTo>
                    <a:pt x="792" y="529"/>
                  </a:lnTo>
                  <a:lnTo>
                    <a:pt x="792" y="542"/>
                  </a:lnTo>
                  <a:lnTo>
                    <a:pt x="792" y="556"/>
                  </a:lnTo>
                  <a:lnTo>
                    <a:pt x="792" y="569"/>
                  </a:lnTo>
                  <a:lnTo>
                    <a:pt x="792" y="583"/>
                  </a:lnTo>
                  <a:lnTo>
                    <a:pt x="792" y="596"/>
                  </a:lnTo>
                  <a:lnTo>
                    <a:pt x="779" y="596"/>
                  </a:lnTo>
                  <a:lnTo>
                    <a:pt x="766" y="593"/>
                  </a:lnTo>
                  <a:lnTo>
                    <a:pt x="750" y="593"/>
                  </a:lnTo>
                  <a:lnTo>
                    <a:pt x="736" y="593"/>
                  </a:lnTo>
                  <a:lnTo>
                    <a:pt x="723" y="593"/>
                  </a:lnTo>
                  <a:lnTo>
                    <a:pt x="710" y="593"/>
                  </a:lnTo>
                  <a:lnTo>
                    <a:pt x="694" y="593"/>
                  </a:lnTo>
                  <a:lnTo>
                    <a:pt x="680" y="593"/>
                  </a:lnTo>
                  <a:lnTo>
                    <a:pt x="659" y="591"/>
                  </a:lnTo>
                  <a:lnTo>
                    <a:pt x="638" y="591"/>
                  </a:lnTo>
                  <a:lnTo>
                    <a:pt x="616" y="591"/>
                  </a:lnTo>
                  <a:lnTo>
                    <a:pt x="595" y="591"/>
                  </a:lnTo>
                  <a:lnTo>
                    <a:pt x="574" y="588"/>
                  </a:lnTo>
                  <a:lnTo>
                    <a:pt x="552" y="588"/>
                  </a:lnTo>
                  <a:lnTo>
                    <a:pt x="531" y="588"/>
                  </a:lnTo>
                  <a:lnTo>
                    <a:pt x="510" y="585"/>
                  </a:lnTo>
                  <a:lnTo>
                    <a:pt x="488" y="585"/>
                  </a:lnTo>
                  <a:lnTo>
                    <a:pt x="467" y="585"/>
                  </a:lnTo>
                  <a:lnTo>
                    <a:pt x="445" y="583"/>
                  </a:lnTo>
                  <a:lnTo>
                    <a:pt x="424" y="583"/>
                  </a:lnTo>
                  <a:lnTo>
                    <a:pt x="403" y="583"/>
                  </a:lnTo>
                  <a:lnTo>
                    <a:pt x="381" y="580"/>
                  </a:lnTo>
                  <a:lnTo>
                    <a:pt x="360" y="580"/>
                  </a:lnTo>
                  <a:lnTo>
                    <a:pt x="339" y="577"/>
                  </a:lnTo>
                  <a:lnTo>
                    <a:pt x="317" y="577"/>
                  </a:lnTo>
                  <a:lnTo>
                    <a:pt x="296" y="577"/>
                  </a:lnTo>
                  <a:lnTo>
                    <a:pt x="275" y="575"/>
                  </a:lnTo>
                  <a:lnTo>
                    <a:pt x="253" y="575"/>
                  </a:lnTo>
                  <a:lnTo>
                    <a:pt x="232" y="572"/>
                  </a:lnTo>
                  <a:lnTo>
                    <a:pt x="211" y="572"/>
                  </a:lnTo>
                  <a:lnTo>
                    <a:pt x="189" y="569"/>
                  </a:lnTo>
                  <a:lnTo>
                    <a:pt x="168" y="569"/>
                  </a:lnTo>
                  <a:lnTo>
                    <a:pt x="147" y="567"/>
                  </a:lnTo>
                  <a:lnTo>
                    <a:pt x="125" y="564"/>
                  </a:lnTo>
                  <a:lnTo>
                    <a:pt x="104" y="564"/>
                  </a:lnTo>
                  <a:lnTo>
                    <a:pt x="85" y="561"/>
                  </a:lnTo>
                  <a:lnTo>
                    <a:pt x="64" y="561"/>
                  </a:lnTo>
                  <a:lnTo>
                    <a:pt x="43" y="559"/>
                  </a:lnTo>
                  <a:lnTo>
                    <a:pt x="21" y="556"/>
                  </a:lnTo>
                  <a:lnTo>
                    <a:pt x="0" y="556"/>
                  </a:lnTo>
                  <a:lnTo>
                    <a:pt x="0" y="537"/>
                  </a:lnTo>
                  <a:lnTo>
                    <a:pt x="3" y="521"/>
                  </a:lnTo>
                  <a:lnTo>
                    <a:pt x="3" y="502"/>
                  </a:lnTo>
                  <a:lnTo>
                    <a:pt x="5" y="486"/>
                  </a:lnTo>
                  <a:lnTo>
                    <a:pt x="5" y="468"/>
                  </a:lnTo>
                  <a:lnTo>
                    <a:pt x="8" y="452"/>
                  </a:lnTo>
                  <a:lnTo>
                    <a:pt x="8" y="433"/>
                  </a:lnTo>
                  <a:lnTo>
                    <a:pt x="11" y="417"/>
                  </a:lnTo>
                  <a:lnTo>
                    <a:pt x="11" y="398"/>
                  </a:lnTo>
                  <a:lnTo>
                    <a:pt x="13" y="380"/>
                  </a:lnTo>
                  <a:lnTo>
                    <a:pt x="13" y="363"/>
                  </a:lnTo>
                  <a:lnTo>
                    <a:pt x="16" y="345"/>
                  </a:lnTo>
                  <a:lnTo>
                    <a:pt x="19" y="329"/>
                  </a:lnTo>
                  <a:lnTo>
                    <a:pt x="19" y="310"/>
                  </a:lnTo>
                  <a:lnTo>
                    <a:pt x="21" y="294"/>
                  </a:lnTo>
                  <a:lnTo>
                    <a:pt x="21" y="275"/>
                  </a:lnTo>
                  <a:lnTo>
                    <a:pt x="24" y="259"/>
                  </a:lnTo>
                  <a:lnTo>
                    <a:pt x="24" y="241"/>
                  </a:lnTo>
                  <a:lnTo>
                    <a:pt x="27" y="225"/>
                  </a:lnTo>
                  <a:lnTo>
                    <a:pt x="27" y="206"/>
                  </a:lnTo>
                  <a:lnTo>
                    <a:pt x="29" y="190"/>
                  </a:lnTo>
                  <a:lnTo>
                    <a:pt x="29" y="171"/>
                  </a:lnTo>
                  <a:lnTo>
                    <a:pt x="32" y="155"/>
                  </a:lnTo>
                  <a:lnTo>
                    <a:pt x="32" y="136"/>
                  </a:lnTo>
                  <a:lnTo>
                    <a:pt x="35" y="120"/>
                  </a:lnTo>
                  <a:lnTo>
                    <a:pt x="35" y="102"/>
                  </a:lnTo>
                  <a:lnTo>
                    <a:pt x="37" y="86"/>
                  </a:lnTo>
                  <a:lnTo>
                    <a:pt x="40" y="67"/>
                  </a:lnTo>
                  <a:lnTo>
                    <a:pt x="40" y="51"/>
                  </a:lnTo>
                  <a:lnTo>
                    <a:pt x="43" y="32"/>
                  </a:lnTo>
                  <a:lnTo>
                    <a:pt x="43" y="16"/>
                  </a:lnTo>
                  <a:lnTo>
                    <a:pt x="45" y="0"/>
                  </a:lnTo>
                  <a:lnTo>
                    <a:pt x="61" y="0"/>
                  </a:lnTo>
                  <a:lnTo>
                    <a:pt x="77" y="3"/>
                  </a:lnTo>
                  <a:lnTo>
                    <a:pt x="96" y="3"/>
                  </a:lnTo>
                  <a:lnTo>
                    <a:pt x="112" y="5"/>
                  </a:lnTo>
                  <a:lnTo>
                    <a:pt x="128" y="5"/>
                  </a:lnTo>
                  <a:lnTo>
                    <a:pt x="147" y="5"/>
                  </a:lnTo>
                  <a:lnTo>
                    <a:pt x="163" y="8"/>
                  </a:lnTo>
                  <a:lnTo>
                    <a:pt x="179" y="8"/>
                  </a:lnTo>
                  <a:lnTo>
                    <a:pt x="197" y="11"/>
                  </a:lnTo>
                  <a:lnTo>
                    <a:pt x="213" y="11"/>
                  </a:lnTo>
                  <a:lnTo>
                    <a:pt x="229" y="13"/>
                  </a:lnTo>
                  <a:lnTo>
                    <a:pt x="248" y="13"/>
                  </a:lnTo>
                  <a:lnTo>
                    <a:pt x="264" y="16"/>
                  </a:lnTo>
                  <a:lnTo>
                    <a:pt x="280" y="16"/>
                  </a:lnTo>
                  <a:lnTo>
                    <a:pt x="299" y="16"/>
                  </a:lnTo>
                  <a:lnTo>
                    <a:pt x="315" y="19"/>
                  </a:lnTo>
                  <a:lnTo>
                    <a:pt x="331" y="19"/>
                  </a:lnTo>
                  <a:lnTo>
                    <a:pt x="349" y="19"/>
                  </a:lnTo>
                  <a:lnTo>
                    <a:pt x="365" y="21"/>
                  </a:lnTo>
                  <a:lnTo>
                    <a:pt x="381" y="21"/>
                  </a:lnTo>
                  <a:lnTo>
                    <a:pt x="400" y="21"/>
                  </a:lnTo>
                  <a:lnTo>
                    <a:pt x="416" y="24"/>
                  </a:lnTo>
                  <a:lnTo>
                    <a:pt x="432" y="24"/>
                  </a:lnTo>
                  <a:lnTo>
                    <a:pt x="451" y="24"/>
                  </a:lnTo>
                  <a:lnTo>
                    <a:pt x="467" y="27"/>
                  </a:lnTo>
                  <a:lnTo>
                    <a:pt x="483" y="27"/>
                  </a:lnTo>
                  <a:lnTo>
                    <a:pt x="502" y="27"/>
                  </a:lnTo>
                  <a:lnTo>
                    <a:pt x="518" y="30"/>
                  </a:lnTo>
                  <a:lnTo>
                    <a:pt x="536" y="30"/>
                  </a:lnTo>
                  <a:lnTo>
                    <a:pt x="552" y="30"/>
                  </a:lnTo>
                  <a:lnTo>
                    <a:pt x="568" y="30"/>
                  </a:lnTo>
                  <a:lnTo>
                    <a:pt x="587" y="32"/>
                  </a:lnTo>
                  <a:lnTo>
                    <a:pt x="598" y="32"/>
                  </a:lnTo>
                  <a:lnTo>
                    <a:pt x="611" y="32"/>
                  </a:lnTo>
                  <a:lnTo>
                    <a:pt x="624" y="32"/>
                  </a:lnTo>
                  <a:lnTo>
                    <a:pt x="638" y="32"/>
                  </a:lnTo>
                  <a:lnTo>
                    <a:pt x="651" y="32"/>
                  </a:lnTo>
                  <a:lnTo>
                    <a:pt x="662" y="32"/>
                  </a:lnTo>
                  <a:lnTo>
                    <a:pt x="675" y="35"/>
                  </a:lnTo>
                  <a:lnTo>
                    <a:pt x="688" y="35"/>
                  </a:lnTo>
                  <a:lnTo>
                    <a:pt x="702" y="35"/>
                  </a:lnTo>
                  <a:lnTo>
                    <a:pt x="715" y="35"/>
                  </a:lnTo>
                  <a:lnTo>
                    <a:pt x="726" y="35"/>
                  </a:lnTo>
                  <a:lnTo>
                    <a:pt x="739" y="35"/>
                  </a:lnTo>
                  <a:lnTo>
                    <a:pt x="752" y="35"/>
                  </a:lnTo>
                  <a:lnTo>
                    <a:pt x="766" y="35"/>
                  </a:lnTo>
                  <a:lnTo>
                    <a:pt x="779" y="38"/>
                  </a:lnTo>
                  <a:lnTo>
                    <a:pt x="792" y="38"/>
                  </a:lnTo>
                  <a:lnTo>
                    <a:pt x="800" y="38"/>
                  </a:lnTo>
                  <a:lnTo>
                    <a:pt x="800" y="46"/>
                  </a:lnTo>
                  <a:lnTo>
                    <a:pt x="800" y="54"/>
                  </a:lnTo>
                  <a:lnTo>
                    <a:pt x="800" y="62"/>
                  </a:lnTo>
                  <a:lnTo>
                    <a:pt x="800" y="72"/>
                  </a:lnTo>
                  <a:lnTo>
                    <a:pt x="800" y="80"/>
                  </a:lnTo>
                  <a:lnTo>
                    <a:pt x="800" y="88"/>
                  </a:lnTo>
                  <a:lnTo>
                    <a:pt x="800" y="96"/>
                  </a:lnTo>
                  <a:lnTo>
                    <a:pt x="800" y="107"/>
                  </a:lnTo>
                  <a:lnTo>
                    <a:pt x="800" y="115"/>
                  </a:lnTo>
                  <a:lnTo>
                    <a:pt x="800" y="123"/>
                  </a:lnTo>
                  <a:lnTo>
                    <a:pt x="800" y="131"/>
                  </a:lnTo>
                  <a:lnTo>
                    <a:pt x="800" y="142"/>
                  </a:lnTo>
                  <a:lnTo>
                    <a:pt x="800" y="150"/>
                  </a:lnTo>
                  <a:lnTo>
                    <a:pt x="798" y="158"/>
                  </a:lnTo>
                  <a:lnTo>
                    <a:pt x="798" y="166"/>
                  </a:lnTo>
                  <a:lnTo>
                    <a:pt x="798" y="176"/>
                  </a:lnTo>
                  <a:lnTo>
                    <a:pt x="798" y="176"/>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54" name="Freeform 51">
              <a:extLst>
                <a:ext uri="{FF2B5EF4-FFF2-40B4-BE49-F238E27FC236}">
                  <a16:creationId xmlns="" xmlns:a16="http://schemas.microsoft.com/office/drawing/2014/main" id="{A87C65D5-0217-4AA8-A87A-F35F828901F4}"/>
                </a:ext>
              </a:extLst>
            </p:cNvPr>
            <p:cNvSpPr>
              <a:spLocks noEditPoints="1"/>
            </p:cNvSpPr>
            <p:nvPr/>
          </p:nvSpPr>
          <p:spPr bwMode="auto">
            <a:xfrm>
              <a:off x="1017" y="951"/>
              <a:ext cx="990" cy="1467"/>
            </a:xfrm>
            <a:custGeom>
              <a:avLst/>
              <a:gdLst>
                <a:gd name="T0" fmla="*/ 456 w 990"/>
                <a:gd name="T1" fmla="*/ 1384 h 1467"/>
                <a:gd name="T2" fmla="*/ 339 w 990"/>
                <a:gd name="T3" fmla="*/ 1301 h 1467"/>
                <a:gd name="T4" fmla="*/ 467 w 990"/>
                <a:gd name="T5" fmla="*/ 1309 h 1467"/>
                <a:gd name="T6" fmla="*/ 291 w 990"/>
                <a:gd name="T7" fmla="*/ 1184 h 1467"/>
                <a:gd name="T8" fmla="*/ 304 w 990"/>
                <a:gd name="T9" fmla="*/ 1197 h 1467"/>
                <a:gd name="T10" fmla="*/ 261 w 990"/>
                <a:gd name="T11" fmla="*/ 1178 h 1467"/>
                <a:gd name="T12" fmla="*/ 315 w 990"/>
                <a:gd name="T13" fmla="*/ 1181 h 1467"/>
                <a:gd name="T14" fmla="*/ 984 w 990"/>
                <a:gd name="T15" fmla="*/ 1245 h 1467"/>
                <a:gd name="T16" fmla="*/ 966 w 990"/>
                <a:gd name="T17" fmla="*/ 1218 h 1467"/>
                <a:gd name="T18" fmla="*/ 944 w 990"/>
                <a:gd name="T19" fmla="*/ 1168 h 1467"/>
                <a:gd name="T20" fmla="*/ 675 w 990"/>
                <a:gd name="T21" fmla="*/ 804 h 1467"/>
                <a:gd name="T22" fmla="*/ 461 w 990"/>
                <a:gd name="T23" fmla="*/ 339 h 1467"/>
                <a:gd name="T24" fmla="*/ 232 w 990"/>
                <a:gd name="T25" fmla="*/ 37 h 1467"/>
                <a:gd name="T26" fmla="*/ 64 w 990"/>
                <a:gd name="T27" fmla="*/ 45 h 1467"/>
                <a:gd name="T28" fmla="*/ 48 w 990"/>
                <a:gd name="T29" fmla="*/ 118 h 1467"/>
                <a:gd name="T30" fmla="*/ 43 w 990"/>
                <a:gd name="T31" fmla="*/ 163 h 1467"/>
                <a:gd name="T32" fmla="*/ 16 w 990"/>
                <a:gd name="T33" fmla="*/ 182 h 1467"/>
                <a:gd name="T34" fmla="*/ 3 w 990"/>
                <a:gd name="T35" fmla="*/ 235 h 1467"/>
                <a:gd name="T36" fmla="*/ 43 w 990"/>
                <a:gd name="T37" fmla="*/ 321 h 1467"/>
                <a:gd name="T38" fmla="*/ 35 w 990"/>
                <a:gd name="T39" fmla="*/ 406 h 1467"/>
                <a:gd name="T40" fmla="*/ 75 w 990"/>
                <a:gd name="T41" fmla="*/ 505 h 1467"/>
                <a:gd name="T42" fmla="*/ 93 w 990"/>
                <a:gd name="T43" fmla="*/ 558 h 1467"/>
                <a:gd name="T44" fmla="*/ 85 w 990"/>
                <a:gd name="T45" fmla="*/ 566 h 1467"/>
                <a:gd name="T46" fmla="*/ 109 w 990"/>
                <a:gd name="T47" fmla="*/ 591 h 1467"/>
                <a:gd name="T48" fmla="*/ 131 w 990"/>
                <a:gd name="T49" fmla="*/ 593 h 1467"/>
                <a:gd name="T50" fmla="*/ 163 w 990"/>
                <a:gd name="T51" fmla="*/ 580 h 1467"/>
                <a:gd name="T52" fmla="*/ 197 w 990"/>
                <a:gd name="T53" fmla="*/ 588 h 1467"/>
                <a:gd name="T54" fmla="*/ 216 w 990"/>
                <a:gd name="T55" fmla="*/ 591 h 1467"/>
                <a:gd name="T56" fmla="*/ 232 w 990"/>
                <a:gd name="T57" fmla="*/ 588 h 1467"/>
                <a:gd name="T58" fmla="*/ 232 w 990"/>
                <a:gd name="T59" fmla="*/ 591 h 1467"/>
                <a:gd name="T60" fmla="*/ 213 w 990"/>
                <a:gd name="T61" fmla="*/ 596 h 1467"/>
                <a:gd name="T62" fmla="*/ 141 w 990"/>
                <a:gd name="T63" fmla="*/ 593 h 1467"/>
                <a:gd name="T64" fmla="*/ 160 w 990"/>
                <a:gd name="T65" fmla="*/ 639 h 1467"/>
                <a:gd name="T66" fmla="*/ 157 w 990"/>
                <a:gd name="T67" fmla="*/ 660 h 1467"/>
                <a:gd name="T68" fmla="*/ 136 w 990"/>
                <a:gd name="T69" fmla="*/ 641 h 1467"/>
                <a:gd name="T70" fmla="*/ 123 w 990"/>
                <a:gd name="T71" fmla="*/ 617 h 1467"/>
                <a:gd name="T72" fmla="*/ 123 w 990"/>
                <a:gd name="T73" fmla="*/ 689 h 1467"/>
                <a:gd name="T74" fmla="*/ 173 w 990"/>
                <a:gd name="T75" fmla="*/ 745 h 1467"/>
                <a:gd name="T76" fmla="*/ 163 w 990"/>
                <a:gd name="T77" fmla="*/ 788 h 1467"/>
                <a:gd name="T78" fmla="*/ 155 w 990"/>
                <a:gd name="T79" fmla="*/ 828 h 1467"/>
                <a:gd name="T80" fmla="*/ 187 w 990"/>
                <a:gd name="T81" fmla="*/ 882 h 1467"/>
                <a:gd name="T82" fmla="*/ 224 w 990"/>
                <a:gd name="T83" fmla="*/ 957 h 1467"/>
                <a:gd name="T84" fmla="*/ 237 w 990"/>
                <a:gd name="T85" fmla="*/ 1002 h 1467"/>
                <a:gd name="T86" fmla="*/ 256 w 990"/>
                <a:gd name="T87" fmla="*/ 1055 h 1467"/>
                <a:gd name="T88" fmla="*/ 253 w 990"/>
                <a:gd name="T89" fmla="*/ 1101 h 1467"/>
                <a:gd name="T90" fmla="*/ 347 w 990"/>
                <a:gd name="T91" fmla="*/ 1141 h 1467"/>
                <a:gd name="T92" fmla="*/ 397 w 990"/>
                <a:gd name="T93" fmla="*/ 1173 h 1467"/>
                <a:gd name="T94" fmla="*/ 432 w 990"/>
                <a:gd name="T95" fmla="*/ 1205 h 1467"/>
                <a:gd name="T96" fmla="*/ 486 w 990"/>
                <a:gd name="T97" fmla="*/ 1250 h 1467"/>
                <a:gd name="T98" fmla="*/ 499 w 990"/>
                <a:gd name="T99" fmla="*/ 1258 h 1467"/>
                <a:gd name="T100" fmla="*/ 579 w 990"/>
                <a:gd name="T101" fmla="*/ 1331 h 1467"/>
                <a:gd name="T102" fmla="*/ 598 w 990"/>
                <a:gd name="T103" fmla="*/ 1424 h 1467"/>
                <a:gd name="T104" fmla="*/ 598 w 990"/>
                <a:gd name="T105" fmla="*/ 1427 h 1467"/>
                <a:gd name="T106" fmla="*/ 694 w 990"/>
                <a:gd name="T107" fmla="*/ 1456 h 1467"/>
                <a:gd name="T108" fmla="*/ 878 w 990"/>
                <a:gd name="T109" fmla="*/ 1464 h 1467"/>
                <a:gd name="T110" fmla="*/ 926 w 990"/>
                <a:gd name="T111" fmla="*/ 1432 h 1467"/>
                <a:gd name="T112" fmla="*/ 904 w 990"/>
                <a:gd name="T113" fmla="*/ 1368 h 1467"/>
                <a:gd name="T114" fmla="*/ 936 w 990"/>
                <a:gd name="T115" fmla="*/ 1328 h 1467"/>
                <a:gd name="T116" fmla="*/ 944 w 990"/>
                <a:gd name="T117" fmla="*/ 1290 h 1467"/>
                <a:gd name="T118" fmla="*/ 69 w 990"/>
                <a:gd name="T119" fmla="*/ 615 h 1467"/>
                <a:gd name="T120" fmla="*/ 141 w 990"/>
                <a:gd name="T121" fmla="*/ 612 h 1467"/>
                <a:gd name="T122" fmla="*/ 376 w 990"/>
                <a:gd name="T123" fmla="*/ 1202 h 1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0" h="1467">
                  <a:moveTo>
                    <a:pt x="461" y="1379"/>
                  </a:moveTo>
                  <a:lnTo>
                    <a:pt x="459" y="1373"/>
                  </a:lnTo>
                  <a:lnTo>
                    <a:pt x="453" y="1368"/>
                  </a:lnTo>
                  <a:lnTo>
                    <a:pt x="451" y="1365"/>
                  </a:lnTo>
                  <a:lnTo>
                    <a:pt x="451" y="1360"/>
                  </a:lnTo>
                  <a:lnTo>
                    <a:pt x="451" y="1360"/>
                  </a:lnTo>
                  <a:lnTo>
                    <a:pt x="451" y="1357"/>
                  </a:lnTo>
                  <a:lnTo>
                    <a:pt x="448" y="1357"/>
                  </a:lnTo>
                  <a:lnTo>
                    <a:pt x="448" y="1355"/>
                  </a:lnTo>
                  <a:lnTo>
                    <a:pt x="448" y="1355"/>
                  </a:lnTo>
                  <a:lnTo>
                    <a:pt x="448" y="1352"/>
                  </a:lnTo>
                  <a:lnTo>
                    <a:pt x="445" y="1352"/>
                  </a:lnTo>
                  <a:lnTo>
                    <a:pt x="445" y="1352"/>
                  </a:lnTo>
                  <a:lnTo>
                    <a:pt x="443" y="1355"/>
                  </a:lnTo>
                  <a:lnTo>
                    <a:pt x="445" y="1360"/>
                  </a:lnTo>
                  <a:lnTo>
                    <a:pt x="448" y="1363"/>
                  </a:lnTo>
                  <a:lnTo>
                    <a:pt x="448" y="1368"/>
                  </a:lnTo>
                  <a:lnTo>
                    <a:pt x="451" y="1376"/>
                  </a:lnTo>
                  <a:lnTo>
                    <a:pt x="453" y="1381"/>
                  </a:lnTo>
                  <a:lnTo>
                    <a:pt x="456" y="1384"/>
                  </a:lnTo>
                  <a:lnTo>
                    <a:pt x="459" y="1384"/>
                  </a:lnTo>
                  <a:lnTo>
                    <a:pt x="459" y="1387"/>
                  </a:lnTo>
                  <a:lnTo>
                    <a:pt x="461" y="1387"/>
                  </a:lnTo>
                  <a:lnTo>
                    <a:pt x="461" y="1387"/>
                  </a:lnTo>
                  <a:lnTo>
                    <a:pt x="461" y="1387"/>
                  </a:lnTo>
                  <a:lnTo>
                    <a:pt x="464" y="1387"/>
                  </a:lnTo>
                  <a:lnTo>
                    <a:pt x="467" y="1387"/>
                  </a:lnTo>
                  <a:lnTo>
                    <a:pt x="467" y="1387"/>
                  </a:lnTo>
                  <a:lnTo>
                    <a:pt x="470" y="1387"/>
                  </a:lnTo>
                  <a:lnTo>
                    <a:pt x="464" y="1381"/>
                  </a:lnTo>
                  <a:lnTo>
                    <a:pt x="461" y="1379"/>
                  </a:lnTo>
                  <a:close/>
                  <a:moveTo>
                    <a:pt x="349" y="1304"/>
                  </a:moveTo>
                  <a:lnTo>
                    <a:pt x="344" y="1301"/>
                  </a:lnTo>
                  <a:lnTo>
                    <a:pt x="344" y="1301"/>
                  </a:lnTo>
                  <a:lnTo>
                    <a:pt x="344" y="1299"/>
                  </a:lnTo>
                  <a:lnTo>
                    <a:pt x="341" y="1299"/>
                  </a:lnTo>
                  <a:lnTo>
                    <a:pt x="341" y="1299"/>
                  </a:lnTo>
                  <a:lnTo>
                    <a:pt x="339" y="1299"/>
                  </a:lnTo>
                  <a:lnTo>
                    <a:pt x="336" y="1299"/>
                  </a:lnTo>
                  <a:lnTo>
                    <a:pt x="339" y="1301"/>
                  </a:lnTo>
                  <a:lnTo>
                    <a:pt x="341" y="1307"/>
                  </a:lnTo>
                  <a:lnTo>
                    <a:pt x="344" y="1309"/>
                  </a:lnTo>
                  <a:lnTo>
                    <a:pt x="347" y="1309"/>
                  </a:lnTo>
                  <a:lnTo>
                    <a:pt x="352" y="1309"/>
                  </a:lnTo>
                  <a:lnTo>
                    <a:pt x="352" y="1307"/>
                  </a:lnTo>
                  <a:lnTo>
                    <a:pt x="349" y="1304"/>
                  </a:lnTo>
                  <a:close/>
                  <a:moveTo>
                    <a:pt x="480" y="1304"/>
                  </a:moveTo>
                  <a:lnTo>
                    <a:pt x="470" y="1299"/>
                  </a:lnTo>
                  <a:lnTo>
                    <a:pt x="470" y="1299"/>
                  </a:lnTo>
                  <a:lnTo>
                    <a:pt x="461" y="1293"/>
                  </a:lnTo>
                  <a:lnTo>
                    <a:pt x="459" y="1290"/>
                  </a:lnTo>
                  <a:lnTo>
                    <a:pt x="456" y="1290"/>
                  </a:lnTo>
                  <a:lnTo>
                    <a:pt x="456" y="1293"/>
                  </a:lnTo>
                  <a:lnTo>
                    <a:pt x="456" y="1296"/>
                  </a:lnTo>
                  <a:lnTo>
                    <a:pt x="459" y="1296"/>
                  </a:lnTo>
                  <a:lnTo>
                    <a:pt x="461" y="1299"/>
                  </a:lnTo>
                  <a:lnTo>
                    <a:pt x="464" y="1299"/>
                  </a:lnTo>
                  <a:lnTo>
                    <a:pt x="467" y="1301"/>
                  </a:lnTo>
                  <a:lnTo>
                    <a:pt x="467" y="1304"/>
                  </a:lnTo>
                  <a:lnTo>
                    <a:pt x="467" y="1309"/>
                  </a:lnTo>
                  <a:lnTo>
                    <a:pt x="467" y="1312"/>
                  </a:lnTo>
                  <a:lnTo>
                    <a:pt x="467" y="1315"/>
                  </a:lnTo>
                  <a:lnTo>
                    <a:pt x="470" y="1317"/>
                  </a:lnTo>
                  <a:lnTo>
                    <a:pt x="472" y="1317"/>
                  </a:lnTo>
                  <a:lnTo>
                    <a:pt x="472" y="1317"/>
                  </a:lnTo>
                  <a:lnTo>
                    <a:pt x="475" y="1317"/>
                  </a:lnTo>
                  <a:lnTo>
                    <a:pt x="478" y="1317"/>
                  </a:lnTo>
                  <a:lnTo>
                    <a:pt x="478" y="1317"/>
                  </a:lnTo>
                  <a:lnTo>
                    <a:pt x="480" y="1320"/>
                  </a:lnTo>
                  <a:lnTo>
                    <a:pt x="483" y="1320"/>
                  </a:lnTo>
                  <a:lnTo>
                    <a:pt x="486" y="1320"/>
                  </a:lnTo>
                  <a:lnTo>
                    <a:pt x="486" y="1317"/>
                  </a:lnTo>
                  <a:lnTo>
                    <a:pt x="480" y="1307"/>
                  </a:lnTo>
                  <a:lnTo>
                    <a:pt x="480" y="1304"/>
                  </a:lnTo>
                  <a:close/>
                  <a:moveTo>
                    <a:pt x="301" y="1189"/>
                  </a:moveTo>
                  <a:lnTo>
                    <a:pt x="301" y="1186"/>
                  </a:lnTo>
                  <a:lnTo>
                    <a:pt x="301" y="1184"/>
                  </a:lnTo>
                  <a:lnTo>
                    <a:pt x="299" y="1184"/>
                  </a:lnTo>
                  <a:lnTo>
                    <a:pt x="299" y="1184"/>
                  </a:lnTo>
                  <a:lnTo>
                    <a:pt x="291" y="1184"/>
                  </a:lnTo>
                  <a:lnTo>
                    <a:pt x="288" y="1184"/>
                  </a:lnTo>
                  <a:lnTo>
                    <a:pt x="288" y="1184"/>
                  </a:lnTo>
                  <a:lnTo>
                    <a:pt x="285" y="1184"/>
                  </a:lnTo>
                  <a:lnTo>
                    <a:pt x="283" y="1184"/>
                  </a:lnTo>
                  <a:lnTo>
                    <a:pt x="280" y="1181"/>
                  </a:lnTo>
                  <a:lnTo>
                    <a:pt x="277" y="1184"/>
                  </a:lnTo>
                  <a:lnTo>
                    <a:pt x="277" y="1186"/>
                  </a:lnTo>
                  <a:lnTo>
                    <a:pt x="280" y="1189"/>
                  </a:lnTo>
                  <a:lnTo>
                    <a:pt x="283" y="1192"/>
                  </a:lnTo>
                  <a:lnTo>
                    <a:pt x="283" y="1194"/>
                  </a:lnTo>
                  <a:lnTo>
                    <a:pt x="283" y="1197"/>
                  </a:lnTo>
                  <a:lnTo>
                    <a:pt x="285" y="1200"/>
                  </a:lnTo>
                  <a:lnTo>
                    <a:pt x="288" y="1200"/>
                  </a:lnTo>
                  <a:lnTo>
                    <a:pt x="291" y="1200"/>
                  </a:lnTo>
                  <a:lnTo>
                    <a:pt x="291" y="1200"/>
                  </a:lnTo>
                  <a:lnTo>
                    <a:pt x="293" y="1200"/>
                  </a:lnTo>
                  <a:lnTo>
                    <a:pt x="293" y="1200"/>
                  </a:lnTo>
                  <a:lnTo>
                    <a:pt x="296" y="1200"/>
                  </a:lnTo>
                  <a:lnTo>
                    <a:pt x="296" y="1200"/>
                  </a:lnTo>
                  <a:lnTo>
                    <a:pt x="304" y="1197"/>
                  </a:lnTo>
                  <a:lnTo>
                    <a:pt x="307" y="1197"/>
                  </a:lnTo>
                  <a:lnTo>
                    <a:pt x="307" y="1194"/>
                  </a:lnTo>
                  <a:lnTo>
                    <a:pt x="307" y="1192"/>
                  </a:lnTo>
                  <a:lnTo>
                    <a:pt x="304" y="1192"/>
                  </a:lnTo>
                  <a:lnTo>
                    <a:pt x="301" y="1189"/>
                  </a:lnTo>
                  <a:close/>
                  <a:moveTo>
                    <a:pt x="269" y="1178"/>
                  </a:moveTo>
                  <a:lnTo>
                    <a:pt x="269" y="1176"/>
                  </a:lnTo>
                  <a:lnTo>
                    <a:pt x="269" y="1176"/>
                  </a:lnTo>
                  <a:lnTo>
                    <a:pt x="267" y="1176"/>
                  </a:lnTo>
                  <a:lnTo>
                    <a:pt x="267" y="1173"/>
                  </a:lnTo>
                  <a:lnTo>
                    <a:pt x="267" y="1173"/>
                  </a:lnTo>
                  <a:lnTo>
                    <a:pt x="264" y="1170"/>
                  </a:lnTo>
                  <a:lnTo>
                    <a:pt x="264" y="1173"/>
                  </a:lnTo>
                  <a:lnTo>
                    <a:pt x="261" y="1173"/>
                  </a:lnTo>
                  <a:lnTo>
                    <a:pt x="259" y="1173"/>
                  </a:lnTo>
                  <a:lnTo>
                    <a:pt x="256" y="1176"/>
                  </a:lnTo>
                  <a:lnTo>
                    <a:pt x="256" y="1176"/>
                  </a:lnTo>
                  <a:lnTo>
                    <a:pt x="256" y="1176"/>
                  </a:lnTo>
                  <a:lnTo>
                    <a:pt x="259" y="1176"/>
                  </a:lnTo>
                  <a:lnTo>
                    <a:pt x="261" y="1178"/>
                  </a:lnTo>
                  <a:lnTo>
                    <a:pt x="264" y="1178"/>
                  </a:lnTo>
                  <a:lnTo>
                    <a:pt x="272" y="1181"/>
                  </a:lnTo>
                  <a:lnTo>
                    <a:pt x="272" y="1178"/>
                  </a:lnTo>
                  <a:lnTo>
                    <a:pt x="269" y="1178"/>
                  </a:lnTo>
                  <a:close/>
                  <a:moveTo>
                    <a:pt x="357" y="1192"/>
                  </a:moveTo>
                  <a:lnTo>
                    <a:pt x="357" y="1192"/>
                  </a:lnTo>
                  <a:lnTo>
                    <a:pt x="355" y="1189"/>
                  </a:lnTo>
                  <a:lnTo>
                    <a:pt x="352" y="1192"/>
                  </a:lnTo>
                  <a:lnTo>
                    <a:pt x="347" y="1194"/>
                  </a:lnTo>
                  <a:lnTo>
                    <a:pt x="347" y="1194"/>
                  </a:lnTo>
                  <a:lnTo>
                    <a:pt x="347" y="1194"/>
                  </a:lnTo>
                  <a:lnTo>
                    <a:pt x="336" y="1189"/>
                  </a:lnTo>
                  <a:lnTo>
                    <a:pt x="333" y="1186"/>
                  </a:lnTo>
                  <a:lnTo>
                    <a:pt x="328" y="1186"/>
                  </a:lnTo>
                  <a:lnTo>
                    <a:pt x="328" y="1186"/>
                  </a:lnTo>
                  <a:lnTo>
                    <a:pt x="323" y="1181"/>
                  </a:lnTo>
                  <a:lnTo>
                    <a:pt x="317" y="1181"/>
                  </a:lnTo>
                  <a:lnTo>
                    <a:pt x="317" y="1181"/>
                  </a:lnTo>
                  <a:lnTo>
                    <a:pt x="317" y="1181"/>
                  </a:lnTo>
                  <a:lnTo>
                    <a:pt x="315" y="1181"/>
                  </a:lnTo>
                  <a:lnTo>
                    <a:pt x="315" y="1184"/>
                  </a:lnTo>
                  <a:lnTo>
                    <a:pt x="315" y="1184"/>
                  </a:lnTo>
                  <a:lnTo>
                    <a:pt x="317" y="1184"/>
                  </a:lnTo>
                  <a:lnTo>
                    <a:pt x="317" y="1186"/>
                  </a:lnTo>
                  <a:lnTo>
                    <a:pt x="320" y="1186"/>
                  </a:lnTo>
                  <a:lnTo>
                    <a:pt x="320" y="1189"/>
                  </a:lnTo>
                  <a:lnTo>
                    <a:pt x="317" y="1192"/>
                  </a:lnTo>
                  <a:lnTo>
                    <a:pt x="320" y="1194"/>
                  </a:lnTo>
                  <a:lnTo>
                    <a:pt x="325" y="1197"/>
                  </a:lnTo>
                  <a:lnTo>
                    <a:pt x="328" y="1200"/>
                  </a:lnTo>
                  <a:lnTo>
                    <a:pt x="355" y="1200"/>
                  </a:lnTo>
                  <a:lnTo>
                    <a:pt x="357" y="1197"/>
                  </a:lnTo>
                  <a:lnTo>
                    <a:pt x="360" y="1197"/>
                  </a:lnTo>
                  <a:lnTo>
                    <a:pt x="360" y="1194"/>
                  </a:lnTo>
                  <a:lnTo>
                    <a:pt x="360" y="1194"/>
                  </a:lnTo>
                  <a:lnTo>
                    <a:pt x="357" y="1192"/>
                  </a:lnTo>
                  <a:close/>
                  <a:moveTo>
                    <a:pt x="990" y="1250"/>
                  </a:moveTo>
                  <a:lnTo>
                    <a:pt x="990" y="1250"/>
                  </a:lnTo>
                  <a:lnTo>
                    <a:pt x="987" y="1248"/>
                  </a:lnTo>
                  <a:lnTo>
                    <a:pt x="984" y="1245"/>
                  </a:lnTo>
                  <a:lnTo>
                    <a:pt x="984" y="1242"/>
                  </a:lnTo>
                  <a:lnTo>
                    <a:pt x="982" y="1242"/>
                  </a:lnTo>
                  <a:lnTo>
                    <a:pt x="974" y="1234"/>
                  </a:lnTo>
                  <a:lnTo>
                    <a:pt x="971" y="1232"/>
                  </a:lnTo>
                  <a:lnTo>
                    <a:pt x="971" y="1232"/>
                  </a:lnTo>
                  <a:lnTo>
                    <a:pt x="968" y="1229"/>
                  </a:lnTo>
                  <a:lnTo>
                    <a:pt x="968" y="1229"/>
                  </a:lnTo>
                  <a:lnTo>
                    <a:pt x="968" y="1229"/>
                  </a:lnTo>
                  <a:lnTo>
                    <a:pt x="968" y="1226"/>
                  </a:lnTo>
                  <a:lnTo>
                    <a:pt x="968" y="1226"/>
                  </a:lnTo>
                  <a:lnTo>
                    <a:pt x="966" y="1226"/>
                  </a:lnTo>
                  <a:lnTo>
                    <a:pt x="966" y="1226"/>
                  </a:lnTo>
                  <a:lnTo>
                    <a:pt x="966" y="1226"/>
                  </a:lnTo>
                  <a:lnTo>
                    <a:pt x="963" y="1226"/>
                  </a:lnTo>
                  <a:lnTo>
                    <a:pt x="963" y="1224"/>
                  </a:lnTo>
                  <a:lnTo>
                    <a:pt x="963" y="1224"/>
                  </a:lnTo>
                  <a:lnTo>
                    <a:pt x="963" y="1221"/>
                  </a:lnTo>
                  <a:lnTo>
                    <a:pt x="963" y="1221"/>
                  </a:lnTo>
                  <a:lnTo>
                    <a:pt x="963" y="1218"/>
                  </a:lnTo>
                  <a:lnTo>
                    <a:pt x="966" y="1218"/>
                  </a:lnTo>
                  <a:lnTo>
                    <a:pt x="963" y="1216"/>
                  </a:lnTo>
                  <a:lnTo>
                    <a:pt x="963" y="1216"/>
                  </a:lnTo>
                  <a:lnTo>
                    <a:pt x="963" y="1213"/>
                  </a:lnTo>
                  <a:lnTo>
                    <a:pt x="963" y="1210"/>
                  </a:lnTo>
                  <a:lnTo>
                    <a:pt x="960" y="1210"/>
                  </a:lnTo>
                  <a:lnTo>
                    <a:pt x="960" y="1208"/>
                  </a:lnTo>
                  <a:lnTo>
                    <a:pt x="960" y="1208"/>
                  </a:lnTo>
                  <a:lnTo>
                    <a:pt x="960" y="1202"/>
                  </a:lnTo>
                  <a:lnTo>
                    <a:pt x="960" y="1202"/>
                  </a:lnTo>
                  <a:lnTo>
                    <a:pt x="960" y="1202"/>
                  </a:lnTo>
                  <a:lnTo>
                    <a:pt x="960" y="1200"/>
                  </a:lnTo>
                  <a:lnTo>
                    <a:pt x="955" y="1184"/>
                  </a:lnTo>
                  <a:lnTo>
                    <a:pt x="952" y="1184"/>
                  </a:lnTo>
                  <a:lnTo>
                    <a:pt x="950" y="1181"/>
                  </a:lnTo>
                  <a:lnTo>
                    <a:pt x="947" y="1178"/>
                  </a:lnTo>
                  <a:lnTo>
                    <a:pt x="950" y="1176"/>
                  </a:lnTo>
                  <a:lnTo>
                    <a:pt x="947" y="1173"/>
                  </a:lnTo>
                  <a:lnTo>
                    <a:pt x="947" y="1170"/>
                  </a:lnTo>
                  <a:lnTo>
                    <a:pt x="947" y="1168"/>
                  </a:lnTo>
                  <a:lnTo>
                    <a:pt x="944" y="1168"/>
                  </a:lnTo>
                  <a:lnTo>
                    <a:pt x="944" y="1168"/>
                  </a:lnTo>
                  <a:lnTo>
                    <a:pt x="942" y="1165"/>
                  </a:lnTo>
                  <a:lnTo>
                    <a:pt x="944" y="1149"/>
                  </a:lnTo>
                  <a:lnTo>
                    <a:pt x="944" y="1146"/>
                  </a:lnTo>
                  <a:lnTo>
                    <a:pt x="926" y="1125"/>
                  </a:lnTo>
                  <a:lnTo>
                    <a:pt x="907" y="1101"/>
                  </a:lnTo>
                  <a:lnTo>
                    <a:pt x="888" y="1079"/>
                  </a:lnTo>
                  <a:lnTo>
                    <a:pt x="870" y="1055"/>
                  </a:lnTo>
                  <a:lnTo>
                    <a:pt x="854" y="1037"/>
                  </a:lnTo>
                  <a:lnTo>
                    <a:pt x="838" y="1015"/>
                  </a:lnTo>
                  <a:lnTo>
                    <a:pt x="822" y="997"/>
                  </a:lnTo>
                  <a:lnTo>
                    <a:pt x="806" y="975"/>
                  </a:lnTo>
                  <a:lnTo>
                    <a:pt x="792" y="954"/>
                  </a:lnTo>
                  <a:lnTo>
                    <a:pt x="776" y="935"/>
                  </a:lnTo>
                  <a:lnTo>
                    <a:pt x="760" y="914"/>
                  </a:lnTo>
                  <a:lnTo>
                    <a:pt x="744" y="895"/>
                  </a:lnTo>
                  <a:lnTo>
                    <a:pt x="728" y="871"/>
                  </a:lnTo>
                  <a:lnTo>
                    <a:pt x="710" y="850"/>
                  </a:lnTo>
                  <a:lnTo>
                    <a:pt x="691" y="828"/>
                  </a:lnTo>
                  <a:lnTo>
                    <a:pt x="675" y="804"/>
                  </a:lnTo>
                  <a:lnTo>
                    <a:pt x="656" y="783"/>
                  </a:lnTo>
                  <a:lnTo>
                    <a:pt x="640" y="762"/>
                  </a:lnTo>
                  <a:lnTo>
                    <a:pt x="622" y="737"/>
                  </a:lnTo>
                  <a:lnTo>
                    <a:pt x="606" y="716"/>
                  </a:lnTo>
                  <a:lnTo>
                    <a:pt x="584" y="689"/>
                  </a:lnTo>
                  <a:lnTo>
                    <a:pt x="563" y="663"/>
                  </a:lnTo>
                  <a:lnTo>
                    <a:pt x="539" y="636"/>
                  </a:lnTo>
                  <a:lnTo>
                    <a:pt x="518" y="609"/>
                  </a:lnTo>
                  <a:lnTo>
                    <a:pt x="496" y="582"/>
                  </a:lnTo>
                  <a:lnTo>
                    <a:pt x="475" y="553"/>
                  </a:lnTo>
                  <a:lnTo>
                    <a:pt x="453" y="526"/>
                  </a:lnTo>
                  <a:lnTo>
                    <a:pt x="432" y="500"/>
                  </a:lnTo>
                  <a:lnTo>
                    <a:pt x="432" y="497"/>
                  </a:lnTo>
                  <a:lnTo>
                    <a:pt x="432" y="492"/>
                  </a:lnTo>
                  <a:lnTo>
                    <a:pt x="437" y="465"/>
                  </a:lnTo>
                  <a:lnTo>
                    <a:pt x="443" y="441"/>
                  </a:lnTo>
                  <a:lnTo>
                    <a:pt x="448" y="414"/>
                  </a:lnTo>
                  <a:lnTo>
                    <a:pt x="451" y="390"/>
                  </a:lnTo>
                  <a:lnTo>
                    <a:pt x="456" y="366"/>
                  </a:lnTo>
                  <a:lnTo>
                    <a:pt x="461" y="339"/>
                  </a:lnTo>
                  <a:lnTo>
                    <a:pt x="464" y="315"/>
                  </a:lnTo>
                  <a:lnTo>
                    <a:pt x="470" y="289"/>
                  </a:lnTo>
                  <a:lnTo>
                    <a:pt x="475" y="265"/>
                  </a:lnTo>
                  <a:lnTo>
                    <a:pt x="480" y="241"/>
                  </a:lnTo>
                  <a:lnTo>
                    <a:pt x="483" y="214"/>
                  </a:lnTo>
                  <a:lnTo>
                    <a:pt x="488" y="190"/>
                  </a:lnTo>
                  <a:lnTo>
                    <a:pt x="494" y="166"/>
                  </a:lnTo>
                  <a:lnTo>
                    <a:pt x="496" y="139"/>
                  </a:lnTo>
                  <a:lnTo>
                    <a:pt x="502" y="115"/>
                  </a:lnTo>
                  <a:lnTo>
                    <a:pt x="507" y="91"/>
                  </a:lnTo>
                  <a:lnTo>
                    <a:pt x="480" y="86"/>
                  </a:lnTo>
                  <a:lnTo>
                    <a:pt x="451" y="80"/>
                  </a:lnTo>
                  <a:lnTo>
                    <a:pt x="424" y="75"/>
                  </a:lnTo>
                  <a:lnTo>
                    <a:pt x="397" y="70"/>
                  </a:lnTo>
                  <a:lnTo>
                    <a:pt x="368" y="64"/>
                  </a:lnTo>
                  <a:lnTo>
                    <a:pt x="341" y="59"/>
                  </a:lnTo>
                  <a:lnTo>
                    <a:pt x="315" y="54"/>
                  </a:lnTo>
                  <a:lnTo>
                    <a:pt x="288" y="48"/>
                  </a:lnTo>
                  <a:lnTo>
                    <a:pt x="259" y="43"/>
                  </a:lnTo>
                  <a:lnTo>
                    <a:pt x="232" y="37"/>
                  </a:lnTo>
                  <a:lnTo>
                    <a:pt x="205" y="29"/>
                  </a:lnTo>
                  <a:lnTo>
                    <a:pt x="179" y="24"/>
                  </a:lnTo>
                  <a:lnTo>
                    <a:pt x="149" y="19"/>
                  </a:lnTo>
                  <a:lnTo>
                    <a:pt x="123" y="13"/>
                  </a:lnTo>
                  <a:lnTo>
                    <a:pt x="96" y="8"/>
                  </a:lnTo>
                  <a:lnTo>
                    <a:pt x="69" y="0"/>
                  </a:lnTo>
                  <a:lnTo>
                    <a:pt x="69" y="0"/>
                  </a:lnTo>
                  <a:lnTo>
                    <a:pt x="67" y="0"/>
                  </a:lnTo>
                  <a:lnTo>
                    <a:pt x="67" y="3"/>
                  </a:lnTo>
                  <a:lnTo>
                    <a:pt x="67" y="5"/>
                  </a:lnTo>
                  <a:lnTo>
                    <a:pt x="67" y="5"/>
                  </a:lnTo>
                  <a:lnTo>
                    <a:pt x="64" y="19"/>
                  </a:lnTo>
                  <a:lnTo>
                    <a:pt x="61" y="21"/>
                  </a:lnTo>
                  <a:lnTo>
                    <a:pt x="59" y="24"/>
                  </a:lnTo>
                  <a:lnTo>
                    <a:pt x="53" y="29"/>
                  </a:lnTo>
                  <a:lnTo>
                    <a:pt x="53" y="29"/>
                  </a:lnTo>
                  <a:lnTo>
                    <a:pt x="56" y="32"/>
                  </a:lnTo>
                  <a:lnTo>
                    <a:pt x="61" y="35"/>
                  </a:lnTo>
                  <a:lnTo>
                    <a:pt x="64" y="43"/>
                  </a:lnTo>
                  <a:lnTo>
                    <a:pt x="64" y="45"/>
                  </a:lnTo>
                  <a:lnTo>
                    <a:pt x="64" y="48"/>
                  </a:lnTo>
                  <a:lnTo>
                    <a:pt x="64" y="51"/>
                  </a:lnTo>
                  <a:lnTo>
                    <a:pt x="64" y="54"/>
                  </a:lnTo>
                  <a:lnTo>
                    <a:pt x="67" y="56"/>
                  </a:lnTo>
                  <a:lnTo>
                    <a:pt x="67" y="56"/>
                  </a:lnTo>
                  <a:lnTo>
                    <a:pt x="64" y="62"/>
                  </a:lnTo>
                  <a:lnTo>
                    <a:pt x="64" y="62"/>
                  </a:lnTo>
                  <a:lnTo>
                    <a:pt x="64" y="64"/>
                  </a:lnTo>
                  <a:lnTo>
                    <a:pt x="67" y="64"/>
                  </a:lnTo>
                  <a:lnTo>
                    <a:pt x="67" y="64"/>
                  </a:lnTo>
                  <a:lnTo>
                    <a:pt x="67" y="67"/>
                  </a:lnTo>
                  <a:lnTo>
                    <a:pt x="67" y="67"/>
                  </a:lnTo>
                  <a:lnTo>
                    <a:pt x="64" y="72"/>
                  </a:lnTo>
                  <a:lnTo>
                    <a:pt x="64" y="80"/>
                  </a:lnTo>
                  <a:lnTo>
                    <a:pt x="64" y="86"/>
                  </a:lnTo>
                  <a:lnTo>
                    <a:pt x="59" y="94"/>
                  </a:lnTo>
                  <a:lnTo>
                    <a:pt x="59" y="99"/>
                  </a:lnTo>
                  <a:lnTo>
                    <a:pt x="53" y="107"/>
                  </a:lnTo>
                  <a:lnTo>
                    <a:pt x="51" y="112"/>
                  </a:lnTo>
                  <a:lnTo>
                    <a:pt x="48" y="118"/>
                  </a:lnTo>
                  <a:lnTo>
                    <a:pt x="45" y="118"/>
                  </a:lnTo>
                  <a:lnTo>
                    <a:pt x="45" y="120"/>
                  </a:lnTo>
                  <a:lnTo>
                    <a:pt x="45" y="123"/>
                  </a:lnTo>
                  <a:lnTo>
                    <a:pt x="45" y="126"/>
                  </a:lnTo>
                  <a:lnTo>
                    <a:pt x="43" y="128"/>
                  </a:lnTo>
                  <a:lnTo>
                    <a:pt x="45" y="134"/>
                  </a:lnTo>
                  <a:lnTo>
                    <a:pt x="48" y="136"/>
                  </a:lnTo>
                  <a:lnTo>
                    <a:pt x="45" y="139"/>
                  </a:lnTo>
                  <a:lnTo>
                    <a:pt x="35" y="158"/>
                  </a:lnTo>
                  <a:lnTo>
                    <a:pt x="29" y="166"/>
                  </a:lnTo>
                  <a:lnTo>
                    <a:pt x="27" y="168"/>
                  </a:lnTo>
                  <a:lnTo>
                    <a:pt x="29" y="166"/>
                  </a:lnTo>
                  <a:lnTo>
                    <a:pt x="32" y="166"/>
                  </a:lnTo>
                  <a:lnTo>
                    <a:pt x="37" y="158"/>
                  </a:lnTo>
                  <a:lnTo>
                    <a:pt x="37" y="158"/>
                  </a:lnTo>
                  <a:lnTo>
                    <a:pt x="43" y="158"/>
                  </a:lnTo>
                  <a:lnTo>
                    <a:pt x="45" y="158"/>
                  </a:lnTo>
                  <a:lnTo>
                    <a:pt x="45" y="160"/>
                  </a:lnTo>
                  <a:lnTo>
                    <a:pt x="45" y="160"/>
                  </a:lnTo>
                  <a:lnTo>
                    <a:pt x="43" y="163"/>
                  </a:lnTo>
                  <a:lnTo>
                    <a:pt x="40" y="163"/>
                  </a:lnTo>
                  <a:lnTo>
                    <a:pt x="37" y="163"/>
                  </a:lnTo>
                  <a:lnTo>
                    <a:pt x="35" y="163"/>
                  </a:lnTo>
                  <a:lnTo>
                    <a:pt x="35" y="166"/>
                  </a:lnTo>
                  <a:lnTo>
                    <a:pt x="29" y="168"/>
                  </a:lnTo>
                  <a:lnTo>
                    <a:pt x="29" y="171"/>
                  </a:lnTo>
                  <a:lnTo>
                    <a:pt x="27" y="176"/>
                  </a:lnTo>
                  <a:lnTo>
                    <a:pt x="24" y="179"/>
                  </a:lnTo>
                  <a:lnTo>
                    <a:pt x="24" y="176"/>
                  </a:lnTo>
                  <a:lnTo>
                    <a:pt x="21" y="174"/>
                  </a:lnTo>
                  <a:lnTo>
                    <a:pt x="21" y="174"/>
                  </a:lnTo>
                  <a:lnTo>
                    <a:pt x="24" y="171"/>
                  </a:lnTo>
                  <a:lnTo>
                    <a:pt x="24" y="171"/>
                  </a:lnTo>
                  <a:lnTo>
                    <a:pt x="19" y="174"/>
                  </a:lnTo>
                  <a:lnTo>
                    <a:pt x="16" y="176"/>
                  </a:lnTo>
                  <a:lnTo>
                    <a:pt x="16" y="182"/>
                  </a:lnTo>
                  <a:lnTo>
                    <a:pt x="16" y="182"/>
                  </a:lnTo>
                  <a:lnTo>
                    <a:pt x="16" y="182"/>
                  </a:lnTo>
                  <a:lnTo>
                    <a:pt x="16" y="182"/>
                  </a:lnTo>
                  <a:lnTo>
                    <a:pt x="16" y="182"/>
                  </a:lnTo>
                  <a:lnTo>
                    <a:pt x="13" y="182"/>
                  </a:lnTo>
                  <a:lnTo>
                    <a:pt x="13" y="182"/>
                  </a:lnTo>
                  <a:lnTo>
                    <a:pt x="13" y="184"/>
                  </a:lnTo>
                  <a:lnTo>
                    <a:pt x="13" y="184"/>
                  </a:lnTo>
                  <a:lnTo>
                    <a:pt x="8" y="190"/>
                  </a:lnTo>
                  <a:lnTo>
                    <a:pt x="8" y="192"/>
                  </a:lnTo>
                  <a:lnTo>
                    <a:pt x="5" y="195"/>
                  </a:lnTo>
                  <a:lnTo>
                    <a:pt x="3" y="198"/>
                  </a:lnTo>
                  <a:lnTo>
                    <a:pt x="3" y="200"/>
                  </a:lnTo>
                  <a:lnTo>
                    <a:pt x="3" y="203"/>
                  </a:lnTo>
                  <a:lnTo>
                    <a:pt x="0" y="206"/>
                  </a:lnTo>
                  <a:lnTo>
                    <a:pt x="0" y="206"/>
                  </a:lnTo>
                  <a:lnTo>
                    <a:pt x="0" y="208"/>
                  </a:lnTo>
                  <a:lnTo>
                    <a:pt x="0" y="211"/>
                  </a:lnTo>
                  <a:lnTo>
                    <a:pt x="3" y="222"/>
                  </a:lnTo>
                  <a:lnTo>
                    <a:pt x="3" y="224"/>
                  </a:lnTo>
                  <a:lnTo>
                    <a:pt x="0" y="230"/>
                  </a:lnTo>
                  <a:lnTo>
                    <a:pt x="0" y="233"/>
                  </a:lnTo>
                  <a:lnTo>
                    <a:pt x="0" y="235"/>
                  </a:lnTo>
                  <a:lnTo>
                    <a:pt x="3" y="235"/>
                  </a:lnTo>
                  <a:lnTo>
                    <a:pt x="13" y="251"/>
                  </a:lnTo>
                  <a:lnTo>
                    <a:pt x="19" y="257"/>
                  </a:lnTo>
                  <a:lnTo>
                    <a:pt x="19" y="259"/>
                  </a:lnTo>
                  <a:lnTo>
                    <a:pt x="21" y="267"/>
                  </a:lnTo>
                  <a:lnTo>
                    <a:pt x="21" y="267"/>
                  </a:lnTo>
                  <a:lnTo>
                    <a:pt x="21" y="270"/>
                  </a:lnTo>
                  <a:lnTo>
                    <a:pt x="21" y="273"/>
                  </a:lnTo>
                  <a:lnTo>
                    <a:pt x="24" y="273"/>
                  </a:lnTo>
                  <a:lnTo>
                    <a:pt x="24" y="273"/>
                  </a:lnTo>
                  <a:lnTo>
                    <a:pt x="27" y="275"/>
                  </a:lnTo>
                  <a:lnTo>
                    <a:pt x="29" y="278"/>
                  </a:lnTo>
                  <a:lnTo>
                    <a:pt x="40" y="305"/>
                  </a:lnTo>
                  <a:lnTo>
                    <a:pt x="40" y="307"/>
                  </a:lnTo>
                  <a:lnTo>
                    <a:pt x="37" y="313"/>
                  </a:lnTo>
                  <a:lnTo>
                    <a:pt x="40" y="315"/>
                  </a:lnTo>
                  <a:lnTo>
                    <a:pt x="40" y="318"/>
                  </a:lnTo>
                  <a:lnTo>
                    <a:pt x="40" y="318"/>
                  </a:lnTo>
                  <a:lnTo>
                    <a:pt x="40" y="318"/>
                  </a:lnTo>
                  <a:lnTo>
                    <a:pt x="43" y="321"/>
                  </a:lnTo>
                  <a:lnTo>
                    <a:pt x="43" y="321"/>
                  </a:lnTo>
                  <a:lnTo>
                    <a:pt x="43" y="323"/>
                  </a:lnTo>
                  <a:lnTo>
                    <a:pt x="43" y="326"/>
                  </a:lnTo>
                  <a:lnTo>
                    <a:pt x="40" y="334"/>
                  </a:lnTo>
                  <a:lnTo>
                    <a:pt x="40" y="345"/>
                  </a:lnTo>
                  <a:lnTo>
                    <a:pt x="40" y="345"/>
                  </a:lnTo>
                  <a:lnTo>
                    <a:pt x="37" y="345"/>
                  </a:lnTo>
                  <a:lnTo>
                    <a:pt x="37" y="347"/>
                  </a:lnTo>
                  <a:lnTo>
                    <a:pt x="35" y="355"/>
                  </a:lnTo>
                  <a:lnTo>
                    <a:pt x="32" y="363"/>
                  </a:lnTo>
                  <a:lnTo>
                    <a:pt x="29" y="369"/>
                  </a:lnTo>
                  <a:lnTo>
                    <a:pt x="29" y="374"/>
                  </a:lnTo>
                  <a:lnTo>
                    <a:pt x="29" y="377"/>
                  </a:lnTo>
                  <a:lnTo>
                    <a:pt x="29" y="377"/>
                  </a:lnTo>
                  <a:lnTo>
                    <a:pt x="29" y="379"/>
                  </a:lnTo>
                  <a:lnTo>
                    <a:pt x="29" y="382"/>
                  </a:lnTo>
                  <a:lnTo>
                    <a:pt x="29" y="390"/>
                  </a:lnTo>
                  <a:lnTo>
                    <a:pt x="29" y="393"/>
                  </a:lnTo>
                  <a:lnTo>
                    <a:pt x="32" y="393"/>
                  </a:lnTo>
                  <a:lnTo>
                    <a:pt x="35" y="403"/>
                  </a:lnTo>
                  <a:lnTo>
                    <a:pt x="35" y="406"/>
                  </a:lnTo>
                  <a:lnTo>
                    <a:pt x="32" y="409"/>
                  </a:lnTo>
                  <a:lnTo>
                    <a:pt x="32" y="412"/>
                  </a:lnTo>
                  <a:lnTo>
                    <a:pt x="32" y="414"/>
                  </a:lnTo>
                  <a:lnTo>
                    <a:pt x="32" y="417"/>
                  </a:lnTo>
                  <a:lnTo>
                    <a:pt x="32" y="420"/>
                  </a:lnTo>
                  <a:lnTo>
                    <a:pt x="29" y="422"/>
                  </a:lnTo>
                  <a:lnTo>
                    <a:pt x="29" y="422"/>
                  </a:lnTo>
                  <a:lnTo>
                    <a:pt x="27" y="425"/>
                  </a:lnTo>
                  <a:lnTo>
                    <a:pt x="27" y="428"/>
                  </a:lnTo>
                  <a:lnTo>
                    <a:pt x="29" y="433"/>
                  </a:lnTo>
                  <a:lnTo>
                    <a:pt x="35" y="444"/>
                  </a:lnTo>
                  <a:lnTo>
                    <a:pt x="40" y="449"/>
                  </a:lnTo>
                  <a:lnTo>
                    <a:pt x="40" y="452"/>
                  </a:lnTo>
                  <a:lnTo>
                    <a:pt x="40" y="452"/>
                  </a:lnTo>
                  <a:lnTo>
                    <a:pt x="43" y="454"/>
                  </a:lnTo>
                  <a:lnTo>
                    <a:pt x="45" y="460"/>
                  </a:lnTo>
                  <a:lnTo>
                    <a:pt x="48" y="462"/>
                  </a:lnTo>
                  <a:lnTo>
                    <a:pt x="61" y="492"/>
                  </a:lnTo>
                  <a:lnTo>
                    <a:pt x="64" y="497"/>
                  </a:lnTo>
                  <a:lnTo>
                    <a:pt x="75" y="505"/>
                  </a:lnTo>
                  <a:lnTo>
                    <a:pt x="77" y="510"/>
                  </a:lnTo>
                  <a:lnTo>
                    <a:pt x="80" y="518"/>
                  </a:lnTo>
                  <a:lnTo>
                    <a:pt x="83" y="521"/>
                  </a:lnTo>
                  <a:lnTo>
                    <a:pt x="80" y="529"/>
                  </a:lnTo>
                  <a:lnTo>
                    <a:pt x="80" y="532"/>
                  </a:lnTo>
                  <a:lnTo>
                    <a:pt x="80" y="529"/>
                  </a:lnTo>
                  <a:lnTo>
                    <a:pt x="83" y="526"/>
                  </a:lnTo>
                  <a:lnTo>
                    <a:pt x="88" y="532"/>
                  </a:lnTo>
                  <a:lnTo>
                    <a:pt x="88" y="534"/>
                  </a:lnTo>
                  <a:lnTo>
                    <a:pt x="88" y="537"/>
                  </a:lnTo>
                  <a:lnTo>
                    <a:pt x="88" y="540"/>
                  </a:lnTo>
                  <a:lnTo>
                    <a:pt x="88" y="540"/>
                  </a:lnTo>
                  <a:lnTo>
                    <a:pt x="91" y="545"/>
                  </a:lnTo>
                  <a:lnTo>
                    <a:pt x="93" y="553"/>
                  </a:lnTo>
                  <a:lnTo>
                    <a:pt x="99" y="561"/>
                  </a:lnTo>
                  <a:lnTo>
                    <a:pt x="99" y="564"/>
                  </a:lnTo>
                  <a:lnTo>
                    <a:pt x="99" y="566"/>
                  </a:lnTo>
                  <a:lnTo>
                    <a:pt x="99" y="564"/>
                  </a:lnTo>
                  <a:lnTo>
                    <a:pt x="96" y="561"/>
                  </a:lnTo>
                  <a:lnTo>
                    <a:pt x="93" y="558"/>
                  </a:lnTo>
                  <a:lnTo>
                    <a:pt x="93" y="553"/>
                  </a:lnTo>
                  <a:lnTo>
                    <a:pt x="93" y="550"/>
                  </a:lnTo>
                  <a:lnTo>
                    <a:pt x="88" y="545"/>
                  </a:lnTo>
                  <a:lnTo>
                    <a:pt x="85" y="542"/>
                  </a:lnTo>
                  <a:lnTo>
                    <a:pt x="88" y="550"/>
                  </a:lnTo>
                  <a:lnTo>
                    <a:pt x="88" y="553"/>
                  </a:lnTo>
                  <a:lnTo>
                    <a:pt x="80" y="566"/>
                  </a:lnTo>
                  <a:lnTo>
                    <a:pt x="77" y="572"/>
                  </a:lnTo>
                  <a:lnTo>
                    <a:pt x="75" y="574"/>
                  </a:lnTo>
                  <a:lnTo>
                    <a:pt x="77" y="574"/>
                  </a:lnTo>
                  <a:lnTo>
                    <a:pt x="80" y="574"/>
                  </a:lnTo>
                  <a:lnTo>
                    <a:pt x="80" y="574"/>
                  </a:lnTo>
                  <a:lnTo>
                    <a:pt x="80" y="574"/>
                  </a:lnTo>
                  <a:lnTo>
                    <a:pt x="80" y="574"/>
                  </a:lnTo>
                  <a:lnTo>
                    <a:pt x="83" y="572"/>
                  </a:lnTo>
                  <a:lnTo>
                    <a:pt x="83" y="572"/>
                  </a:lnTo>
                  <a:lnTo>
                    <a:pt x="85" y="569"/>
                  </a:lnTo>
                  <a:lnTo>
                    <a:pt x="85" y="569"/>
                  </a:lnTo>
                  <a:lnTo>
                    <a:pt x="85" y="569"/>
                  </a:lnTo>
                  <a:lnTo>
                    <a:pt x="85" y="566"/>
                  </a:lnTo>
                  <a:lnTo>
                    <a:pt x="85" y="566"/>
                  </a:lnTo>
                  <a:lnTo>
                    <a:pt x="85" y="566"/>
                  </a:lnTo>
                  <a:lnTo>
                    <a:pt x="85" y="564"/>
                  </a:lnTo>
                  <a:lnTo>
                    <a:pt x="88" y="564"/>
                  </a:lnTo>
                  <a:lnTo>
                    <a:pt x="88" y="564"/>
                  </a:lnTo>
                  <a:lnTo>
                    <a:pt x="88" y="569"/>
                  </a:lnTo>
                  <a:lnTo>
                    <a:pt x="91" y="572"/>
                  </a:lnTo>
                  <a:lnTo>
                    <a:pt x="99" y="577"/>
                  </a:lnTo>
                  <a:lnTo>
                    <a:pt x="99" y="577"/>
                  </a:lnTo>
                  <a:lnTo>
                    <a:pt x="99" y="577"/>
                  </a:lnTo>
                  <a:lnTo>
                    <a:pt x="101" y="580"/>
                  </a:lnTo>
                  <a:lnTo>
                    <a:pt x="101" y="585"/>
                  </a:lnTo>
                  <a:lnTo>
                    <a:pt x="101" y="585"/>
                  </a:lnTo>
                  <a:lnTo>
                    <a:pt x="104" y="588"/>
                  </a:lnTo>
                  <a:lnTo>
                    <a:pt x="104" y="588"/>
                  </a:lnTo>
                  <a:lnTo>
                    <a:pt x="107" y="593"/>
                  </a:lnTo>
                  <a:lnTo>
                    <a:pt x="109" y="593"/>
                  </a:lnTo>
                  <a:lnTo>
                    <a:pt x="109" y="593"/>
                  </a:lnTo>
                  <a:lnTo>
                    <a:pt x="109" y="593"/>
                  </a:lnTo>
                  <a:lnTo>
                    <a:pt x="109" y="591"/>
                  </a:lnTo>
                  <a:lnTo>
                    <a:pt x="115" y="596"/>
                  </a:lnTo>
                  <a:lnTo>
                    <a:pt x="117" y="601"/>
                  </a:lnTo>
                  <a:lnTo>
                    <a:pt x="120" y="604"/>
                  </a:lnTo>
                  <a:lnTo>
                    <a:pt x="123" y="607"/>
                  </a:lnTo>
                  <a:lnTo>
                    <a:pt x="125" y="607"/>
                  </a:lnTo>
                  <a:lnTo>
                    <a:pt x="125" y="609"/>
                  </a:lnTo>
                  <a:lnTo>
                    <a:pt x="128" y="609"/>
                  </a:lnTo>
                  <a:lnTo>
                    <a:pt x="131" y="607"/>
                  </a:lnTo>
                  <a:lnTo>
                    <a:pt x="131" y="607"/>
                  </a:lnTo>
                  <a:lnTo>
                    <a:pt x="131" y="604"/>
                  </a:lnTo>
                  <a:lnTo>
                    <a:pt x="131" y="601"/>
                  </a:lnTo>
                  <a:lnTo>
                    <a:pt x="131" y="601"/>
                  </a:lnTo>
                  <a:lnTo>
                    <a:pt x="133" y="601"/>
                  </a:lnTo>
                  <a:lnTo>
                    <a:pt x="133" y="604"/>
                  </a:lnTo>
                  <a:lnTo>
                    <a:pt x="133" y="604"/>
                  </a:lnTo>
                  <a:lnTo>
                    <a:pt x="136" y="601"/>
                  </a:lnTo>
                  <a:lnTo>
                    <a:pt x="133" y="599"/>
                  </a:lnTo>
                  <a:lnTo>
                    <a:pt x="131" y="596"/>
                  </a:lnTo>
                  <a:lnTo>
                    <a:pt x="131" y="593"/>
                  </a:lnTo>
                  <a:lnTo>
                    <a:pt x="131" y="593"/>
                  </a:lnTo>
                  <a:lnTo>
                    <a:pt x="133" y="591"/>
                  </a:lnTo>
                  <a:lnTo>
                    <a:pt x="133" y="591"/>
                  </a:lnTo>
                  <a:lnTo>
                    <a:pt x="131" y="591"/>
                  </a:lnTo>
                  <a:lnTo>
                    <a:pt x="133" y="588"/>
                  </a:lnTo>
                  <a:lnTo>
                    <a:pt x="133" y="588"/>
                  </a:lnTo>
                  <a:lnTo>
                    <a:pt x="136" y="588"/>
                  </a:lnTo>
                  <a:lnTo>
                    <a:pt x="136" y="585"/>
                  </a:lnTo>
                  <a:lnTo>
                    <a:pt x="133" y="582"/>
                  </a:lnTo>
                  <a:lnTo>
                    <a:pt x="133" y="580"/>
                  </a:lnTo>
                  <a:lnTo>
                    <a:pt x="136" y="572"/>
                  </a:lnTo>
                  <a:lnTo>
                    <a:pt x="136" y="569"/>
                  </a:lnTo>
                  <a:lnTo>
                    <a:pt x="139" y="569"/>
                  </a:lnTo>
                  <a:lnTo>
                    <a:pt x="141" y="569"/>
                  </a:lnTo>
                  <a:lnTo>
                    <a:pt x="144" y="566"/>
                  </a:lnTo>
                  <a:lnTo>
                    <a:pt x="147" y="564"/>
                  </a:lnTo>
                  <a:lnTo>
                    <a:pt x="157" y="572"/>
                  </a:lnTo>
                  <a:lnTo>
                    <a:pt x="160" y="574"/>
                  </a:lnTo>
                  <a:lnTo>
                    <a:pt x="160" y="577"/>
                  </a:lnTo>
                  <a:lnTo>
                    <a:pt x="160" y="577"/>
                  </a:lnTo>
                  <a:lnTo>
                    <a:pt x="163" y="580"/>
                  </a:lnTo>
                  <a:lnTo>
                    <a:pt x="165" y="580"/>
                  </a:lnTo>
                  <a:lnTo>
                    <a:pt x="171" y="585"/>
                  </a:lnTo>
                  <a:lnTo>
                    <a:pt x="173" y="585"/>
                  </a:lnTo>
                  <a:lnTo>
                    <a:pt x="173" y="585"/>
                  </a:lnTo>
                  <a:lnTo>
                    <a:pt x="176" y="585"/>
                  </a:lnTo>
                  <a:lnTo>
                    <a:pt x="181" y="582"/>
                  </a:lnTo>
                  <a:lnTo>
                    <a:pt x="181" y="580"/>
                  </a:lnTo>
                  <a:lnTo>
                    <a:pt x="181" y="580"/>
                  </a:lnTo>
                  <a:lnTo>
                    <a:pt x="184" y="577"/>
                  </a:lnTo>
                  <a:lnTo>
                    <a:pt x="184" y="577"/>
                  </a:lnTo>
                  <a:lnTo>
                    <a:pt x="184" y="574"/>
                  </a:lnTo>
                  <a:lnTo>
                    <a:pt x="187" y="574"/>
                  </a:lnTo>
                  <a:lnTo>
                    <a:pt x="189" y="574"/>
                  </a:lnTo>
                  <a:lnTo>
                    <a:pt x="192" y="574"/>
                  </a:lnTo>
                  <a:lnTo>
                    <a:pt x="192" y="577"/>
                  </a:lnTo>
                  <a:lnTo>
                    <a:pt x="192" y="577"/>
                  </a:lnTo>
                  <a:lnTo>
                    <a:pt x="189" y="582"/>
                  </a:lnTo>
                  <a:lnTo>
                    <a:pt x="195" y="585"/>
                  </a:lnTo>
                  <a:lnTo>
                    <a:pt x="200" y="585"/>
                  </a:lnTo>
                  <a:lnTo>
                    <a:pt x="197" y="588"/>
                  </a:lnTo>
                  <a:lnTo>
                    <a:pt x="197" y="588"/>
                  </a:lnTo>
                  <a:lnTo>
                    <a:pt x="197" y="588"/>
                  </a:lnTo>
                  <a:lnTo>
                    <a:pt x="197" y="591"/>
                  </a:lnTo>
                  <a:lnTo>
                    <a:pt x="200" y="591"/>
                  </a:lnTo>
                  <a:lnTo>
                    <a:pt x="203" y="591"/>
                  </a:lnTo>
                  <a:lnTo>
                    <a:pt x="203" y="591"/>
                  </a:lnTo>
                  <a:lnTo>
                    <a:pt x="203" y="588"/>
                  </a:lnTo>
                  <a:lnTo>
                    <a:pt x="205" y="588"/>
                  </a:lnTo>
                  <a:lnTo>
                    <a:pt x="208" y="591"/>
                  </a:lnTo>
                  <a:lnTo>
                    <a:pt x="211" y="591"/>
                  </a:lnTo>
                  <a:lnTo>
                    <a:pt x="216" y="591"/>
                  </a:lnTo>
                  <a:lnTo>
                    <a:pt x="216" y="588"/>
                  </a:lnTo>
                  <a:lnTo>
                    <a:pt x="221" y="585"/>
                  </a:lnTo>
                  <a:lnTo>
                    <a:pt x="224" y="582"/>
                  </a:lnTo>
                  <a:lnTo>
                    <a:pt x="224" y="582"/>
                  </a:lnTo>
                  <a:lnTo>
                    <a:pt x="224" y="585"/>
                  </a:lnTo>
                  <a:lnTo>
                    <a:pt x="221" y="588"/>
                  </a:lnTo>
                  <a:lnTo>
                    <a:pt x="221" y="588"/>
                  </a:lnTo>
                  <a:lnTo>
                    <a:pt x="219" y="591"/>
                  </a:lnTo>
                  <a:lnTo>
                    <a:pt x="216" y="591"/>
                  </a:lnTo>
                  <a:lnTo>
                    <a:pt x="216" y="591"/>
                  </a:lnTo>
                  <a:lnTo>
                    <a:pt x="213" y="591"/>
                  </a:lnTo>
                  <a:lnTo>
                    <a:pt x="213" y="591"/>
                  </a:lnTo>
                  <a:lnTo>
                    <a:pt x="213" y="593"/>
                  </a:lnTo>
                  <a:lnTo>
                    <a:pt x="213" y="593"/>
                  </a:lnTo>
                  <a:lnTo>
                    <a:pt x="213" y="593"/>
                  </a:lnTo>
                  <a:lnTo>
                    <a:pt x="213" y="596"/>
                  </a:lnTo>
                  <a:lnTo>
                    <a:pt x="219" y="596"/>
                  </a:lnTo>
                  <a:lnTo>
                    <a:pt x="221" y="596"/>
                  </a:lnTo>
                  <a:lnTo>
                    <a:pt x="224" y="593"/>
                  </a:lnTo>
                  <a:lnTo>
                    <a:pt x="224" y="591"/>
                  </a:lnTo>
                  <a:lnTo>
                    <a:pt x="224" y="591"/>
                  </a:lnTo>
                  <a:lnTo>
                    <a:pt x="227" y="588"/>
                  </a:lnTo>
                  <a:lnTo>
                    <a:pt x="227" y="588"/>
                  </a:lnTo>
                  <a:lnTo>
                    <a:pt x="227" y="591"/>
                  </a:lnTo>
                  <a:lnTo>
                    <a:pt x="227" y="591"/>
                  </a:lnTo>
                  <a:lnTo>
                    <a:pt x="229" y="591"/>
                  </a:lnTo>
                  <a:lnTo>
                    <a:pt x="229" y="591"/>
                  </a:lnTo>
                  <a:lnTo>
                    <a:pt x="229" y="588"/>
                  </a:lnTo>
                  <a:lnTo>
                    <a:pt x="232" y="588"/>
                  </a:lnTo>
                  <a:lnTo>
                    <a:pt x="235" y="591"/>
                  </a:lnTo>
                  <a:lnTo>
                    <a:pt x="235" y="591"/>
                  </a:lnTo>
                  <a:lnTo>
                    <a:pt x="237" y="591"/>
                  </a:lnTo>
                  <a:lnTo>
                    <a:pt x="243" y="599"/>
                  </a:lnTo>
                  <a:lnTo>
                    <a:pt x="245" y="601"/>
                  </a:lnTo>
                  <a:lnTo>
                    <a:pt x="245" y="601"/>
                  </a:lnTo>
                  <a:lnTo>
                    <a:pt x="248" y="604"/>
                  </a:lnTo>
                  <a:lnTo>
                    <a:pt x="248" y="607"/>
                  </a:lnTo>
                  <a:lnTo>
                    <a:pt x="248" y="607"/>
                  </a:lnTo>
                  <a:lnTo>
                    <a:pt x="245" y="607"/>
                  </a:lnTo>
                  <a:lnTo>
                    <a:pt x="245" y="604"/>
                  </a:lnTo>
                  <a:lnTo>
                    <a:pt x="243" y="601"/>
                  </a:lnTo>
                  <a:lnTo>
                    <a:pt x="243" y="599"/>
                  </a:lnTo>
                  <a:lnTo>
                    <a:pt x="240" y="599"/>
                  </a:lnTo>
                  <a:lnTo>
                    <a:pt x="237" y="599"/>
                  </a:lnTo>
                  <a:lnTo>
                    <a:pt x="235" y="593"/>
                  </a:lnTo>
                  <a:lnTo>
                    <a:pt x="235" y="593"/>
                  </a:lnTo>
                  <a:lnTo>
                    <a:pt x="235" y="593"/>
                  </a:lnTo>
                  <a:lnTo>
                    <a:pt x="235" y="591"/>
                  </a:lnTo>
                  <a:lnTo>
                    <a:pt x="232" y="591"/>
                  </a:lnTo>
                  <a:lnTo>
                    <a:pt x="232" y="591"/>
                  </a:lnTo>
                  <a:lnTo>
                    <a:pt x="232" y="591"/>
                  </a:lnTo>
                  <a:lnTo>
                    <a:pt x="229" y="591"/>
                  </a:lnTo>
                  <a:lnTo>
                    <a:pt x="229" y="591"/>
                  </a:lnTo>
                  <a:lnTo>
                    <a:pt x="227" y="591"/>
                  </a:lnTo>
                  <a:lnTo>
                    <a:pt x="227" y="591"/>
                  </a:lnTo>
                  <a:lnTo>
                    <a:pt x="224" y="593"/>
                  </a:lnTo>
                  <a:lnTo>
                    <a:pt x="224" y="593"/>
                  </a:lnTo>
                  <a:lnTo>
                    <a:pt x="224" y="593"/>
                  </a:lnTo>
                  <a:lnTo>
                    <a:pt x="224" y="596"/>
                  </a:lnTo>
                  <a:lnTo>
                    <a:pt x="224" y="596"/>
                  </a:lnTo>
                  <a:lnTo>
                    <a:pt x="221" y="596"/>
                  </a:lnTo>
                  <a:lnTo>
                    <a:pt x="221" y="596"/>
                  </a:lnTo>
                  <a:lnTo>
                    <a:pt x="219" y="596"/>
                  </a:lnTo>
                  <a:lnTo>
                    <a:pt x="219" y="599"/>
                  </a:lnTo>
                  <a:lnTo>
                    <a:pt x="219" y="599"/>
                  </a:lnTo>
                  <a:lnTo>
                    <a:pt x="221" y="599"/>
                  </a:lnTo>
                  <a:lnTo>
                    <a:pt x="221" y="601"/>
                  </a:lnTo>
                  <a:lnTo>
                    <a:pt x="219" y="599"/>
                  </a:lnTo>
                  <a:lnTo>
                    <a:pt x="213" y="596"/>
                  </a:lnTo>
                  <a:lnTo>
                    <a:pt x="200" y="593"/>
                  </a:lnTo>
                  <a:lnTo>
                    <a:pt x="195" y="591"/>
                  </a:lnTo>
                  <a:lnTo>
                    <a:pt x="181" y="585"/>
                  </a:lnTo>
                  <a:lnTo>
                    <a:pt x="181" y="585"/>
                  </a:lnTo>
                  <a:lnTo>
                    <a:pt x="173" y="588"/>
                  </a:lnTo>
                  <a:lnTo>
                    <a:pt x="171" y="588"/>
                  </a:lnTo>
                  <a:lnTo>
                    <a:pt x="171" y="588"/>
                  </a:lnTo>
                  <a:lnTo>
                    <a:pt x="165" y="582"/>
                  </a:lnTo>
                  <a:lnTo>
                    <a:pt x="163" y="582"/>
                  </a:lnTo>
                  <a:lnTo>
                    <a:pt x="163" y="582"/>
                  </a:lnTo>
                  <a:lnTo>
                    <a:pt x="160" y="582"/>
                  </a:lnTo>
                  <a:lnTo>
                    <a:pt x="152" y="588"/>
                  </a:lnTo>
                  <a:lnTo>
                    <a:pt x="152" y="588"/>
                  </a:lnTo>
                  <a:lnTo>
                    <a:pt x="149" y="588"/>
                  </a:lnTo>
                  <a:lnTo>
                    <a:pt x="149" y="588"/>
                  </a:lnTo>
                  <a:lnTo>
                    <a:pt x="149" y="585"/>
                  </a:lnTo>
                  <a:lnTo>
                    <a:pt x="147" y="585"/>
                  </a:lnTo>
                  <a:lnTo>
                    <a:pt x="147" y="588"/>
                  </a:lnTo>
                  <a:lnTo>
                    <a:pt x="144" y="591"/>
                  </a:lnTo>
                  <a:lnTo>
                    <a:pt x="141" y="593"/>
                  </a:lnTo>
                  <a:lnTo>
                    <a:pt x="141" y="593"/>
                  </a:lnTo>
                  <a:lnTo>
                    <a:pt x="141" y="599"/>
                  </a:lnTo>
                  <a:lnTo>
                    <a:pt x="147" y="601"/>
                  </a:lnTo>
                  <a:lnTo>
                    <a:pt x="149" y="604"/>
                  </a:lnTo>
                  <a:lnTo>
                    <a:pt x="149" y="609"/>
                  </a:lnTo>
                  <a:lnTo>
                    <a:pt x="147" y="615"/>
                  </a:lnTo>
                  <a:lnTo>
                    <a:pt x="147" y="617"/>
                  </a:lnTo>
                  <a:lnTo>
                    <a:pt x="147" y="620"/>
                  </a:lnTo>
                  <a:lnTo>
                    <a:pt x="149" y="620"/>
                  </a:lnTo>
                  <a:lnTo>
                    <a:pt x="155" y="625"/>
                  </a:lnTo>
                  <a:lnTo>
                    <a:pt x="157" y="625"/>
                  </a:lnTo>
                  <a:lnTo>
                    <a:pt x="152" y="628"/>
                  </a:lnTo>
                  <a:lnTo>
                    <a:pt x="152" y="628"/>
                  </a:lnTo>
                  <a:lnTo>
                    <a:pt x="155" y="628"/>
                  </a:lnTo>
                  <a:lnTo>
                    <a:pt x="152" y="631"/>
                  </a:lnTo>
                  <a:lnTo>
                    <a:pt x="155" y="631"/>
                  </a:lnTo>
                  <a:lnTo>
                    <a:pt x="157" y="631"/>
                  </a:lnTo>
                  <a:lnTo>
                    <a:pt x="157" y="631"/>
                  </a:lnTo>
                  <a:lnTo>
                    <a:pt x="157" y="633"/>
                  </a:lnTo>
                  <a:lnTo>
                    <a:pt x="160" y="639"/>
                  </a:lnTo>
                  <a:lnTo>
                    <a:pt x="160" y="655"/>
                  </a:lnTo>
                  <a:lnTo>
                    <a:pt x="163" y="660"/>
                  </a:lnTo>
                  <a:lnTo>
                    <a:pt x="163" y="660"/>
                  </a:lnTo>
                  <a:lnTo>
                    <a:pt x="165" y="663"/>
                  </a:lnTo>
                  <a:lnTo>
                    <a:pt x="165" y="663"/>
                  </a:lnTo>
                  <a:lnTo>
                    <a:pt x="168" y="663"/>
                  </a:lnTo>
                  <a:lnTo>
                    <a:pt x="168" y="665"/>
                  </a:lnTo>
                  <a:lnTo>
                    <a:pt x="168" y="665"/>
                  </a:lnTo>
                  <a:lnTo>
                    <a:pt x="168" y="665"/>
                  </a:lnTo>
                  <a:lnTo>
                    <a:pt x="168" y="665"/>
                  </a:lnTo>
                  <a:lnTo>
                    <a:pt x="168" y="668"/>
                  </a:lnTo>
                  <a:lnTo>
                    <a:pt x="168" y="668"/>
                  </a:lnTo>
                  <a:lnTo>
                    <a:pt x="171" y="668"/>
                  </a:lnTo>
                  <a:lnTo>
                    <a:pt x="168" y="671"/>
                  </a:lnTo>
                  <a:lnTo>
                    <a:pt x="165" y="671"/>
                  </a:lnTo>
                  <a:lnTo>
                    <a:pt x="163" y="668"/>
                  </a:lnTo>
                  <a:lnTo>
                    <a:pt x="160" y="668"/>
                  </a:lnTo>
                  <a:lnTo>
                    <a:pt x="160" y="665"/>
                  </a:lnTo>
                  <a:lnTo>
                    <a:pt x="160" y="663"/>
                  </a:lnTo>
                  <a:lnTo>
                    <a:pt x="157" y="660"/>
                  </a:lnTo>
                  <a:lnTo>
                    <a:pt x="157" y="660"/>
                  </a:lnTo>
                  <a:lnTo>
                    <a:pt x="155" y="660"/>
                  </a:lnTo>
                  <a:lnTo>
                    <a:pt x="155" y="657"/>
                  </a:lnTo>
                  <a:lnTo>
                    <a:pt x="155" y="657"/>
                  </a:lnTo>
                  <a:lnTo>
                    <a:pt x="152" y="657"/>
                  </a:lnTo>
                  <a:lnTo>
                    <a:pt x="152" y="657"/>
                  </a:lnTo>
                  <a:lnTo>
                    <a:pt x="152" y="655"/>
                  </a:lnTo>
                  <a:lnTo>
                    <a:pt x="149" y="655"/>
                  </a:lnTo>
                  <a:lnTo>
                    <a:pt x="149" y="652"/>
                  </a:lnTo>
                  <a:lnTo>
                    <a:pt x="149" y="652"/>
                  </a:lnTo>
                  <a:lnTo>
                    <a:pt x="147" y="652"/>
                  </a:lnTo>
                  <a:lnTo>
                    <a:pt x="147" y="649"/>
                  </a:lnTo>
                  <a:lnTo>
                    <a:pt x="147" y="649"/>
                  </a:lnTo>
                  <a:lnTo>
                    <a:pt x="144" y="649"/>
                  </a:lnTo>
                  <a:lnTo>
                    <a:pt x="141" y="647"/>
                  </a:lnTo>
                  <a:lnTo>
                    <a:pt x="141" y="644"/>
                  </a:lnTo>
                  <a:lnTo>
                    <a:pt x="141" y="644"/>
                  </a:lnTo>
                  <a:lnTo>
                    <a:pt x="139" y="644"/>
                  </a:lnTo>
                  <a:lnTo>
                    <a:pt x="136" y="644"/>
                  </a:lnTo>
                  <a:lnTo>
                    <a:pt x="136" y="641"/>
                  </a:lnTo>
                  <a:lnTo>
                    <a:pt x="136" y="641"/>
                  </a:lnTo>
                  <a:lnTo>
                    <a:pt x="136" y="639"/>
                  </a:lnTo>
                  <a:lnTo>
                    <a:pt x="136" y="639"/>
                  </a:lnTo>
                  <a:lnTo>
                    <a:pt x="136" y="636"/>
                  </a:lnTo>
                  <a:lnTo>
                    <a:pt x="136" y="636"/>
                  </a:lnTo>
                  <a:lnTo>
                    <a:pt x="139" y="625"/>
                  </a:lnTo>
                  <a:lnTo>
                    <a:pt x="139" y="625"/>
                  </a:lnTo>
                  <a:lnTo>
                    <a:pt x="139" y="625"/>
                  </a:lnTo>
                  <a:lnTo>
                    <a:pt x="141" y="625"/>
                  </a:lnTo>
                  <a:lnTo>
                    <a:pt x="139" y="625"/>
                  </a:lnTo>
                  <a:lnTo>
                    <a:pt x="139" y="623"/>
                  </a:lnTo>
                  <a:lnTo>
                    <a:pt x="139" y="623"/>
                  </a:lnTo>
                  <a:lnTo>
                    <a:pt x="139" y="620"/>
                  </a:lnTo>
                  <a:lnTo>
                    <a:pt x="139" y="615"/>
                  </a:lnTo>
                  <a:lnTo>
                    <a:pt x="139" y="615"/>
                  </a:lnTo>
                  <a:lnTo>
                    <a:pt x="136" y="612"/>
                  </a:lnTo>
                  <a:lnTo>
                    <a:pt x="131" y="612"/>
                  </a:lnTo>
                  <a:lnTo>
                    <a:pt x="128" y="612"/>
                  </a:lnTo>
                  <a:lnTo>
                    <a:pt x="128" y="612"/>
                  </a:lnTo>
                  <a:lnTo>
                    <a:pt x="123" y="617"/>
                  </a:lnTo>
                  <a:lnTo>
                    <a:pt x="123" y="623"/>
                  </a:lnTo>
                  <a:lnTo>
                    <a:pt x="123" y="631"/>
                  </a:lnTo>
                  <a:lnTo>
                    <a:pt x="123" y="636"/>
                  </a:lnTo>
                  <a:lnTo>
                    <a:pt x="123" y="639"/>
                  </a:lnTo>
                  <a:lnTo>
                    <a:pt x="120" y="641"/>
                  </a:lnTo>
                  <a:lnTo>
                    <a:pt x="117" y="644"/>
                  </a:lnTo>
                  <a:lnTo>
                    <a:pt x="117" y="652"/>
                  </a:lnTo>
                  <a:lnTo>
                    <a:pt x="117" y="652"/>
                  </a:lnTo>
                  <a:lnTo>
                    <a:pt x="120" y="652"/>
                  </a:lnTo>
                  <a:lnTo>
                    <a:pt x="120" y="652"/>
                  </a:lnTo>
                  <a:lnTo>
                    <a:pt x="123" y="655"/>
                  </a:lnTo>
                  <a:lnTo>
                    <a:pt x="123" y="657"/>
                  </a:lnTo>
                  <a:lnTo>
                    <a:pt x="123" y="663"/>
                  </a:lnTo>
                  <a:lnTo>
                    <a:pt x="125" y="665"/>
                  </a:lnTo>
                  <a:lnTo>
                    <a:pt x="125" y="668"/>
                  </a:lnTo>
                  <a:lnTo>
                    <a:pt x="125" y="671"/>
                  </a:lnTo>
                  <a:lnTo>
                    <a:pt x="125" y="673"/>
                  </a:lnTo>
                  <a:lnTo>
                    <a:pt x="125" y="676"/>
                  </a:lnTo>
                  <a:lnTo>
                    <a:pt x="123" y="684"/>
                  </a:lnTo>
                  <a:lnTo>
                    <a:pt x="123" y="689"/>
                  </a:lnTo>
                  <a:lnTo>
                    <a:pt x="120" y="692"/>
                  </a:lnTo>
                  <a:lnTo>
                    <a:pt x="123" y="700"/>
                  </a:lnTo>
                  <a:lnTo>
                    <a:pt x="125" y="703"/>
                  </a:lnTo>
                  <a:lnTo>
                    <a:pt x="125" y="705"/>
                  </a:lnTo>
                  <a:lnTo>
                    <a:pt x="125" y="708"/>
                  </a:lnTo>
                  <a:lnTo>
                    <a:pt x="125" y="708"/>
                  </a:lnTo>
                  <a:lnTo>
                    <a:pt x="133" y="716"/>
                  </a:lnTo>
                  <a:lnTo>
                    <a:pt x="136" y="724"/>
                  </a:lnTo>
                  <a:lnTo>
                    <a:pt x="139" y="729"/>
                  </a:lnTo>
                  <a:lnTo>
                    <a:pt x="147" y="737"/>
                  </a:lnTo>
                  <a:lnTo>
                    <a:pt x="149" y="737"/>
                  </a:lnTo>
                  <a:lnTo>
                    <a:pt x="152" y="737"/>
                  </a:lnTo>
                  <a:lnTo>
                    <a:pt x="155" y="737"/>
                  </a:lnTo>
                  <a:lnTo>
                    <a:pt x="157" y="737"/>
                  </a:lnTo>
                  <a:lnTo>
                    <a:pt x="160" y="737"/>
                  </a:lnTo>
                  <a:lnTo>
                    <a:pt x="160" y="740"/>
                  </a:lnTo>
                  <a:lnTo>
                    <a:pt x="165" y="737"/>
                  </a:lnTo>
                  <a:lnTo>
                    <a:pt x="168" y="740"/>
                  </a:lnTo>
                  <a:lnTo>
                    <a:pt x="171" y="740"/>
                  </a:lnTo>
                  <a:lnTo>
                    <a:pt x="173" y="745"/>
                  </a:lnTo>
                  <a:lnTo>
                    <a:pt x="176" y="759"/>
                  </a:lnTo>
                  <a:lnTo>
                    <a:pt x="179" y="764"/>
                  </a:lnTo>
                  <a:lnTo>
                    <a:pt x="176" y="772"/>
                  </a:lnTo>
                  <a:lnTo>
                    <a:pt x="176" y="772"/>
                  </a:lnTo>
                  <a:lnTo>
                    <a:pt x="176" y="772"/>
                  </a:lnTo>
                  <a:lnTo>
                    <a:pt x="179" y="772"/>
                  </a:lnTo>
                  <a:lnTo>
                    <a:pt x="179" y="772"/>
                  </a:lnTo>
                  <a:lnTo>
                    <a:pt x="179" y="772"/>
                  </a:lnTo>
                  <a:lnTo>
                    <a:pt x="179" y="775"/>
                  </a:lnTo>
                  <a:lnTo>
                    <a:pt x="179" y="775"/>
                  </a:lnTo>
                  <a:lnTo>
                    <a:pt x="179" y="775"/>
                  </a:lnTo>
                  <a:lnTo>
                    <a:pt x="176" y="775"/>
                  </a:lnTo>
                  <a:lnTo>
                    <a:pt x="173" y="775"/>
                  </a:lnTo>
                  <a:lnTo>
                    <a:pt x="173" y="775"/>
                  </a:lnTo>
                  <a:lnTo>
                    <a:pt x="171" y="783"/>
                  </a:lnTo>
                  <a:lnTo>
                    <a:pt x="171" y="786"/>
                  </a:lnTo>
                  <a:lnTo>
                    <a:pt x="168" y="786"/>
                  </a:lnTo>
                  <a:lnTo>
                    <a:pt x="165" y="788"/>
                  </a:lnTo>
                  <a:lnTo>
                    <a:pt x="163" y="788"/>
                  </a:lnTo>
                  <a:lnTo>
                    <a:pt x="163" y="788"/>
                  </a:lnTo>
                  <a:lnTo>
                    <a:pt x="160" y="786"/>
                  </a:lnTo>
                  <a:lnTo>
                    <a:pt x="157" y="786"/>
                  </a:lnTo>
                  <a:lnTo>
                    <a:pt x="157" y="786"/>
                  </a:lnTo>
                  <a:lnTo>
                    <a:pt x="155" y="788"/>
                  </a:lnTo>
                  <a:lnTo>
                    <a:pt x="152" y="791"/>
                  </a:lnTo>
                  <a:lnTo>
                    <a:pt x="152" y="794"/>
                  </a:lnTo>
                  <a:lnTo>
                    <a:pt x="155" y="794"/>
                  </a:lnTo>
                  <a:lnTo>
                    <a:pt x="155" y="796"/>
                  </a:lnTo>
                  <a:lnTo>
                    <a:pt x="157" y="796"/>
                  </a:lnTo>
                  <a:lnTo>
                    <a:pt x="157" y="799"/>
                  </a:lnTo>
                  <a:lnTo>
                    <a:pt x="155" y="799"/>
                  </a:lnTo>
                  <a:lnTo>
                    <a:pt x="152" y="799"/>
                  </a:lnTo>
                  <a:lnTo>
                    <a:pt x="152" y="802"/>
                  </a:lnTo>
                  <a:lnTo>
                    <a:pt x="152" y="804"/>
                  </a:lnTo>
                  <a:lnTo>
                    <a:pt x="155" y="810"/>
                  </a:lnTo>
                  <a:lnTo>
                    <a:pt x="155" y="818"/>
                  </a:lnTo>
                  <a:lnTo>
                    <a:pt x="152" y="823"/>
                  </a:lnTo>
                  <a:lnTo>
                    <a:pt x="152" y="823"/>
                  </a:lnTo>
                  <a:lnTo>
                    <a:pt x="155" y="828"/>
                  </a:lnTo>
                  <a:lnTo>
                    <a:pt x="155" y="828"/>
                  </a:lnTo>
                  <a:lnTo>
                    <a:pt x="155" y="831"/>
                  </a:lnTo>
                  <a:lnTo>
                    <a:pt x="155" y="831"/>
                  </a:lnTo>
                  <a:lnTo>
                    <a:pt x="155" y="834"/>
                  </a:lnTo>
                  <a:lnTo>
                    <a:pt x="155" y="834"/>
                  </a:lnTo>
                  <a:lnTo>
                    <a:pt x="157" y="834"/>
                  </a:lnTo>
                  <a:lnTo>
                    <a:pt x="157" y="836"/>
                  </a:lnTo>
                  <a:lnTo>
                    <a:pt x="157" y="839"/>
                  </a:lnTo>
                  <a:lnTo>
                    <a:pt x="157" y="839"/>
                  </a:lnTo>
                  <a:lnTo>
                    <a:pt x="157" y="842"/>
                  </a:lnTo>
                  <a:lnTo>
                    <a:pt x="160" y="842"/>
                  </a:lnTo>
                  <a:lnTo>
                    <a:pt x="163" y="844"/>
                  </a:lnTo>
                  <a:lnTo>
                    <a:pt x="171" y="852"/>
                  </a:lnTo>
                  <a:lnTo>
                    <a:pt x="173" y="858"/>
                  </a:lnTo>
                  <a:lnTo>
                    <a:pt x="179" y="868"/>
                  </a:lnTo>
                  <a:lnTo>
                    <a:pt x="179" y="874"/>
                  </a:lnTo>
                  <a:lnTo>
                    <a:pt x="179" y="876"/>
                  </a:lnTo>
                  <a:lnTo>
                    <a:pt x="181" y="876"/>
                  </a:lnTo>
                  <a:lnTo>
                    <a:pt x="184" y="879"/>
                  </a:lnTo>
                  <a:lnTo>
                    <a:pt x="187" y="879"/>
                  </a:lnTo>
                  <a:lnTo>
                    <a:pt x="187" y="882"/>
                  </a:lnTo>
                  <a:lnTo>
                    <a:pt x="189" y="884"/>
                  </a:lnTo>
                  <a:lnTo>
                    <a:pt x="189" y="887"/>
                  </a:lnTo>
                  <a:lnTo>
                    <a:pt x="189" y="890"/>
                  </a:lnTo>
                  <a:lnTo>
                    <a:pt x="189" y="892"/>
                  </a:lnTo>
                  <a:lnTo>
                    <a:pt x="189" y="895"/>
                  </a:lnTo>
                  <a:lnTo>
                    <a:pt x="189" y="898"/>
                  </a:lnTo>
                  <a:lnTo>
                    <a:pt x="192" y="900"/>
                  </a:lnTo>
                  <a:lnTo>
                    <a:pt x="195" y="906"/>
                  </a:lnTo>
                  <a:lnTo>
                    <a:pt x="195" y="908"/>
                  </a:lnTo>
                  <a:lnTo>
                    <a:pt x="197" y="911"/>
                  </a:lnTo>
                  <a:lnTo>
                    <a:pt x="200" y="914"/>
                  </a:lnTo>
                  <a:lnTo>
                    <a:pt x="203" y="916"/>
                  </a:lnTo>
                  <a:lnTo>
                    <a:pt x="203" y="924"/>
                  </a:lnTo>
                  <a:lnTo>
                    <a:pt x="205" y="932"/>
                  </a:lnTo>
                  <a:lnTo>
                    <a:pt x="205" y="935"/>
                  </a:lnTo>
                  <a:lnTo>
                    <a:pt x="213" y="938"/>
                  </a:lnTo>
                  <a:lnTo>
                    <a:pt x="216" y="941"/>
                  </a:lnTo>
                  <a:lnTo>
                    <a:pt x="219" y="943"/>
                  </a:lnTo>
                  <a:lnTo>
                    <a:pt x="221" y="951"/>
                  </a:lnTo>
                  <a:lnTo>
                    <a:pt x="224" y="957"/>
                  </a:lnTo>
                  <a:lnTo>
                    <a:pt x="227" y="962"/>
                  </a:lnTo>
                  <a:lnTo>
                    <a:pt x="229" y="965"/>
                  </a:lnTo>
                  <a:lnTo>
                    <a:pt x="232" y="967"/>
                  </a:lnTo>
                  <a:lnTo>
                    <a:pt x="240" y="970"/>
                  </a:lnTo>
                  <a:lnTo>
                    <a:pt x="243" y="973"/>
                  </a:lnTo>
                  <a:lnTo>
                    <a:pt x="243" y="975"/>
                  </a:lnTo>
                  <a:lnTo>
                    <a:pt x="243" y="978"/>
                  </a:lnTo>
                  <a:lnTo>
                    <a:pt x="243" y="981"/>
                  </a:lnTo>
                  <a:lnTo>
                    <a:pt x="243" y="983"/>
                  </a:lnTo>
                  <a:lnTo>
                    <a:pt x="245" y="986"/>
                  </a:lnTo>
                  <a:lnTo>
                    <a:pt x="245" y="989"/>
                  </a:lnTo>
                  <a:lnTo>
                    <a:pt x="245" y="989"/>
                  </a:lnTo>
                  <a:lnTo>
                    <a:pt x="243" y="989"/>
                  </a:lnTo>
                  <a:lnTo>
                    <a:pt x="243" y="989"/>
                  </a:lnTo>
                  <a:lnTo>
                    <a:pt x="243" y="986"/>
                  </a:lnTo>
                  <a:lnTo>
                    <a:pt x="243" y="983"/>
                  </a:lnTo>
                  <a:lnTo>
                    <a:pt x="237" y="994"/>
                  </a:lnTo>
                  <a:lnTo>
                    <a:pt x="237" y="997"/>
                  </a:lnTo>
                  <a:lnTo>
                    <a:pt x="237" y="999"/>
                  </a:lnTo>
                  <a:lnTo>
                    <a:pt x="237" y="1002"/>
                  </a:lnTo>
                  <a:lnTo>
                    <a:pt x="240" y="1005"/>
                  </a:lnTo>
                  <a:lnTo>
                    <a:pt x="245" y="1010"/>
                  </a:lnTo>
                  <a:lnTo>
                    <a:pt x="248" y="1013"/>
                  </a:lnTo>
                  <a:lnTo>
                    <a:pt x="248" y="1013"/>
                  </a:lnTo>
                  <a:lnTo>
                    <a:pt x="251" y="1013"/>
                  </a:lnTo>
                  <a:lnTo>
                    <a:pt x="253" y="1013"/>
                  </a:lnTo>
                  <a:lnTo>
                    <a:pt x="256" y="1013"/>
                  </a:lnTo>
                  <a:lnTo>
                    <a:pt x="256" y="1013"/>
                  </a:lnTo>
                  <a:lnTo>
                    <a:pt x="259" y="1015"/>
                  </a:lnTo>
                  <a:lnTo>
                    <a:pt x="259" y="1015"/>
                  </a:lnTo>
                  <a:lnTo>
                    <a:pt x="261" y="1018"/>
                  </a:lnTo>
                  <a:lnTo>
                    <a:pt x="261" y="1018"/>
                  </a:lnTo>
                  <a:lnTo>
                    <a:pt x="261" y="1023"/>
                  </a:lnTo>
                  <a:lnTo>
                    <a:pt x="261" y="1029"/>
                  </a:lnTo>
                  <a:lnTo>
                    <a:pt x="259" y="1034"/>
                  </a:lnTo>
                  <a:lnTo>
                    <a:pt x="259" y="1039"/>
                  </a:lnTo>
                  <a:lnTo>
                    <a:pt x="253" y="1047"/>
                  </a:lnTo>
                  <a:lnTo>
                    <a:pt x="251" y="1050"/>
                  </a:lnTo>
                  <a:lnTo>
                    <a:pt x="253" y="1050"/>
                  </a:lnTo>
                  <a:lnTo>
                    <a:pt x="256" y="1055"/>
                  </a:lnTo>
                  <a:lnTo>
                    <a:pt x="256" y="1055"/>
                  </a:lnTo>
                  <a:lnTo>
                    <a:pt x="256" y="1058"/>
                  </a:lnTo>
                  <a:lnTo>
                    <a:pt x="256" y="1058"/>
                  </a:lnTo>
                  <a:lnTo>
                    <a:pt x="256" y="1061"/>
                  </a:lnTo>
                  <a:lnTo>
                    <a:pt x="256" y="1063"/>
                  </a:lnTo>
                  <a:lnTo>
                    <a:pt x="253" y="1069"/>
                  </a:lnTo>
                  <a:lnTo>
                    <a:pt x="251" y="1071"/>
                  </a:lnTo>
                  <a:lnTo>
                    <a:pt x="253" y="1074"/>
                  </a:lnTo>
                  <a:lnTo>
                    <a:pt x="253" y="1077"/>
                  </a:lnTo>
                  <a:lnTo>
                    <a:pt x="253" y="1079"/>
                  </a:lnTo>
                  <a:lnTo>
                    <a:pt x="253" y="1082"/>
                  </a:lnTo>
                  <a:lnTo>
                    <a:pt x="251" y="1085"/>
                  </a:lnTo>
                  <a:lnTo>
                    <a:pt x="251" y="1087"/>
                  </a:lnTo>
                  <a:lnTo>
                    <a:pt x="248" y="1087"/>
                  </a:lnTo>
                  <a:lnTo>
                    <a:pt x="248" y="1093"/>
                  </a:lnTo>
                  <a:lnTo>
                    <a:pt x="245" y="1095"/>
                  </a:lnTo>
                  <a:lnTo>
                    <a:pt x="245" y="1095"/>
                  </a:lnTo>
                  <a:lnTo>
                    <a:pt x="248" y="1098"/>
                  </a:lnTo>
                  <a:lnTo>
                    <a:pt x="251" y="1101"/>
                  </a:lnTo>
                  <a:lnTo>
                    <a:pt x="253" y="1101"/>
                  </a:lnTo>
                  <a:lnTo>
                    <a:pt x="256" y="1101"/>
                  </a:lnTo>
                  <a:lnTo>
                    <a:pt x="259" y="1106"/>
                  </a:lnTo>
                  <a:lnTo>
                    <a:pt x="261" y="1111"/>
                  </a:lnTo>
                  <a:lnTo>
                    <a:pt x="264" y="1117"/>
                  </a:lnTo>
                  <a:lnTo>
                    <a:pt x="269" y="1117"/>
                  </a:lnTo>
                  <a:lnTo>
                    <a:pt x="280" y="1117"/>
                  </a:lnTo>
                  <a:lnTo>
                    <a:pt x="296" y="1120"/>
                  </a:lnTo>
                  <a:lnTo>
                    <a:pt x="301" y="1122"/>
                  </a:lnTo>
                  <a:lnTo>
                    <a:pt x="307" y="1125"/>
                  </a:lnTo>
                  <a:lnTo>
                    <a:pt x="312" y="1125"/>
                  </a:lnTo>
                  <a:lnTo>
                    <a:pt x="320" y="1128"/>
                  </a:lnTo>
                  <a:lnTo>
                    <a:pt x="331" y="1136"/>
                  </a:lnTo>
                  <a:lnTo>
                    <a:pt x="333" y="1136"/>
                  </a:lnTo>
                  <a:lnTo>
                    <a:pt x="336" y="1136"/>
                  </a:lnTo>
                  <a:lnTo>
                    <a:pt x="339" y="1136"/>
                  </a:lnTo>
                  <a:lnTo>
                    <a:pt x="339" y="1136"/>
                  </a:lnTo>
                  <a:lnTo>
                    <a:pt x="341" y="1138"/>
                  </a:lnTo>
                  <a:lnTo>
                    <a:pt x="344" y="1138"/>
                  </a:lnTo>
                  <a:lnTo>
                    <a:pt x="347" y="1141"/>
                  </a:lnTo>
                  <a:lnTo>
                    <a:pt x="347" y="1141"/>
                  </a:lnTo>
                  <a:lnTo>
                    <a:pt x="349" y="1141"/>
                  </a:lnTo>
                  <a:lnTo>
                    <a:pt x="349" y="1141"/>
                  </a:lnTo>
                  <a:lnTo>
                    <a:pt x="352" y="1138"/>
                  </a:lnTo>
                  <a:lnTo>
                    <a:pt x="357" y="1138"/>
                  </a:lnTo>
                  <a:lnTo>
                    <a:pt x="360" y="1141"/>
                  </a:lnTo>
                  <a:lnTo>
                    <a:pt x="363" y="1141"/>
                  </a:lnTo>
                  <a:lnTo>
                    <a:pt x="363" y="1141"/>
                  </a:lnTo>
                  <a:lnTo>
                    <a:pt x="365" y="1141"/>
                  </a:lnTo>
                  <a:lnTo>
                    <a:pt x="368" y="1144"/>
                  </a:lnTo>
                  <a:lnTo>
                    <a:pt x="373" y="1149"/>
                  </a:lnTo>
                  <a:lnTo>
                    <a:pt x="379" y="1152"/>
                  </a:lnTo>
                  <a:lnTo>
                    <a:pt x="389" y="1165"/>
                  </a:lnTo>
                  <a:lnTo>
                    <a:pt x="392" y="1168"/>
                  </a:lnTo>
                  <a:lnTo>
                    <a:pt x="395" y="1168"/>
                  </a:lnTo>
                  <a:lnTo>
                    <a:pt x="395" y="1168"/>
                  </a:lnTo>
                  <a:lnTo>
                    <a:pt x="395" y="1168"/>
                  </a:lnTo>
                  <a:lnTo>
                    <a:pt x="397" y="1170"/>
                  </a:lnTo>
                  <a:lnTo>
                    <a:pt x="395" y="1170"/>
                  </a:lnTo>
                  <a:lnTo>
                    <a:pt x="395" y="1173"/>
                  </a:lnTo>
                  <a:lnTo>
                    <a:pt x="397" y="1173"/>
                  </a:lnTo>
                  <a:lnTo>
                    <a:pt x="397" y="1176"/>
                  </a:lnTo>
                  <a:lnTo>
                    <a:pt x="397" y="1176"/>
                  </a:lnTo>
                  <a:lnTo>
                    <a:pt x="397" y="1178"/>
                  </a:lnTo>
                  <a:lnTo>
                    <a:pt x="397" y="1181"/>
                  </a:lnTo>
                  <a:lnTo>
                    <a:pt x="397" y="1181"/>
                  </a:lnTo>
                  <a:lnTo>
                    <a:pt x="397" y="1184"/>
                  </a:lnTo>
                  <a:lnTo>
                    <a:pt x="400" y="1184"/>
                  </a:lnTo>
                  <a:lnTo>
                    <a:pt x="400" y="1184"/>
                  </a:lnTo>
                  <a:lnTo>
                    <a:pt x="400" y="1186"/>
                  </a:lnTo>
                  <a:lnTo>
                    <a:pt x="400" y="1186"/>
                  </a:lnTo>
                  <a:lnTo>
                    <a:pt x="405" y="1192"/>
                  </a:lnTo>
                  <a:lnTo>
                    <a:pt x="408" y="1194"/>
                  </a:lnTo>
                  <a:lnTo>
                    <a:pt x="411" y="1194"/>
                  </a:lnTo>
                  <a:lnTo>
                    <a:pt x="411" y="1194"/>
                  </a:lnTo>
                  <a:lnTo>
                    <a:pt x="408" y="1194"/>
                  </a:lnTo>
                  <a:lnTo>
                    <a:pt x="408" y="1194"/>
                  </a:lnTo>
                  <a:lnTo>
                    <a:pt x="408" y="1192"/>
                  </a:lnTo>
                  <a:lnTo>
                    <a:pt x="411" y="1194"/>
                  </a:lnTo>
                  <a:lnTo>
                    <a:pt x="421" y="1200"/>
                  </a:lnTo>
                  <a:lnTo>
                    <a:pt x="432" y="1205"/>
                  </a:lnTo>
                  <a:lnTo>
                    <a:pt x="437" y="1208"/>
                  </a:lnTo>
                  <a:lnTo>
                    <a:pt x="440" y="1210"/>
                  </a:lnTo>
                  <a:lnTo>
                    <a:pt x="443" y="1213"/>
                  </a:lnTo>
                  <a:lnTo>
                    <a:pt x="445" y="1213"/>
                  </a:lnTo>
                  <a:lnTo>
                    <a:pt x="448" y="1210"/>
                  </a:lnTo>
                  <a:lnTo>
                    <a:pt x="464" y="1213"/>
                  </a:lnTo>
                  <a:lnTo>
                    <a:pt x="467" y="1213"/>
                  </a:lnTo>
                  <a:lnTo>
                    <a:pt x="467" y="1213"/>
                  </a:lnTo>
                  <a:lnTo>
                    <a:pt x="467" y="1213"/>
                  </a:lnTo>
                  <a:lnTo>
                    <a:pt x="470" y="1213"/>
                  </a:lnTo>
                  <a:lnTo>
                    <a:pt x="472" y="1213"/>
                  </a:lnTo>
                  <a:lnTo>
                    <a:pt x="475" y="1213"/>
                  </a:lnTo>
                  <a:lnTo>
                    <a:pt x="478" y="1216"/>
                  </a:lnTo>
                  <a:lnTo>
                    <a:pt x="480" y="1221"/>
                  </a:lnTo>
                  <a:lnTo>
                    <a:pt x="483" y="1229"/>
                  </a:lnTo>
                  <a:lnTo>
                    <a:pt x="486" y="1234"/>
                  </a:lnTo>
                  <a:lnTo>
                    <a:pt x="486" y="1240"/>
                  </a:lnTo>
                  <a:lnTo>
                    <a:pt x="488" y="1242"/>
                  </a:lnTo>
                  <a:lnTo>
                    <a:pt x="486" y="1245"/>
                  </a:lnTo>
                  <a:lnTo>
                    <a:pt x="486" y="1250"/>
                  </a:lnTo>
                  <a:lnTo>
                    <a:pt x="486" y="1250"/>
                  </a:lnTo>
                  <a:lnTo>
                    <a:pt x="483" y="1253"/>
                  </a:lnTo>
                  <a:lnTo>
                    <a:pt x="483" y="1256"/>
                  </a:lnTo>
                  <a:lnTo>
                    <a:pt x="483" y="1258"/>
                  </a:lnTo>
                  <a:lnTo>
                    <a:pt x="486" y="1258"/>
                  </a:lnTo>
                  <a:lnTo>
                    <a:pt x="486" y="1261"/>
                  </a:lnTo>
                  <a:lnTo>
                    <a:pt x="486" y="1261"/>
                  </a:lnTo>
                  <a:lnTo>
                    <a:pt x="488" y="1261"/>
                  </a:lnTo>
                  <a:lnTo>
                    <a:pt x="488" y="1258"/>
                  </a:lnTo>
                  <a:lnTo>
                    <a:pt x="491" y="1261"/>
                  </a:lnTo>
                  <a:lnTo>
                    <a:pt x="491" y="1264"/>
                  </a:lnTo>
                  <a:lnTo>
                    <a:pt x="491" y="1264"/>
                  </a:lnTo>
                  <a:lnTo>
                    <a:pt x="494" y="1264"/>
                  </a:lnTo>
                  <a:lnTo>
                    <a:pt x="494" y="1266"/>
                  </a:lnTo>
                  <a:lnTo>
                    <a:pt x="496" y="1266"/>
                  </a:lnTo>
                  <a:lnTo>
                    <a:pt x="496" y="1266"/>
                  </a:lnTo>
                  <a:lnTo>
                    <a:pt x="499" y="1264"/>
                  </a:lnTo>
                  <a:lnTo>
                    <a:pt x="499" y="1264"/>
                  </a:lnTo>
                  <a:lnTo>
                    <a:pt x="499" y="1264"/>
                  </a:lnTo>
                  <a:lnTo>
                    <a:pt x="499" y="1258"/>
                  </a:lnTo>
                  <a:lnTo>
                    <a:pt x="502" y="1258"/>
                  </a:lnTo>
                  <a:lnTo>
                    <a:pt x="502" y="1258"/>
                  </a:lnTo>
                  <a:lnTo>
                    <a:pt x="504" y="1258"/>
                  </a:lnTo>
                  <a:lnTo>
                    <a:pt x="504" y="1258"/>
                  </a:lnTo>
                  <a:lnTo>
                    <a:pt x="504" y="1258"/>
                  </a:lnTo>
                  <a:lnTo>
                    <a:pt x="507" y="1258"/>
                  </a:lnTo>
                  <a:lnTo>
                    <a:pt x="510" y="1261"/>
                  </a:lnTo>
                  <a:lnTo>
                    <a:pt x="512" y="1261"/>
                  </a:lnTo>
                  <a:lnTo>
                    <a:pt x="515" y="1261"/>
                  </a:lnTo>
                  <a:lnTo>
                    <a:pt x="518" y="1261"/>
                  </a:lnTo>
                  <a:lnTo>
                    <a:pt x="531" y="1280"/>
                  </a:lnTo>
                  <a:lnTo>
                    <a:pt x="534" y="1285"/>
                  </a:lnTo>
                  <a:lnTo>
                    <a:pt x="547" y="1293"/>
                  </a:lnTo>
                  <a:lnTo>
                    <a:pt x="552" y="1299"/>
                  </a:lnTo>
                  <a:lnTo>
                    <a:pt x="555" y="1307"/>
                  </a:lnTo>
                  <a:lnTo>
                    <a:pt x="558" y="1307"/>
                  </a:lnTo>
                  <a:lnTo>
                    <a:pt x="563" y="1312"/>
                  </a:lnTo>
                  <a:lnTo>
                    <a:pt x="563" y="1315"/>
                  </a:lnTo>
                  <a:lnTo>
                    <a:pt x="568" y="1323"/>
                  </a:lnTo>
                  <a:lnTo>
                    <a:pt x="579" y="1331"/>
                  </a:lnTo>
                  <a:lnTo>
                    <a:pt x="592" y="1357"/>
                  </a:lnTo>
                  <a:lnTo>
                    <a:pt x="595" y="1371"/>
                  </a:lnTo>
                  <a:lnTo>
                    <a:pt x="598" y="1379"/>
                  </a:lnTo>
                  <a:lnTo>
                    <a:pt x="598" y="1381"/>
                  </a:lnTo>
                  <a:lnTo>
                    <a:pt x="598" y="1384"/>
                  </a:lnTo>
                  <a:lnTo>
                    <a:pt x="598" y="1397"/>
                  </a:lnTo>
                  <a:lnTo>
                    <a:pt x="598" y="1400"/>
                  </a:lnTo>
                  <a:lnTo>
                    <a:pt x="598" y="1403"/>
                  </a:lnTo>
                  <a:lnTo>
                    <a:pt x="595" y="1403"/>
                  </a:lnTo>
                  <a:lnTo>
                    <a:pt x="595" y="1405"/>
                  </a:lnTo>
                  <a:lnTo>
                    <a:pt x="592" y="1408"/>
                  </a:lnTo>
                  <a:lnTo>
                    <a:pt x="595" y="1413"/>
                  </a:lnTo>
                  <a:lnTo>
                    <a:pt x="595" y="1416"/>
                  </a:lnTo>
                  <a:lnTo>
                    <a:pt x="595" y="1419"/>
                  </a:lnTo>
                  <a:lnTo>
                    <a:pt x="592" y="1424"/>
                  </a:lnTo>
                  <a:lnTo>
                    <a:pt x="592" y="1424"/>
                  </a:lnTo>
                  <a:lnTo>
                    <a:pt x="595" y="1427"/>
                  </a:lnTo>
                  <a:lnTo>
                    <a:pt x="595" y="1429"/>
                  </a:lnTo>
                  <a:lnTo>
                    <a:pt x="595" y="1429"/>
                  </a:lnTo>
                  <a:lnTo>
                    <a:pt x="598" y="1424"/>
                  </a:lnTo>
                  <a:lnTo>
                    <a:pt x="598" y="1424"/>
                  </a:lnTo>
                  <a:lnTo>
                    <a:pt x="600" y="1421"/>
                  </a:lnTo>
                  <a:lnTo>
                    <a:pt x="600" y="1421"/>
                  </a:lnTo>
                  <a:lnTo>
                    <a:pt x="603" y="1424"/>
                  </a:lnTo>
                  <a:lnTo>
                    <a:pt x="603" y="1424"/>
                  </a:lnTo>
                  <a:lnTo>
                    <a:pt x="606" y="1427"/>
                  </a:lnTo>
                  <a:lnTo>
                    <a:pt x="608" y="1427"/>
                  </a:lnTo>
                  <a:lnTo>
                    <a:pt x="608" y="1432"/>
                  </a:lnTo>
                  <a:lnTo>
                    <a:pt x="611" y="1435"/>
                  </a:lnTo>
                  <a:lnTo>
                    <a:pt x="611" y="1437"/>
                  </a:lnTo>
                  <a:lnTo>
                    <a:pt x="608" y="1437"/>
                  </a:lnTo>
                  <a:lnTo>
                    <a:pt x="608" y="1437"/>
                  </a:lnTo>
                  <a:lnTo>
                    <a:pt x="608" y="1435"/>
                  </a:lnTo>
                  <a:lnTo>
                    <a:pt x="606" y="1432"/>
                  </a:lnTo>
                  <a:lnTo>
                    <a:pt x="606" y="1429"/>
                  </a:lnTo>
                  <a:lnTo>
                    <a:pt x="603" y="1427"/>
                  </a:lnTo>
                  <a:lnTo>
                    <a:pt x="603" y="1427"/>
                  </a:lnTo>
                  <a:lnTo>
                    <a:pt x="603" y="1424"/>
                  </a:lnTo>
                  <a:lnTo>
                    <a:pt x="600" y="1424"/>
                  </a:lnTo>
                  <a:lnTo>
                    <a:pt x="598" y="1427"/>
                  </a:lnTo>
                  <a:lnTo>
                    <a:pt x="598" y="1427"/>
                  </a:lnTo>
                  <a:lnTo>
                    <a:pt x="600" y="1427"/>
                  </a:lnTo>
                  <a:lnTo>
                    <a:pt x="603" y="1429"/>
                  </a:lnTo>
                  <a:lnTo>
                    <a:pt x="606" y="1435"/>
                  </a:lnTo>
                  <a:lnTo>
                    <a:pt x="606" y="1437"/>
                  </a:lnTo>
                  <a:lnTo>
                    <a:pt x="606" y="1443"/>
                  </a:lnTo>
                  <a:lnTo>
                    <a:pt x="606" y="1445"/>
                  </a:lnTo>
                  <a:lnTo>
                    <a:pt x="606" y="1448"/>
                  </a:lnTo>
                  <a:lnTo>
                    <a:pt x="606" y="1451"/>
                  </a:lnTo>
                  <a:lnTo>
                    <a:pt x="606" y="1451"/>
                  </a:lnTo>
                  <a:lnTo>
                    <a:pt x="614" y="1451"/>
                  </a:lnTo>
                  <a:lnTo>
                    <a:pt x="624" y="1451"/>
                  </a:lnTo>
                  <a:lnTo>
                    <a:pt x="632" y="1451"/>
                  </a:lnTo>
                  <a:lnTo>
                    <a:pt x="640" y="1453"/>
                  </a:lnTo>
                  <a:lnTo>
                    <a:pt x="648" y="1453"/>
                  </a:lnTo>
                  <a:lnTo>
                    <a:pt x="659" y="1453"/>
                  </a:lnTo>
                  <a:lnTo>
                    <a:pt x="667" y="1453"/>
                  </a:lnTo>
                  <a:lnTo>
                    <a:pt x="675" y="1453"/>
                  </a:lnTo>
                  <a:lnTo>
                    <a:pt x="686" y="1456"/>
                  </a:lnTo>
                  <a:lnTo>
                    <a:pt x="694" y="1456"/>
                  </a:lnTo>
                  <a:lnTo>
                    <a:pt x="702" y="1456"/>
                  </a:lnTo>
                  <a:lnTo>
                    <a:pt x="710" y="1456"/>
                  </a:lnTo>
                  <a:lnTo>
                    <a:pt x="720" y="1456"/>
                  </a:lnTo>
                  <a:lnTo>
                    <a:pt x="728" y="1456"/>
                  </a:lnTo>
                  <a:lnTo>
                    <a:pt x="736" y="1459"/>
                  </a:lnTo>
                  <a:lnTo>
                    <a:pt x="755" y="1459"/>
                  </a:lnTo>
                  <a:lnTo>
                    <a:pt x="763" y="1459"/>
                  </a:lnTo>
                  <a:lnTo>
                    <a:pt x="771" y="1459"/>
                  </a:lnTo>
                  <a:lnTo>
                    <a:pt x="782" y="1461"/>
                  </a:lnTo>
                  <a:lnTo>
                    <a:pt x="790" y="1461"/>
                  </a:lnTo>
                  <a:lnTo>
                    <a:pt x="798" y="1461"/>
                  </a:lnTo>
                  <a:lnTo>
                    <a:pt x="806" y="1461"/>
                  </a:lnTo>
                  <a:lnTo>
                    <a:pt x="816" y="1461"/>
                  </a:lnTo>
                  <a:lnTo>
                    <a:pt x="824" y="1461"/>
                  </a:lnTo>
                  <a:lnTo>
                    <a:pt x="832" y="1464"/>
                  </a:lnTo>
                  <a:lnTo>
                    <a:pt x="843" y="1464"/>
                  </a:lnTo>
                  <a:lnTo>
                    <a:pt x="851" y="1464"/>
                  </a:lnTo>
                  <a:lnTo>
                    <a:pt x="859" y="1464"/>
                  </a:lnTo>
                  <a:lnTo>
                    <a:pt x="867" y="1464"/>
                  </a:lnTo>
                  <a:lnTo>
                    <a:pt x="878" y="1464"/>
                  </a:lnTo>
                  <a:lnTo>
                    <a:pt x="886" y="1464"/>
                  </a:lnTo>
                  <a:lnTo>
                    <a:pt x="891" y="1464"/>
                  </a:lnTo>
                  <a:lnTo>
                    <a:pt x="891" y="1467"/>
                  </a:lnTo>
                  <a:lnTo>
                    <a:pt x="891" y="1464"/>
                  </a:lnTo>
                  <a:lnTo>
                    <a:pt x="896" y="1461"/>
                  </a:lnTo>
                  <a:lnTo>
                    <a:pt x="907" y="1464"/>
                  </a:lnTo>
                  <a:lnTo>
                    <a:pt x="912" y="1464"/>
                  </a:lnTo>
                  <a:lnTo>
                    <a:pt x="915" y="1464"/>
                  </a:lnTo>
                  <a:lnTo>
                    <a:pt x="915" y="1461"/>
                  </a:lnTo>
                  <a:lnTo>
                    <a:pt x="915" y="1459"/>
                  </a:lnTo>
                  <a:lnTo>
                    <a:pt x="915" y="1456"/>
                  </a:lnTo>
                  <a:lnTo>
                    <a:pt x="918" y="1453"/>
                  </a:lnTo>
                  <a:lnTo>
                    <a:pt x="923" y="1451"/>
                  </a:lnTo>
                  <a:lnTo>
                    <a:pt x="923" y="1451"/>
                  </a:lnTo>
                  <a:lnTo>
                    <a:pt x="926" y="1448"/>
                  </a:lnTo>
                  <a:lnTo>
                    <a:pt x="923" y="1437"/>
                  </a:lnTo>
                  <a:lnTo>
                    <a:pt x="923" y="1435"/>
                  </a:lnTo>
                  <a:lnTo>
                    <a:pt x="926" y="1435"/>
                  </a:lnTo>
                  <a:lnTo>
                    <a:pt x="926" y="1432"/>
                  </a:lnTo>
                  <a:lnTo>
                    <a:pt x="926" y="1432"/>
                  </a:lnTo>
                  <a:lnTo>
                    <a:pt x="923" y="1427"/>
                  </a:lnTo>
                  <a:lnTo>
                    <a:pt x="918" y="1424"/>
                  </a:lnTo>
                  <a:lnTo>
                    <a:pt x="907" y="1421"/>
                  </a:lnTo>
                  <a:lnTo>
                    <a:pt x="904" y="1419"/>
                  </a:lnTo>
                  <a:lnTo>
                    <a:pt x="902" y="1413"/>
                  </a:lnTo>
                  <a:lnTo>
                    <a:pt x="902" y="1408"/>
                  </a:lnTo>
                  <a:lnTo>
                    <a:pt x="904" y="1403"/>
                  </a:lnTo>
                  <a:lnTo>
                    <a:pt x="904" y="1397"/>
                  </a:lnTo>
                  <a:lnTo>
                    <a:pt x="904" y="1389"/>
                  </a:lnTo>
                  <a:lnTo>
                    <a:pt x="904" y="1387"/>
                  </a:lnTo>
                  <a:lnTo>
                    <a:pt x="902" y="1384"/>
                  </a:lnTo>
                  <a:lnTo>
                    <a:pt x="902" y="1381"/>
                  </a:lnTo>
                  <a:lnTo>
                    <a:pt x="904" y="1376"/>
                  </a:lnTo>
                  <a:lnTo>
                    <a:pt x="904" y="1376"/>
                  </a:lnTo>
                  <a:lnTo>
                    <a:pt x="904" y="1373"/>
                  </a:lnTo>
                  <a:lnTo>
                    <a:pt x="904" y="1373"/>
                  </a:lnTo>
                  <a:lnTo>
                    <a:pt x="904" y="1371"/>
                  </a:lnTo>
                  <a:lnTo>
                    <a:pt x="904" y="1371"/>
                  </a:lnTo>
                  <a:lnTo>
                    <a:pt x="902" y="1368"/>
                  </a:lnTo>
                  <a:lnTo>
                    <a:pt x="904" y="1368"/>
                  </a:lnTo>
                  <a:lnTo>
                    <a:pt x="910" y="1368"/>
                  </a:lnTo>
                  <a:lnTo>
                    <a:pt x="912" y="1368"/>
                  </a:lnTo>
                  <a:lnTo>
                    <a:pt x="915" y="1365"/>
                  </a:lnTo>
                  <a:lnTo>
                    <a:pt x="920" y="1357"/>
                  </a:lnTo>
                  <a:lnTo>
                    <a:pt x="923" y="1355"/>
                  </a:lnTo>
                  <a:lnTo>
                    <a:pt x="923" y="1355"/>
                  </a:lnTo>
                  <a:lnTo>
                    <a:pt x="926" y="1352"/>
                  </a:lnTo>
                  <a:lnTo>
                    <a:pt x="928" y="1349"/>
                  </a:lnTo>
                  <a:lnTo>
                    <a:pt x="928" y="1349"/>
                  </a:lnTo>
                  <a:lnTo>
                    <a:pt x="928" y="1347"/>
                  </a:lnTo>
                  <a:lnTo>
                    <a:pt x="928" y="1344"/>
                  </a:lnTo>
                  <a:lnTo>
                    <a:pt x="928" y="1341"/>
                  </a:lnTo>
                  <a:lnTo>
                    <a:pt x="931" y="1341"/>
                  </a:lnTo>
                  <a:lnTo>
                    <a:pt x="931" y="1341"/>
                  </a:lnTo>
                  <a:lnTo>
                    <a:pt x="931" y="1339"/>
                  </a:lnTo>
                  <a:lnTo>
                    <a:pt x="931" y="1336"/>
                  </a:lnTo>
                  <a:lnTo>
                    <a:pt x="931" y="1333"/>
                  </a:lnTo>
                  <a:lnTo>
                    <a:pt x="934" y="1331"/>
                  </a:lnTo>
                  <a:lnTo>
                    <a:pt x="936" y="1331"/>
                  </a:lnTo>
                  <a:lnTo>
                    <a:pt x="936" y="1328"/>
                  </a:lnTo>
                  <a:lnTo>
                    <a:pt x="936" y="1325"/>
                  </a:lnTo>
                  <a:lnTo>
                    <a:pt x="936" y="1323"/>
                  </a:lnTo>
                  <a:lnTo>
                    <a:pt x="936" y="1323"/>
                  </a:lnTo>
                  <a:lnTo>
                    <a:pt x="936" y="1323"/>
                  </a:lnTo>
                  <a:lnTo>
                    <a:pt x="936" y="1320"/>
                  </a:lnTo>
                  <a:lnTo>
                    <a:pt x="936" y="1320"/>
                  </a:lnTo>
                  <a:lnTo>
                    <a:pt x="936" y="1317"/>
                  </a:lnTo>
                  <a:lnTo>
                    <a:pt x="936" y="1317"/>
                  </a:lnTo>
                  <a:lnTo>
                    <a:pt x="936" y="1312"/>
                  </a:lnTo>
                  <a:lnTo>
                    <a:pt x="936" y="1309"/>
                  </a:lnTo>
                  <a:lnTo>
                    <a:pt x="936" y="1307"/>
                  </a:lnTo>
                  <a:lnTo>
                    <a:pt x="939" y="1307"/>
                  </a:lnTo>
                  <a:lnTo>
                    <a:pt x="939" y="1304"/>
                  </a:lnTo>
                  <a:lnTo>
                    <a:pt x="939" y="1304"/>
                  </a:lnTo>
                  <a:lnTo>
                    <a:pt x="936" y="1301"/>
                  </a:lnTo>
                  <a:lnTo>
                    <a:pt x="936" y="1299"/>
                  </a:lnTo>
                  <a:lnTo>
                    <a:pt x="936" y="1299"/>
                  </a:lnTo>
                  <a:lnTo>
                    <a:pt x="936" y="1293"/>
                  </a:lnTo>
                  <a:lnTo>
                    <a:pt x="939" y="1293"/>
                  </a:lnTo>
                  <a:lnTo>
                    <a:pt x="944" y="1290"/>
                  </a:lnTo>
                  <a:lnTo>
                    <a:pt x="947" y="1288"/>
                  </a:lnTo>
                  <a:lnTo>
                    <a:pt x="950" y="1288"/>
                  </a:lnTo>
                  <a:lnTo>
                    <a:pt x="950" y="1285"/>
                  </a:lnTo>
                  <a:lnTo>
                    <a:pt x="952" y="1277"/>
                  </a:lnTo>
                  <a:lnTo>
                    <a:pt x="955" y="1274"/>
                  </a:lnTo>
                  <a:lnTo>
                    <a:pt x="955" y="1274"/>
                  </a:lnTo>
                  <a:lnTo>
                    <a:pt x="960" y="1274"/>
                  </a:lnTo>
                  <a:lnTo>
                    <a:pt x="974" y="1266"/>
                  </a:lnTo>
                  <a:lnTo>
                    <a:pt x="976" y="1266"/>
                  </a:lnTo>
                  <a:lnTo>
                    <a:pt x="979" y="1261"/>
                  </a:lnTo>
                  <a:lnTo>
                    <a:pt x="984" y="1258"/>
                  </a:lnTo>
                  <a:lnTo>
                    <a:pt x="987" y="1256"/>
                  </a:lnTo>
                  <a:lnTo>
                    <a:pt x="990" y="1253"/>
                  </a:lnTo>
                  <a:lnTo>
                    <a:pt x="990" y="1250"/>
                  </a:lnTo>
                  <a:close/>
                  <a:moveTo>
                    <a:pt x="69" y="615"/>
                  </a:moveTo>
                  <a:lnTo>
                    <a:pt x="69" y="615"/>
                  </a:lnTo>
                  <a:lnTo>
                    <a:pt x="69" y="615"/>
                  </a:lnTo>
                  <a:lnTo>
                    <a:pt x="69" y="615"/>
                  </a:lnTo>
                  <a:lnTo>
                    <a:pt x="69" y="615"/>
                  </a:lnTo>
                  <a:lnTo>
                    <a:pt x="69" y="615"/>
                  </a:lnTo>
                  <a:lnTo>
                    <a:pt x="69" y="615"/>
                  </a:lnTo>
                  <a:lnTo>
                    <a:pt x="69" y="615"/>
                  </a:lnTo>
                  <a:lnTo>
                    <a:pt x="69" y="615"/>
                  </a:lnTo>
                  <a:lnTo>
                    <a:pt x="69" y="615"/>
                  </a:lnTo>
                  <a:close/>
                  <a:moveTo>
                    <a:pt x="136" y="604"/>
                  </a:moveTo>
                  <a:lnTo>
                    <a:pt x="136" y="604"/>
                  </a:lnTo>
                  <a:lnTo>
                    <a:pt x="136" y="604"/>
                  </a:lnTo>
                  <a:lnTo>
                    <a:pt x="136" y="604"/>
                  </a:lnTo>
                  <a:lnTo>
                    <a:pt x="133" y="604"/>
                  </a:lnTo>
                  <a:lnTo>
                    <a:pt x="133" y="604"/>
                  </a:lnTo>
                  <a:lnTo>
                    <a:pt x="133" y="604"/>
                  </a:lnTo>
                  <a:lnTo>
                    <a:pt x="136" y="607"/>
                  </a:lnTo>
                  <a:lnTo>
                    <a:pt x="136" y="607"/>
                  </a:lnTo>
                  <a:lnTo>
                    <a:pt x="136" y="604"/>
                  </a:lnTo>
                  <a:lnTo>
                    <a:pt x="136" y="604"/>
                  </a:lnTo>
                  <a:lnTo>
                    <a:pt x="136" y="604"/>
                  </a:lnTo>
                  <a:lnTo>
                    <a:pt x="136" y="604"/>
                  </a:lnTo>
                  <a:close/>
                  <a:moveTo>
                    <a:pt x="141" y="609"/>
                  </a:moveTo>
                  <a:lnTo>
                    <a:pt x="141" y="612"/>
                  </a:lnTo>
                  <a:lnTo>
                    <a:pt x="141" y="612"/>
                  </a:lnTo>
                  <a:lnTo>
                    <a:pt x="141" y="615"/>
                  </a:lnTo>
                  <a:lnTo>
                    <a:pt x="141" y="612"/>
                  </a:lnTo>
                  <a:lnTo>
                    <a:pt x="141" y="612"/>
                  </a:lnTo>
                  <a:lnTo>
                    <a:pt x="141" y="612"/>
                  </a:lnTo>
                  <a:lnTo>
                    <a:pt x="141" y="612"/>
                  </a:lnTo>
                  <a:lnTo>
                    <a:pt x="141" y="609"/>
                  </a:lnTo>
                  <a:lnTo>
                    <a:pt x="141" y="609"/>
                  </a:lnTo>
                  <a:lnTo>
                    <a:pt x="141" y="609"/>
                  </a:lnTo>
                  <a:lnTo>
                    <a:pt x="141" y="609"/>
                  </a:lnTo>
                  <a:close/>
                  <a:moveTo>
                    <a:pt x="376" y="1200"/>
                  </a:moveTo>
                  <a:lnTo>
                    <a:pt x="373" y="1200"/>
                  </a:lnTo>
                  <a:lnTo>
                    <a:pt x="373" y="1200"/>
                  </a:lnTo>
                  <a:lnTo>
                    <a:pt x="371" y="1200"/>
                  </a:lnTo>
                  <a:lnTo>
                    <a:pt x="371" y="1200"/>
                  </a:lnTo>
                  <a:lnTo>
                    <a:pt x="371" y="1200"/>
                  </a:lnTo>
                  <a:lnTo>
                    <a:pt x="371" y="1200"/>
                  </a:lnTo>
                  <a:lnTo>
                    <a:pt x="373" y="1200"/>
                  </a:lnTo>
                  <a:lnTo>
                    <a:pt x="373" y="1200"/>
                  </a:lnTo>
                  <a:lnTo>
                    <a:pt x="376" y="1202"/>
                  </a:lnTo>
                  <a:lnTo>
                    <a:pt x="376" y="1202"/>
                  </a:lnTo>
                  <a:lnTo>
                    <a:pt x="376" y="1200"/>
                  </a:lnTo>
                  <a:lnTo>
                    <a:pt x="376" y="1200"/>
                  </a:lnTo>
                  <a:close/>
                  <a:moveTo>
                    <a:pt x="405" y="1280"/>
                  </a:moveTo>
                  <a:lnTo>
                    <a:pt x="405" y="1280"/>
                  </a:lnTo>
                  <a:lnTo>
                    <a:pt x="403" y="1280"/>
                  </a:lnTo>
                  <a:lnTo>
                    <a:pt x="403" y="1280"/>
                  </a:lnTo>
                  <a:lnTo>
                    <a:pt x="403" y="1282"/>
                  </a:lnTo>
                  <a:lnTo>
                    <a:pt x="403" y="1282"/>
                  </a:lnTo>
                  <a:lnTo>
                    <a:pt x="403" y="1282"/>
                  </a:lnTo>
                  <a:lnTo>
                    <a:pt x="403" y="1282"/>
                  </a:lnTo>
                  <a:lnTo>
                    <a:pt x="403" y="1282"/>
                  </a:lnTo>
                  <a:lnTo>
                    <a:pt x="405" y="1282"/>
                  </a:lnTo>
                  <a:lnTo>
                    <a:pt x="405" y="1280"/>
                  </a:lnTo>
                  <a:lnTo>
                    <a:pt x="405" y="1280"/>
                  </a:lnTo>
                  <a:lnTo>
                    <a:pt x="405" y="1280"/>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55" name="Freeform 52">
              <a:extLst>
                <a:ext uri="{FF2B5EF4-FFF2-40B4-BE49-F238E27FC236}">
                  <a16:creationId xmlns="" xmlns:a16="http://schemas.microsoft.com/office/drawing/2014/main" id="{337B78A3-1E20-49E7-AC58-6F9C25141473}"/>
                </a:ext>
              </a:extLst>
            </p:cNvPr>
            <p:cNvSpPr>
              <a:spLocks/>
            </p:cNvSpPr>
            <p:nvPr/>
          </p:nvSpPr>
          <p:spPr bwMode="auto">
            <a:xfrm>
              <a:off x="1892" y="1830"/>
              <a:ext cx="734" cy="852"/>
            </a:xfrm>
            <a:custGeom>
              <a:avLst/>
              <a:gdLst>
                <a:gd name="T0" fmla="*/ 710 w 734"/>
                <a:gd name="T1" fmla="*/ 331 h 852"/>
                <a:gd name="T2" fmla="*/ 697 w 734"/>
                <a:gd name="T3" fmla="*/ 505 h 852"/>
                <a:gd name="T4" fmla="*/ 683 w 734"/>
                <a:gd name="T5" fmla="*/ 679 h 852"/>
                <a:gd name="T6" fmla="*/ 667 w 734"/>
                <a:gd name="T7" fmla="*/ 852 h 852"/>
                <a:gd name="T8" fmla="*/ 667 w 734"/>
                <a:gd name="T9" fmla="*/ 852 h 852"/>
                <a:gd name="T10" fmla="*/ 667 w 734"/>
                <a:gd name="T11" fmla="*/ 852 h 852"/>
                <a:gd name="T12" fmla="*/ 667 w 734"/>
                <a:gd name="T13" fmla="*/ 852 h 852"/>
                <a:gd name="T14" fmla="*/ 667 w 734"/>
                <a:gd name="T15" fmla="*/ 852 h 852"/>
                <a:gd name="T16" fmla="*/ 654 w 734"/>
                <a:gd name="T17" fmla="*/ 852 h 852"/>
                <a:gd name="T18" fmla="*/ 619 w 734"/>
                <a:gd name="T19" fmla="*/ 850 h 852"/>
                <a:gd name="T20" fmla="*/ 584 w 734"/>
                <a:gd name="T21" fmla="*/ 847 h 852"/>
                <a:gd name="T22" fmla="*/ 547 w 734"/>
                <a:gd name="T23" fmla="*/ 842 h 852"/>
                <a:gd name="T24" fmla="*/ 512 w 734"/>
                <a:gd name="T25" fmla="*/ 839 h 852"/>
                <a:gd name="T26" fmla="*/ 475 w 734"/>
                <a:gd name="T27" fmla="*/ 836 h 852"/>
                <a:gd name="T28" fmla="*/ 440 w 734"/>
                <a:gd name="T29" fmla="*/ 834 h 852"/>
                <a:gd name="T30" fmla="*/ 400 w 734"/>
                <a:gd name="T31" fmla="*/ 818 h 852"/>
                <a:gd name="T32" fmla="*/ 235 w 734"/>
                <a:gd name="T33" fmla="*/ 735 h 852"/>
                <a:gd name="T34" fmla="*/ 0 w 734"/>
                <a:gd name="T35" fmla="*/ 615 h 852"/>
                <a:gd name="T36" fmla="*/ 5 w 734"/>
                <a:gd name="T37" fmla="*/ 599 h 852"/>
                <a:gd name="T38" fmla="*/ 13 w 734"/>
                <a:gd name="T39" fmla="*/ 590 h 852"/>
                <a:gd name="T40" fmla="*/ 40 w 734"/>
                <a:gd name="T41" fmla="*/ 582 h 852"/>
                <a:gd name="T42" fmla="*/ 48 w 734"/>
                <a:gd name="T43" fmla="*/ 558 h 852"/>
                <a:gd name="T44" fmla="*/ 32 w 734"/>
                <a:gd name="T45" fmla="*/ 542 h 852"/>
                <a:gd name="T46" fmla="*/ 29 w 734"/>
                <a:gd name="T47" fmla="*/ 508 h 852"/>
                <a:gd name="T48" fmla="*/ 29 w 734"/>
                <a:gd name="T49" fmla="*/ 492 h 852"/>
                <a:gd name="T50" fmla="*/ 45 w 734"/>
                <a:gd name="T51" fmla="*/ 478 h 852"/>
                <a:gd name="T52" fmla="*/ 53 w 734"/>
                <a:gd name="T53" fmla="*/ 465 h 852"/>
                <a:gd name="T54" fmla="*/ 59 w 734"/>
                <a:gd name="T55" fmla="*/ 452 h 852"/>
                <a:gd name="T56" fmla="*/ 61 w 734"/>
                <a:gd name="T57" fmla="*/ 441 h 852"/>
                <a:gd name="T58" fmla="*/ 64 w 734"/>
                <a:gd name="T59" fmla="*/ 428 h 852"/>
                <a:gd name="T60" fmla="*/ 64 w 734"/>
                <a:gd name="T61" fmla="*/ 414 h 852"/>
                <a:gd name="T62" fmla="*/ 80 w 734"/>
                <a:gd name="T63" fmla="*/ 395 h 852"/>
                <a:gd name="T64" fmla="*/ 115 w 734"/>
                <a:gd name="T65" fmla="*/ 374 h 852"/>
                <a:gd name="T66" fmla="*/ 99 w 734"/>
                <a:gd name="T67" fmla="*/ 355 h 852"/>
                <a:gd name="T68" fmla="*/ 93 w 734"/>
                <a:gd name="T69" fmla="*/ 347 h 852"/>
                <a:gd name="T70" fmla="*/ 88 w 734"/>
                <a:gd name="T71" fmla="*/ 342 h 852"/>
                <a:gd name="T72" fmla="*/ 88 w 734"/>
                <a:gd name="T73" fmla="*/ 331 h 852"/>
                <a:gd name="T74" fmla="*/ 85 w 734"/>
                <a:gd name="T75" fmla="*/ 321 h 852"/>
                <a:gd name="T76" fmla="*/ 72 w 734"/>
                <a:gd name="T77" fmla="*/ 291 h 852"/>
                <a:gd name="T78" fmla="*/ 69 w 734"/>
                <a:gd name="T79" fmla="*/ 267 h 852"/>
                <a:gd name="T80" fmla="*/ 69 w 734"/>
                <a:gd name="T81" fmla="*/ 249 h 852"/>
                <a:gd name="T82" fmla="*/ 80 w 734"/>
                <a:gd name="T83" fmla="*/ 241 h 852"/>
                <a:gd name="T84" fmla="*/ 75 w 734"/>
                <a:gd name="T85" fmla="*/ 203 h 852"/>
                <a:gd name="T86" fmla="*/ 75 w 734"/>
                <a:gd name="T87" fmla="*/ 166 h 852"/>
                <a:gd name="T88" fmla="*/ 80 w 734"/>
                <a:gd name="T89" fmla="*/ 144 h 852"/>
                <a:gd name="T90" fmla="*/ 77 w 734"/>
                <a:gd name="T91" fmla="*/ 120 h 852"/>
                <a:gd name="T92" fmla="*/ 80 w 734"/>
                <a:gd name="T93" fmla="*/ 112 h 852"/>
                <a:gd name="T94" fmla="*/ 107 w 734"/>
                <a:gd name="T95" fmla="*/ 112 h 852"/>
                <a:gd name="T96" fmla="*/ 112 w 734"/>
                <a:gd name="T97" fmla="*/ 115 h 852"/>
                <a:gd name="T98" fmla="*/ 120 w 734"/>
                <a:gd name="T99" fmla="*/ 112 h 852"/>
                <a:gd name="T100" fmla="*/ 125 w 734"/>
                <a:gd name="T101" fmla="*/ 126 h 852"/>
                <a:gd name="T102" fmla="*/ 144 w 734"/>
                <a:gd name="T103" fmla="*/ 131 h 852"/>
                <a:gd name="T104" fmla="*/ 158 w 734"/>
                <a:gd name="T105" fmla="*/ 107 h 852"/>
                <a:gd name="T106" fmla="*/ 163 w 734"/>
                <a:gd name="T107" fmla="*/ 70 h 852"/>
                <a:gd name="T108" fmla="*/ 171 w 734"/>
                <a:gd name="T109" fmla="*/ 8 h 852"/>
                <a:gd name="T110" fmla="*/ 243 w 734"/>
                <a:gd name="T111" fmla="*/ 8 h 852"/>
                <a:gd name="T112" fmla="*/ 366 w 734"/>
                <a:gd name="T113" fmla="*/ 21 h 852"/>
                <a:gd name="T114" fmla="*/ 486 w 734"/>
                <a:gd name="T115" fmla="*/ 35 h 852"/>
                <a:gd name="T116" fmla="*/ 611 w 734"/>
                <a:gd name="T117" fmla="*/ 48 h 852"/>
                <a:gd name="T118" fmla="*/ 734 w 734"/>
                <a:gd name="T119" fmla="*/ 59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4" h="852">
                  <a:moveTo>
                    <a:pt x="723" y="182"/>
                  </a:moveTo>
                  <a:lnTo>
                    <a:pt x="721" y="206"/>
                  </a:lnTo>
                  <a:lnTo>
                    <a:pt x="718" y="232"/>
                  </a:lnTo>
                  <a:lnTo>
                    <a:pt x="718" y="257"/>
                  </a:lnTo>
                  <a:lnTo>
                    <a:pt x="715" y="281"/>
                  </a:lnTo>
                  <a:lnTo>
                    <a:pt x="713" y="307"/>
                  </a:lnTo>
                  <a:lnTo>
                    <a:pt x="710" y="331"/>
                  </a:lnTo>
                  <a:lnTo>
                    <a:pt x="707" y="355"/>
                  </a:lnTo>
                  <a:lnTo>
                    <a:pt x="707" y="379"/>
                  </a:lnTo>
                  <a:lnTo>
                    <a:pt x="705" y="406"/>
                  </a:lnTo>
                  <a:lnTo>
                    <a:pt x="702" y="430"/>
                  </a:lnTo>
                  <a:lnTo>
                    <a:pt x="699" y="454"/>
                  </a:lnTo>
                  <a:lnTo>
                    <a:pt x="699" y="481"/>
                  </a:lnTo>
                  <a:lnTo>
                    <a:pt x="697" y="505"/>
                  </a:lnTo>
                  <a:lnTo>
                    <a:pt x="694" y="529"/>
                  </a:lnTo>
                  <a:lnTo>
                    <a:pt x="691" y="553"/>
                  </a:lnTo>
                  <a:lnTo>
                    <a:pt x="691" y="580"/>
                  </a:lnTo>
                  <a:lnTo>
                    <a:pt x="689" y="604"/>
                  </a:lnTo>
                  <a:lnTo>
                    <a:pt x="686" y="628"/>
                  </a:lnTo>
                  <a:lnTo>
                    <a:pt x="683" y="655"/>
                  </a:lnTo>
                  <a:lnTo>
                    <a:pt x="683" y="679"/>
                  </a:lnTo>
                  <a:lnTo>
                    <a:pt x="681" y="703"/>
                  </a:lnTo>
                  <a:lnTo>
                    <a:pt x="678" y="727"/>
                  </a:lnTo>
                  <a:lnTo>
                    <a:pt x="675" y="753"/>
                  </a:lnTo>
                  <a:lnTo>
                    <a:pt x="675" y="778"/>
                  </a:lnTo>
                  <a:lnTo>
                    <a:pt x="672" y="802"/>
                  </a:lnTo>
                  <a:lnTo>
                    <a:pt x="670" y="828"/>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7" y="852"/>
                  </a:lnTo>
                  <a:lnTo>
                    <a:pt x="664" y="852"/>
                  </a:lnTo>
                  <a:lnTo>
                    <a:pt x="659" y="852"/>
                  </a:lnTo>
                  <a:lnTo>
                    <a:pt x="654" y="852"/>
                  </a:lnTo>
                  <a:lnTo>
                    <a:pt x="648" y="852"/>
                  </a:lnTo>
                  <a:lnTo>
                    <a:pt x="646" y="852"/>
                  </a:lnTo>
                  <a:lnTo>
                    <a:pt x="640" y="850"/>
                  </a:lnTo>
                  <a:lnTo>
                    <a:pt x="635" y="850"/>
                  </a:lnTo>
                  <a:lnTo>
                    <a:pt x="630" y="850"/>
                  </a:lnTo>
                  <a:lnTo>
                    <a:pt x="624" y="850"/>
                  </a:lnTo>
                  <a:lnTo>
                    <a:pt x="619" y="850"/>
                  </a:lnTo>
                  <a:lnTo>
                    <a:pt x="614" y="850"/>
                  </a:lnTo>
                  <a:lnTo>
                    <a:pt x="608" y="847"/>
                  </a:lnTo>
                  <a:lnTo>
                    <a:pt x="603" y="847"/>
                  </a:lnTo>
                  <a:lnTo>
                    <a:pt x="598" y="847"/>
                  </a:lnTo>
                  <a:lnTo>
                    <a:pt x="592" y="847"/>
                  </a:lnTo>
                  <a:lnTo>
                    <a:pt x="587" y="847"/>
                  </a:lnTo>
                  <a:lnTo>
                    <a:pt x="584" y="847"/>
                  </a:lnTo>
                  <a:lnTo>
                    <a:pt x="579" y="844"/>
                  </a:lnTo>
                  <a:lnTo>
                    <a:pt x="574" y="844"/>
                  </a:lnTo>
                  <a:lnTo>
                    <a:pt x="568" y="844"/>
                  </a:lnTo>
                  <a:lnTo>
                    <a:pt x="563" y="844"/>
                  </a:lnTo>
                  <a:lnTo>
                    <a:pt x="558" y="844"/>
                  </a:lnTo>
                  <a:lnTo>
                    <a:pt x="552" y="844"/>
                  </a:lnTo>
                  <a:lnTo>
                    <a:pt x="547" y="842"/>
                  </a:lnTo>
                  <a:lnTo>
                    <a:pt x="542" y="842"/>
                  </a:lnTo>
                  <a:lnTo>
                    <a:pt x="536" y="842"/>
                  </a:lnTo>
                  <a:lnTo>
                    <a:pt x="531" y="842"/>
                  </a:lnTo>
                  <a:lnTo>
                    <a:pt x="526" y="842"/>
                  </a:lnTo>
                  <a:lnTo>
                    <a:pt x="520" y="839"/>
                  </a:lnTo>
                  <a:lnTo>
                    <a:pt x="518" y="839"/>
                  </a:lnTo>
                  <a:lnTo>
                    <a:pt x="512" y="839"/>
                  </a:lnTo>
                  <a:lnTo>
                    <a:pt x="507" y="839"/>
                  </a:lnTo>
                  <a:lnTo>
                    <a:pt x="502" y="839"/>
                  </a:lnTo>
                  <a:lnTo>
                    <a:pt x="496" y="839"/>
                  </a:lnTo>
                  <a:lnTo>
                    <a:pt x="491" y="836"/>
                  </a:lnTo>
                  <a:lnTo>
                    <a:pt x="486" y="836"/>
                  </a:lnTo>
                  <a:lnTo>
                    <a:pt x="480" y="836"/>
                  </a:lnTo>
                  <a:lnTo>
                    <a:pt x="475" y="836"/>
                  </a:lnTo>
                  <a:lnTo>
                    <a:pt x="470" y="836"/>
                  </a:lnTo>
                  <a:lnTo>
                    <a:pt x="464" y="834"/>
                  </a:lnTo>
                  <a:lnTo>
                    <a:pt x="462" y="834"/>
                  </a:lnTo>
                  <a:lnTo>
                    <a:pt x="456" y="834"/>
                  </a:lnTo>
                  <a:lnTo>
                    <a:pt x="451" y="834"/>
                  </a:lnTo>
                  <a:lnTo>
                    <a:pt x="446" y="834"/>
                  </a:lnTo>
                  <a:lnTo>
                    <a:pt x="440" y="834"/>
                  </a:lnTo>
                  <a:lnTo>
                    <a:pt x="432" y="831"/>
                  </a:lnTo>
                  <a:lnTo>
                    <a:pt x="427" y="831"/>
                  </a:lnTo>
                  <a:lnTo>
                    <a:pt x="422" y="828"/>
                  </a:lnTo>
                  <a:lnTo>
                    <a:pt x="416" y="826"/>
                  </a:lnTo>
                  <a:lnTo>
                    <a:pt x="411" y="823"/>
                  </a:lnTo>
                  <a:lnTo>
                    <a:pt x="406" y="820"/>
                  </a:lnTo>
                  <a:lnTo>
                    <a:pt x="400" y="818"/>
                  </a:lnTo>
                  <a:lnTo>
                    <a:pt x="392" y="815"/>
                  </a:lnTo>
                  <a:lnTo>
                    <a:pt x="387" y="810"/>
                  </a:lnTo>
                  <a:lnTo>
                    <a:pt x="382" y="807"/>
                  </a:lnTo>
                  <a:lnTo>
                    <a:pt x="376" y="804"/>
                  </a:lnTo>
                  <a:lnTo>
                    <a:pt x="328" y="783"/>
                  </a:lnTo>
                  <a:lnTo>
                    <a:pt x="283" y="759"/>
                  </a:lnTo>
                  <a:lnTo>
                    <a:pt x="235" y="735"/>
                  </a:lnTo>
                  <a:lnTo>
                    <a:pt x="190" y="713"/>
                  </a:lnTo>
                  <a:lnTo>
                    <a:pt x="142" y="689"/>
                  </a:lnTo>
                  <a:lnTo>
                    <a:pt x="96" y="665"/>
                  </a:lnTo>
                  <a:lnTo>
                    <a:pt x="51" y="641"/>
                  </a:lnTo>
                  <a:lnTo>
                    <a:pt x="5" y="617"/>
                  </a:lnTo>
                  <a:lnTo>
                    <a:pt x="0" y="615"/>
                  </a:lnTo>
                  <a:lnTo>
                    <a:pt x="0" y="615"/>
                  </a:lnTo>
                  <a:lnTo>
                    <a:pt x="0" y="615"/>
                  </a:lnTo>
                  <a:lnTo>
                    <a:pt x="0" y="615"/>
                  </a:lnTo>
                  <a:lnTo>
                    <a:pt x="0" y="615"/>
                  </a:lnTo>
                  <a:lnTo>
                    <a:pt x="3" y="607"/>
                  </a:lnTo>
                  <a:lnTo>
                    <a:pt x="5" y="604"/>
                  </a:lnTo>
                  <a:lnTo>
                    <a:pt x="3" y="601"/>
                  </a:lnTo>
                  <a:lnTo>
                    <a:pt x="5" y="599"/>
                  </a:lnTo>
                  <a:lnTo>
                    <a:pt x="8" y="599"/>
                  </a:lnTo>
                  <a:lnTo>
                    <a:pt x="8" y="599"/>
                  </a:lnTo>
                  <a:lnTo>
                    <a:pt x="11" y="596"/>
                  </a:lnTo>
                  <a:lnTo>
                    <a:pt x="11" y="596"/>
                  </a:lnTo>
                  <a:lnTo>
                    <a:pt x="11" y="596"/>
                  </a:lnTo>
                  <a:lnTo>
                    <a:pt x="13" y="593"/>
                  </a:lnTo>
                  <a:lnTo>
                    <a:pt x="13" y="590"/>
                  </a:lnTo>
                  <a:lnTo>
                    <a:pt x="16" y="588"/>
                  </a:lnTo>
                  <a:lnTo>
                    <a:pt x="16" y="585"/>
                  </a:lnTo>
                  <a:lnTo>
                    <a:pt x="21" y="582"/>
                  </a:lnTo>
                  <a:lnTo>
                    <a:pt x="32" y="585"/>
                  </a:lnTo>
                  <a:lnTo>
                    <a:pt x="37" y="585"/>
                  </a:lnTo>
                  <a:lnTo>
                    <a:pt x="40" y="585"/>
                  </a:lnTo>
                  <a:lnTo>
                    <a:pt x="40" y="582"/>
                  </a:lnTo>
                  <a:lnTo>
                    <a:pt x="40" y="580"/>
                  </a:lnTo>
                  <a:lnTo>
                    <a:pt x="40" y="577"/>
                  </a:lnTo>
                  <a:lnTo>
                    <a:pt x="43" y="574"/>
                  </a:lnTo>
                  <a:lnTo>
                    <a:pt x="48" y="572"/>
                  </a:lnTo>
                  <a:lnTo>
                    <a:pt x="48" y="572"/>
                  </a:lnTo>
                  <a:lnTo>
                    <a:pt x="51" y="569"/>
                  </a:lnTo>
                  <a:lnTo>
                    <a:pt x="48" y="558"/>
                  </a:lnTo>
                  <a:lnTo>
                    <a:pt x="48" y="556"/>
                  </a:lnTo>
                  <a:lnTo>
                    <a:pt x="51" y="556"/>
                  </a:lnTo>
                  <a:lnTo>
                    <a:pt x="51" y="553"/>
                  </a:lnTo>
                  <a:lnTo>
                    <a:pt x="51" y="553"/>
                  </a:lnTo>
                  <a:lnTo>
                    <a:pt x="48" y="548"/>
                  </a:lnTo>
                  <a:lnTo>
                    <a:pt x="43" y="545"/>
                  </a:lnTo>
                  <a:lnTo>
                    <a:pt x="32" y="542"/>
                  </a:lnTo>
                  <a:lnTo>
                    <a:pt x="29" y="540"/>
                  </a:lnTo>
                  <a:lnTo>
                    <a:pt x="27" y="534"/>
                  </a:lnTo>
                  <a:lnTo>
                    <a:pt x="27" y="529"/>
                  </a:lnTo>
                  <a:lnTo>
                    <a:pt x="29" y="524"/>
                  </a:lnTo>
                  <a:lnTo>
                    <a:pt x="29" y="518"/>
                  </a:lnTo>
                  <a:lnTo>
                    <a:pt x="29" y="510"/>
                  </a:lnTo>
                  <a:lnTo>
                    <a:pt x="29" y="508"/>
                  </a:lnTo>
                  <a:lnTo>
                    <a:pt x="27" y="505"/>
                  </a:lnTo>
                  <a:lnTo>
                    <a:pt x="27" y="502"/>
                  </a:lnTo>
                  <a:lnTo>
                    <a:pt x="29" y="497"/>
                  </a:lnTo>
                  <a:lnTo>
                    <a:pt x="29" y="497"/>
                  </a:lnTo>
                  <a:lnTo>
                    <a:pt x="29" y="494"/>
                  </a:lnTo>
                  <a:lnTo>
                    <a:pt x="29" y="494"/>
                  </a:lnTo>
                  <a:lnTo>
                    <a:pt x="29" y="492"/>
                  </a:lnTo>
                  <a:lnTo>
                    <a:pt x="29" y="492"/>
                  </a:lnTo>
                  <a:lnTo>
                    <a:pt x="27" y="489"/>
                  </a:lnTo>
                  <a:lnTo>
                    <a:pt x="29" y="489"/>
                  </a:lnTo>
                  <a:lnTo>
                    <a:pt x="35" y="489"/>
                  </a:lnTo>
                  <a:lnTo>
                    <a:pt x="37" y="489"/>
                  </a:lnTo>
                  <a:lnTo>
                    <a:pt x="40" y="486"/>
                  </a:lnTo>
                  <a:lnTo>
                    <a:pt x="45" y="478"/>
                  </a:lnTo>
                  <a:lnTo>
                    <a:pt x="48" y="476"/>
                  </a:lnTo>
                  <a:lnTo>
                    <a:pt x="48" y="476"/>
                  </a:lnTo>
                  <a:lnTo>
                    <a:pt x="51" y="473"/>
                  </a:lnTo>
                  <a:lnTo>
                    <a:pt x="53" y="470"/>
                  </a:lnTo>
                  <a:lnTo>
                    <a:pt x="53" y="470"/>
                  </a:lnTo>
                  <a:lnTo>
                    <a:pt x="53" y="468"/>
                  </a:lnTo>
                  <a:lnTo>
                    <a:pt x="53" y="465"/>
                  </a:lnTo>
                  <a:lnTo>
                    <a:pt x="53" y="462"/>
                  </a:lnTo>
                  <a:lnTo>
                    <a:pt x="56" y="462"/>
                  </a:lnTo>
                  <a:lnTo>
                    <a:pt x="56" y="462"/>
                  </a:lnTo>
                  <a:lnTo>
                    <a:pt x="56" y="460"/>
                  </a:lnTo>
                  <a:lnTo>
                    <a:pt x="56" y="457"/>
                  </a:lnTo>
                  <a:lnTo>
                    <a:pt x="56" y="454"/>
                  </a:lnTo>
                  <a:lnTo>
                    <a:pt x="59" y="452"/>
                  </a:lnTo>
                  <a:lnTo>
                    <a:pt x="61" y="452"/>
                  </a:lnTo>
                  <a:lnTo>
                    <a:pt x="61" y="449"/>
                  </a:lnTo>
                  <a:lnTo>
                    <a:pt x="61" y="446"/>
                  </a:lnTo>
                  <a:lnTo>
                    <a:pt x="61" y="444"/>
                  </a:lnTo>
                  <a:lnTo>
                    <a:pt x="61" y="444"/>
                  </a:lnTo>
                  <a:lnTo>
                    <a:pt x="61" y="444"/>
                  </a:lnTo>
                  <a:lnTo>
                    <a:pt x="61" y="441"/>
                  </a:lnTo>
                  <a:lnTo>
                    <a:pt x="61" y="441"/>
                  </a:lnTo>
                  <a:lnTo>
                    <a:pt x="61" y="438"/>
                  </a:lnTo>
                  <a:lnTo>
                    <a:pt x="61" y="438"/>
                  </a:lnTo>
                  <a:lnTo>
                    <a:pt x="61" y="433"/>
                  </a:lnTo>
                  <a:lnTo>
                    <a:pt x="61" y="430"/>
                  </a:lnTo>
                  <a:lnTo>
                    <a:pt x="61" y="428"/>
                  </a:lnTo>
                  <a:lnTo>
                    <a:pt x="64" y="428"/>
                  </a:lnTo>
                  <a:lnTo>
                    <a:pt x="64" y="425"/>
                  </a:lnTo>
                  <a:lnTo>
                    <a:pt x="64" y="425"/>
                  </a:lnTo>
                  <a:lnTo>
                    <a:pt x="61" y="422"/>
                  </a:lnTo>
                  <a:lnTo>
                    <a:pt x="61" y="420"/>
                  </a:lnTo>
                  <a:lnTo>
                    <a:pt x="61" y="420"/>
                  </a:lnTo>
                  <a:lnTo>
                    <a:pt x="61" y="414"/>
                  </a:lnTo>
                  <a:lnTo>
                    <a:pt x="64" y="414"/>
                  </a:lnTo>
                  <a:lnTo>
                    <a:pt x="69" y="411"/>
                  </a:lnTo>
                  <a:lnTo>
                    <a:pt x="72" y="409"/>
                  </a:lnTo>
                  <a:lnTo>
                    <a:pt x="75" y="409"/>
                  </a:lnTo>
                  <a:lnTo>
                    <a:pt x="75" y="406"/>
                  </a:lnTo>
                  <a:lnTo>
                    <a:pt x="77" y="398"/>
                  </a:lnTo>
                  <a:lnTo>
                    <a:pt x="80" y="395"/>
                  </a:lnTo>
                  <a:lnTo>
                    <a:pt x="80" y="395"/>
                  </a:lnTo>
                  <a:lnTo>
                    <a:pt x="85" y="395"/>
                  </a:lnTo>
                  <a:lnTo>
                    <a:pt x="99" y="387"/>
                  </a:lnTo>
                  <a:lnTo>
                    <a:pt x="101" y="387"/>
                  </a:lnTo>
                  <a:lnTo>
                    <a:pt x="104" y="382"/>
                  </a:lnTo>
                  <a:lnTo>
                    <a:pt x="109" y="379"/>
                  </a:lnTo>
                  <a:lnTo>
                    <a:pt x="112" y="377"/>
                  </a:lnTo>
                  <a:lnTo>
                    <a:pt x="115" y="374"/>
                  </a:lnTo>
                  <a:lnTo>
                    <a:pt x="115" y="371"/>
                  </a:lnTo>
                  <a:lnTo>
                    <a:pt x="115" y="371"/>
                  </a:lnTo>
                  <a:lnTo>
                    <a:pt x="112" y="369"/>
                  </a:lnTo>
                  <a:lnTo>
                    <a:pt x="109" y="366"/>
                  </a:lnTo>
                  <a:lnTo>
                    <a:pt x="109" y="363"/>
                  </a:lnTo>
                  <a:lnTo>
                    <a:pt x="107" y="363"/>
                  </a:lnTo>
                  <a:lnTo>
                    <a:pt x="99" y="355"/>
                  </a:lnTo>
                  <a:lnTo>
                    <a:pt x="96" y="353"/>
                  </a:lnTo>
                  <a:lnTo>
                    <a:pt x="96" y="353"/>
                  </a:lnTo>
                  <a:lnTo>
                    <a:pt x="93" y="350"/>
                  </a:lnTo>
                  <a:lnTo>
                    <a:pt x="93" y="350"/>
                  </a:lnTo>
                  <a:lnTo>
                    <a:pt x="93" y="350"/>
                  </a:lnTo>
                  <a:lnTo>
                    <a:pt x="93" y="347"/>
                  </a:lnTo>
                  <a:lnTo>
                    <a:pt x="93" y="347"/>
                  </a:lnTo>
                  <a:lnTo>
                    <a:pt x="91" y="347"/>
                  </a:lnTo>
                  <a:lnTo>
                    <a:pt x="91" y="347"/>
                  </a:lnTo>
                  <a:lnTo>
                    <a:pt x="91" y="347"/>
                  </a:lnTo>
                  <a:lnTo>
                    <a:pt x="88" y="347"/>
                  </a:lnTo>
                  <a:lnTo>
                    <a:pt x="88" y="345"/>
                  </a:lnTo>
                  <a:lnTo>
                    <a:pt x="88" y="345"/>
                  </a:lnTo>
                  <a:lnTo>
                    <a:pt x="88" y="342"/>
                  </a:lnTo>
                  <a:lnTo>
                    <a:pt x="88" y="342"/>
                  </a:lnTo>
                  <a:lnTo>
                    <a:pt x="88" y="339"/>
                  </a:lnTo>
                  <a:lnTo>
                    <a:pt x="91" y="339"/>
                  </a:lnTo>
                  <a:lnTo>
                    <a:pt x="88" y="337"/>
                  </a:lnTo>
                  <a:lnTo>
                    <a:pt x="88" y="337"/>
                  </a:lnTo>
                  <a:lnTo>
                    <a:pt x="88" y="334"/>
                  </a:lnTo>
                  <a:lnTo>
                    <a:pt x="88" y="331"/>
                  </a:lnTo>
                  <a:lnTo>
                    <a:pt x="85" y="331"/>
                  </a:lnTo>
                  <a:lnTo>
                    <a:pt x="85" y="329"/>
                  </a:lnTo>
                  <a:lnTo>
                    <a:pt x="85" y="329"/>
                  </a:lnTo>
                  <a:lnTo>
                    <a:pt x="85" y="323"/>
                  </a:lnTo>
                  <a:lnTo>
                    <a:pt x="85" y="323"/>
                  </a:lnTo>
                  <a:lnTo>
                    <a:pt x="85" y="323"/>
                  </a:lnTo>
                  <a:lnTo>
                    <a:pt x="85" y="321"/>
                  </a:lnTo>
                  <a:lnTo>
                    <a:pt x="80" y="305"/>
                  </a:lnTo>
                  <a:lnTo>
                    <a:pt x="77" y="305"/>
                  </a:lnTo>
                  <a:lnTo>
                    <a:pt x="75" y="302"/>
                  </a:lnTo>
                  <a:lnTo>
                    <a:pt x="72" y="299"/>
                  </a:lnTo>
                  <a:lnTo>
                    <a:pt x="75" y="297"/>
                  </a:lnTo>
                  <a:lnTo>
                    <a:pt x="72" y="294"/>
                  </a:lnTo>
                  <a:lnTo>
                    <a:pt x="72" y="291"/>
                  </a:lnTo>
                  <a:lnTo>
                    <a:pt x="72" y="289"/>
                  </a:lnTo>
                  <a:lnTo>
                    <a:pt x="69" y="289"/>
                  </a:lnTo>
                  <a:lnTo>
                    <a:pt x="69" y="289"/>
                  </a:lnTo>
                  <a:lnTo>
                    <a:pt x="67" y="286"/>
                  </a:lnTo>
                  <a:lnTo>
                    <a:pt x="69" y="270"/>
                  </a:lnTo>
                  <a:lnTo>
                    <a:pt x="69" y="267"/>
                  </a:lnTo>
                  <a:lnTo>
                    <a:pt x="69" y="267"/>
                  </a:lnTo>
                  <a:lnTo>
                    <a:pt x="69" y="262"/>
                  </a:lnTo>
                  <a:lnTo>
                    <a:pt x="72" y="259"/>
                  </a:lnTo>
                  <a:lnTo>
                    <a:pt x="72" y="257"/>
                  </a:lnTo>
                  <a:lnTo>
                    <a:pt x="72" y="257"/>
                  </a:lnTo>
                  <a:lnTo>
                    <a:pt x="69" y="254"/>
                  </a:lnTo>
                  <a:lnTo>
                    <a:pt x="69" y="251"/>
                  </a:lnTo>
                  <a:lnTo>
                    <a:pt x="69" y="249"/>
                  </a:lnTo>
                  <a:lnTo>
                    <a:pt x="72" y="249"/>
                  </a:lnTo>
                  <a:lnTo>
                    <a:pt x="72" y="249"/>
                  </a:lnTo>
                  <a:lnTo>
                    <a:pt x="75" y="249"/>
                  </a:lnTo>
                  <a:lnTo>
                    <a:pt x="77" y="249"/>
                  </a:lnTo>
                  <a:lnTo>
                    <a:pt x="77" y="249"/>
                  </a:lnTo>
                  <a:lnTo>
                    <a:pt x="77" y="243"/>
                  </a:lnTo>
                  <a:lnTo>
                    <a:pt x="80" y="241"/>
                  </a:lnTo>
                  <a:lnTo>
                    <a:pt x="80" y="235"/>
                  </a:lnTo>
                  <a:lnTo>
                    <a:pt x="77" y="227"/>
                  </a:lnTo>
                  <a:lnTo>
                    <a:pt x="80" y="224"/>
                  </a:lnTo>
                  <a:lnTo>
                    <a:pt x="80" y="219"/>
                  </a:lnTo>
                  <a:lnTo>
                    <a:pt x="80" y="216"/>
                  </a:lnTo>
                  <a:lnTo>
                    <a:pt x="77" y="208"/>
                  </a:lnTo>
                  <a:lnTo>
                    <a:pt x="75" y="203"/>
                  </a:lnTo>
                  <a:lnTo>
                    <a:pt x="75" y="198"/>
                  </a:lnTo>
                  <a:lnTo>
                    <a:pt x="77" y="190"/>
                  </a:lnTo>
                  <a:lnTo>
                    <a:pt x="77" y="184"/>
                  </a:lnTo>
                  <a:lnTo>
                    <a:pt x="77" y="182"/>
                  </a:lnTo>
                  <a:lnTo>
                    <a:pt x="77" y="179"/>
                  </a:lnTo>
                  <a:lnTo>
                    <a:pt x="75" y="168"/>
                  </a:lnTo>
                  <a:lnTo>
                    <a:pt x="75" y="166"/>
                  </a:lnTo>
                  <a:lnTo>
                    <a:pt x="75" y="160"/>
                  </a:lnTo>
                  <a:lnTo>
                    <a:pt x="77" y="152"/>
                  </a:lnTo>
                  <a:lnTo>
                    <a:pt x="77" y="152"/>
                  </a:lnTo>
                  <a:lnTo>
                    <a:pt x="80" y="147"/>
                  </a:lnTo>
                  <a:lnTo>
                    <a:pt x="80" y="147"/>
                  </a:lnTo>
                  <a:lnTo>
                    <a:pt x="80" y="144"/>
                  </a:lnTo>
                  <a:lnTo>
                    <a:pt x="80" y="144"/>
                  </a:lnTo>
                  <a:lnTo>
                    <a:pt x="77" y="136"/>
                  </a:lnTo>
                  <a:lnTo>
                    <a:pt x="75" y="134"/>
                  </a:lnTo>
                  <a:lnTo>
                    <a:pt x="75" y="131"/>
                  </a:lnTo>
                  <a:lnTo>
                    <a:pt x="75" y="126"/>
                  </a:lnTo>
                  <a:lnTo>
                    <a:pt x="77" y="126"/>
                  </a:lnTo>
                  <a:lnTo>
                    <a:pt x="77" y="123"/>
                  </a:lnTo>
                  <a:lnTo>
                    <a:pt x="77" y="120"/>
                  </a:lnTo>
                  <a:lnTo>
                    <a:pt x="77" y="118"/>
                  </a:lnTo>
                  <a:lnTo>
                    <a:pt x="77" y="118"/>
                  </a:lnTo>
                  <a:lnTo>
                    <a:pt x="77" y="115"/>
                  </a:lnTo>
                  <a:lnTo>
                    <a:pt x="80" y="115"/>
                  </a:lnTo>
                  <a:lnTo>
                    <a:pt x="80" y="115"/>
                  </a:lnTo>
                  <a:lnTo>
                    <a:pt x="80" y="112"/>
                  </a:lnTo>
                  <a:lnTo>
                    <a:pt x="80" y="112"/>
                  </a:lnTo>
                  <a:lnTo>
                    <a:pt x="85" y="112"/>
                  </a:lnTo>
                  <a:lnTo>
                    <a:pt x="88" y="110"/>
                  </a:lnTo>
                  <a:lnTo>
                    <a:pt x="96" y="110"/>
                  </a:lnTo>
                  <a:lnTo>
                    <a:pt x="99" y="110"/>
                  </a:lnTo>
                  <a:lnTo>
                    <a:pt x="99" y="110"/>
                  </a:lnTo>
                  <a:lnTo>
                    <a:pt x="99" y="110"/>
                  </a:lnTo>
                  <a:lnTo>
                    <a:pt x="107" y="112"/>
                  </a:lnTo>
                  <a:lnTo>
                    <a:pt x="107" y="112"/>
                  </a:lnTo>
                  <a:lnTo>
                    <a:pt x="107" y="112"/>
                  </a:lnTo>
                  <a:lnTo>
                    <a:pt x="107" y="112"/>
                  </a:lnTo>
                  <a:lnTo>
                    <a:pt x="109" y="115"/>
                  </a:lnTo>
                  <a:lnTo>
                    <a:pt x="109" y="115"/>
                  </a:lnTo>
                  <a:lnTo>
                    <a:pt x="109" y="115"/>
                  </a:lnTo>
                  <a:lnTo>
                    <a:pt x="112" y="115"/>
                  </a:lnTo>
                  <a:lnTo>
                    <a:pt x="112" y="115"/>
                  </a:lnTo>
                  <a:lnTo>
                    <a:pt x="112" y="115"/>
                  </a:lnTo>
                  <a:lnTo>
                    <a:pt x="117" y="112"/>
                  </a:lnTo>
                  <a:lnTo>
                    <a:pt x="117" y="112"/>
                  </a:lnTo>
                  <a:lnTo>
                    <a:pt x="117" y="112"/>
                  </a:lnTo>
                  <a:lnTo>
                    <a:pt x="117" y="112"/>
                  </a:lnTo>
                  <a:lnTo>
                    <a:pt x="120" y="112"/>
                  </a:lnTo>
                  <a:lnTo>
                    <a:pt x="120" y="112"/>
                  </a:lnTo>
                  <a:lnTo>
                    <a:pt x="120" y="115"/>
                  </a:lnTo>
                  <a:lnTo>
                    <a:pt x="123" y="115"/>
                  </a:lnTo>
                  <a:lnTo>
                    <a:pt x="123" y="115"/>
                  </a:lnTo>
                  <a:lnTo>
                    <a:pt x="123" y="118"/>
                  </a:lnTo>
                  <a:lnTo>
                    <a:pt x="125" y="118"/>
                  </a:lnTo>
                  <a:lnTo>
                    <a:pt x="125" y="126"/>
                  </a:lnTo>
                  <a:lnTo>
                    <a:pt x="128" y="126"/>
                  </a:lnTo>
                  <a:lnTo>
                    <a:pt x="128" y="128"/>
                  </a:lnTo>
                  <a:lnTo>
                    <a:pt x="131" y="131"/>
                  </a:lnTo>
                  <a:lnTo>
                    <a:pt x="134" y="134"/>
                  </a:lnTo>
                  <a:lnTo>
                    <a:pt x="136" y="134"/>
                  </a:lnTo>
                  <a:lnTo>
                    <a:pt x="142" y="134"/>
                  </a:lnTo>
                  <a:lnTo>
                    <a:pt x="144" y="131"/>
                  </a:lnTo>
                  <a:lnTo>
                    <a:pt x="147" y="126"/>
                  </a:lnTo>
                  <a:lnTo>
                    <a:pt x="150" y="120"/>
                  </a:lnTo>
                  <a:lnTo>
                    <a:pt x="152" y="115"/>
                  </a:lnTo>
                  <a:lnTo>
                    <a:pt x="155" y="112"/>
                  </a:lnTo>
                  <a:lnTo>
                    <a:pt x="158" y="110"/>
                  </a:lnTo>
                  <a:lnTo>
                    <a:pt x="158" y="110"/>
                  </a:lnTo>
                  <a:lnTo>
                    <a:pt x="158" y="107"/>
                  </a:lnTo>
                  <a:lnTo>
                    <a:pt x="158" y="102"/>
                  </a:lnTo>
                  <a:lnTo>
                    <a:pt x="158" y="102"/>
                  </a:lnTo>
                  <a:lnTo>
                    <a:pt x="160" y="99"/>
                  </a:lnTo>
                  <a:lnTo>
                    <a:pt x="160" y="94"/>
                  </a:lnTo>
                  <a:lnTo>
                    <a:pt x="160" y="86"/>
                  </a:lnTo>
                  <a:lnTo>
                    <a:pt x="163" y="78"/>
                  </a:lnTo>
                  <a:lnTo>
                    <a:pt x="163" y="70"/>
                  </a:lnTo>
                  <a:lnTo>
                    <a:pt x="163" y="59"/>
                  </a:lnTo>
                  <a:lnTo>
                    <a:pt x="166" y="51"/>
                  </a:lnTo>
                  <a:lnTo>
                    <a:pt x="166" y="40"/>
                  </a:lnTo>
                  <a:lnTo>
                    <a:pt x="168" y="32"/>
                  </a:lnTo>
                  <a:lnTo>
                    <a:pt x="168" y="24"/>
                  </a:lnTo>
                  <a:lnTo>
                    <a:pt x="171" y="16"/>
                  </a:lnTo>
                  <a:lnTo>
                    <a:pt x="171" y="8"/>
                  </a:lnTo>
                  <a:lnTo>
                    <a:pt x="171" y="3"/>
                  </a:lnTo>
                  <a:lnTo>
                    <a:pt x="171" y="0"/>
                  </a:lnTo>
                  <a:lnTo>
                    <a:pt x="171" y="0"/>
                  </a:lnTo>
                  <a:lnTo>
                    <a:pt x="190" y="0"/>
                  </a:lnTo>
                  <a:lnTo>
                    <a:pt x="206" y="3"/>
                  </a:lnTo>
                  <a:lnTo>
                    <a:pt x="224" y="5"/>
                  </a:lnTo>
                  <a:lnTo>
                    <a:pt x="243" y="8"/>
                  </a:lnTo>
                  <a:lnTo>
                    <a:pt x="259" y="11"/>
                  </a:lnTo>
                  <a:lnTo>
                    <a:pt x="278" y="11"/>
                  </a:lnTo>
                  <a:lnTo>
                    <a:pt x="294" y="13"/>
                  </a:lnTo>
                  <a:lnTo>
                    <a:pt x="312" y="16"/>
                  </a:lnTo>
                  <a:lnTo>
                    <a:pt x="328" y="19"/>
                  </a:lnTo>
                  <a:lnTo>
                    <a:pt x="347" y="21"/>
                  </a:lnTo>
                  <a:lnTo>
                    <a:pt x="366" y="21"/>
                  </a:lnTo>
                  <a:lnTo>
                    <a:pt x="382" y="24"/>
                  </a:lnTo>
                  <a:lnTo>
                    <a:pt x="400" y="27"/>
                  </a:lnTo>
                  <a:lnTo>
                    <a:pt x="416" y="27"/>
                  </a:lnTo>
                  <a:lnTo>
                    <a:pt x="435" y="29"/>
                  </a:lnTo>
                  <a:lnTo>
                    <a:pt x="451" y="32"/>
                  </a:lnTo>
                  <a:lnTo>
                    <a:pt x="470" y="35"/>
                  </a:lnTo>
                  <a:lnTo>
                    <a:pt x="486" y="35"/>
                  </a:lnTo>
                  <a:lnTo>
                    <a:pt x="504" y="37"/>
                  </a:lnTo>
                  <a:lnTo>
                    <a:pt x="523" y="40"/>
                  </a:lnTo>
                  <a:lnTo>
                    <a:pt x="539" y="40"/>
                  </a:lnTo>
                  <a:lnTo>
                    <a:pt x="558" y="43"/>
                  </a:lnTo>
                  <a:lnTo>
                    <a:pt x="574" y="43"/>
                  </a:lnTo>
                  <a:lnTo>
                    <a:pt x="592" y="45"/>
                  </a:lnTo>
                  <a:lnTo>
                    <a:pt x="611" y="48"/>
                  </a:lnTo>
                  <a:lnTo>
                    <a:pt x="627" y="48"/>
                  </a:lnTo>
                  <a:lnTo>
                    <a:pt x="646" y="51"/>
                  </a:lnTo>
                  <a:lnTo>
                    <a:pt x="662" y="51"/>
                  </a:lnTo>
                  <a:lnTo>
                    <a:pt x="681" y="53"/>
                  </a:lnTo>
                  <a:lnTo>
                    <a:pt x="697" y="56"/>
                  </a:lnTo>
                  <a:lnTo>
                    <a:pt x="715" y="56"/>
                  </a:lnTo>
                  <a:lnTo>
                    <a:pt x="734" y="59"/>
                  </a:lnTo>
                  <a:lnTo>
                    <a:pt x="731" y="83"/>
                  </a:lnTo>
                  <a:lnTo>
                    <a:pt x="729" y="107"/>
                  </a:lnTo>
                  <a:lnTo>
                    <a:pt x="726" y="134"/>
                  </a:lnTo>
                  <a:lnTo>
                    <a:pt x="726" y="158"/>
                  </a:lnTo>
                  <a:lnTo>
                    <a:pt x="723" y="182"/>
                  </a:lnTo>
                  <a:lnTo>
                    <a:pt x="723" y="182"/>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56" name="Freeform 53">
              <a:extLst>
                <a:ext uri="{FF2B5EF4-FFF2-40B4-BE49-F238E27FC236}">
                  <a16:creationId xmlns="" xmlns:a16="http://schemas.microsoft.com/office/drawing/2014/main" id="{4B136635-30DC-4B00-B711-9B99A1DA3100}"/>
                </a:ext>
              </a:extLst>
            </p:cNvPr>
            <p:cNvSpPr>
              <a:spLocks/>
            </p:cNvSpPr>
            <p:nvPr/>
          </p:nvSpPr>
          <p:spPr bwMode="auto">
            <a:xfrm>
              <a:off x="4256" y="1950"/>
              <a:ext cx="569" cy="521"/>
            </a:xfrm>
            <a:custGeom>
              <a:avLst/>
              <a:gdLst>
                <a:gd name="T0" fmla="*/ 569 w 569"/>
                <a:gd name="T1" fmla="*/ 80 h 521"/>
                <a:gd name="T2" fmla="*/ 558 w 569"/>
                <a:gd name="T3" fmla="*/ 83 h 521"/>
                <a:gd name="T4" fmla="*/ 539 w 569"/>
                <a:gd name="T5" fmla="*/ 107 h 521"/>
                <a:gd name="T6" fmla="*/ 542 w 569"/>
                <a:gd name="T7" fmla="*/ 123 h 521"/>
                <a:gd name="T8" fmla="*/ 542 w 569"/>
                <a:gd name="T9" fmla="*/ 134 h 521"/>
                <a:gd name="T10" fmla="*/ 534 w 569"/>
                <a:gd name="T11" fmla="*/ 145 h 521"/>
                <a:gd name="T12" fmla="*/ 526 w 569"/>
                <a:gd name="T13" fmla="*/ 169 h 521"/>
                <a:gd name="T14" fmla="*/ 526 w 569"/>
                <a:gd name="T15" fmla="*/ 193 h 521"/>
                <a:gd name="T16" fmla="*/ 518 w 569"/>
                <a:gd name="T17" fmla="*/ 203 h 521"/>
                <a:gd name="T18" fmla="*/ 507 w 569"/>
                <a:gd name="T19" fmla="*/ 211 h 521"/>
                <a:gd name="T20" fmla="*/ 491 w 569"/>
                <a:gd name="T21" fmla="*/ 238 h 521"/>
                <a:gd name="T22" fmla="*/ 491 w 569"/>
                <a:gd name="T23" fmla="*/ 251 h 521"/>
                <a:gd name="T24" fmla="*/ 480 w 569"/>
                <a:gd name="T25" fmla="*/ 259 h 521"/>
                <a:gd name="T26" fmla="*/ 478 w 569"/>
                <a:gd name="T27" fmla="*/ 300 h 521"/>
                <a:gd name="T28" fmla="*/ 462 w 569"/>
                <a:gd name="T29" fmla="*/ 302 h 521"/>
                <a:gd name="T30" fmla="*/ 464 w 569"/>
                <a:gd name="T31" fmla="*/ 313 h 521"/>
                <a:gd name="T32" fmla="*/ 456 w 569"/>
                <a:gd name="T33" fmla="*/ 316 h 521"/>
                <a:gd name="T34" fmla="*/ 443 w 569"/>
                <a:gd name="T35" fmla="*/ 334 h 521"/>
                <a:gd name="T36" fmla="*/ 448 w 569"/>
                <a:gd name="T37" fmla="*/ 353 h 521"/>
                <a:gd name="T38" fmla="*/ 430 w 569"/>
                <a:gd name="T39" fmla="*/ 361 h 521"/>
                <a:gd name="T40" fmla="*/ 435 w 569"/>
                <a:gd name="T41" fmla="*/ 372 h 521"/>
                <a:gd name="T42" fmla="*/ 435 w 569"/>
                <a:gd name="T43" fmla="*/ 388 h 521"/>
                <a:gd name="T44" fmla="*/ 424 w 569"/>
                <a:gd name="T45" fmla="*/ 396 h 521"/>
                <a:gd name="T46" fmla="*/ 424 w 569"/>
                <a:gd name="T47" fmla="*/ 409 h 521"/>
                <a:gd name="T48" fmla="*/ 419 w 569"/>
                <a:gd name="T49" fmla="*/ 420 h 521"/>
                <a:gd name="T50" fmla="*/ 427 w 569"/>
                <a:gd name="T51" fmla="*/ 430 h 521"/>
                <a:gd name="T52" fmla="*/ 427 w 569"/>
                <a:gd name="T53" fmla="*/ 452 h 521"/>
                <a:gd name="T54" fmla="*/ 435 w 569"/>
                <a:gd name="T55" fmla="*/ 462 h 521"/>
                <a:gd name="T56" fmla="*/ 432 w 569"/>
                <a:gd name="T57" fmla="*/ 481 h 521"/>
                <a:gd name="T58" fmla="*/ 387 w 569"/>
                <a:gd name="T59" fmla="*/ 503 h 521"/>
                <a:gd name="T60" fmla="*/ 262 w 569"/>
                <a:gd name="T61" fmla="*/ 511 h 521"/>
                <a:gd name="T62" fmla="*/ 134 w 569"/>
                <a:gd name="T63" fmla="*/ 519 h 521"/>
                <a:gd name="T64" fmla="*/ 88 w 569"/>
                <a:gd name="T65" fmla="*/ 454 h 521"/>
                <a:gd name="T66" fmla="*/ 80 w 569"/>
                <a:gd name="T67" fmla="*/ 444 h 521"/>
                <a:gd name="T68" fmla="*/ 67 w 569"/>
                <a:gd name="T69" fmla="*/ 444 h 521"/>
                <a:gd name="T70" fmla="*/ 54 w 569"/>
                <a:gd name="T71" fmla="*/ 446 h 521"/>
                <a:gd name="T72" fmla="*/ 46 w 569"/>
                <a:gd name="T73" fmla="*/ 444 h 521"/>
                <a:gd name="T74" fmla="*/ 35 w 569"/>
                <a:gd name="T75" fmla="*/ 404 h 521"/>
                <a:gd name="T76" fmla="*/ 30 w 569"/>
                <a:gd name="T77" fmla="*/ 222 h 521"/>
                <a:gd name="T78" fmla="*/ 11 w 569"/>
                <a:gd name="T79" fmla="*/ 94 h 521"/>
                <a:gd name="T80" fmla="*/ 94 w 569"/>
                <a:gd name="T81" fmla="*/ 30 h 521"/>
                <a:gd name="T82" fmla="*/ 280 w 569"/>
                <a:gd name="T83" fmla="*/ 19 h 521"/>
                <a:gd name="T84" fmla="*/ 467 w 569"/>
                <a:gd name="T85" fmla="*/ 3 h 521"/>
                <a:gd name="T86" fmla="*/ 507 w 569"/>
                <a:gd name="T87" fmla="*/ 6 h 521"/>
                <a:gd name="T88" fmla="*/ 510 w 569"/>
                <a:gd name="T89" fmla="*/ 8 h 521"/>
                <a:gd name="T90" fmla="*/ 515 w 569"/>
                <a:gd name="T91" fmla="*/ 14 h 521"/>
                <a:gd name="T92" fmla="*/ 518 w 569"/>
                <a:gd name="T93" fmla="*/ 19 h 521"/>
                <a:gd name="T94" fmla="*/ 521 w 569"/>
                <a:gd name="T95" fmla="*/ 30 h 521"/>
                <a:gd name="T96" fmla="*/ 518 w 569"/>
                <a:gd name="T97" fmla="*/ 32 h 521"/>
                <a:gd name="T98" fmla="*/ 513 w 569"/>
                <a:gd name="T99" fmla="*/ 38 h 521"/>
                <a:gd name="T100" fmla="*/ 507 w 569"/>
                <a:gd name="T101" fmla="*/ 43 h 521"/>
                <a:gd name="T102" fmla="*/ 502 w 569"/>
                <a:gd name="T103" fmla="*/ 48 h 521"/>
                <a:gd name="T104" fmla="*/ 502 w 569"/>
                <a:gd name="T105" fmla="*/ 54 h 521"/>
                <a:gd name="T106" fmla="*/ 497 w 569"/>
                <a:gd name="T107" fmla="*/ 56 h 521"/>
                <a:gd name="T108" fmla="*/ 488 w 569"/>
                <a:gd name="T109" fmla="*/ 72 h 521"/>
                <a:gd name="T110" fmla="*/ 513 w 569"/>
                <a:gd name="T111" fmla="*/ 72 h 521"/>
                <a:gd name="T112" fmla="*/ 561 w 569"/>
                <a:gd name="T113" fmla="*/ 6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69" h="521">
                  <a:moveTo>
                    <a:pt x="563" y="64"/>
                  </a:moveTo>
                  <a:lnTo>
                    <a:pt x="563" y="67"/>
                  </a:lnTo>
                  <a:lnTo>
                    <a:pt x="563" y="70"/>
                  </a:lnTo>
                  <a:lnTo>
                    <a:pt x="569" y="72"/>
                  </a:lnTo>
                  <a:lnTo>
                    <a:pt x="569" y="78"/>
                  </a:lnTo>
                  <a:lnTo>
                    <a:pt x="569" y="80"/>
                  </a:lnTo>
                  <a:lnTo>
                    <a:pt x="569" y="80"/>
                  </a:lnTo>
                  <a:lnTo>
                    <a:pt x="563" y="78"/>
                  </a:lnTo>
                  <a:lnTo>
                    <a:pt x="561" y="78"/>
                  </a:lnTo>
                  <a:lnTo>
                    <a:pt x="558" y="78"/>
                  </a:lnTo>
                  <a:lnTo>
                    <a:pt x="558" y="80"/>
                  </a:lnTo>
                  <a:lnTo>
                    <a:pt x="558" y="83"/>
                  </a:lnTo>
                  <a:lnTo>
                    <a:pt x="561" y="86"/>
                  </a:lnTo>
                  <a:lnTo>
                    <a:pt x="563" y="86"/>
                  </a:lnTo>
                  <a:lnTo>
                    <a:pt x="563" y="88"/>
                  </a:lnTo>
                  <a:lnTo>
                    <a:pt x="558" y="96"/>
                  </a:lnTo>
                  <a:lnTo>
                    <a:pt x="542" y="104"/>
                  </a:lnTo>
                  <a:lnTo>
                    <a:pt x="539" y="107"/>
                  </a:lnTo>
                  <a:lnTo>
                    <a:pt x="539" y="110"/>
                  </a:lnTo>
                  <a:lnTo>
                    <a:pt x="542" y="112"/>
                  </a:lnTo>
                  <a:lnTo>
                    <a:pt x="545" y="115"/>
                  </a:lnTo>
                  <a:lnTo>
                    <a:pt x="545" y="118"/>
                  </a:lnTo>
                  <a:lnTo>
                    <a:pt x="545" y="121"/>
                  </a:lnTo>
                  <a:lnTo>
                    <a:pt x="542" y="123"/>
                  </a:lnTo>
                  <a:lnTo>
                    <a:pt x="542" y="123"/>
                  </a:lnTo>
                  <a:lnTo>
                    <a:pt x="542" y="126"/>
                  </a:lnTo>
                  <a:lnTo>
                    <a:pt x="545" y="129"/>
                  </a:lnTo>
                  <a:lnTo>
                    <a:pt x="545" y="131"/>
                  </a:lnTo>
                  <a:lnTo>
                    <a:pt x="545" y="134"/>
                  </a:lnTo>
                  <a:lnTo>
                    <a:pt x="542" y="134"/>
                  </a:lnTo>
                  <a:lnTo>
                    <a:pt x="539" y="134"/>
                  </a:lnTo>
                  <a:lnTo>
                    <a:pt x="537" y="137"/>
                  </a:lnTo>
                  <a:lnTo>
                    <a:pt x="537" y="137"/>
                  </a:lnTo>
                  <a:lnTo>
                    <a:pt x="534" y="139"/>
                  </a:lnTo>
                  <a:lnTo>
                    <a:pt x="537" y="142"/>
                  </a:lnTo>
                  <a:lnTo>
                    <a:pt x="534" y="145"/>
                  </a:lnTo>
                  <a:lnTo>
                    <a:pt x="534" y="147"/>
                  </a:lnTo>
                  <a:lnTo>
                    <a:pt x="531" y="150"/>
                  </a:lnTo>
                  <a:lnTo>
                    <a:pt x="526" y="155"/>
                  </a:lnTo>
                  <a:lnTo>
                    <a:pt x="526" y="158"/>
                  </a:lnTo>
                  <a:lnTo>
                    <a:pt x="526" y="161"/>
                  </a:lnTo>
                  <a:lnTo>
                    <a:pt x="526" y="169"/>
                  </a:lnTo>
                  <a:lnTo>
                    <a:pt x="526" y="171"/>
                  </a:lnTo>
                  <a:lnTo>
                    <a:pt x="529" y="177"/>
                  </a:lnTo>
                  <a:lnTo>
                    <a:pt x="531" y="182"/>
                  </a:lnTo>
                  <a:lnTo>
                    <a:pt x="531" y="187"/>
                  </a:lnTo>
                  <a:lnTo>
                    <a:pt x="529" y="193"/>
                  </a:lnTo>
                  <a:lnTo>
                    <a:pt x="526" y="193"/>
                  </a:lnTo>
                  <a:lnTo>
                    <a:pt x="523" y="193"/>
                  </a:lnTo>
                  <a:lnTo>
                    <a:pt x="521" y="193"/>
                  </a:lnTo>
                  <a:lnTo>
                    <a:pt x="521" y="195"/>
                  </a:lnTo>
                  <a:lnTo>
                    <a:pt x="521" y="198"/>
                  </a:lnTo>
                  <a:lnTo>
                    <a:pt x="521" y="201"/>
                  </a:lnTo>
                  <a:lnTo>
                    <a:pt x="518" y="203"/>
                  </a:lnTo>
                  <a:lnTo>
                    <a:pt x="518" y="203"/>
                  </a:lnTo>
                  <a:lnTo>
                    <a:pt x="513" y="206"/>
                  </a:lnTo>
                  <a:lnTo>
                    <a:pt x="510" y="209"/>
                  </a:lnTo>
                  <a:lnTo>
                    <a:pt x="507" y="209"/>
                  </a:lnTo>
                  <a:lnTo>
                    <a:pt x="507" y="211"/>
                  </a:lnTo>
                  <a:lnTo>
                    <a:pt x="507" y="211"/>
                  </a:lnTo>
                  <a:lnTo>
                    <a:pt x="510" y="211"/>
                  </a:lnTo>
                  <a:lnTo>
                    <a:pt x="513" y="217"/>
                  </a:lnTo>
                  <a:lnTo>
                    <a:pt x="513" y="222"/>
                  </a:lnTo>
                  <a:lnTo>
                    <a:pt x="510" y="227"/>
                  </a:lnTo>
                  <a:lnTo>
                    <a:pt x="505" y="230"/>
                  </a:lnTo>
                  <a:lnTo>
                    <a:pt x="491" y="238"/>
                  </a:lnTo>
                  <a:lnTo>
                    <a:pt x="491" y="238"/>
                  </a:lnTo>
                  <a:lnTo>
                    <a:pt x="491" y="241"/>
                  </a:lnTo>
                  <a:lnTo>
                    <a:pt x="494" y="243"/>
                  </a:lnTo>
                  <a:lnTo>
                    <a:pt x="494" y="246"/>
                  </a:lnTo>
                  <a:lnTo>
                    <a:pt x="491" y="249"/>
                  </a:lnTo>
                  <a:lnTo>
                    <a:pt x="491" y="251"/>
                  </a:lnTo>
                  <a:lnTo>
                    <a:pt x="488" y="251"/>
                  </a:lnTo>
                  <a:lnTo>
                    <a:pt x="486" y="251"/>
                  </a:lnTo>
                  <a:lnTo>
                    <a:pt x="483" y="249"/>
                  </a:lnTo>
                  <a:lnTo>
                    <a:pt x="483" y="251"/>
                  </a:lnTo>
                  <a:lnTo>
                    <a:pt x="480" y="254"/>
                  </a:lnTo>
                  <a:lnTo>
                    <a:pt x="480" y="259"/>
                  </a:lnTo>
                  <a:lnTo>
                    <a:pt x="480" y="265"/>
                  </a:lnTo>
                  <a:lnTo>
                    <a:pt x="483" y="273"/>
                  </a:lnTo>
                  <a:lnTo>
                    <a:pt x="483" y="286"/>
                  </a:lnTo>
                  <a:lnTo>
                    <a:pt x="483" y="291"/>
                  </a:lnTo>
                  <a:lnTo>
                    <a:pt x="483" y="294"/>
                  </a:lnTo>
                  <a:lnTo>
                    <a:pt x="478" y="300"/>
                  </a:lnTo>
                  <a:lnTo>
                    <a:pt x="475" y="302"/>
                  </a:lnTo>
                  <a:lnTo>
                    <a:pt x="472" y="302"/>
                  </a:lnTo>
                  <a:lnTo>
                    <a:pt x="467" y="305"/>
                  </a:lnTo>
                  <a:lnTo>
                    <a:pt x="464" y="305"/>
                  </a:lnTo>
                  <a:lnTo>
                    <a:pt x="464" y="305"/>
                  </a:lnTo>
                  <a:lnTo>
                    <a:pt x="462" y="302"/>
                  </a:lnTo>
                  <a:lnTo>
                    <a:pt x="462" y="305"/>
                  </a:lnTo>
                  <a:lnTo>
                    <a:pt x="462" y="305"/>
                  </a:lnTo>
                  <a:lnTo>
                    <a:pt x="464" y="308"/>
                  </a:lnTo>
                  <a:lnTo>
                    <a:pt x="464" y="310"/>
                  </a:lnTo>
                  <a:lnTo>
                    <a:pt x="464" y="310"/>
                  </a:lnTo>
                  <a:lnTo>
                    <a:pt x="464" y="313"/>
                  </a:lnTo>
                  <a:lnTo>
                    <a:pt x="464" y="316"/>
                  </a:lnTo>
                  <a:lnTo>
                    <a:pt x="462" y="316"/>
                  </a:lnTo>
                  <a:lnTo>
                    <a:pt x="462" y="318"/>
                  </a:lnTo>
                  <a:lnTo>
                    <a:pt x="462" y="318"/>
                  </a:lnTo>
                  <a:lnTo>
                    <a:pt x="459" y="316"/>
                  </a:lnTo>
                  <a:lnTo>
                    <a:pt x="456" y="316"/>
                  </a:lnTo>
                  <a:lnTo>
                    <a:pt x="456" y="316"/>
                  </a:lnTo>
                  <a:lnTo>
                    <a:pt x="456" y="318"/>
                  </a:lnTo>
                  <a:lnTo>
                    <a:pt x="454" y="329"/>
                  </a:lnTo>
                  <a:lnTo>
                    <a:pt x="451" y="329"/>
                  </a:lnTo>
                  <a:lnTo>
                    <a:pt x="451" y="332"/>
                  </a:lnTo>
                  <a:lnTo>
                    <a:pt x="443" y="334"/>
                  </a:lnTo>
                  <a:lnTo>
                    <a:pt x="443" y="337"/>
                  </a:lnTo>
                  <a:lnTo>
                    <a:pt x="443" y="340"/>
                  </a:lnTo>
                  <a:lnTo>
                    <a:pt x="451" y="342"/>
                  </a:lnTo>
                  <a:lnTo>
                    <a:pt x="454" y="348"/>
                  </a:lnTo>
                  <a:lnTo>
                    <a:pt x="451" y="350"/>
                  </a:lnTo>
                  <a:lnTo>
                    <a:pt x="448" y="353"/>
                  </a:lnTo>
                  <a:lnTo>
                    <a:pt x="448" y="353"/>
                  </a:lnTo>
                  <a:lnTo>
                    <a:pt x="446" y="353"/>
                  </a:lnTo>
                  <a:lnTo>
                    <a:pt x="443" y="353"/>
                  </a:lnTo>
                  <a:lnTo>
                    <a:pt x="435" y="358"/>
                  </a:lnTo>
                  <a:lnTo>
                    <a:pt x="430" y="361"/>
                  </a:lnTo>
                  <a:lnTo>
                    <a:pt x="430" y="361"/>
                  </a:lnTo>
                  <a:lnTo>
                    <a:pt x="430" y="364"/>
                  </a:lnTo>
                  <a:lnTo>
                    <a:pt x="430" y="364"/>
                  </a:lnTo>
                  <a:lnTo>
                    <a:pt x="432" y="364"/>
                  </a:lnTo>
                  <a:lnTo>
                    <a:pt x="435" y="366"/>
                  </a:lnTo>
                  <a:lnTo>
                    <a:pt x="435" y="369"/>
                  </a:lnTo>
                  <a:lnTo>
                    <a:pt x="435" y="372"/>
                  </a:lnTo>
                  <a:lnTo>
                    <a:pt x="432" y="374"/>
                  </a:lnTo>
                  <a:lnTo>
                    <a:pt x="435" y="380"/>
                  </a:lnTo>
                  <a:lnTo>
                    <a:pt x="435" y="382"/>
                  </a:lnTo>
                  <a:lnTo>
                    <a:pt x="435" y="385"/>
                  </a:lnTo>
                  <a:lnTo>
                    <a:pt x="435" y="388"/>
                  </a:lnTo>
                  <a:lnTo>
                    <a:pt x="435" y="388"/>
                  </a:lnTo>
                  <a:lnTo>
                    <a:pt x="430" y="390"/>
                  </a:lnTo>
                  <a:lnTo>
                    <a:pt x="430" y="390"/>
                  </a:lnTo>
                  <a:lnTo>
                    <a:pt x="430" y="390"/>
                  </a:lnTo>
                  <a:lnTo>
                    <a:pt x="427" y="393"/>
                  </a:lnTo>
                  <a:lnTo>
                    <a:pt x="424" y="393"/>
                  </a:lnTo>
                  <a:lnTo>
                    <a:pt x="424" y="396"/>
                  </a:lnTo>
                  <a:lnTo>
                    <a:pt x="422" y="401"/>
                  </a:lnTo>
                  <a:lnTo>
                    <a:pt x="419" y="404"/>
                  </a:lnTo>
                  <a:lnTo>
                    <a:pt x="416" y="404"/>
                  </a:lnTo>
                  <a:lnTo>
                    <a:pt x="416" y="406"/>
                  </a:lnTo>
                  <a:lnTo>
                    <a:pt x="419" y="409"/>
                  </a:lnTo>
                  <a:lnTo>
                    <a:pt x="424" y="409"/>
                  </a:lnTo>
                  <a:lnTo>
                    <a:pt x="427" y="412"/>
                  </a:lnTo>
                  <a:lnTo>
                    <a:pt x="427" y="414"/>
                  </a:lnTo>
                  <a:lnTo>
                    <a:pt x="427" y="417"/>
                  </a:lnTo>
                  <a:lnTo>
                    <a:pt x="424" y="420"/>
                  </a:lnTo>
                  <a:lnTo>
                    <a:pt x="422" y="420"/>
                  </a:lnTo>
                  <a:lnTo>
                    <a:pt x="419" y="420"/>
                  </a:lnTo>
                  <a:lnTo>
                    <a:pt x="416" y="422"/>
                  </a:lnTo>
                  <a:lnTo>
                    <a:pt x="416" y="425"/>
                  </a:lnTo>
                  <a:lnTo>
                    <a:pt x="419" y="425"/>
                  </a:lnTo>
                  <a:lnTo>
                    <a:pt x="422" y="428"/>
                  </a:lnTo>
                  <a:lnTo>
                    <a:pt x="424" y="428"/>
                  </a:lnTo>
                  <a:lnTo>
                    <a:pt x="427" y="430"/>
                  </a:lnTo>
                  <a:lnTo>
                    <a:pt x="430" y="433"/>
                  </a:lnTo>
                  <a:lnTo>
                    <a:pt x="430" y="436"/>
                  </a:lnTo>
                  <a:lnTo>
                    <a:pt x="432" y="438"/>
                  </a:lnTo>
                  <a:lnTo>
                    <a:pt x="432" y="444"/>
                  </a:lnTo>
                  <a:lnTo>
                    <a:pt x="430" y="446"/>
                  </a:lnTo>
                  <a:lnTo>
                    <a:pt x="427" y="452"/>
                  </a:lnTo>
                  <a:lnTo>
                    <a:pt x="427" y="454"/>
                  </a:lnTo>
                  <a:lnTo>
                    <a:pt x="427" y="457"/>
                  </a:lnTo>
                  <a:lnTo>
                    <a:pt x="430" y="457"/>
                  </a:lnTo>
                  <a:lnTo>
                    <a:pt x="432" y="460"/>
                  </a:lnTo>
                  <a:lnTo>
                    <a:pt x="435" y="460"/>
                  </a:lnTo>
                  <a:lnTo>
                    <a:pt x="435" y="462"/>
                  </a:lnTo>
                  <a:lnTo>
                    <a:pt x="435" y="470"/>
                  </a:lnTo>
                  <a:lnTo>
                    <a:pt x="438" y="473"/>
                  </a:lnTo>
                  <a:lnTo>
                    <a:pt x="438" y="476"/>
                  </a:lnTo>
                  <a:lnTo>
                    <a:pt x="438" y="479"/>
                  </a:lnTo>
                  <a:lnTo>
                    <a:pt x="435" y="481"/>
                  </a:lnTo>
                  <a:lnTo>
                    <a:pt x="432" y="481"/>
                  </a:lnTo>
                  <a:lnTo>
                    <a:pt x="432" y="481"/>
                  </a:lnTo>
                  <a:lnTo>
                    <a:pt x="430" y="484"/>
                  </a:lnTo>
                  <a:lnTo>
                    <a:pt x="432" y="497"/>
                  </a:lnTo>
                  <a:lnTo>
                    <a:pt x="430" y="500"/>
                  </a:lnTo>
                  <a:lnTo>
                    <a:pt x="408" y="500"/>
                  </a:lnTo>
                  <a:lnTo>
                    <a:pt x="387" y="503"/>
                  </a:lnTo>
                  <a:lnTo>
                    <a:pt x="366" y="503"/>
                  </a:lnTo>
                  <a:lnTo>
                    <a:pt x="344" y="505"/>
                  </a:lnTo>
                  <a:lnTo>
                    <a:pt x="326" y="508"/>
                  </a:lnTo>
                  <a:lnTo>
                    <a:pt x="304" y="508"/>
                  </a:lnTo>
                  <a:lnTo>
                    <a:pt x="283" y="511"/>
                  </a:lnTo>
                  <a:lnTo>
                    <a:pt x="262" y="511"/>
                  </a:lnTo>
                  <a:lnTo>
                    <a:pt x="240" y="513"/>
                  </a:lnTo>
                  <a:lnTo>
                    <a:pt x="219" y="513"/>
                  </a:lnTo>
                  <a:lnTo>
                    <a:pt x="198" y="516"/>
                  </a:lnTo>
                  <a:lnTo>
                    <a:pt x="176" y="516"/>
                  </a:lnTo>
                  <a:lnTo>
                    <a:pt x="155" y="519"/>
                  </a:lnTo>
                  <a:lnTo>
                    <a:pt x="134" y="519"/>
                  </a:lnTo>
                  <a:lnTo>
                    <a:pt x="115" y="521"/>
                  </a:lnTo>
                  <a:lnTo>
                    <a:pt x="94" y="521"/>
                  </a:lnTo>
                  <a:lnTo>
                    <a:pt x="91" y="505"/>
                  </a:lnTo>
                  <a:lnTo>
                    <a:pt x="91" y="489"/>
                  </a:lnTo>
                  <a:lnTo>
                    <a:pt x="88" y="470"/>
                  </a:lnTo>
                  <a:lnTo>
                    <a:pt x="88" y="454"/>
                  </a:lnTo>
                  <a:lnTo>
                    <a:pt x="88" y="446"/>
                  </a:lnTo>
                  <a:lnTo>
                    <a:pt x="88" y="446"/>
                  </a:lnTo>
                  <a:lnTo>
                    <a:pt x="86" y="444"/>
                  </a:lnTo>
                  <a:lnTo>
                    <a:pt x="86" y="444"/>
                  </a:lnTo>
                  <a:lnTo>
                    <a:pt x="80" y="441"/>
                  </a:lnTo>
                  <a:lnTo>
                    <a:pt x="80" y="444"/>
                  </a:lnTo>
                  <a:lnTo>
                    <a:pt x="78" y="444"/>
                  </a:lnTo>
                  <a:lnTo>
                    <a:pt x="75" y="444"/>
                  </a:lnTo>
                  <a:lnTo>
                    <a:pt x="70" y="441"/>
                  </a:lnTo>
                  <a:lnTo>
                    <a:pt x="70" y="441"/>
                  </a:lnTo>
                  <a:lnTo>
                    <a:pt x="67" y="444"/>
                  </a:lnTo>
                  <a:lnTo>
                    <a:pt x="67" y="444"/>
                  </a:lnTo>
                  <a:lnTo>
                    <a:pt x="59" y="441"/>
                  </a:lnTo>
                  <a:lnTo>
                    <a:pt x="59" y="441"/>
                  </a:lnTo>
                  <a:lnTo>
                    <a:pt x="56" y="444"/>
                  </a:lnTo>
                  <a:lnTo>
                    <a:pt x="56" y="446"/>
                  </a:lnTo>
                  <a:lnTo>
                    <a:pt x="56" y="446"/>
                  </a:lnTo>
                  <a:lnTo>
                    <a:pt x="54" y="446"/>
                  </a:lnTo>
                  <a:lnTo>
                    <a:pt x="51" y="446"/>
                  </a:lnTo>
                  <a:lnTo>
                    <a:pt x="48" y="446"/>
                  </a:lnTo>
                  <a:lnTo>
                    <a:pt x="48" y="444"/>
                  </a:lnTo>
                  <a:lnTo>
                    <a:pt x="48" y="444"/>
                  </a:lnTo>
                  <a:lnTo>
                    <a:pt x="48" y="444"/>
                  </a:lnTo>
                  <a:lnTo>
                    <a:pt x="46" y="444"/>
                  </a:lnTo>
                  <a:lnTo>
                    <a:pt x="43" y="441"/>
                  </a:lnTo>
                  <a:lnTo>
                    <a:pt x="40" y="441"/>
                  </a:lnTo>
                  <a:lnTo>
                    <a:pt x="40" y="438"/>
                  </a:lnTo>
                  <a:lnTo>
                    <a:pt x="38" y="436"/>
                  </a:lnTo>
                  <a:lnTo>
                    <a:pt x="35" y="436"/>
                  </a:lnTo>
                  <a:lnTo>
                    <a:pt x="35" y="404"/>
                  </a:lnTo>
                  <a:lnTo>
                    <a:pt x="35" y="374"/>
                  </a:lnTo>
                  <a:lnTo>
                    <a:pt x="32" y="342"/>
                  </a:lnTo>
                  <a:lnTo>
                    <a:pt x="32" y="313"/>
                  </a:lnTo>
                  <a:lnTo>
                    <a:pt x="32" y="281"/>
                  </a:lnTo>
                  <a:lnTo>
                    <a:pt x="30" y="251"/>
                  </a:lnTo>
                  <a:lnTo>
                    <a:pt x="30" y="222"/>
                  </a:lnTo>
                  <a:lnTo>
                    <a:pt x="30" y="190"/>
                  </a:lnTo>
                  <a:lnTo>
                    <a:pt x="24" y="171"/>
                  </a:lnTo>
                  <a:lnTo>
                    <a:pt x="22" y="153"/>
                  </a:lnTo>
                  <a:lnTo>
                    <a:pt x="19" y="131"/>
                  </a:lnTo>
                  <a:lnTo>
                    <a:pt x="16" y="112"/>
                  </a:lnTo>
                  <a:lnTo>
                    <a:pt x="11" y="94"/>
                  </a:lnTo>
                  <a:lnTo>
                    <a:pt x="8" y="75"/>
                  </a:lnTo>
                  <a:lnTo>
                    <a:pt x="6" y="54"/>
                  </a:lnTo>
                  <a:lnTo>
                    <a:pt x="0" y="35"/>
                  </a:lnTo>
                  <a:lnTo>
                    <a:pt x="32" y="32"/>
                  </a:lnTo>
                  <a:lnTo>
                    <a:pt x="64" y="32"/>
                  </a:lnTo>
                  <a:lnTo>
                    <a:pt x="94" y="30"/>
                  </a:lnTo>
                  <a:lnTo>
                    <a:pt x="126" y="30"/>
                  </a:lnTo>
                  <a:lnTo>
                    <a:pt x="158" y="27"/>
                  </a:lnTo>
                  <a:lnTo>
                    <a:pt x="187" y="24"/>
                  </a:lnTo>
                  <a:lnTo>
                    <a:pt x="219" y="22"/>
                  </a:lnTo>
                  <a:lnTo>
                    <a:pt x="251" y="22"/>
                  </a:lnTo>
                  <a:lnTo>
                    <a:pt x="280" y="19"/>
                  </a:lnTo>
                  <a:lnTo>
                    <a:pt x="312" y="16"/>
                  </a:lnTo>
                  <a:lnTo>
                    <a:pt x="342" y="14"/>
                  </a:lnTo>
                  <a:lnTo>
                    <a:pt x="374" y="11"/>
                  </a:lnTo>
                  <a:lnTo>
                    <a:pt x="406" y="8"/>
                  </a:lnTo>
                  <a:lnTo>
                    <a:pt x="435" y="6"/>
                  </a:lnTo>
                  <a:lnTo>
                    <a:pt x="467" y="3"/>
                  </a:lnTo>
                  <a:lnTo>
                    <a:pt x="499" y="0"/>
                  </a:lnTo>
                  <a:lnTo>
                    <a:pt x="507" y="0"/>
                  </a:lnTo>
                  <a:lnTo>
                    <a:pt x="507" y="0"/>
                  </a:lnTo>
                  <a:lnTo>
                    <a:pt x="507" y="0"/>
                  </a:lnTo>
                  <a:lnTo>
                    <a:pt x="507" y="3"/>
                  </a:lnTo>
                  <a:lnTo>
                    <a:pt x="507" y="6"/>
                  </a:lnTo>
                  <a:lnTo>
                    <a:pt x="510" y="6"/>
                  </a:lnTo>
                  <a:lnTo>
                    <a:pt x="510" y="6"/>
                  </a:lnTo>
                  <a:lnTo>
                    <a:pt x="510" y="6"/>
                  </a:lnTo>
                  <a:lnTo>
                    <a:pt x="510" y="6"/>
                  </a:lnTo>
                  <a:lnTo>
                    <a:pt x="510" y="8"/>
                  </a:lnTo>
                  <a:lnTo>
                    <a:pt x="510" y="8"/>
                  </a:lnTo>
                  <a:lnTo>
                    <a:pt x="510" y="11"/>
                  </a:lnTo>
                  <a:lnTo>
                    <a:pt x="513" y="11"/>
                  </a:lnTo>
                  <a:lnTo>
                    <a:pt x="513" y="11"/>
                  </a:lnTo>
                  <a:lnTo>
                    <a:pt x="513" y="11"/>
                  </a:lnTo>
                  <a:lnTo>
                    <a:pt x="513" y="14"/>
                  </a:lnTo>
                  <a:lnTo>
                    <a:pt x="515" y="14"/>
                  </a:lnTo>
                  <a:lnTo>
                    <a:pt x="518" y="14"/>
                  </a:lnTo>
                  <a:lnTo>
                    <a:pt x="518" y="16"/>
                  </a:lnTo>
                  <a:lnTo>
                    <a:pt x="518" y="16"/>
                  </a:lnTo>
                  <a:lnTo>
                    <a:pt x="518" y="16"/>
                  </a:lnTo>
                  <a:lnTo>
                    <a:pt x="518" y="16"/>
                  </a:lnTo>
                  <a:lnTo>
                    <a:pt x="518" y="19"/>
                  </a:lnTo>
                  <a:lnTo>
                    <a:pt x="518" y="19"/>
                  </a:lnTo>
                  <a:lnTo>
                    <a:pt x="518" y="19"/>
                  </a:lnTo>
                  <a:lnTo>
                    <a:pt x="518" y="22"/>
                  </a:lnTo>
                  <a:lnTo>
                    <a:pt x="518" y="24"/>
                  </a:lnTo>
                  <a:lnTo>
                    <a:pt x="521" y="27"/>
                  </a:lnTo>
                  <a:lnTo>
                    <a:pt x="521" y="30"/>
                  </a:lnTo>
                  <a:lnTo>
                    <a:pt x="521" y="30"/>
                  </a:lnTo>
                  <a:lnTo>
                    <a:pt x="518" y="30"/>
                  </a:lnTo>
                  <a:lnTo>
                    <a:pt x="518" y="30"/>
                  </a:lnTo>
                  <a:lnTo>
                    <a:pt x="518" y="32"/>
                  </a:lnTo>
                  <a:lnTo>
                    <a:pt x="518" y="32"/>
                  </a:lnTo>
                  <a:lnTo>
                    <a:pt x="518" y="32"/>
                  </a:lnTo>
                  <a:lnTo>
                    <a:pt x="518" y="32"/>
                  </a:lnTo>
                  <a:lnTo>
                    <a:pt x="515" y="32"/>
                  </a:lnTo>
                  <a:lnTo>
                    <a:pt x="513" y="35"/>
                  </a:lnTo>
                  <a:lnTo>
                    <a:pt x="513" y="35"/>
                  </a:lnTo>
                  <a:lnTo>
                    <a:pt x="513" y="35"/>
                  </a:lnTo>
                  <a:lnTo>
                    <a:pt x="513" y="38"/>
                  </a:lnTo>
                  <a:lnTo>
                    <a:pt x="513" y="38"/>
                  </a:lnTo>
                  <a:lnTo>
                    <a:pt x="513" y="40"/>
                  </a:lnTo>
                  <a:lnTo>
                    <a:pt x="513" y="40"/>
                  </a:lnTo>
                  <a:lnTo>
                    <a:pt x="513" y="40"/>
                  </a:lnTo>
                  <a:lnTo>
                    <a:pt x="507" y="43"/>
                  </a:lnTo>
                  <a:lnTo>
                    <a:pt x="507" y="43"/>
                  </a:lnTo>
                  <a:lnTo>
                    <a:pt x="505" y="46"/>
                  </a:lnTo>
                  <a:lnTo>
                    <a:pt x="505" y="46"/>
                  </a:lnTo>
                  <a:lnTo>
                    <a:pt x="502" y="46"/>
                  </a:lnTo>
                  <a:lnTo>
                    <a:pt x="502" y="46"/>
                  </a:lnTo>
                  <a:lnTo>
                    <a:pt x="502" y="46"/>
                  </a:lnTo>
                  <a:lnTo>
                    <a:pt x="502" y="48"/>
                  </a:lnTo>
                  <a:lnTo>
                    <a:pt x="502" y="48"/>
                  </a:lnTo>
                  <a:lnTo>
                    <a:pt x="502" y="51"/>
                  </a:lnTo>
                  <a:lnTo>
                    <a:pt x="502" y="51"/>
                  </a:lnTo>
                  <a:lnTo>
                    <a:pt x="502" y="51"/>
                  </a:lnTo>
                  <a:lnTo>
                    <a:pt x="502" y="51"/>
                  </a:lnTo>
                  <a:lnTo>
                    <a:pt x="502" y="54"/>
                  </a:lnTo>
                  <a:lnTo>
                    <a:pt x="499" y="54"/>
                  </a:lnTo>
                  <a:lnTo>
                    <a:pt x="499" y="54"/>
                  </a:lnTo>
                  <a:lnTo>
                    <a:pt x="499" y="54"/>
                  </a:lnTo>
                  <a:lnTo>
                    <a:pt x="497" y="54"/>
                  </a:lnTo>
                  <a:lnTo>
                    <a:pt x="497" y="54"/>
                  </a:lnTo>
                  <a:lnTo>
                    <a:pt x="497" y="56"/>
                  </a:lnTo>
                  <a:lnTo>
                    <a:pt x="497" y="56"/>
                  </a:lnTo>
                  <a:lnTo>
                    <a:pt x="494" y="56"/>
                  </a:lnTo>
                  <a:lnTo>
                    <a:pt x="494" y="59"/>
                  </a:lnTo>
                  <a:lnTo>
                    <a:pt x="491" y="62"/>
                  </a:lnTo>
                  <a:lnTo>
                    <a:pt x="491" y="64"/>
                  </a:lnTo>
                  <a:lnTo>
                    <a:pt x="488" y="72"/>
                  </a:lnTo>
                  <a:lnTo>
                    <a:pt x="488" y="72"/>
                  </a:lnTo>
                  <a:lnTo>
                    <a:pt x="488" y="72"/>
                  </a:lnTo>
                  <a:lnTo>
                    <a:pt x="488" y="75"/>
                  </a:lnTo>
                  <a:lnTo>
                    <a:pt x="488" y="75"/>
                  </a:lnTo>
                  <a:lnTo>
                    <a:pt x="497" y="72"/>
                  </a:lnTo>
                  <a:lnTo>
                    <a:pt x="513" y="72"/>
                  </a:lnTo>
                  <a:lnTo>
                    <a:pt x="529" y="70"/>
                  </a:lnTo>
                  <a:lnTo>
                    <a:pt x="545" y="67"/>
                  </a:lnTo>
                  <a:lnTo>
                    <a:pt x="561" y="67"/>
                  </a:lnTo>
                  <a:lnTo>
                    <a:pt x="561" y="67"/>
                  </a:lnTo>
                  <a:lnTo>
                    <a:pt x="561" y="64"/>
                  </a:lnTo>
                  <a:lnTo>
                    <a:pt x="561" y="64"/>
                  </a:lnTo>
                  <a:lnTo>
                    <a:pt x="563" y="64"/>
                  </a:lnTo>
                  <a:lnTo>
                    <a:pt x="563" y="64"/>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57" name="Freeform 54">
              <a:extLst>
                <a:ext uri="{FF2B5EF4-FFF2-40B4-BE49-F238E27FC236}">
                  <a16:creationId xmlns="" xmlns:a16="http://schemas.microsoft.com/office/drawing/2014/main" id="{4219A980-22AF-4438-A705-B53AF7963AC3}"/>
                </a:ext>
              </a:extLst>
            </p:cNvPr>
            <p:cNvSpPr>
              <a:spLocks noEditPoints="1"/>
            </p:cNvSpPr>
            <p:nvPr/>
          </p:nvSpPr>
          <p:spPr bwMode="auto">
            <a:xfrm>
              <a:off x="5006" y="2103"/>
              <a:ext cx="443" cy="702"/>
            </a:xfrm>
            <a:custGeom>
              <a:avLst/>
              <a:gdLst>
                <a:gd name="T0" fmla="*/ 59 w 443"/>
                <a:gd name="T1" fmla="*/ 702 h 702"/>
                <a:gd name="T2" fmla="*/ 443 w 443"/>
                <a:gd name="T3" fmla="*/ 545 h 702"/>
                <a:gd name="T4" fmla="*/ 427 w 443"/>
                <a:gd name="T5" fmla="*/ 523 h 702"/>
                <a:gd name="T6" fmla="*/ 427 w 443"/>
                <a:gd name="T7" fmla="*/ 507 h 702"/>
                <a:gd name="T8" fmla="*/ 427 w 443"/>
                <a:gd name="T9" fmla="*/ 475 h 702"/>
                <a:gd name="T10" fmla="*/ 419 w 443"/>
                <a:gd name="T11" fmla="*/ 456 h 702"/>
                <a:gd name="T12" fmla="*/ 411 w 443"/>
                <a:gd name="T13" fmla="*/ 430 h 702"/>
                <a:gd name="T14" fmla="*/ 416 w 443"/>
                <a:gd name="T15" fmla="*/ 406 h 702"/>
                <a:gd name="T16" fmla="*/ 416 w 443"/>
                <a:gd name="T17" fmla="*/ 384 h 702"/>
                <a:gd name="T18" fmla="*/ 424 w 443"/>
                <a:gd name="T19" fmla="*/ 379 h 702"/>
                <a:gd name="T20" fmla="*/ 427 w 443"/>
                <a:gd name="T21" fmla="*/ 371 h 702"/>
                <a:gd name="T22" fmla="*/ 430 w 443"/>
                <a:gd name="T23" fmla="*/ 368 h 702"/>
                <a:gd name="T24" fmla="*/ 419 w 443"/>
                <a:gd name="T25" fmla="*/ 355 h 702"/>
                <a:gd name="T26" fmla="*/ 416 w 443"/>
                <a:gd name="T27" fmla="*/ 342 h 702"/>
                <a:gd name="T28" fmla="*/ 400 w 443"/>
                <a:gd name="T29" fmla="*/ 320 h 702"/>
                <a:gd name="T30" fmla="*/ 395 w 443"/>
                <a:gd name="T31" fmla="*/ 304 h 702"/>
                <a:gd name="T32" fmla="*/ 390 w 443"/>
                <a:gd name="T33" fmla="*/ 296 h 702"/>
                <a:gd name="T34" fmla="*/ 382 w 443"/>
                <a:gd name="T35" fmla="*/ 272 h 702"/>
                <a:gd name="T36" fmla="*/ 366 w 443"/>
                <a:gd name="T37" fmla="*/ 221 h 702"/>
                <a:gd name="T38" fmla="*/ 339 w 443"/>
                <a:gd name="T39" fmla="*/ 138 h 702"/>
                <a:gd name="T40" fmla="*/ 312 w 443"/>
                <a:gd name="T41" fmla="*/ 53 h 702"/>
                <a:gd name="T42" fmla="*/ 296 w 443"/>
                <a:gd name="T43" fmla="*/ 2 h 702"/>
                <a:gd name="T44" fmla="*/ 205 w 443"/>
                <a:gd name="T45" fmla="*/ 10 h 702"/>
                <a:gd name="T46" fmla="*/ 77 w 443"/>
                <a:gd name="T47" fmla="*/ 24 h 702"/>
                <a:gd name="T48" fmla="*/ 3 w 443"/>
                <a:gd name="T49" fmla="*/ 34 h 702"/>
                <a:gd name="T50" fmla="*/ 13 w 443"/>
                <a:gd name="T51" fmla="*/ 58 h 702"/>
                <a:gd name="T52" fmla="*/ 13 w 443"/>
                <a:gd name="T53" fmla="*/ 152 h 702"/>
                <a:gd name="T54" fmla="*/ 13 w 443"/>
                <a:gd name="T55" fmla="*/ 304 h 702"/>
                <a:gd name="T56" fmla="*/ 13 w 443"/>
                <a:gd name="T57" fmla="*/ 422 h 702"/>
                <a:gd name="T58" fmla="*/ 13 w 443"/>
                <a:gd name="T59" fmla="*/ 475 h 702"/>
                <a:gd name="T60" fmla="*/ 29 w 443"/>
                <a:gd name="T61" fmla="*/ 579 h 702"/>
                <a:gd name="T62" fmla="*/ 45 w 443"/>
                <a:gd name="T63" fmla="*/ 684 h 702"/>
                <a:gd name="T64" fmla="*/ 56 w 443"/>
                <a:gd name="T65" fmla="*/ 681 h 702"/>
                <a:gd name="T66" fmla="*/ 69 w 443"/>
                <a:gd name="T67" fmla="*/ 686 h 702"/>
                <a:gd name="T68" fmla="*/ 77 w 443"/>
                <a:gd name="T69" fmla="*/ 689 h 702"/>
                <a:gd name="T70" fmla="*/ 80 w 443"/>
                <a:gd name="T71" fmla="*/ 659 h 702"/>
                <a:gd name="T72" fmla="*/ 83 w 443"/>
                <a:gd name="T73" fmla="*/ 649 h 702"/>
                <a:gd name="T74" fmla="*/ 83 w 443"/>
                <a:gd name="T75" fmla="*/ 635 h 702"/>
                <a:gd name="T76" fmla="*/ 88 w 443"/>
                <a:gd name="T77" fmla="*/ 633 h 702"/>
                <a:gd name="T78" fmla="*/ 96 w 443"/>
                <a:gd name="T79" fmla="*/ 638 h 702"/>
                <a:gd name="T80" fmla="*/ 99 w 443"/>
                <a:gd name="T81" fmla="*/ 665 h 702"/>
                <a:gd name="T82" fmla="*/ 104 w 443"/>
                <a:gd name="T83" fmla="*/ 673 h 702"/>
                <a:gd name="T84" fmla="*/ 112 w 443"/>
                <a:gd name="T85" fmla="*/ 676 h 702"/>
                <a:gd name="T86" fmla="*/ 115 w 443"/>
                <a:gd name="T87" fmla="*/ 678 h 702"/>
                <a:gd name="T88" fmla="*/ 109 w 443"/>
                <a:gd name="T89" fmla="*/ 697 h 702"/>
                <a:gd name="T90" fmla="*/ 93 w 443"/>
                <a:gd name="T91" fmla="*/ 700 h 702"/>
                <a:gd name="T92" fmla="*/ 147 w 443"/>
                <a:gd name="T93" fmla="*/ 684 h 702"/>
                <a:gd name="T94" fmla="*/ 141 w 443"/>
                <a:gd name="T95" fmla="*/ 678 h 702"/>
                <a:gd name="T96" fmla="*/ 147 w 443"/>
                <a:gd name="T97" fmla="*/ 681 h 702"/>
                <a:gd name="T98" fmla="*/ 157 w 443"/>
                <a:gd name="T99" fmla="*/ 673 h 702"/>
                <a:gd name="T100" fmla="*/ 163 w 443"/>
                <a:gd name="T101" fmla="*/ 659 h 702"/>
                <a:gd name="T102" fmla="*/ 157 w 443"/>
                <a:gd name="T103" fmla="*/ 649 h 702"/>
                <a:gd name="T104" fmla="*/ 160 w 443"/>
                <a:gd name="T105" fmla="*/ 630 h 702"/>
                <a:gd name="T106" fmla="*/ 141 w 443"/>
                <a:gd name="T107" fmla="*/ 617 h 702"/>
                <a:gd name="T108" fmla="*/ 131 w 443"/>
                <a:gd name="T109" fmla="*/ 603 h 702"/>
                <a:gd name="T110" fmla="*/ 157 w 443"/>
                <a:gd name="T111" fmla="*/ 585 h 702"/>
                <a:gd name="T112" fmla="*/ 291 w 443"/>
                <a:gd name="T113" fmla="*/ 569 h 702"/>
                <a:gd name="T114" fmla="*/ 424 w 443"/>
                <a:gd name="T115" fmla="*/ 550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3" h="702">
                  <a:moveTo>
                    <a:pt x="83" y="694"/>
                  </a:moveTo>
                  <a:lnTo>
                    <a:pt x="80" y="697"/>
                  </a:lnTo>
                  <a:lnTo>
                    <a:pt x="80" y="697"/>
                  </a:lnTo>
                  <a:lnTo>
                    <a:pt x="80" y="697"/>
                  </a:lnTo>
                  <a:lnTo>
                    <a:pt x="77" y="697"/>
                  </a:lnTo>
                  <a:lnTo>
                    <a:pt x="69" y="700"/>
                  </a:lnTo>
                  <a:lnTo>
                    <a:pt x="59" y="702"/>
                  </a:lnTo>
                  <a:lnTo>
                    <a:pt x="59" y="702"/>
                  </a:lnTo>
                  <a:lnTo>
                    <a:pt x="85" y="700"/>
                  </a:lnTo>
                  <a:lnTo>
                    <a:pt x="85" y="700"/>
                  </a:lnTo>
                  <a:lnTo>
                    <a:pt x="88" y="697"/>
                  </a:lnTo>
                  <a:lnTo>
                    <a:pt x="88" y="697"/>
                  </a:lnTo>
                  <a:lnTo>
                    <a:pt x="83" y="694"/>
                  </a:lnTo>
                  <a:close/>
                  <a:moveTo>
                    <a:pt x="443" y="545"/>
                  </a:moveTo>
                  <a:lnTo>
                    <a:pt x="443" y="542"/>
                  </a:lnTo>
                  <a:lnTo>
                    <a:pt x="440" y="537"/>
                  </a:lnTo>
                  <a:lnTo>
                    <a:pt x="435" y="531"/>
                  </a:lnTo>
                  <a:lnTo>
                    <a:pt x="432" y="526"/>
                  </a:lnTo>
                  <a:lnTo>
                    <a:pt x="430" y="526"/>
                  </a:lnTo>
                  <a:lnTo>
                    <a:pt x="427" y="523"/>
                  </a:lnTo>
                  <a:lnTo>
                    <a:pt x="427" y="523"/>
                  </a:lnTo>
                  <a:lnTo>
                    <a:pt x="427" y="518"/>
                  </a:lnTo>
                  <a:lnTo>
                    <a:pt x="427" y="515"/>
                  </a:lnTo>
                  <a:lnTo>
                    <a:pt x="424" y="513"/>
                  </a:lnTo>
                  <a:lnTo>
                    <a:pt x="424" y="513"/>
                  </a:lnTo>
                  <a:lnTo>
                    <a:pt x="424" y="510"/>
                  </a:lnTo>
                  <a:lnTo>
                    <a:pt x="427" y="507"/>
                  </a:lnTo>
                  <a:lnTo>
                    <a:pt x="427" y="507"/>
                  </a:lnTo>
                  <a:lnTo>
                    <a:pt x="427" y="497"/>
                  </a:lnTo>
                  <a:lnTo>
                    <a:pt x="427" y="491"/>
                  </a:lnTo>
                  <a:lnTo>
                    <a:pt x="427" y="486"/>
                  </a:lnTo>
                  <a:lnTo>
                    <a:pt x="427" y="483"/>
                  </a:lnTo>
                  <a:lnTo>
                    <a:pt x="427" y="480"/>
                  </a:lnTo>
                  <a:lnTo>
                    <a:pt x="427" y="478"/>
                  </a:lnTo>
                  <a:lnTo>
                    <a:pt x="427" y="475"/>
                  </a:lnTo>
                  <a:lnTo>
                    <a:pt x="427" y="472"/>
                  </a:lnTo>
                  <a:lnTo>
                    <a:pt x="427" y="470"/>
                  </a:lnTo>
                  <a:lnTo>
                    <a:pt x="424" y="470"/>
                  </a:lnTo>
                  <a:lnTo>
                    <a:pt x="424" y="464"/>
                  </a:lnTo>
                  <a:lnTo>
                    <a:pt x="424" y="462"/>
                  </a:lnTo>
                  <a:lnTo>
                    <a:pt x="424" y="462"/>
                  </a:lnTo>
                  <a:lnTo>
                    <a:pt x="419" y="456"/>
                  </a:lnTo>
                  <a:lnTo>
                    <a:pt x="416" y="454"/>
                  </a:lnTo>
                  <a:lnTo>
                    <a:pt x="411" y="438"/>
                  </a:lnTo>
                  <a:lnTo>
                    <a:pt x="411" y="435"/>
                  </a:lnTo>
                  <a:lnTo>
                    <a:pt x="411" y="432"/>
                  </a:lnTo>
                  <a:lnTo>
                    <a:pt x="411" y="432"/>
                  </a:lnTo>
                  <a:lnTo>
                    <a:pt x="411" y="430"/>
                  </a:lnTo>
                  <a:lnTo>
                    <a:pt x="411" y="430"/>
                  </a:lnTo>
                  <a:lnTo>
                    <a:pt x="411" y="424"/>
                  </a:lnTo>
                  <a:lnTo>
                    <a:pt x="414" y="419"/>
                  </a:lnTo>
                  <a:lnTo>
                    <a:pt x="416" y="414"/>
                  </a:lnTo>
                  <a:lnTo>
                    <a:pt x="416" y="411"/>
                  </a:lnTo>
                  <a:lnTo>
                    <a:pt x="416" y="408"/>
                  </a:lnTo>
                  <a:lnTo>
                    <a:pt x="416" y="408"/>
                  </a:lnTo>
                  <a:lnTo>
                    <a:pt x="416" y="406"/>
                  </a:lnTo>
                  <a:lnTo>
                    <a:pt x="416" y="403"/>
                  </a:lnTo>
                  <a:lnTo>
                    <a:pt x="416" y="400"/>
                  </a:lnTo>
                  <a:lnTo>
                    <a:pt x="416" y="398"/>
                  </a:lnTo>
                  <a:lnTo>
                    <a:pt x="416" y="395"/>
                  </a:lnTo>
                  <a:lnTo>
                    <a:pt x="416" y="392"/>
                  </a:lnTo>
                  <a:lnTo>
                    <a:pt x="416" y="390"/>
                  </a:lnTo>
                  <a:lnTo>
                    <a:pt x="416" y="384"/>
                  </a:lnTo>
                  <a:lnTo>
                    <a:pt x="419" y="384"/>
                  </a:lnTo>
                  <a:lnTo>
                    <a:pt x="419" y="384"/>
                  </a:lnTo>
                  <a:lnTo>
                    <a:pt x="419" y="382"/>
                  </a:lnTo>
                  <a:lnTo>
                    <a:pt x="422" y="382"/>
                  </a:lnTo>
                  <a:lnTo>
                    <a:pt x="424" y="382"/>
                  </a:lnTo>
                  <a:lnTo>
                    <a:pt x="424" y="379"/>
                  </a:lnTo>
                  <a:lnTo>
                    <a:pt x="424" y="379"/>
                  </a:lnTo>
                  <a:lnTo>
                    <a:pt x="424" y="376"/>
                  </a:lnTo>
                  <a:lnTo>
                    <a:pt x="424" y="376"/>
                  </a:lnTo>
                  <a:lnTo>
                    <a:pt x="427" y="376"/>
                  </a:lnTo>
                  <a:lnTo>
                    <a:pt x="427" y="376"/>
                  </a:lnTo>
                  <a:lnTo>
                    <a:pt x="430" y="376"/>
                  </a:lnTo>
                  <a:lnTo>
                    <a:pt x="430" y="374"/>
                  </a:lnTo>
                  <a:lnTo>
                    <a:pt x="427" y="371"/>
                  </a:lnTo>
                  <a:lnTo>
                    <a:pt x="430" y="371"/>
                  </a:lnTo>
                  <a:lnTo>
                    <a:pt x="430" y="371"/>
                  </a:lnTo>
                  <a:lnTo>
                    <a:pt x="430" y="371"/>
                  </a:lnTo>
                  <a:lnTo>
                    <a:pt x="432" y="368"/>
                  </a:lnTo>
                  <a:lnTo>
                    <a:pt x="430" y="368"/>
                  </a:lnTo>
                  <a:lnTo>
                    <a:pt x="430" y="368"/>
                  </a:lnTo>
                  <a:lnTo>
                    <a:pt x="430" y="368"/>
                  </a:lnTo>
                  <a:lnTo>
                    <a:pt x="430" y="366"/>
                  </a:lnTo>
                  <a:lnTo>
                    <a:pt x="427" y="366"/>
                  </a:lnTo>
                  <a:lnTo>
                    <a:pt x="422" y="363"/>
                  </a:lnTo>
                  <a:lnTo>
                    <a:pt x="419" y="360"/>
                  </a:lnTo>
                  <a:lnTo>
                    <a:pt x="419" y="360"/>
                  </a:lnTo>
                  <a:lnTo>
                    <a:pt x="419" y="355"/>
                  </a:lnTo>
                  <a:lnTo>
                    <a:pt x="419" y="355"/>
                  </a:lnTo>
                  <a:lnTo>
                    <a:pt x="419" y="352"/>
                  </a:lnTo>
                  <a:lnTo>
                    <a:pt x="419" y="352"/>
                  </a:lnTo>
                  <a:lnTo>
                    <a:pt x="419" y="350"/>
                  </a:lnTo>
                  <a:lnTo>
                    <a:pt x="419" y="347"/>
                  </a:lnTo>
                  <a:lnTo>
                    <a:pt x="419" y="347"/>
                  </a:lnTo>
                  <a:lnTo>
                    <a:pt x="416" y="344"/>
                  </a:lnTo>
                  <a:lnTo>
                    <a:pt x="416" y="342"/>
                  </a:lnTo>
                  <a:lnTo>
                    <a:pt x="414" y="336"/>
                  </a:lnTo>
                  <a:lnTo>
                    <a:pt x="414" y="336"/>
                  </a:lnTo>
                  <a:lnTo>
                    <a:pt x="411" y="334"/>
                  </a:lnTo>
                  <a:lnTo>
                    <a:pt x="403" y="323"/>
                  </a:lnTo>
                  <a:lnTo>
                    <a:pt x="403" y="323"/>
                  </a:lnTo>
                  <a:lnTo>
                    <a:pt x="403" y="320"/>
                  </a:lnTo>
                  <a:lnTo>
                    <a:pt x="400" y="320"/>
                  </a:lnTo>
                  <a:lnTo>
                    <a:pt x="400" y="320"/>
                  </a:lnTo>
                  <a:lnTo>
                    <a:pt x="400" y="317"/>
                  </a:lnTo>
                  <a:lnTo>
                    <a:pt x="400" y="315"/>
                  </a:lnTo>
                  <a:lnTo>
                    <a:pt x="398" y="312"/>
                  </a:lnTo>
                  <a:lnTo>
                    <a:pt x="395" y="307"/>
                  </a:lnTo>
                  <a:lnTo>
                    <a:pt x="395" y="307"/>
                  </a:lnTo>
                  <a:lnTo>
                    <a:pt x="395" y="304"/>
                  </a:lnTo>
                  <a:lnTo>
                    <a:pt x="392" y="304"/>
                  </a:lnTo>
                  <a:lnTo>
                    <a:pt x="395" y="301"/>
                  </a:lnTo>
                  <a:lnTo>
                    <a:pt x="392" y="301"/>
                  </a:lnTo>
                  <a:lnTo>
                    <a:pt x="390" y="299"/>
                  </a:lnTo>
                  <a:lnTo>
                    <a:pt x="390" y="299"/>
                  </a:lnTo>
                  <a:lnTo>
                    <a:pt x="390" y="296"/>
                  </a:lnTo>
                  <a:lnTo>
                    <a:pt x="390" y="296"/>
                  </a:lnTo>
                  <a:lnTo>
                    <a:pt x="387" y="296"/>
                  </a:lnTo>
                  <a:lnTo>
                    <a:pt x="387" y="291"/>
                  </a:lnTo>
                  <a:lnTo>
                    <a:pt x="382" y="280"/>
                  </a:lnTo>
                  <a:lnTo>
                    <a:pt x="382" y="280"/>
                  </a:lnTo>
                  <a:lnTo>
                    <a:pt x="382" y="275"/>
                  </a:lnTo>
                  <a:lnTo>
                    <a:pt x="382" y="275"/>
                  </a:lnTo>
                  <a:lnTo>
                    <a:pt x="382" y="272"/>
                  </a:lnTo>
                  <a:lnTo>
                    <a:pt x="379" y="267"/>
                  </a:lnTo>
                  <a:lnTo>
                    <a:pt x="376" y="264"/>
                  </a:lnTo>
                  <a:lnTo>
                    <a:pt x="376" y="256"/>
                  </a:lnTo>
                  <a:lnTo>
                    <a:pt x="374" y="248"/>
                  </a:lnTo>
                  <a:lnTo>
                    <a:pt x="371" y="240"/>
                  </a:lnTo>
                  <a:lnTo>
                    <a:pt x="368" y="232"/>
                  </a:lnTo>
                  <a:lnTo>
                    <a:pt x="366" y="221"/>
                  </a:lnTo>
                  <a:lnTo>
                    <a:pt x="360" y="211"/>
                  </a:lnTo>
                  <a:lnTo>
                    <a:pt x="358" y="200"/>
                  </a:lnTo>
                  <a:lnTo>
                    <a:pt x="355" y="187"/>
                  </a:lnTo>
                  <a:lnTo>
                    <a:pt x="350" y="176"/>
                  </a:lnTo>
                  <a:lnTo>
                    <a:pt x="347" y="163"/>
                  </a:lnTo>
                  <a:lnTo>
                    <a:pt x="342" y="149"/>
                  </a:lnTo>
                  <a:lnTo>
                    <a:pt x="339" y="138"/>
                  </a:lnTo>
                  <a:lnTo>
                    <a:pt x="334" y="125"/>
                  </a:lnTo>
                  <a:lnTo>
                    <a:pt x="331" y="112"/>
                  </a:lnTo>
                  <a:lnTo>
                    <a:pt x="326" y="98"/>
                  </a:lnTo>
                  <a:lnTo>
                    <a:pt x="323" y="88"/>
                  </a:lnTo>
                  <a:lnTo>
                    <a:pt x="320" y="74"/>
                  </a:lnTo>
                  <a:lnTo>
                    <a:pt x="315" y="64"/>
                  </a:lnTo>
                  <a:lnTo>
                    <a:pt x="312" y="53"/>
                  </a:lnTo>
                  <a:lnTo>
                    <a:pt x="310" y="42"/>
                  </a:lnTo>
                  <a:lnTo>
                    <a:pt x="307" y="34"/>
                  </a:lnTo>
                  <a:lnTo>
                    <a:pt x="304" y="26"/>
                  </a:lnTo>
                  <a:lnTo>
                    <a:pt x="302" y="18"/>
                  </a:lnTo>
                  <a:lnTo>
                    <a:pt x="299" y="13"/>
                  </a:lnTo>
                  <a:lnTo>
                    <a:pt x="299" y="8"/>
                  </a:lnTo>
                  <a:lnTo>
                    <a:pt x="296" y="2"/>
                  </a:lnTo>
                  <a:lnTo>
                    <a:pt x="296" y="0"/>
                  </a:lnTo>
                  <a:lnTo>
                    <a:pt x="296" y="0"/>
                  </a:lnTo>
                  <a:lnTo>
                    <a:pt x="277" y="2"/>
                  </a:lnTo>
                  <a:lnTo>
                    <a:pt x="259" y="5"/>
                  </a:lnTo>
                  <a:lnTo>
                    <a:pt x="243" y="5"/>
                  </a:lnTo>
                  <a:lnTo>
                    <a:pt x="224" y="8"/>
                  </a:lnTo>
                  <a:lnTo>
                    <a:pt x="205" y="10"/>
                  </a:lnTo>
                  <a:lnTo>
                    <a:pt x="187" y="13"/>
                  </a:lnTo>
                  <a:lnTo>
                    <a:pt x="168" y="16"/>
                  </a:lnTo>
                  <a:lnTo>
                    <a:pt x="152" y="16"/>
                  </a:lnTo>
                  <a:lnTo>
                    <a:pt x="133" y="18"/>
                  </a:lnTo>
                  <a:lnTo>
                    <a:pt x="115" y="21"/>
                  </a:lnTo>
                  <a:lnTo>
                    <a:pt x="96" y="21"/>
                  </a:lnTo>
                  <a:lnTo>
                    <a:pt x="77" y="24"/>
                  </a:lnTo>
                  <a:lnTo>
                    <a:pt x="61" y="26"/>
                  </a:lnTo>
                  <a:lnTo>
                    <a:pt x="43" y="26"/>
                  </a:lnTo>
                  <a:lnTo>
                    <a:pt x="24" y="29"/>
                  </a:lnTo>
                  <a:lnTo>
                    <a:pt x="5" y="32"/>
                  </a:lnTo>
                  <a:lnTo>
                    <a:pt x="3" y="32"/>
                  </a:lnTo>
                  <a:lnTo>
                    <a:pt x="0" y="32"/>
                  </a:lnTo>
                  <a:lnTo>
                    <a:pt x="3" y="34"/>
                  </a:lnTo>
                  <a:lnTo>
                    <a:pt x="5" y="40"/>
                  </a:lnTo>
                  <a:lnTo>
                    <a:pt x="8" y="45"/>
                  </a:lnTo>
                  <a:lnTo>
                    <a:pt x="13" y="48"/>
                  </a:lnTo>
                  <a:lnTo>
                    <a:pt x="13" y="48"/>
                  </a:lnTo>
                  <a:lnTo>
                    <a:pt x="13" y="48"/>
                  </a:lnTo>
                  <a:lnTo>
                    <a:pt x="13" y="56"/>
                  </a:lnTo>
                  <a:lnTo>
                    <a:pt x="13" y="58"/>
                  </a:lnTo>
                  <a:lnTo>
                    <a:pt x="13" y="72"/>
                  </a:lnTo>
                  <a:lnTo>
                    <a:pt x="13" y="82"/>
                  </a:lnTo>
                  <a:lnTo>
                    <a:pt x="13" y="93"/>
                  </a:lnTo>
                  <a:lnTo>
                    <a:pt x="13" y="106"/>
                  </a:lnTo>
                  <a:lnTo>
                    <a:pt x="13" y="120"/>
                  </a:lnTo>
                  <a:lnTo>
                    <a:pt x="13" y="136"/>
                  </a:lnTo>
                  <a:lnTo>
                    <a:pt x="13" y="152"/>
                  </a:lnTo>
                  <a:lnTo>
                    <a:pt x="13" y="168"/>
                  </a:lnTo>
                  <a:lnTo>
                    <a:pt x="13" y="187"/>
                  </a:lnTo>
                  <a:lnTo>
                    <a:pt x="13" y="205"/>
                  </a:lnTo>
                  <a:lnTo>
                    <a:pt x="13" y="224"/>
                  </a:lnTo>
                  <a:lnTo>
                    <a:pt x="13" y="245"/>
                  </a:lnTo>
                  <a:lnTo>
                    <a:pt x="13" y="283"/>
                  </a:lnTo>
                  <a:lnTo>
                    <a:pt x="13" y="304"/>
                  </a:lnTo>
                  <a:lnTo>
                    <a:pt x="13" y="323"/>
                  </a:lnTo>
                  <a:lnTo>
                    <a:pt x="13" y="342"/>
                  </a:lnTo>
                  <a:lnTo>
                    <a:pt x="13" y="360"/>
                  </a:lnTo>
                  <a:lnTo>
                    <a:pt x="13" y="376"/>
                  </a:lnTo>
                  <a:lnTo>
                    <a:pt x="13" y="392"/>
                  </a:lnTo>
                  <a:lnTo>
                    <a:pt x="13" y="408"/>
                  </a:lnTo>
                  <a:lnTo>
                    <a:pt x="13" y="422"/>
                  </a:lnTo>
                  <a:lnTo>
                    <a:pt x="13" y="435"/>
                  </a:lnTo>
                  <a:lnTo>
                    <a:pt x="13" y="446"/>
                  </a:lnTo>
                  <a:lnTo>
                    <a:pt x="13" y="456"/>
                  </a:lnTo>
                  <a:lnTo>
                    <a:pt x="13" y="464"/>
                  </a:lnTo>
                  <a:lnTo>
                    <a:pt x="13" y="470"/>
                  </a:lnTo>
                  <a:lnTo>
                    <a:pt x="13" y="472"/>
                  </a:lnTo>
                  <a:lnTo>
                    <a:pt x="13" y="475"/>
                  </a:lnTo>
                  <a:lnTo>
                    <a:pt x="16" y="486"/>
                  </a:lnTo>
                  <a:lnTo>
                    <a:pt x="16" y="499"/>
                  </a:lnTo>
                  <a:lnTo>
                    <a:pt x="19" y="513"/>
                  </a:lnTo>
                  <a:lnTo>
                    <a:pt x="21" y="526"/>
                  </a:lnTo>
                  <a:lnTo>
                    <a:pt x="24" y="539"/>
                  </a:lnTo>
                  <a:lnTo>
                    <a:pt x="24" y="553"/>
                  </a:lnTo>
                  <a:lnTo>
                    <a:pt x="29" y="579"/>
                  </a:lnTo>
                  <a:lnTo>
                    <a:pt x="29" y="593"/>
                  </a:lnTo>
                  <a:lnTo>
                    <a:pt x="32" y="603"/>
                  </a:lnTo>
                  <a:lnTo>
                    <a:pt x="35" y="617"/>
                  </a:lnTo>
                  <a:lnTo>
                    <a:pt x="37" y="630"/>
                  </a:lnTo>
                  <a:lnTo>
                    <a:pt x="40" y="643"/>
                  </a:lnTo>
                  <a:lnTo>
                    <a:pt x="40" y="657"/>
                  </a:lnTo>
                  <a:lnTo>
                    <a:pt x="45" y="684"/>
                  </a:lnTo>
                  <a:lnTo>
                    <a:pt x="48" y="681"/>
                  </a:lnTo>
                  <a:lnTo>
                    <a:pt x="51" y="681"/>
                  </a:lnTo>
                  <a:lnTo>
                    <a:pt x="53" y="681"/>
                  </a:lnTo>
                  <a:lnTo>
                    <a:pt x="56" y="684"/>
                  </a:lnTo>
                  <a:lnTo>
                    <a:pt x="56" y="684"/>
                  </a:lnTo>
                  <a:lnTo>
                    <a:pt x="56" y="681"/>
                  </a:lnTo>
                  <a:lnTo>
                    <a:pt x="56" y="681"/>
                  </a:lnTo>
                  <a:lnTo>
                    <a:pt x="56" y="681"/>
                  </a:lnTo>
                  <a:lnTo>
                    <a:pt x="56" y="681"/>
                  </a:lnTo>
                  <a:lnTo>
                    <a:pt x="59" y="681"/>
                  </a:lnTo>
                  <a:lnTo>
                    <a:pt x="67" y="681"/>
                  </a:lnTo>
                  <a:lnTo>
                    <a:pt x="72" y="684"/>
                  </a:lnTo>
                  <a:lnTo>
                    <a:pt x="69" y="686"/>
                  </a:lnTo>
                  <a:lnTo>
                    <a:pt x="69" y="686"/>
                  </a:lnTo>
                  <a:lnTo>
                    <a:pt x="72" y="689"/>
                  </a:lnTo>
                  <a:lnTo>
                    <a:pt x="75" y="689"/>
                  </a:lnTo>
                  <a:lnTo>
                    <a:pt x="75" y="689"/>
                  </a:lnTo>
                  <a:lnTo>
                    <a:pt x="77" y="686"/>
                  </a:lnTo>
                  <a:lnTo>
                    <a:pt x="77" y="689"/>
                  </a:lnTo>
                  <a:lnTo>
                    <a:pt x="77" y="689"/>
                  </a:lnTo>
                  <a:lnTo>
                    <a:pt x="77" y="689"/>
                  </a:lnTo>
                  <a:lnTo>
                    <a:pt x="80" y="689"/>
                  </a:lnTo>
                  <a:lnTo>
                    <a:pt x="80" y="686"/>
                  </a:lnTo>
                  <a:lnTo>
                    <a:pt x="80" y="676"/>
                  </a:lnTo>
                  <a:lnTo>
                    <a:pt x="80" y="670"/>
                  </a:lnTo>
                  <a:lnTo>
                    <a:pt x="80" y="667"/>
                  </a:lnTo>
                  <a:lnTo>
                    <a:pt x="80" y="662"/>
                  </a:lnTo>
                  <a:lnTo>
                    <a:pt x="80" y="659"/>
                  </a:lnTo>
                  <a:lnTo>
                    <a:pt x="80" y="659"/>
                  </a:lnTo>
                  <a:lnTo>
                    <a:pt x="80" y="657"/>
                  </a:lnTo>
                  <a:lnTo>
                    <a:pt x="80" y="657"/>
                  </a:lnTo>
                  <a:lnTo>
                    <a:pt x="80" y="654"/>
                  </a:lnTo>
                  <a:lnTo>
                    <a:pt x="80" y="651"/>
                  </a:lnTo>
                  <a:lnTo>
                    <a:pt x="80" y="651"/>
                  </a:lnTo>
                  <a:lnTo>
                    <a:pt x="83" y="649"/>
                  </a:lnTo>
                  <a:lnTo>
                    <a:pt x="83" y="649"/>
                  </a:lnTo>
                  <a:lnTo>
                    <a:pt x="83" y="646"/>
                  </a:lnTo>
                  <a:lnTo>
                    <a:pt x="83" y="643"/>
                  </a:lnTo>
                  <a:lnTo>
                    <a:pt x="83" y="641"/>
                  </a:lnTo>
                  <a:lnTo>
                    <a:pt x="83" y="641"/>
                  </a:lnTo>
                  <a:lnTo>
                    <a:pt x="85" y="638"/>
                  </a:lnTo>
                  <a:lnTo>
                    <a:pt x="83" y="635"/>
                  </a:lnTo>
                  <a:lnTo>
                    <a:pt x="85" y="635"/>
                  </a:lnTo>
                  <a:lnTo>
                    <a:pt x="85" y="633"/>
                  </a:lnTo>
                  <a:lnTo>
                    <a:pt x="85" y="630"/>
                  </a:lnTo>
                  <a:lnTo>
                    <a:pt x="85" y="630"/>
                  </a:lnTo>
                  <a:lnTo>
                    <a:pt x="85" y="630"/>
                  </a:lnTo>
                  <a:lnTo>
                    <a:pt x="88" y="630"/>
                  </a:lnTo>
                  <a:lnTo>
                    <a:pt x="88" y="633"/>
                  </a:lnTo>
                  <a:lnTo>
                    <a:pt x="88" y="635"/>
                  </a:lnTo>
                  <a:lnTo>
                    <a:pt x="88" y="635"/>
                  </a:lnTo>
                  <a:lnTo>
                    <a:pt x="88" y="635"/>
                  </a:lnTo>
                  <a:lnTo>
                    <a:pt x="91" y="635"/>
                  </a:lnTo>
                  <a:lnTo>
                    <a:pt x="91" y="635"/>
                  </a:lnTo>
                  <a:lnTo>
                    <a:pt x="93" y="638"/>
                  </a:lnTo>
                  <a:lnTo>
                    <a:pt x="96" y="638"/>
                  </a:lnTo>
                  <a:lnTo>
                    <a:pt x="101" y="649"/>
                  </a:lnTo>
                  <a:lnTo>
                    <a:pt x="101" y="651"/>
                  </a:lnTo>
                  <a:lnTo>
                    <a:pt x="101" y="654"/>
                  </a:lnTo>
                  <a:lnTo>
                    <a:pt x="101" y="657"/>
                  </a:lnTo>
                  <a:lnTo>
                    <a:pt x="99" y="659"/>
                  </a:lnTo>
                  <a:lnTo>
                    <a:pt x="99" y="662"/>
                  </a:lnTo>
                  <a:lnTo>
                    <a:pt x="99" y="665"/>
                  </a:lnTo>
                  <a:lnTo>
                    <a:pt x="99" y="665"/>
                  </a:lnTo>
                  <a:lnTo>
                    <a:pt x="101" y="665"/>
                  </a:lnTo>
                  <a:lnTo>
                    <a:pt x="101" y="667"/>
                  </a:lnTo>
                  <a:lnTo>
                    <a:pt x="101" y="667"/>
                  </a:lnTo>
                  <a:lnTo>
                    <a:pt x="101" y="670"/>
                  </a:lnTo>
                  <a:lnTo>
                    <a:pt x="104" y="673"/>
                  </a:lnTo>
                  <a:lnTo>
                    <a:pt x="104" y="673"/>
                  </a:lnTo>
                  <a:lnTo>
                    <a:pt x="104" y="676"/>
                  </a:lnTo>
                  <a:lnTo>
                    <a:pt x="107" y="676"/>
                  </a:lnTo>
                  <a:lnTo>
                    <a:pt x="107" y="676"/>
                  </a:lnTo>
                  <a:lnTo>
                    <a:pt x="109" y="676"/>
                  </a:lnTo>
                  <a:lnTo>
                    <a:pt x="109" y="676"/>
                  </a:lnTo>
                  <a:lnTo>
                    <a:pt x="112" y="676"/>
                  </a:lnTo>
                  <a:lnTo>
                    <a:pt x="112" y="676"/>
                  </a:lnTo>
                  <a:lnTo>
                    <a:pt x="112" y="676"/>
                  </a:lnTo>
                  <a:lnTo>
                    <a:pt x="112" y="673"/>
                  </a:lnTo>
                  <a:lnTo>
                    <a:pt x="112" y="673"/>
                  </a:lnTo>
                  <a:lnTo>
                    <a:pt x="115" y="673"/>
                  </a:lnTo>
                  <a:lnTo>
                    <a:pt x="115" y="673"/>
                  </a:lnTo>
                  <a:lnTo>
                    <a:pt x="115" y="673"/>
                  </a:lnTo>
                  <a:lnTo>
                    <a:pt x="115" y="678"/>
                  </a:lnTo>
                  <a:lnTo>
                    <a:pt x="115" y="678"/>
                  </a:lnTo>
                  <a:lnTo>
                    <a:pt x="115" y="681"/>
                  </a:lnTo>
                  <a:lnTo>
                    <a:pt x="123" y="686"/>
                  </a:lnTo>
                  <a:lnTo>
                    <a:pt x="123" y="689"/>
                  </a:lnTo>
                  <a:lnTo>
                    <a:pt x="120" y="692"/>
                  </a:lnTo>
                  <a:lnTo>
                    <a:pt x="115" y="694"/>
                  </a:lnTo>
                  <a:lnTo>
                    <a:pt x="109" y="697"/>
                  </a:lnTo>
                  <a:lnTo>
                    <a:pt x="107" y="697"/>
                  </a:lnTo>
                  <a:lnTo>
                    <a:pt x="104" y="694"/>
                  </a:lnTo>
                  <a:lnTo>
                    <a:pt x="101" y="694"/>
                  </a:lnTo>
                  <a:lnTo>
                    <a:pt x="101" y="697"/>
                  </a:lnTo>
                  <a:lnTo>
                    <a:pt x="101" y="697"/>
                  </a:lnTo>
                  <a:lnTo>
                    <a:pt x="96" y="697"/>
                  </a:lnTo>
                  <a:lnTo>
                    <a:pt x="93" y="700"/>
                  </a:lnTo>
                  <a:lnTo>
                    <a:pt x="93" y="702"/>
                  </a:lnTo>
                  <a:lnTo>
                    <a:pt x="96" y="700"/>
                  </a:lnTo>
                  <a:lnTo>
                    <a:pt x="107" y="697"/>
                  </a:lnTo>
                  <a:lnTo>
                    <a:pt x="123" y="697"/>
                  </a:lnTo>
                  <a:lnTo>
                    <a:pt x="136" y="692"/>
                  </a:lnTo>
                  <a:lnTo>
                    <a:pt x="144" y="689"/>
                  </a:lnTo>
                  <a:lnTo>
                    <a:pt x="147" y="684"/>
                  </a:lnTo>
                  <a:lnTo>
                    <a:pt x="147" y="684"/>
                  </a:lnTo>
                  <a:lnTo>
                    <a:pt x="144" y="684"/>
                  </a:lnTo>
                  <a:lnTo>
                    <a:pt x="144" y="684"/>
                  </a:lnTo>
                  <a:lnTo>
                    <a:pt x="141" y="684"/>
                  </a:lnTo>
                  <a:lnTo>
                    <a:pt x="141" y="681"/>
                  </a:lnTo>
                  <a:lnTo>
                    <a:pt x="141" y="681"/>
                  </a:lnTo>
                  <a:lnTo>
                    <a:pt x="141" y="678"/>
                  </a:lnTo>
                  <a:lnTo>
                    <a:pt x="141" y="676"/>
                  </a:lnTo>
                  <a:lnTo>
                    <a:pt x="141" y="676"/>
                  </a:lnTo>
                  <a:lnTo>
                    <a:pt x="141" y="678"/>
                  </a:lnTo>
                  <a:lnTo>
                    <a:pt x="144" y="678"/>
                  </a:lnTo>
                  <a:lnTo>
                    <a:pt x="144" y="681"/>
                  </a:lnTo>
                  <a:lnTo>
                    <a:pt x="144" y="681"/>
                  </a:lnTo>
                  <a:lnTo>
                    <a:pt x="147" y="681"/>
                  </a:lnTo>
                  <a:lnTo>
                    <a:pt x="147" y="681"/>
                  </a:lnTo>
                  <a:lnTo>
                    <a:pt x="149" y="681"/>
                  </a:lnTo>
                  <a:lnTo>
                    <a:pt x="152" y="678"/>
                  </a:lnTo>
                  <a:lnTo>
                    <a:pt x="152" y="676"/>
                  </a:lnTo>
                  <a:lnTo>
                    <a:pt x="155" y="676"/>
                  </a:lnTo>
                  <a:lnTo>
                    <a:pt x="157" y="676"/>
                  </a:lnTo>
                  <a:lnTo>
                    <a:pt x="157" y="673"/>
                  </a:lnTo>
                  <a:lnTo>
                    <a:pt x="160" y="670"/>
                  </a:lnTo>
                  <a:lnTo>
                    <a:pt x="160" y="667"/>
                  </a:lnTo>
                  <a:lnTo>
                    <a:pt x="165" y="662"/>
                  </a:lnTo>
                  <a:lnTo>
                    <a:pt x="165" y="662"/>
                  </a:lnTo>
                  <a:lnTo>
                    <a:pt x="165" y="662"/>
                  </a:lnTo>
                  <a:lnTo>
                    <a:pt x="165" y="659"/>
                  </a:lnTo>
                  <a:lnTo>
                    <a:pt x="163" y="659"/>
                  </a:lnTo>
                  <a:lnTo>
                    <a:pt x="163" y="659"/>
                  </a:lnTo>
                  <a:lnTo>
                    <a:pt x="160" y="657"/>
                  </a:lnTo>
                  <a:lnTo>
                    <a:pt x="160" y="657"/>
                  </a:lnTo>
                  <a:lnTo>
                    <a:pt x="163" y="657"/>
                  </a:lnTo>
                  <a:lnTo>
                    <a:pt x="163" y="657"/>
                  </a:lnTo>
                  <a:lnTo>
                    <a:pt x="160" y="651"/>
                  </a:lnTo>
                  <a:lnTo>
                    <a:pt x="157" y="649"/>
                  </a:lnTo>
                  <a:lnTo>
                    <a:pt x="157" y="649"/>
                  </a:lnTo>
                  <a:lnTo>
                    <a:pt x="157" y="646"/>
                  </a:lnTo>
                  <a:lnTo>
                    <a:pt x="160" y="643"/>
                  </a:lnTo>
                  <a:lnTo>
                    <a:pt x="160" y="638"/>
                  </a:lnTo>
                  <a:lnTo>
                    <a:pt x="160" y="633"/>
                  </a:lnTo>
                  <a:lnTo>
                    <a:pt x="160" y="633"/>
                  </a:lnTo>
                  <a:lnTo>
                    <a:pt x="160" y="630"/>
                  </a:lnTo>
                  <a:lnTo>
                    <a:pt x="160" y="630"/>
                  </a:lnTo>
                  <a:lnTo>
                    <a:pt x="160" y="630"/>
                  </a:lnTo>
                  <a:lnTo>
                    <a:pt x="149" y="625"/>
                  </a:lnTo>
                  <a:lnTo>
                    <a:pt x="147" y="622"/>
                  </a:lnTo>
                  <a:lnTo>
                    <a:pt x="144" y="622"/>
                  </a:lnTo>
                  <a:lnTo>
                    <a:pt x="141" y="617"/>
                  </a:lnTo>
                  <a:lnTo>
                    <a:pt x="141" y="617"/>
                  </a:lnTo>
                  <a:lnTo>
                    <a:pt x="133" y="611"/>
                  </a:lnTo>
                  <a:lnTo>
                    <a:pt x="133" y="609"/>
                  </a:lnTo>
                  <a:lnTo>
                    <a:pt x="131" y="606"/>
                  </a:lnTo>
                  <a:lnTo>
                    <a:pt x="131" y="606"/>
                  </a:lnTo>
                  <a:lnTo>
                    <a:pt x="131" y="606"/>
                  </a:lnTo>
                  <a:lnTo>
                    <a:pt x="131" y="603"/>
                  </a:lnTo>
                  <a:lnTo>
                    <a:pt x="131" y="603"/>
                  </a:lnTo>
                  <a:lnTo>
                    <a:pt x="131" y="601"/>
                  </a:lnTo>
                  <a:lnTo>
                    <a:pt x="133" y="595"/>
                  </a:lnTo>
                  <a:lnTo>
                    <a:pt x="133" y="595"/>
                  </a:lnTo>
                  <a:lnTo>
                    <a:pt x="133" y="590"/>
                  </a:lnTo>
                  <a:lnTo>
                    <a:pt x="133" y="587"/>
                  </a:lnTo>
                  <a:lnTo>
                    <a:pt x="139" y="587"/>
                  </a:lnTo>
                  <a:lnTo>
                    <a:pt x="157" y="585"/>
                  </a:lnTo>
                  <a:lnTo>
                    <a:pt x="176" y="582"/>
                  </a:lnTo>
                  <a:lnTo>
                    <a:pt x="195" y="579"/>
                  </a:lnTo>
                  <a:lnTo>
                    <a:pt x="213" y="577"/>
                  </a:lnTo>
                  <a:lnTo>
                    <a:pt x="232" y="574"/>
                  </a:lnTo>
                  <a:lnTo>
                    <a:pt x="253" y="574"/>
                  </a:lnTo>
                  <a:lnTo>
                    <a:pt x="272" y="571"/>
                  </a:lnTo>
                  <a:lnTo>
                    <a:pt x="291" y="569"/>
                  </a:lnTo>
                  <a:lnTo>
                    <a:pt x="310" y="566"/>
                  </a:lnTo>
                  <a:lnTo>
                    <a:pt x="328" y="563"/>
                  </a:lnTo>
                  <a:lnTo>
                    <a:pt x="347" y="561"/>
                  </a:lnTo>
                  <a:lnTo>
                    <a:pt x="366" y="558"/>
                  </a:lnTo>
                  <a:lnTo>
                    <a:pt x="384" y="555"/>
                  </a:lnTo>
                  <a:lnTo>
                    <a:pt x="406" y="553"/>
                  </a:lnTo>
                  <a:lnTo>
                    <a:pt x="424" y="550"/>
                  </a:lnTo>
                  <a:lnTo>
                    <a:pt x="443" y="547"/>
                  </a:lnTo>
                  <a:lnTo>
                    <a:pt x="443" y="547"/>
                  </a:lnTo>
                  <a:lnTo>
                    <a:pt x="443" y="547"/>
                  </a:lnTo>
                  <a:lnTo>
                    <a:pt x="443" y="545"/>
                  </a:lnTo>
                  <a:lnTo>
                    <a:pt x="443" y="545"/>
                  </a:lnTo>
                  <a:close/>
                </a:path>
              </a:pathLst>
            </a:custGeom>
            <a:grpFill/>
            <a:ln w="3175" cap="rnd">
              <a:solidFill>
                <a:srgbClr val="F9F9F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sp>
          <p:nvSpPr>
            <p:cNvPr id="158" name="Freeform 55">
              <a:extLst>
                <a:ext uri="{FF2B5EF4-FFF2-40B4-BE49-F238E27FC236}">
                  <a16:creationId xmlns="" xmlns:a16="http://schemas.microsoft.com/office/drawing/2014/main" id="{45D86087-4DF9-4135-AFBF-4304BA6B80E1}"/>
                </a:ext>
              </a:extLst>
            </p:cNvPr>
            <p:cNvSpPr>
              <a:spLocks noEditPoints="1"/>
            </p:cNvSpPr>
            <p:nvPr/>
          </p:nvSpPr>
          <p:spPr bwMode="auto">
            <a:xfrm>
              <a:off x="681" y="2808"/>
              <a:ext cx="2225" cy="1197"/>
            </a:xfrm>
            <a:custGeom>
              <a:avLst/>
              <a:gdLst>
                <a:gd name="T0" fmla="*/ 875 w 2225"/>
                <a:gd name="T1" fmla="*/ 1135 h 1197"/>
                <a:gd name="T2" fmla="*/ 846 w 2225"/>
                <a:gd name="T3" fmla="*/ 481 h 1197"/>
                <a:gd name="T4" fmla="*/ 800 w 2225"/>
                <a:gd name="T5" fmla="*/ 1146 h 1197"/>
                <a:gd name="T6" fmla="*/ 1027 w 2225"/>
                <a:gd name="T7" fmla="*/ 1093 h 1197"/>
                <a:gd name="T8" fmla="*/ 1112 w 2225"/>
                <a:gd name="T9" fmla="*/ 1109 h 1197"/>
                <a:gd name="T10" fmla="*/ 950 w 2225"/>
                <a:gd name="T11" fmla="*/ 1085 h 1197"/>
                <a:gd name="T12" fmla="*/ 299 w 2225"/>
                <a:gd name="T13" fmla="*/ 1151 h 1197"/>
                <a:gd name="T14" fmla="*/ 384 w 2225"/>
                <a:gd name="T15" fmla="*/ 1167 h 1197"/>
                <a:gd name="T16" fmla="*/ 8 w 2225"/>
                <a:gd name="T17" fmla="*/ 927 h 1197"/>
                <a:gd name="T18" fmla="*/ 680 w 2225"/>
                <a:gd name="T19" fmla="*/ 1183 h 1197"/>
                <a:gd name="T20" fmla="*/ 731 w 2225"/>
                <a:gd name="T21" fmla="*/ 1186 h 1197"/>
                <a:gd name="T22" fmla="*/ 504 w 2225"/>
                <a:gd name="T23" fmla="*/ 1191 h 1197"/>
                <a:gd name="T24" fmla="*/ 2116 w 2225"/>
                <a:gd name="T25" fmla="*/ 890 h 1197"/>
                <a:gd name="T26" fmla="*/ 1590 w 2225"/>
                <a:gd name="T27" fmla="*/ 75 h 1197"/>
                <a:gd name="T28" fmla="*/ 1355 w 2225"/>
                <a:gd name="T29" fmla="*/ 48 h 1197"/>
                <a:gd name="T30" fmla="*/ 1200 w 2225"/>
                <a:gd name="T31" fmla="*/ 40 h 1197"/>
                <a:gd name="T32" fmla="*/ 1102 w 2225"/>
                <a:gd name="T33" fmla="*/ 109 h 1197"/>
                <a:gd name="T34" fmla="*/ 1123 w 2225"/>
                <a:gd name="T35" fmla="*/ 318 h 1197"/>
                <a:gd name="T36" fmla="*/ 1019 w 2225"/>
                <a:gd name="T37" fmla="*/ 310 h 1197"/>
                <a:gd name="T38" fmla="*/ 1059 w 2225"/>
                <a:gd name="T39" fmla="*/ 449 h 1197"/>
                <a:gd name="T40" fmla="*/ 1003 w 2225"/>
                <a:gd name="T41" fmla="*/ 542 h 1197"/>
                <a:gd name="T42" fmla="*/ 974 w 2225"/>
                <a:gd name="T43" fmla="*/ 636 h 1197"/>
                <a:gd name="T44" fmla="*/ 955 w 2225"/>
                <a:gd name="T45" fmla="*/ 705 h 1197"/>
                <a:gd name="T46" fmla="*/ 1046 w 2225"/>
                <a:gd name="T47" fmla="*/ 820 h 1197"/>
                <a:gd name="T48" fmla="*/ 1147 w 2225"/>
                <a:gd name="T49" fmla="*/ 852 h 1197"/>
                <a:gd name="T50" fmla="*/ 1168 w 2225"/>
                <a:gd name="T51" fmla="*/ 946 h 1197"/>
                <a:gd name="T52" fmla="*/ 963 w 2225"/>
                <a:gd name="T53" fmla="*/ 1095 h 1197"/>
                <a:gd name="T54" fmla="*/ 1086 w 2225"/>
                <a:gd name="T55" fmla="*/ 1053 h 1197"/>
                <a:gd name="T56" fmla="*/ 1152 w 2225"/>
                <a:gd name="T57" fmla="*/ 1023 h 1197"/>
                <a:gd name="T58" fmla="*/ 1254 w 2225"/>
                <a:gd name="T59" fmla="*/ 938 h 1197"/>
                <a:gd name="T60" fmla="*/ 1318 w 2225"/>
                <a:gd name="T61" fmla="*/ 817 h 1197"/>
                <a:gd name="T62" fmla="*/ 1454 w 2225"/>
                <a:gd name="T63" fmla="*/ 670 h 1197"/>
                <a:gd name="T64" fmla="*/ 1441 w 2225"/>
                <a:gd name="T65" fmla="*/ 801 h 1197"/>
                <a:gd name="T66" fmla="*/ 1510 w 2225"/>
                <a:gd name="T67" fmla="*/ 745 h 1197"/>
                <a:gd name="T68" fmla="*/ 1515 w 2225"/>
                <a:gd name="T69" fmla="*/ 697 h 1197"/>
                <a:gd name="T70" fmla="*/ 1579 w 2225"/>
                <a:gd name="T71" fmla="*/ 705 h 1197"/>
                <a:gd name="T72" fmla="*/ 1798 w 2225"/>
                <a:gd name="T73" fmla="*/ 729 h 1197"/>
                <a:gd name="T74" fmla="*/ 1934 w 2225"/>
                <a:gd name="T75" fmla="*/ 807 h 1197"/>
                <a:gd name="T76" fmla="*/ 1942 w 2225"/>
                <a:gd name="T77" fmla="*/ 764 h 1197"/>
                <a:gd name="T78" fmla="*/ 2017 w 2225"/>
                <a:gd name="T79" fmla="*/ 775 h 1197"/>
                <a:gd name="T80" fmla="*/ 2084 w 2225"/>
                <a:gd name="T81" fmla="*/ 849 h 1197"/>
                <a:gd name="T82" fmla="*/ 2201 w 2225"/>
                <a:gd name="T83" fmla="*/ 948 h 1197"/>
                <a:gd name="T84" fmla="*/ 1094 w 2225"/>
                <a:gd name="T85" fmla="*/ 852 h 1197"/>
                <a:gd name="T86" fmla="*/ 2086 w 2225"/>
                <a:gd name="T87" fmla="*/ 946 h 1197"/>
                <a:gd name="T88" fmla="*/ 2092 w 2225"/>
                <a:gd name="T89" fmla="*/ 970 h 1197"/>
                <a:gd name="T90" fmla="*/ 2132 w 2225"/>
                <a:gd name="T91" fmla="*/ 943 h 1197"/>
                <a:gd name="T92" fmla="*/ 2124 w 2225"/>
                <a:gd name="T93" fmla="*/ 964 h 1197"/>
                <a:gd name="T94" fmla="*/ 2132 w 2225"/>
                <a:gd name="T95" fmla="*/ 999 h 1197"/>
                <a:gd name="T96" fmla="*/ 942 w 2225"/>
                <a:gd name="T97" fmla="*/ 598 h 1197"/>
                <a:gd name="T98" fmla="*/ 2129 w 2225"/>
                <a:gd name="T99" fmla="*/ 906 h 1197"/>
                <a:gd name="T100" fmla="*/ 1371 w 2225"/>
                <a:gd name="T101" fmla="*/ 900 h 1197"/>
                <a:gd name="T102" fmla="*/ 1518 w 2225"/>
                <a:gd name="T103" fmla="*/ 703 h 1197"/>
                <a:gd name="T104" fmla="*/ 1342 w 2225"/>
                <a:gd name="T105" fmla="*/ 919 h 1197"/>
                <a:gd name="T106" fmla="*/ 1339 w 2225"/>
                <a:gd name="T107" fmla="*/ 924 h 1197"/>
                <a:gd name="T108" fmla="*/ 1320 w 2225"/>
                <a:gd name="T109" fmla="*/ 983 h 1197"/>
                <a:gd name="T110" fmla="*/ 1942 w 2225"/>
                <a:gd name="T111" fmla="*/ 833 h 1197"/>
                <a:gd name="T112" fmla="*/ 1950 w 2225"/>
                <a:gd name="T113" fmla="*/ 809 h 1197"/>
                <a:gd name="T114" fmla="*/ 2028 w 2225"/>
                <a:gd name="T115" fmla="*/ 849 h 1197"/>
                <a:gd name="T116" fmla="*/ 2057 w 2225"/>
                <a:gd name="T117" fmla="*/ 946 h 1197"/>
                <a:gd name="T118" fmla="*/ 2054 w 2225"/>
                <a:gd name="T119" fmla="*/ 879 h 1197"/>
                <a:gd name="T120" fmla="*/ 1985 w 2225"/>
                <a:gd name="T121" fmla="*/ 868 h 1197"/>
                <a:gd name="T122" fmla="*/ 2009 w 2225"/>
                <a:gd name="T123" fmla="*/ 898 h 1197"/>
                <a:gd name="T124" fmla="*/ 1534 w 2225"/>
                <a:gd name="T125" fmla="*/ 775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5" h="1197">
                  <a:moveTo>
                    <a:pt x="904" y="337"/>
                  </a:moveTo>
                  <a:lnTo>
                    <a:pt x="907" y="337"/>
                  </a:lnTo>
                  <a:lnTo>
                    <a:pt x="907" y="337"/>
                  </a:lnTo>
                  <a:lnTo>
                    <a:pt x="907" y="334"/>
                  </a:lnTo>
                  <a:lnTo>
                    <a:pt x="907" y="334"/>
                  </a:lnTo>
                  <a:lnTo>
                    <a:pt x="907" y="334"/>
                  </a:lnTo>
                  <a:lnTo>
                    <a:pt x="904" y="334"/>
                  </a:lnTo>
                  <a:lnTo>
                    <a:pt x="904" y="334"/>
                  </a:lnTo>
                  <a:lnTo>
                    <a:pt x="904" y="337"/>
                  </a:lnTo>
                  <a:lnTo>
                    <a:pt x="904" y="337"/>
                  </a:lnTo>
                  <a:close/>
                  <a:moveTo>
                    <a:pt x="891" y="740"/>
                  </a:moveTo>
                  <a:lnTo>
                    <a:pt x="891" y="740"/>
                  </a:lnTo>
                  <a:lnTo>
                    <a:pt x="891" y="740"/>
                  </a:lnTo>
                  <a:lnTo>
                    <a:pt x="894" y="743"/>
                  </a:lnTo>
                  <a:lnTo>
                    <a:pt x="894" y="743"/>
                  </a:lnTo>
                  <a:lnTo>
                    <a:pt x="894" y="743"/>
                  </a:lnTo>
                  <a:lnTo>
                    <a:pt x="896" y="743"/>
                  </a:lnTo>
                  <a:lnTo>
                    <a:pt x="896" y="743"/>
                  </a:lnTo>
                  <a:lnTo>
                    <a:pt x="896" y="743"/>
                  </a:lnTo>
                  <a:lnTo>
                    <a:pt x="899" y="743"/>
                  </a:lnTo>
                  <a:lnTo>
                    <a:pt x="899" y="743"/>
                  </a:lnTo>
                  <a:lnTo>
                    <a:pt x="899" y="743"/>
                  </a:lnTo>
                  <a:lnTo>
                    <a:pt x="902" y="745"/>
                  </a:lnTo>
                  <a:lnTo>
                    <a:pt x="902" y="745"/>
                  </a:lnTo>
                  <a:lnTo>
                    <a:pt x="904" y="745"/>
                  </a:lnTo>
                  <a:lnTo>
                    <a:pt x="904" y="748"/>
                  </a:lnTo>
                  <a:lnTo>
                    <a:pt x="904" y="748"/>
                  </a:lnTo>
                  <a:lnTo>
                    <a:pt x="904" y="748"/>
                  </a:lnTo>
                  <a:lnTo>
                    <a:pt x="907" y="751"/>
                  </a:lnTo>
                  <a:lnTo>
                    <a:pt x="907" y="751"/>
                  </a:lnTo>
                  <a:lnTo>
                    <a:pt x="907" y="751"/>
                  </a:lnTo>
                  <a:lnTo>
                    <a:pt x="907" y="751"/>
                  </a:lnTo>
                  <a:lnTo>
                    <a:pt x="910" y="751"/>
                  </a:lnTo>
                  <a:lnTo>
                    <a:pt x="910" y="751"/>
                  </a:lnTo>
                  <a:lnTo>
                    <a:pt x="910" y="751"/>
                  </a:lnTo>
                  <a:lnTo>
                    <a:pt x="910" y="748"/>
                  </a:lnTo>
                  <a:lnTo>
                    <a:pt x="910" y="748"/>
                  </a:lnTo>
                  <a:lnTo>
                    <a:pt x="907" y="748"/>
                  </a:lnTo>
                  <a:lnTo>
                    <a:pt x="907" y="748"/>
                  </a:lnTo>
                  <a:lnTo>
                    <a:pt x="904" y="745"/>
                  </a:lnTo>
                  <a:lnTo>
                    <a:pt x="904" y="745"/>
                  </a:lnTo>
                  <a:lnTo>
                    <a:pt x="904" y="745"/>
                  </a:lnTo>
                  <a:lnTo>
                    <a:pt x="907" y="745"/>
                  </a:lnTo>
                  <a:lnTo>
                    <a:pt x="910" y="745"/>
                  </a:lnTo>
                  <a:lnTo>
                    <a:pt x="910" y="745"/>
                  </a:lnTo>
                  <a:lnTo>
                    <a:pt x="912" y="745"/>
                  </a:lnTo>
                  <a:lnTo>
                    <a:pt x="912" y="745"/>
                  </a:lnTo>
                  <a:lnTo>
                    <a:pt x="912" y="745"/>
                  </a:lnTo>
                  <a:lnTo>
                    <a:pt x="915" y="745"/>
                  </a:lnTo>
                  <a:lnTo>
                    <a:pt x="915" y="745"/>
                  </a:lnTo>
                  <a:lnTo>
                    <a:pt x="915" y="743"/>
                  </a:lnTo>
                  <a:lnTo>
                    <a:pt x="915" y="743"/>
                  </a:lnTo>
                  <a:lnTo>
                    <a:pt x="915" y="743"/>
                  </a:lnTo>
                  <a:lnTo>
                    <a:pt x="915" y="745"/>
                  </a:lnTo>
                  <a:lnTo>
                    <a:pt x="915" y="745"/>
                  </a:lnTo>
                  <a:lnTo>
                    <a:pt x="918" y="745"/>
                  </a:lnTo>
                  <a:lnTo>
                    <a:pt x="918" y="745"/>
                  </a:lnTo>
                  <a:lnTo>
                    <a:pt x="923" y="745"/>
                  </a:lnTo>
                  <a:lnTo>
                    <a:pt x="923" y="743"/>
                  </a:lnTo>
                  <a:lnTo>
                    <a:pt x="923" y="743"/>
                  </a:lnTo>
                  <a:lnTo>
                    <a:pt x="923" y="743"/>
                  </a:lnTo>
                  <a:lnTo>
                    <a:pt x="923" y="743"/>
                  </a:lnTo>
                  <a:lnTo>
                    <a:pt x="923" y="745"/>
                  </a:lnTo>
                  <a:lnTo>
                    <a:pt x="926" y="745"/>
                  </a:lnTo>
                  <a:lnTo>
                    <a:pt x="928" y="745"/>
                  </a:lnTo>
                  <a:lnTo>
                    <a:pt x="928" y="745"/>
                  </a:lnTo>
                  <a:lnTo>
                    <a:pt x="928" y="745"/>
                  </a:lnTo>
                  <a:lnTo>
                    <a:pt x="928" y="743"/>
                  </a:lnTo>
                  <a:lnTo>
                    <a:pt x="928" y="743"/>
                  </a:lnTo>
                  <a:lnTo>
                    <a:pt x="928" y="743"/>
                  </a:lnTo>
                  <a:lnTo>
                    <a:pt x="928" y="743"/>
                  </a:lnTo>
                  <a:lnTo>
                    <a:pt x="928" y="743"/>
                  </a:lnTo>
                  <a:lnTo>
                    <a:pt x="928" y="743"/>
                  </a:lnTo>
                  <a:lnTo>
                    <a:pt x="928" y="743"/>
                  </a:lnTo>
                  <a:lnTo>
                    <a:pt x="928" y="740"/>
                  </a:lnTo>
                  <a:lnTo>
                    <a:pt x="931" y="740"/>
                  </a:lnTo>
                  <a:lnTo>
                    <a:pt x="931" y="740"/>
                  </a:lnTo>
                  <a:lnTo>
                    <a:pt x="931" y="740"/>
                  </a:lnTo>
                  <a:lnTo>
                    <a:pt x="928" y="740"/>
                  </a:lnTo>
                  <a:lnTo>
                    <a:pt x="928" y="740"/>
                  </a:lnTo>
                  <a:lnTo>
                    <a:pt x="928" y="740"/>
                  </a:lnTo>
                  <a:lnTo>
                    <a:pt x="928" y="740"/>
                  </a:lnTo>
                  <a:lnTo>
                    <a:pt x="928" y="740"/>
                  </a:lnTo>
                  <a:lnTo>
                    <a:pt x="928" y="737"/>
                  </a:lnTo>
                  <a:lnTo>
                    <a:pt x="928" y="737"/>
                  </a:lnTo>
                  <a:lnTo>
                    <a:pt x="928" y="737"/>
                  </a:lnTo>
                  <a:lnTo>
                    <a:pt x="928" y="737"/>
                  </a:lnTo>
                  <a:lnTo>
                    <a:pt x="928" y="737"/>
                  </a:lnTo>
                  <a:lnTo>
                    <a:pt x="926" y="735"/>
                  </a:lnTo>
                  <a:lnTo>
                    <a:pt x="926" y="735"/>
                  </a:lnTo>
                  <a:lnTo>
                    <a:pt x="926" y="735"/>
                  </a:lnTo>
                  <a:lnTo>
                    <a:pt x="926" y="735"/>
                  </a:lnTo>
                  <a:lnTo>
                    <a:pt x="926" y="732"/>
                  </a:lnTo>
                  <a:lnTo>
                    <a:pt x="928" y="732"/>
                  </a:lnTo>
                  <a:lnTo>
                    <a:pt x="928" y="729"/>
                  </a:lnTo>
                  <a:lnTo>
                    <a:pt x="928" y="729"/>
                  </a:lnTo>
                  <a:lnTo>
                    <a:pt x="928" y="729"/>
                  </a:lnTo>
                  <a:lnTo>
                    <a:pt x="928" y="729"/>
                  </a:lnTo>
                  <a:lnTo>
                    <a:pt x="928" y="729"/>
                  </a:lnTo>
                  <a:lnTo>
                    <a:pt x="928" y="729"/>
                  </a:lnTo>
                  <a:lnTo>
                    <a:pt x="928" y="729"/>
                  </a:lnTo>
                  <a:lnTo>
                    <a:pt x="928" y="729"/>
                  </a:lnTo>
                  <a:lnTo>
                    <a:pt x="928" y="727"/>
                  </a:lnTo>
                  <a:lnTo>
                    <a:pt x="928" y="727"/>
                  </a:lnTo>
                  <a:lnTo>
                    <a:pt x="926" y="727"/>
                  </a:lnTo>
                  <a:lnTo>
                    <a:pt x="926" y="727"/>
                  </a:lnTo>
                  <a:lnTo>
                    <a:pt x="926" y="727"/>
                  </a:lnTo>
                  <a:lnTo>
                    <a:pt x="926" y="727"/>
                  </a:lnTo>
                  <a:lnTo>
                    <a:pt x="928" y="724"/>
                  </a:lnTo>
                  <a:lnTo>
                    <a:pt x="928" y="724"/>
                  </a:lnTo>
                  <a:lnTo>
                    <a:pt x="928" y="721"/>
                  </a:lnTo>
                  <a:lnTo>
                    <a:pt x="928" y="721"/>
                  </a:lnTo>
                  <a:lnTo>
                    <a:pt x="928" y="721"/>
                  </a:lnTo>
                  <a:lnTo>
                    <a:pt x="928" y="721"/>
                  </a:lnTo>
                  <a:lnTo>
                    <a:pt x="928" y="719"/>
                  </a:lnTo>
                  <a:lnTo>
                    <a:pt x="928" y="719"/>
                  </a:lnTo>
                  <a:lnTo>
                    <a:pt x="928" y="719"/>
                  </a:lnTo>
                  <a:lnTo>
                    <a:pt x="928" y="719"/>
                  </a:lnTo>
                  <a:lnTo>
                    <a:pt x="928" y="719"/>
                  </a:lnTo>
                  <a:lnTo>
                    <a:pt x="928" y="719"/>
                  </a:lnTo>
                  <a:lnTo>
                    <a:pt x="928" y="716"/>
                  </a:lnTo>
                  <a:lnTo>
                    <a:pt x="928" y="716"/>
                  </a:lnTo>
                  <a:lnTo>
                    <a:pt x="928" y="716"/>
                  </a:lnTo>
                  <a:lnTo>
                    <a:pt x="928" y="716"/>
                  </a:lnTo>
                  <a:lnTo>
                    <a:pt x="926" y="716"/>
                  </a:lnTo>
                  <a:lnTo>
                    <a:pt x="926" y="716"/>
                  </a:lnTo>
                  <a:lnTo>
                    <a:pt x="926" y="716"/>
                  </a:lnTo>
                  <a:lnTo>
                    <a:pt x="926" y="713"/>
                  </a:lnTo>
                  <a:lnTo>
                    <a:pt x="923" y="713"/>
                  </a:lnTo>
                  <a:lnTo>
                    <a:pt x="923" y="713"/>
                  </a:lnTo>
                  <a:lnTo>
                    <a:pt x="923" y="716"/>
                  </a:lnTo>
                  <a:lnTo>
                    <a:pt x="920" y="716"/>
                  </a:lnTo>
                  <a:lnTo>
                    <a:pt x="918" y="713"/>
                  </a:lnTo>
                  <a:lnTo>
                    <a:pt x="918" y="713"/>
                  </a:lnTo>
                  <a:lnTo>
                    <a:pt x="918" y="713"/>
                  </a:lnTo>
                  <a:lnTo>
                    <a:pt x="918" y="713"/>
                  </a:lnTo>
                  <a:lnTo>
                    <a:pt x="918" y="713"/>
                  </a:lnTo>
                  <a:lnTo>
                    <a:pt x="918" y="713"/>
                  </a:lnTo>
                  <a:lnTo>
                    <a:pt x="918" y="711"/>
                  </a:lnTo>
                  <a:lnTo>
                    <a:pt x="918" y="711"/>
                  </a:lnTo>
                  <a:lnTo>
                    <a:pt x="918" y="711"/>
                  </a:lnTo>
                  <a:lnTo>
                    <a:pt x="918" y="708"/>
                  </a:lnTo>
                  <a:lnTo>
                    <a:pt x="918" y="708"/>
                  </a:lnTo>
                  <a:lnTo>
                    <a:pt x="918" y="708"/>
                  </a:lnTo>
                  <a:lnTo>
                    <a:pt x="915" y="708"/>
                  </a:lnTo>
                  <a:lnTo>
                    <a:pt x="915" y="705"/>
                  </a:lnTo>
                  <a:lnTo>
                    <a:pt x="915" y="708"/>
                  </a:lnTo>
                  <a:lnTo>
                    <a:pt x="915" y="708"/>
                  </a:lnTo>
                  <a:lnTo>
                    <a:pt x="915" y="711"/>
                  </a:lnTo>
                  <a:lnTo>
                    <a:pt x="915" y="711"/>
                  </a:lnTo>
                  <a:lnTo>
                    <a:pt x="915" y="711"/>
                  </a:lnTo>
                  <a:lnTo>
                    <a:pt x="915" y="711"/>
                  </a:lnTo>
                  <a:lnTo>
                    <a:pt x="915" y="708"/>
                  </a:lnTo>
                  <a:lnTo>
                    <a:pt x="910" y="708"/>
                  </a:lnTo>
                  <a:lnTo>
                    <a:pt x="907" y="711"/>
                  </a:lnTo>
                  <a:lnTo>
                    <a:pt x="907" y="711"/>
                  </a:lnTo>
                  <a:lnTo>
                    <a:pt x="907" y="711"/>
                  </a:lnTo>
                  <a:lnTo>
                    <a:pt x="907" y="711"/>
                  </a:lnTo>
                  <a:lnTo>
                    <a:pt x="907" y="711"/>
                  </a:lnTo>
                  <a:lnTo>
                    <a:pt x="907" y="708"/>
                  </a:lnTo>
                  <a:lnTo>
                    <a:pt x="904" y="708"/>
                  </a:lnTo>
                  <a:lnTo>
                    <a:pt x="902" y="708"/>
                  </a:lnTo>
                  <a:lnTo>
                    <a:pt x="902" y="711"/>
                  </a:lnTo>
                  <a:lnTo>
                    <a:pt x="902" y="711"/>
                  </a:lnTo>
                  <a:lnTo>
                    <a:pt x="899" y="711"/>
                  </a:lnTo>
                  <a:lnTo>
                    <a:pt x="899" y="711"/>
                  </a:lnTo>
                  <a:lnTo>
                    <a:pt x="899" y="711"/>
                  </a:lnTo>
                  <a:lnTo>
                    <a:pt x="896" y="711"/>
                  </a:lnTo>
                  <a:lnTo>
                    <a:pt x="896" y="711"/>
                  </a:lnTo>
                  <a:lnTo>
                    <a:pt x="894" y="711"/>
                  </a:lnTo>
                  <a:lnTo>
                    <a:pt x="894" y="713"/>
                  </a:lnTo>
                  <a:lnTo>
                    <a:pt x="894" y="713"/>
                  </a:lnTo>
                  <a:lnTo>
                    <a:pt x="891" y="713"/>
                  </a:lnTo>
                  <a:lnTo>
                    <a:pt x="891" y="713"/>
                  </a:lnTo>
                  <a:lnTo>
                    <a:pt x="891" y="713"/>
                  </a:lnTo>
                  <a:lnTo>
                    <a:pt x="891" y="713"/>
                  </a:lnTo>
                  <a:lnTo>
                    <a:pt x="891" y="716"/>
                  </a:lnTo>
                  <a:lnTo>
                    <a:pt x="888" y="716"/>
                  </a:lnTo>
                  <a:lnTo>
                    <a:pt x="880" y="713"/>
                  </a:lnTo>
                  <a:lnTo>
                    <a:pt x="878" y="713"/>
                  </a:lnTo>
                  <a:lnTo>
                    <a:pt x="878" y="713"/>
                  </a:lnTo>
                  <a:lnTo>
                    <a:pt x="875" y="713"/>
                  </a:lnTo>
                  <a:lnTo>
                    <a:pt x="875" y="713"/>
                  </a:lnTo>
                  <a:lnTo>
                    <a:pt x="875" y="713"/>
                  </a:lnTo>
                  <a:lnTo>
                    <a:pt x="875" y="713"/>
                  </a:lnTo>
                  <a:lnTo>
                    <a:pt x="875" y="713"/>
                  </a:lnTo>
                  <a:lnTo>
                    <a:pt x="875" y="713"/>
                  </a:lnTo>
                  <a:lnTo>
                    <a:pt x="872" y="713"/>
                  </a:lnTo>
                  <a:lnTo>
                    <a:pt x="870" y="713"/>
                  </a:lnTo>
                  <a:lnTo>
                    <a:pt x="870" y="713"/>
                  </a:lnTo>
                  <a:lnTo>
                    <a:pt x="870" y="713"/>
                  </a:lnTo>
                  <a:lnTo>
                    <a:pt x="872" y="719"/>
                  </a:lnTo>
                  <a:lnTo>
                    <a:pt x="872" y="719"/>
                  </a:lnTo>
                  <a:lnTo>
                    <a:pt x="872" y="719"/>
                  </a:lnTo>
                  <a:lnTo>
                    <a:pt x="872" y="721"/>
                  </a:lnTo>
                  <a:lnTo>
                    <a:pt x="872" y="721"/>
                  </a:lnTo>
                  <a:lnTo>
                    <a:pt x="872" y="721"/>
                  </a:lnTo>
                  <a:lnTo>
                    <a:pt x="872" y="724"/>
                  </a:lnTo>
                  <a:lnTo>
                    <a:pt x="872" y="724"/>
                  </a:lnTo>
                  <a:lnTo>
                    <a:pt x="875" y="724"/>
                  </a:lnTo>
                  <a:lnTo>
                    <a:pt x="875" y="721"/>
                  </a:lnTo>
                  <a:lnTo>
                    <a:pt x="875" y="721"/>
                  </a:lnTo>
                  <a:lnTo>
                    <a:pt x="875" y="724"/>
                  </a:lnTo>
                  <a:lnTo>
                    <a:pt x="875" y="727"/>
                  </a:lnTo>
                  <a:lnTo>
                    <a:pt x="875" y="727"/>
                  </a:lnTo>
                  <a:lnTo>
                    <a:pt x="878" y="727"/>
                  </a:lnTo>
                  <a:lnTo>
                    <a:pt x="878" y="729"/>
                  </a:lnTo>
                  <a:lnTo>
                    <a:pt x="878" y="729"/>
                  </a:lnTo>
                  <a:lnTo>
                    <a:pt x="878" y="729"/>
                  </a:lnTo>
                  <a:lnTo>
                    <a:pt x="880" y="729"/>
                  </a:lnTo>
                  <a:lnTo>
                    <a:pt x="880" y="729"/>
                  </a:lnTo>
                  <a:lnTo>
                    <a:pt x="880" y="729"/>
                  </a:lnTo>
                  <a:lnTo>
                    <a:pt x="880" y="729"/>
                  </a:lnTo>
                  <a:lnTo>
                    <a:pt x="880" y="729"/>
                  </a:lnTo>
                  <a:lnTo>
                    <a:pt x="880" y="729"/>
                  </a:lnTo>
                  <a:lnTo>
                    <a:pt x="880" y="729"/>
                  </a:lnTo>
                  <a:lnTo>
                    <a:pt x="880" y="729"/>
                  </a:lnTo>
                  <a:lnTo>
                    <a:pt x="880" y="729"/>
                  </a:lnTo>
                  <a:lnTo>
                    <a:pt x="880" y="729"/>
                  </a:lnTo>
                  <a:lnTo>
                    <a:pt x="883" y="729"/>
                  </a:lnTo>
                  <a:lnTo>
                    <a:pt x="883" y="729"/>
                  </a:lnTo>
                  <a:lnTo>
                    <a:pt x="883" y="729"/>
                  </a:lnTo>
                  <a:lnTo>
                    <a:pt x="880" y="729"/>
                  </a:lnTo>
                  <a:lnTo>
                    <a:pt x="888" y="737"/>
                  </a:lnTo>
                  <a:lnTo>
                    <a:pt x="888" y="737"/>
                  </a:lnTo>
                  <a:lnTo>
                    <a:pt x="891" y="740"/>
                  </a:lnTo>
                  <a:close/>
                  <a:moveTo>
                    <a:pt x="854" y="1130"/>
                  </a:moveTo>
                  <a:lnTo>
                    <a:pt x="851" y="1130"/>
                  </a:lnTo>
                  <a:lnTo>
                    <a:pt x="851" y="1130"/>
                  </a:lnTo>
                  <a:lnTo>
                    <a:pt x="851" y="1130"/>
                  </a:lnTo>
                  <a:lnTo>
                    <a:pt x="851" y="1130"/>
                  </a:lnTo>
                  <a:lnTo>
                    <a:pt x="854" y="1130"/>
                  </a:lnTo>
                  <a:lnTo>
                    <a:pt x="854" y="1130"/>
                  </a:lnTo>
                  <a:lnTo>
                    <a:pt x="854" y="1127"/>
                  </a:lnTo>
                  <a:lnTo>
                    <a:pt x="851" y="1127"/>
                  </a:lnTo>
                  <a:lnTo>
                    <a:pt x="851" y="1127"/>
                  </a:lnTo>
                  <a:lnTo>
                    <a:pt x="851" y="1127"/>
                  </a:lnTo>
                  <a:lnTo>
                    <a:pt x="851" y="1127"/>
                  </a:lnTo>
                  <a:lnTo>
                    <a:pt x="848" y="1127"/>
                  </a:lnTo>
                  <a:lnTo>
                    <a:pt x="848" y="1125"/>
                  </a:lnTo>
                  <a:lnTo>
                    <a:pt x="848" y="1125"/>
                  </a:lnTo>
                  <a:lnTo>
                    <a:pt x="848" y="1125"/>
                  </a:lnTo>
                  <a:lnTo>
                    <a:pt x="848" y="1125"/>
                  </a:lnTo>
                  <a:lnTo>
                    <a:pt x="848" y="1125"/>
                  </a:lnTo>
                  <a:lnTo>
                    <a:pt x="848" y="1122"/>
                  </a:lnTo>
                  <a:lnTo>
                    <a:pt x="846" y="1122"/>
                  </a:lnTo>
                  <a:lnTo>
                    <a:pt x="846" y="1122"/>
                  </a:lnTo>
                  <a:lnTo>
                    <a:pt x="843" y="1125"/>
                  </a:lnTo>
                  <a:lnTo>
                    <a:pt x="840" y="1125"/>
                  </a:lnTo>
                  <a:lnTo>
                    <a:pt x="840" y="1125"/>
                  </a:lnTo>
                  <a:lnTo>
                    <a:pt x="840" y="1125"/>
                  </a:lnTo>
                  <a:lnTo>
                    <a:pt x="840" y="1127"/>
                  </a:lnTo>
                  <a:lnTo>
                    <a:pt x="840" y="1127"/>
                  </a:lnTo>
                  <a:lnTo>
                    <a:pt x="840" y="1127"/>
                  </a:lnTo>
                  <a:lnTo>
                    <a:pt x="838" y="1127"/>
                  </a:lnTo>
                  <a:lnTo>
                    <a:pt x="840" y="1130"/>
                  </a:lnTo>
                  <a:lnTo>
                    <a:pt x="840" y="1133"/>
                  </a:lnTo>
                  <a:lnTo>
                    <a:pt x="840" y="1133"/>
                  </a:lnTo>
                  <a:lnTo>
                    <a:pt x="840" y="1135"/>
                  </a:lnTo>
                  <a:lnTo>
                    <a:pt x="843" y="1135"/>
                  </a:lnTo>
                  <a:lnTo>
                    <a:pt x="843" y="1133"/>
                  </a:lnTo>
                  <a:lnTo>
                    <a:pt x="843" y="1133"/>
                  </a:lnTo>
                  <a:lnTo>
                    <a:pt x="843" y="1133"/>
                  </a:lnTo>
                  <a:lnTo>
                    <a:pt x="846" y="1133"/>
                  </a:lnTo>
                  <a:lnTo>
                    <a:pt x="846" y="1133"/>
                  </a:lnTo>
                  <a:lnTo>
                    <a:pt x="846" y="1133"/>
                  </a:lnTo>
                  <a:lnTo>
                    <a:pt x="846" y="1135"/>
                  </a:lnTo>
                  <a:lnTo>
                    <a:pt x="846" y="1135"/>
                  </a:lnTo>
                  <a:lnTo>
                    <a:pt x="846" y="1135"/>
                  </a:lnTo>
                  <a:lnTo>
                    <a:pt x="848" y="1135"/>
                  </a:lnTo>
                  <a:lnTo>
                    <a:pt x="848" y="1133"/>
                  </a:lnTo>
                  <a:lnTo>
                    <a:pt x="848" y="1133"/>
                  </a:lnTo>
                  <a:lnTo>
                    <a:pt x="851" y="1133"/>
                  </a:lnTo>
                  <a:lnTo>
                    <a:pt x="851" y="1135"/>
                  </a:lnTo>
                  <a:lnTo>
                    <a:pt x="851" y="1135"/>
                  </a:lnTo>
                  <a:lnTo>
                    <a:pt x="851" y="1135"/>
                  </a:lnTo>
                  <a:lnTo>
                    <a:pt x="856" y="1133"/>
                  </a:lnTo>
                  <a:lnTo>
                    <a:pt x="856" y="1133"/>
                  </a:lnTo>
                  <a:lnTo>
                    <a:pt x="856" y="1133"/>
                  </a:lnTo>
                  <a:lnTo>
                    <a:pt x="856" y="1133"/>
                  </a:lnTo>
                  <a:lnTo>
                    <a:pt x="856" y="1130"/>
                  </a:lnTo>
                  <a:lnTo>
                    <a:pt x="854" y="1130"/>
                  </a:lnTo>
                  <a:close/>
                  <a:moveTo>
                    <a:pt x="886" y="1135"/>
                  </a:moveTo>
                  <a:lnTo>
                    <a:pt x="886" y="1135"/>
                  </a:lnTo>
                  <a:lnTo>
                    <a:pt x="886" y="1135"/>
                  </a:lnTo>
                  <a:lnTo>
                    <a:pt x="883" y="1135"/>
                  </a:lnTo>
                  <a:lnTo>
                    <a:pt x="883" y="1135"/>
                  </a:lnTo>
                  <a:lnTo>
                    <a:pt x="883" y="1135"/>
                  </a:lnTo>
                  <a:lnTo>
                    <a:pt x="880" y="1135"/>
                  </a:lnTo>
                  <a:lnTo>
                    <a:pt x="880" y="1138"/>
                  </a:lnTo>
                  <a:lnTo>
                    <a:pt x="880" y="1135"/>
                  </a:lnTo>
                  <a:lnTo>
                    <a:pt x="880" y="1135"/>
                  </a:lnTo>
                  <a:lnTo>
                    <a:pt x="880" y="1135"/>
                  </a:lnTo>
                  <a:lnTo>
                    <a:pt x="880" y="1135"/>
                  </a:lnTo>
                  <a:lnTo>
                    <a:pt x="880" y="1135"/>
                  </a:lnTo>
                  <a:lnTo>
                    <a:pt x="878" y="1135"/>
                  </a:lnTo>
                  <a:lnTo>
                    <a:pt x="878" y="1135"/>
                  </a:lnTo>
                  <a:lnTo>
                    <a:pt x="878" y="1135"/>
                  </a:lnTo>
                  <a:lnTo>
                    <a:pt x="878" y="1135"/>
                  </a:lnTo>
                  <a:lnTo>
                    <a:pt x="878" y="1135"/>
                  </a:lnTo>
                  <a:lnTo>
                    <a:pt x="878" y="1135"/>
                  </a:lnTo>
                  <a:lnTo>
                    <a:pt x="878" y="1135"/>
                  </a:lnTo>
                  <a:lnTo>
                    <a:pt x="878" y="1135"/>
                  </a:lnTo>
                  <a:lnTo>
                    <a:pt x="875" y="1135"/>
                  </a:lnTo>
                  <a:lnTo>
                    <a:pt x="875" y="1135"/>
                  </a:lnTo>
                  <a:lnTo>
                    <a:pt x="875" y="1135"/>
                  </a:lnTo>
                  <a:lnTo>
                    <a:pt x="875" y="1135"/>
                  </a:lnTo>
                  <a:lnTo>
                    <a:pt x="875" y="1135"/>
                  </a:lnTo>
                  <a:lnTo>
                    <a:pt x="875" y="1135"/>
                  </a:lnTo>
                  <a:lnTo>
                    <a:pt x="875" y="1135"/>
                  </a:lnTo>
                  <a:lnTo>
                    <a:pt x="872" y="1138"/>
                  </a:lnTo>
                  <a:lnTo>
                    <a:pt x="875" y="1138"/>
                  </a:lnTo>
                  <a:lnTo>
                    <a:pt x="878" y="1138"/>
                  </a:lnTo>
                  <a:lnTo>
                    <a:pt x="878" y="1138"/>
                  </a:lnTo>
                  <a:lnTo>
                    <a:pt x="878" y="1138"/>
                  </a:lnTo>
                  <a:lnTo>
                    <a:pt x="878" y="1138"/>
                  </a:lnTo>
                  <a:lnTo>
                    <a:pt x="878" y="1138"/>
                  </a:lnTo>
                  <a:lnTo>
                    <a:pt x="878" y="1138"/>
                  </a:lnTo>
                  <a:lnTo>
                    <a:pt x="878" y="1138"/>
                  </a:lnTo>
                  <a:lnTo>
                    <a:pt x="880" y="1138"/>
                  </a:lnTo>
                  <a:lnTo>
                    <a:pt x="883" y="1141"/>
                  </a:lnTo>
                  <a:lnTo>
                    <a:pt x="883" y="1138"/>
                  </a:lnTo>
                  <a:lnTo>
                    <a:pt x="883" y="1138"/>
                  </a:lnTo>
                  <a:lnTo>
                    <a:pt x="886" y="1138"/>
                  </a:lnTo>
                  <a:lnTo>
                    <a:pt x="886" y="1138"/>
                  </a:lnTo>
                  <a:lnTo>
                    <a:pt x="886" y="1135"/>
                  </a:lnTo>
                  <a:lnTo>
                    <a:pt x="886" y="1135"/>
                  </a:lnTo>
                  <a:close/>
                  <a:moveTo>
                    <a:pt x="862" y="1138"/>
                  </a:moveTo>
                  <a:lnTo>
                    <a:pt x="862" y="1138"/>
                  </a:lnTo>
                  <a:lnTo>
                    <a:pt x="862" y="1135"/>
                  </a:lnTo>
                  <a:lnTo>
                    <a:pt x="862" y="1135"/>
                  </a:lnTo>
                  <a:lnTo>
                    <a:pt x="862" y="1135"/>
                  </a:lnTo>
                  <a:lnTo>
                    <a:pt x="859" y="1138"/>
                  </a:lnTo>
                  <a:lnTo>
                    <a:pt x="859" y="1138"/>
                  </a:lnTo>
                  <a:lnTo>
                    <a:pt x="859" y="1138"/>
                  </a:lnTo>
                  <a:lnTo>
                    <a:pt x="859" y="1138"/>
                  </a:lnTo>
                  <a:lnTo>
                    <a:pt x="862" y="1138"/>
                  </a:lnTo>
                  <a:lnTo>
                    <a:pt x="862" y="1138"/>
                  </a:lnTo>
                  <a:lnTo>
                    <a:pt x="862" y="1138"/>
                  </a:lnTo>
                  <a:lnTo>
                    <a:pt x="862" y="1138"/>
                  </a:lnTo>
                  <a:lnTo>
                    <a:pt x="862" y="1138"/>
                  </a:lnTo>
                  <a:close/>
                  <a:moveTo>
                    <a:pt x="862" y="1133"/>
                  </a:moveTo>
                  <a:lnTo>
                    <a:pt x="862" y="1133"/>
                  </a:lnTo>
                  <a:lnTo>
                    <a:pt x="862" y="1130"/>
                  </a:lnTo>
                  <a:lnTo>
                    <a:pt x="862" y="1130"/>
                  </a:lnTo>
                  <a:lnTo>
                    <a:pt x="862" y="1130"/>
                  </a:lnTo>
                  <a:lnTo>
                    <a:pt x="862" y="1130"/>
                  </a:lnTo>
                  <a:lnTo>
                    <a:pt x="864" y="1130"/>
                  </a:lnTo>
                  <a:lnTo>
                    <a:pt x="864" y="1130"/>
                  </a:lnTo>
                  <a:lnTo>
                    <a:pt x="864" y="1130"/>
                  </a:lnTo>
                  <a:lnTo>
                    <a:pt x="864" y="1130"/>
                  </a:lnTo>
                  <a:lnTo>
                    <a:pt x="864" y="1130"/>
                  </a:lnTo>
                  <a:lnTo>
                    <a:pt x="864" y="1130"/>
                  </a:lnTo>
                  <a:lnTo>
                    <a:pt x="867" y="1130"/>
                  </a:lnTo>
                  <a:lnTo>
                    <a:pt x="867" y="1130"/>
                  </a:lnTo>
                  <a:lnTo>
                    <a:pt x="867" y="1127"/>
                  </a:lnTo>
                  <a:lnTo>
                    <a:pt x="867" y="1127"/>
                  </a:lnTo>
                  <a:lnTo>
                    <a:pt x="862" y="1125"/>
                  </a:lnTo>
                  <a:lnTo>
                    <a:pt x="862" y="1125"/>
                  </a:lnTo>
                  <a:lnTo>
                    <a:pt x="864" y="1125"/>
                  </a:lnTo>
                  <a:lnTo>
                    <a:pt x="862" y="1125"/>
                  </a:lnTo>
                  <a:lnTo>
                    <a:pt x="862" y="1125"/>
                  </a:lnTo>
                  <a:lnTo>
                    <a:pt x="862" y="1125"/>
                  </a:lnTo>
                  <a:lnTo>
                    <a:pt x="862" y="1125"/>
                  </a:lnTo>
                  <a:lnTo>
                    <a:pt x="864" y="1122"/>
                  </a:lnTo>
                  <a:lnTo>
                    <a:pt x="864" y="1122"/>
                  </a:lnTo>
                  <a:lnTo>
                    <a:pt x="864" y="1122"/>
                  </a:lnTo>
                  <a:lnTo>
                    <a:pt x="864" y="1122"/>
                  </a:lnTo>
                  <a:lnTo>
                    <a:pt x="864" y="1122"/>
                  </a:lnTo>
                  <a:lnTo>
                    <a:pt x="864" y="1122"/>
                  </a:lnTo>
                  <a:lnTo>
                    <a:pt x="864" y="1122"/>
                  </a:lnTo>
                  <a:lnTo>
                    <a:pt x="864" y="1122"/>
                  </a:lnTo>
                  <a:lnTo>
                    <a:pt x="862" y="1122"/>
                  </a:lnTo>
                  <a:lnTo>
                    <a:pt x="862" y="1122"/>
                  </a:lnTo>
                  <a:lnTo>
                    <a:pt x="862" y="1122"/>
                  </a:lnTo>
                  <a:lnTo>
                    <a:pt x="862" y="1122"/>
                  </a:lnTo>
                  <a:lnTo>
                    <a:pt x="862" y="1122"/>
                  </a:lnTo>
                  <a:lnTo>
                    <a:pt x="862" y="1122"/>
                  </a:lnTo>
                  <a:lnTo>
                    <a:pt x="862" y="1122"/>
                  </a:lnTo>
                  <a:lnTo>
                    <a:pt x="862" y="1122"/>
                  </a:lnTo>
                  <a:lnTo>
                    <a:pt x="862" y="1119"/>
                  </a:lnTo>
                  <a:lnTo>
                    <a:pt x="862" y="1119"/>
                  </a:lnTo>
                  <a:lnTo>
                    <a:pt x="859" y="1119"/>
                  </a:lnTo>
                  <a:lnTo>
                    <a:pt x="859" y="1122"/>
                  </a:lnTo>
                  <a:lnTo>
                    <a:pt x="859" y="1122"/>
                  </a:lnTo>
                  <a:lnTo>
                    <a:pt x="859" y="1122"/>
                  </a:lnTo>
                  <a:lnTo>
                    <a:pt x="859" y="1122"/>
                  </a:lnTo>
                  <a:lnTo>
                    <a:pt x="859" y="1122"/>
                  </a:lnTo>
                  <a:lnTo>
                    <a:pt x="859" y="1122"/>
                  </a:lnTo>
                  <a:lnTo>
                    <a:pt x="856" y="1125"/>
                  </a:lnTo>
                  <a:lnTo>
                    <a:pt x="862" y="1125"/>
                  </a:lnTo>
                  <a:lnTo>
                    <a:pt x="862" y="1125"/>
                  </a:lnTo>
                  <a:lnTo>
                    <a:pt x="862" y="1125"/>
                  </a:lnTo>
                  <a:lnTo>
                    <a:pt x="859" y="1127"/>
                  </a:lnTo>
                  <a:lnTo>
                    <a:pt x="859" y="1127"/>
                  </a:lnTo>
                  <a:lnTo>
                    <a:pt x="859" y="1127"/>
                  </a:lnTo>
                  <a:lnTo>
                    <a:pt x="859" y="1130"/>
                  </a:lnTo>
                  <a:lnTo>
                    <a:pt x="859" y="1130"/>
                  </a:lnTo>
                  <a:lnTo>
                    <a:pt x="859" y="1130"/>
                  </a:lnTo>
                  <a:lnTo>
                    <a:pt x="859" y="1133"/>
                  </a:lnTo>
                  <a:lnTo>
                    <a:pt x="859" y="1133"/>
                  </a:lnTo>
                  <a:lnTo>
                    <a:pt x="862" y="1133"/>
                  </a:lnTo>
                  <a:close/>
                  <a:moveTo>
                    <a:pt x="872" y="1138"/>
                  </a:moveTo>
                  <a:lnTo>
                    <a:pt x="872" y="1135"/>
                  </a:lnTo>
                  <a:lnTo>
                    <a:pt x="867" y="1135"/>
                  </a:lnTo>
                  <a:lnTo>
                    <a:pt x="864" y="1135"/>
                  </a:lnTo>
                  <a:lnTo>
                    <a:pt x="864" y="1135"/>
                  </a:lnTo>
                  <a:lnTo>
                    <a:pt x="867" y="1135"/>
                  </a:lnTo>
                  <a:lnTo>
                    <a:pt x="867" y="1138"/>
                  </a:lnTo>
                  <a:lnTo>
                    <a:pt x="870" y="1138"/>
                  </a:lnTo>
                  <a:lnTo>
                    <a:pt x="870" y="1138"/>
                  </a:lnTo>
                  <a:lnTo>
                    <a:pt x="870" y="1138"/>
                  </a:lnTo>
                  <a:lnTo>
                    <a:pt x="870" y="1141"/>
                  </a:lnTo>
                  <a:lnTo>
                    <a:pt x="870" y="1138"/>
                  </a:lnTo>
                  <a:lnTo>
                    <a:pt x="870" y="1138"/>
                  </a:lnTo>
                  <a:lnTo>
                    <a:pt x="872" y="1138"/>
                  </a:lnTo>
                  <a:lnTo>
                    <a:pt x="872" y="1138"/>
                  </a:lnTo>
                  <a:lnTo>
                    <a:pt x="872" y="1138"/>
                  </a:lnTo>
                  <a:lnTo>
                    <a:pt x="872" y="1138"/>
                  </a:lnTo>
                  <a:lnTo>
                    <a:pt x="872" y="1138"/>
                  </a:lnTo>
                  <a:lnTo>
                    <a:pt x="872" y="1138"/>
                  </a:lnTo>
                  <a:lnTo>
                    <a:pt x="872" y="1138"/>
                  </a:lnTo>
                  <a:close/>
                  <a:moveTo>
                    <a:pt x="838" y="1138"/>
                  </a:moveTo>
                  <a:lnTo>
                    <a:pt x="838" y="1138"/>
                  </a:lnTo>
                  <a:lnTo>
                    <a:pt x="835" y="1135"/>
                  </a:lnTo>
                  <a:lnTo>
                    <a:pt x="835" y="1138"/>
                  </a:lnTo>
                  <a:lnTo>
                    <a:pt x="835" y="1138"/>
                  </a:lnTo>
                  <a:lnTo>
                    <a:pt x="835" y="1138"/>
                  </a:lnTo>
                  <a:lnTo>
                    <a:pt x="835" y="1138"/>
                  </a:lnTo>
                  <a:lnTo>
                    <a:pt x="835" y="1138"/>
                  </a:lnTo>
                  <a:lnTo>
                    <a:pt x="835" y="1138"/>
                  </a:lnTo>
                  <a:lnTo>
                    <a:pt x="838" y="1141"/>
                  </a:lnTo>
                  <a:lnTo>
                    <a:pt x="838" y="1138"/>
                  </a:lnTo>
                  <a:lnTo>
                    <a:pt x="838" y="1138"/>
                  </a:lnTo>
                  <a:lnTo>
                    <a:pt x="838" y="1138"/>
                  </a:lnTo>
                  <a:lnTo>
                    <a:pt x="838" y="1138"/>
                  </a:lnTo>
                  <a:close/>
                  <a:moveTo>
                    <a:pt x="816" y="478"/>
                  </a:moveTo>
                  <a:lnTo>
                    <a:pt x="824" y="483"/>
                  </a:lnTo>
                  <a:lnTo>
                    <a:pt x="824" y="489"/>
                  </a:lnTo>
                  <a:lnTo>
                    <a:pt x="827" y="491"/>
                  </a:lnTo>
                  <a:lnTo>
                    <a:pt x="824" y="486"/>
                  </a:lnTo>
                  <a:lnTo>
                    <a:pt x="824" y="483"/>
                  </a:lnTo>
                  <a:lnTo>
                    <a:pt x="816" y="478"/>
                  </a:lnTo>
                  <a:close/>
                  <a:moveTo>
                    <a:pt x="835" y="502"/>
                  </a:moveTo>
                  <a:lnTo>
                    <a:pt x="838" y="502"/>
                  </a:lnTo>
                  <a:lnTo>
                    <a:pt x="838" y="505"/>
                  </a:lnTo>
                  <a:lnTo>
                    <a:pt x="838" y="508"/>
                  </a:lnTo>
                  <a:lnTo>
                    <a:pt x="838" y="505"/>
                  </a:lnTo>
                  <a:lnTo>
                    <a:pt x="835" y="502"/>
                  </a:lnTo>
                  <a:close/>
                  <a:moveTo>
                    <a:pt x="784" y="467"/>
                  </a:moveTo>
                  <a:lnTo>
                    <a:pt x="787" y="470"/>
                  </a:lnTo>
                  <a:lnTo>
                    <a:pt x="787" y="473"/>
                  </a:lnTo>
                  <a:lnTo>
                    <a:pt x="787" y="473"/>
                  </a:lnTo>
                  <a:lnTo>
                    <a:pt x="789" y="473"/>
                  </a:lnTo>
                  <a:lnTo>
                    <a:pt x="789" y="475"/>
                  </a:lnTo>
                  <a:lnTo>
                    <a:pt x="789" y="475"/>
                  </a:lnTo>
                  <a:lnTo>
                    <a:pt x="789" y="475"/>
                  </a:lnTo>
                  <a:lnTo>
                    <a:pt x="792" y="475"/>
                  </a:lnTo>
                  <a:lnTo>
                    <a:pt x="792" y="475"/>
                  </a:lnTo>
                  <a:lnTo>
                    <a:pt x="792" y="475"/>
                  </a:lnTo>
                  <a:lnTo>
                    <a:pt x="792" y="475"/>
                  </a:lnTo>
                  <a:lnTo>
                    <a:pt x="795" y="478"/>
                  </a:lnTo>
                  <a:lnTo>
                    <a:pt x="795" y="478"/>
                  </a:lnTo>
                  <a:lnTo>
                    <a:pt x="797" y="478"/>
                  </a:lnTo>
                  <a:lnTo>
                    <a:pt x="797" y="475"/>
                  </a:lnTo>
                  <a:lnTo>
                    <a:pt x="797" y="475"/>
                  </a:lnTo>
                  <a:lnTo>
                    <a:pt x="800" y="475"/>
                  </a:lnTo>
                  <a:lnTo>
                    <a:pt x="800" y="475"/>
                  </a:lnTo>
                  <a:lnTo>
                    <a:pt x="800" y="475"/>
                  </a:lnTo>
                  <a:lnTo>
                    <a:pt x="800" y="475"/>
                  </a:lnTo>
                  <a:lnTo>
                    <a:pt x="803" y="475"/>
                  </a:lnTo>
                  <a:lnTo>
                    <a:pt x="806" y="473"/>
                  </a:lnTo>
                  <a:lnTo>
                    <a:pt x="806" y="473"/>
                  </a:lnTo>
                  <a:lnTo>
                    <a:pt x="806" y="473"/>
                  </a:lnTo>
                  <a:lnTo>
                    <a:pt x="808" y="473"/>
                  </a:lnTo>
                  <a:lnTo>
                    <a:pt x="808" y="473"/>
                  </a:lnTo>
                  <a:lnTo>
                    <a:pt x="808" y="473"/>
                  </a:lnTo>
                  <a:lnTo>
                    <a:pt x="808" y="473"/>
                  </a:lnTo>
                  <a:lnTo>
                    <a:pt x="814" y="473"/>
                  </a:lnTo>
                  <a:lnTo>
                    <a:pt x="814" y="473"/>
                  </a:lnTo>
                  <a:lnTo>
                    <a:pt x="814" y="473"/>
                  </a:lnTo>
                  <a:lnTo>
                    <a:pt x="814" y="475"/>
                  </a:lnTo>
                  <a:lnTo>
                    <a:pt x="816" y="475"/>
                  </a:lnTo>
                  <a:lnTo>
                    <a:pt x="816" y="475"/>
                  </a:lnTo>
                  <a:lnTo>
                    <a:pt x="816" y="475"/>
                  </a:lnTo>
                  <a:lnTo>
                    <a:pt x="819" y="478"/>
                  </a:lnTo>
                  <a:lnTo>
                    <a:pt x="819" y="478"/>
                  </a:lnTo>
                  <a:lnTo>
                    <a:pt x="819" y="478"/>
                  </a:lnTo>
                  <a:lnTo>
                    <a:pt x="819" y="478"/>
                  </a:lnTo>
                  <a:lnTo>
                    <a:pt x="819" y="478"/>
                  </a:lnTo>
                  <a:lnTo>
                    <a:pt x="822" y="478"/>
                  </a:lnTo>
                  <a:lnTo>
                    <a:pt x="824" y="483"/>
                  </a:lnTo>
                  <a:lnTo>
                    <a:pt x="824" y="483"/>
                  </a:lnTo>
                  <a:lnTo>
                    <a:pt x="827" y="486"/>
                  </a:lnTo>
                  <a:lnTo>
                    <a:pt x="830" y="489"/>
                  </a:lnTo>
                  <a:lnTo>
                    <a:pt x="830" y="489"/>
                  </a:lnTo>
                  <a:lnTo>
                    <a:pt x="830" y="489"/>
                  </a:lnTo>
                  <a:lnTo>
                    <a:pt x="830" y="489"/>
                  </a:lnTo>
                  <a:lnTo>
                    <a:pt x="830" y="491"/>
                  </a:lnTo>
                  <a:lnTo>
                    <a:pt x="830" y="491"/>
                  </a:lnTo>
                  <a:lnTo>
                    <a:pt x="830" y="491"/>
                  </a:lnTo>
                  <a:lnTo>
                    <a:pt x="830" y="494"/>
                  </a:lnTo>
                  <a:lnTo>
                    <a:pt x="830" y="494"/>
                  </a:lnTo>
                  <a:lnTo>
                    <a:pt x="830" y="494"/>
                  </a:lnTo>
                  <a:lnTo>
                    <a:pt x="827" y="494"/>
                  </a:lnTo>
                  <a:lnTo>
                    <a:pt x="827" y="494"/>
                  </a:lnTo>
                  <a:lnTo>
                    <a:pt x="827" y="494"/>
                  </a:lnTo>
                  <a:lnTo>
                    <a:pt x="827" y="494"/>
                  </a:lnTo>
                  <a:lnTo>
                    <a:pt x="830" y="497"/>
                  </a:lnTo>
                  <a:lnTo>
                    <a:pt x="830" y="497"/>
                  </a:lnTo>
                  <a:lnTo>
                    <a:pt x="830" y="497"/>
                  </a:lnTo>
                  <a:lnTo>
                    <a:pt x="832" y="497"/>
                  </a:lnTo>
                  <a:lnTo>
                    <a:pt x="832" y="494"/>
                  </a:lnTo>
                  <a:lnTo>
                    <a:pt x="832" y="497"/>
                  </a:lnTo>
                  <a:lnTo>
                    <a:pt x="832" y="497"/>
                  </a:lnTo>
                  <a:lnTo>
                    <a:pt x="832" y="497"/>
                  </a:lnTo>
                  <a:lnTo>
                    <a:pt x="832" y="497"/>
                  </a:lnTo>
                  <a:lnTo>
                    <a:pt x="832" y="497"/>
                  </a:lnTo>
                  <a:lnTo>
                    <a:pt x="832" y="497"/>
                  </a:lnTo>
                  <a:lnTo>
                    <a:pt x="832" y="497"/>
                  </a:lnTo>
                  <a:lnTo>
                    <a:pt x="835" y="499"/>
                  </a:lnTo>
                  <a:lnTo>
                    <a:pt x="835" y="499"/>
                  </a:lnTo>
                  <a:lnTo>
                    <a:pt x="835" y="499"/>
                  </a:lnTo>
                  <a:lnTo>
                    <a:pt x="838" y="502"/>
                  </a:lnTo>
                  <a:lnTo>
                    <a:pt x="840" y="502"/>
                  </a:lnTo>
                  <a:lnTo>
                    <a:pt x="840" y="505"/>
                  </a:lnTo>
                  <a:lnTo>
                    <a:pt x="840" y="508"/>
                  </a:lnTo>
                  <a:lnTo>
                    <a:pt x="840" y="508"/>
                  </a:lnTo>
                  <a:lnTo>
                    <a:pt x="840" y="508"/>
                  </a:lnTo>
                  <a:lnTo>
                    <a:pt x="840" y="508"/>
                  </a:lnTo>
                  <a:lnTo>
                    <a:pt x="840" y="510"/>
                  </a:lnTo>
                  <a:lnTo>
                    <a:pt x="840" y="510"/>
                  </a:lnTo>
                  <a:lnTo>
                    <a:pt x="840" y="510"/>
                  </a:lnTo>
                  <a:lnTo>
                    <a:pt x="840" y="510"/>
                  </a:lnTo>
                  <a:lnTo>
                    <a:pt x="840" y="510"/>
                  </a:lnTo>
                  <a:lnTo>
                    <a:pt x="840" y="513"/>
                  </a:lnTo>
                  <a:lnTo>
                    <a:pt x="840" y="513"/>
                  </a:lnTo>
                  <a:lnTo>
                    <a:pt x="838" y="513"/>
                  </a:lnTo>
                  <a:lnTo>
                    <a:pt x="840" y="513"/>
                  </a:lnTo>
                  <a:lnTo>
                    <a:pt x="840" y="516"/>
                  </a:lnTo>
                  <a:lnTo>
                    <a:pt x="840" y="516"/>
                  </a:lnTo>
                  <a:lnTo>
                    <a:pt x="840" y="516"/>
                  </a:lnTo>
                  <a:lnTo>
                    <a:pt x="843" y="516"/>
                  </a:lnTo>
                  <a:lnTo>
                    <a:pt x="843" y="513"/>
                  </a:lnTo>
                  <a:lnTo>
                    <a:pt x="843" y="513"/>
                  </a:lnTo>
                  <a:lnTo>
                    <a:pt x="846" y="513"/>
                  </a:lnTo>
                  <a:lnTo>
                    <a:pt x="846" y="513"/>
                  </a:lnTo>
                  <a:lnTo>
                    <a:pt x="846" y="513"/>
                  </a:lnTo>
                  <a:lnTo>
                    <a:pt x="846" y="510"/>
                  </a:lnTo>
                  <a:lnTo>
                    <a:pt x="846" y="510"/>
                  </a:lnTo>
                  <a:lnTo>
                    <a:pt x="846" y="510"/>
                  </a:lnTo>
                  <a:lnTo>
                    <a:pt x="846" y="508"/>
                  </a:lnTo>
                  <a:lnTo>
                    <a:pt x="846" y="508"/>
                  </a:lnTo>
                  <a:lnTo>
                    <a:pt x="848" y="508"/>
                  </a:lnTo>
                  <a:lnTo>
                    <a:pt x="848" y="508"/>
                  </a:lnTo>
                  <a:lnTo>
                    <a:pt x="851" y="508"/>
                  </a:lnTo>
                  <a:lnTo>
                    <a:pt x="851" y="505"/>
                  </a:lnTo>
                  <a:lnTo>
                    <a:pt x="851" y="505"/>
                  </a:lnTo>
                  <a:lnTo>
                    <a:pt x="851" y="505"/>
                  </a:lnTo>
                  <a:lnTo>
                    <a:pt x="851" y="505"/>
                  </a:lnTo>
                  <a:lnTo>
                    <a:pt x="854" y="502"/>
                  </a:lnTo>
                  <a:lnTo>
                    <a:pt x="856" y="502"/>
                  </a:lnTo>
                  <a:lnTo>
                    <a:pt x="862" y="502"/>
                  </a:lnTo>
                  <a:lnTo>
                    <a:pt x="859" y="502"/>
                  </a:lnTo>
                  <a:lnTo>
                    <a:pt x="859" y="502"/>
                  </a:lnTo>
                  <a:lnTo>
                    <a:pt x="856" y="502"/>
                  </a:lnTo>
                  <a:lnTo>
                    <a:pt x="856" y="502"/>
                  </a:lnTo>
                  <a:lnTo>
                    <a:pt x="854" y="505"/>
                  </a:lnTo>
                  <a:lnTo>
                    <a:pt x="856" y="502"/>
                  </a:lnTo>
                  <a:lnTo>
                    <a:pt x="864" y="505"/>
                  </a:lnTo>
                  <a:lnTo>
                    <a:pt x="864" y="505"/>
                  </a:lnTo>
                  <a:lnTo>
                    <a:pt x="864" y="505"/>
                  </a:lnTo>
                  <a:lnTo>
                    <a:pt x="864" y="505"/>
                  </a:lnTo>
                  <a:lnTo>
                    <a:pt x="870" y="508"/>
                  </a:lnTo>
                  <a:lnTo>
                    <a:pt x="870" y="508"/>
                  </a:lnTo>
                  <a:lnTo>
                    <a:pt x="872" y="505"/>
                  </a:lnTo>
                  <a:lnTo>
                    <a:pt x="872" y="502"/>
                  </a:lnTo>
                  <a:lnTo>
                    <a:pt x="875" y="502"/>
                  </a:lnTo>
                  <a:lnTo>
                    <a:pt x="872" y="499"/>
                  </a:lnTo>
                  <a:lnTo>
                    <a:pt x="875" y="499"/>
                  </a:lnTo>
                  <a:lnTo>
                    <a:pt x="875" y="499"/>
                  </a:lnTo>
                  <a:lnTo>
                    <a:pt x="875" y="499"/>
                  </a:lnTo>
                  <a:lnTo>
                    <a:pt x="875" y="497"/>
                  </a:lnTo>
                  <a:lnTo>
                    <a:pt x="867" y="494"/>
                  </a:lnTo>
                  <a:lnTo>
                    <a:pt x="867" y="494"/>
                  </a:lnTo>
                  <a:lnTo>
                    <a:pt x="867" y="494"/>
                  </a:lnTo>
                  <a:lnTo>
                    <a:pt x="864" y="494"/>
                  </a:lnTo>
                  <a:lnTo>
                    <a:pt x="862" y="491"/>
                  </a:lnTo>
                  <a:lnTo>
                    <a:pt x="862" y="491"/>
                  </a:lnTo>
                  <a:lnTo>
                    <a:pt x="862" y="494"/>
                  </a:lnTo>
                  <a:lnTo>
                    <a:pt x="864" y="494"/>
                  </a:lnTo>
                  <a:lnTo>
                    <a:pt x="864" y="494"/>
                  </a:lnTo>
                  <a:lnTo>
                    <a:pt x="864" y="497"/>
                  </a:lnTo>
                  <a:lnTo>
                    <a:pt x="862" y="497"/>
                  </a:lnTo>
                  <a:lnTo>
                    <a:pt x="862" y="497"/>
                  </a:lnTo>
                  <a:lnTo>
                    <a:pt x="859" y="494"/>
                  </a:lnTo>
                  <a:lnTo>
                    <a:pt x="859" y="491"/>
                  </a:lnTo>
                  <a:lnTo>
                    <a:pt x="859" y="491"/>
                  </a:lnTo>
                  <a:lnTo>
                    <a:pt x="856" y="491"/>
                  </a:lnTo>
                  <a:lnTo>
                    <a:pt x="854" y="489"/>
                  </a:lnTo>
                  <a:lnTo>
                    <a:pt x="854" y="489"/>
                  </a:lnTo>
                  <a:lnTo>
                    <a:pt x="854" y="491"/>
                  </a:lnTo>
                  <a:lnTo>
                    <a:pt x="854" y="491"/>
                  </a:lnTo>
                  <a:lnTo>
                    <a:pt x="854" y="491"/>
                  </a:lnTo>
                  <a:lnTo>
                    <a:pt x="851" y="489"/>
                  </a:lnTo>
                  <a:lnTo>
                    <a:pt x="851" y="489"/>
                  </a:lnTo>
                  <a:lnTo>
                    <a:pt x="851" y="489"/>
                  </a:lnTo>
                  <a:lnTo>
                    <a:pt x="851" y="486"/>
                  </a:lnTo>
                  <a:lnTo>
                    <a:pt x="851" y="483"/>
                  </a:lnTo>
                  <a:lnTo>
                    <a:pt x="848" y="483"/>
                  </a:lnTo>
                  <a:lnTo>
                    <a:pt x="846" y="483"/>
                  </a:lnTo>
                  <a:lnTo>
                    <a:pt x="843" y="481"/>
                  </a:lnTo>
                  <a:lnTo>
                    <a:pt x="846" y="481"/>
                  </a:lnTo>
                  <a:lnTo>
                    <a:pt x="846" y="481"/>
                  </a:lnTo>
                  <a:lnTo>
                    <a:pt x="846" y="481"/>
                  </a:lnTo>
                  <a:lnTo>
                    <a:pt x="843" y="481"/>
                  </a:lnTo>
                  <a:lnTo>
                    <a:pt x="843" y="481"/>
                  </a:lnTo>
                  <a:lnTo>
                    <a:pt x="840" y="478"/>
                  </a:lnTo>
                  <a:lnTo>
                    <a:pt x="838" y="475"/>
                  </a:lnTo>
                  <a:lnTo>
                    <a:pt x="838" y="475"/>
                  </a:lnTo>
                  <a:lnTo>
                    <a:pt x="838" y="478"/>
                  </a:lnTo>
                  <a:lnTo>
                    <a:pt x="838" y="475"/>
                  </a:lnTo>
                  <a:lnTo>
                    <a:pt x="838" y="475"/>
                  </a:lnTo>
                  <a:lnTo>
                    <a:pt x="840" y="475"/>
                  </a:lnTo>
                  <a:lnTo>
                    <a:pt x="840" y="473"/>
                  </a:lnTo>
                  <a:lnTo>
                    <a:pt x="840" y="473"/>
                  </a:lnTo>
                  <a:lnTo>
                    <a:pt x="840" y="473"/>
                  </a:lnTo>
                  <a:lnTo>
                    <a:pt x="840" y="473"/>
                  </a:lnTo>
                  <a:lnTo>
                    <a:pt x="840" y="473"/>
                  </a:lnTo>
                  <a:lnTo>
                    <a:pt x="840" y="470"/>
                  </a:lnTo>
                  <a:lnTo>
                    <a:pt x="840" y="470"/>
                  </a:lnTo>
                  <a:lnTo>
                    <a:pt x="840" y="467"/>
                  </a:lnTo>
                  <a:lnTo>
                    <a:pt x="838" y="467"/>
                  </a:lnTo>
                  <a:lnTo>
                    <a:pt x="838" y="467"/>
                  </a:lnTo>
                  <a:lnTo>
                    <a:pt x="838" y="467"/>
                  </a:lnTo>
                  <a:lnTo>
                    <a:pt x="835" y="465"/>
                  </a:lnTo>
                  <a:lnTo>
                    <a:pt x="835" y="462"/>
                  </a:lnTo>
                  <a:lnTo>
                    <a:pt x="835" y="462"/>
                  </a:lnTo>
                  <a:lnTo>
                    <a:pt x="835" y="462"/>
                  </a:lnTo>
                  <a:lnTo>
                    <a:pt x="835" y="462"/>
                  </a:lnTo>
                  <a:lnTo>
                    <a:pt x="835" y="462"/>
                  </a:lnTo>
                  <a:lnTo>
                    <a:pt x="832" y="462"/>
                  </a:lnTo>
                  <a:lnTo>
                    <a:pt x="832" y="462"/>
                  </a:lnTo>
                  <a:lnTo>
                    <a:pt x="832" y="462"/>
                  </a:lnTo>
                  <a:lnTo>
                    <a:pt x="830" y="459"/>
                  </a:lnTo>
                  <a:lnTo>
                    <a:pt x="830" y="459"/>
                  </a:lnTo>
                  <a:lnTo>
                    <a:pt x="830" y="459"/>
                  </a:lnTo>
                  <a:lnTo>
                    <a:pt x="830" y="459"/>
                  </a:lnTo>
                  <a:lnTo>
                    <a:pt x="824" y="462"/>
                  </a:lnTo>
                  <a:lnTo>
                    <a:pt x="824" y="462"/>
                  </a:lnTo>
                  <a:lnTo>
                    <a:pt x="824" y="459"/>
                  </a:lnTo>
                  <a:lnTo>
                    <a:pt x="824" y="459"/>
                  </a:lnTo>
                  <a:lnTo>
                    <a:pt x="822" y="462"/>
                  </a:lnTo>
                  <a:lnTo>
                    <a:pt x="819" y="462"/>
                  </a:lnTo>
                  <a:lnTo>
                    <a:pt x="816" y="465"/>
                  </a:lnTo>
                  <a:lnTo>
                    <a:pt x="816" y="465"/>
                  </a:lnTo>
                  <a:lnTo>
                    <a:pt x="814" y="465"/>
                  </a:lnTo>
                  <a:lnTo>
                    <a:pt x="814" y="465"/>
                  </a:lnTo>
                  <a:lnTo>
                    <a:pt x="814" y="465"/>
                  </a:lnTo>
                  <a:lnTo>
                    <a:pt x="814" y="465"/>
                  </a:lnTo>
                  <a:lnTo>
                    <a:pt x="814" y="465"/>
                  </a:lnTo>
                  <a:lnTo>
                    <a:pt x="808" y="462"/>
                  </a:lnTo>
                  <a:lnTo>
                    <a:pt x="808" y="462"/>
                  </a:lnTo>
                  <a:lnTo>
                    <a:pt x="808" y="462"/>
                  </a:lnTo>
                  <a:lnTo>
                    <a:pt x="808" y="462"/>
                  </a:lnTo>
                  <a:lnTo>
                    <a:pt x="808" y="462"/>
                  </a:lnTo>
                  <a:lnTo>
                    <a:pt x="808" y="462"/>
                  </a:lnTo>
                  <a:lnTo>
                    <a:pt x="808" y="462"/>
                  </a:lnTo>
                  <a:lnTo>
                    <a:pt x="808" y="462"/>
                  </a:lnTo>
                  <a:lnTo>
                    <a:pt x="808" y="462"/>
                  </a:lnTo>
                  <a:lnTo>
                    <a:pt x="803" y="457"/>
                  </a:lnTo>
                  <a:lnTo>
                    <a:pt x="803" y="457"/>
                  </a:lnTo>
                  <a:lnTo>
                    <a:pt x="803" y="457"/>
                  </a:lnTo>
                  <a:lnTo>
                    <a:pt x="803" y="459"/>
                  </a:lnTo>
                  <a:lnTo>
                    <a:pt x="803" y="459"/>
                  </a:lnTo>
                  <a:lnTo>
                    <a:pt x="803" y="459"/>
                  </a:lnTo>
                  <a:lnTo>
                    <a:pt x="797" y="459"/>
                  </a:lnTo>
                  <a:lnTo>
                    <a:pt x="797" y="459"/>
                  </a:lnTo>
                  <a:lnTo>
                    <a:pt x="797" y="457"/>
                  </a:lnTo>
                  <a:lnTo>
                    <a:pt x="797" y="457"/>
                  </a:lnTo>
                  <a:lnTo>
                    <a:pt x="797" y="457"/>
                  </a:lnTo>
                  <a:lnTo>
                    <a:pt x="797" y="457"/>
                  </a:lnTo>
                  <a:lnTo>
                    <a:pt x="797" y="457"/>
                  </a:lnTo>
                  <a:lnTo>
                    <a:pt x="797" y="457"/>
                  </a:lnTo>
                  <a:lnTo>
                    <a:pt x="797" y="454"/>
                  </a:lnTo>
                  <a:lnTo>
                    <a:pt x="800" y="454"/>
                  </a:lnTo>
                  <a:lnTo>
                    <a:pt x="800" y="457"/>
                  </a:lnTo>
                  <a:lnTo>
                    <a:pt x="800" y="457"/>
                  </a:lnTo>
                  <a:lnTo>
                    <a:pt x="800" y="457"/>
                  </a:lnTo>
                  <a:lnTo>
                    <a:pt x="800" y="454"/>
                  </a:lnTo>
                  <a:lnTo>
                    <a:pt x="795" y="451"/>
                  </a:lnTo>
                  <a:lnTo>
                    <a:pt x="795" y="451"/>
                  </a:lnTo>
                  <a:lnTo>
                    <a:pt x="795" y="451"/>
                  </a:lnTo>
                  <a:lnTo>
                    <a:pt x="795" y="449"/>
                  </a:lnTo>
                  <a:lnTo>
                    <a:pt x="795" y="449"/>
                  </a:lnTo>
                  <a:lnTo>
                    <a:pt x="797" y="449"/>
                  </a:lnTo>
                  <a:lnTo>
                    <a:pt x="797" y="446"/>
                  </a:lnTo>
                  <a:lnTo>
                    <a:pt x="797" y="446"/>
                  </a:lnTo>
                  <a:lnTo>
                    <a:pt x="797" y="446"/>
                  </a:lnTo>
                  <a:lnTo>
                    <a:pt x="795" y="443"/>
                  </a:lnTo>
                  <a:lnTo>
                    <a:pt x="795" y="446"/>
                  </a:lnTo>
                  <a:lnTo>
                    <a:pt x="795" y="443"/>
                  </a:lnTo>
                  <a:lnTo>
                    <a:pt x="795" y="443"/>
                  </a:lnTo>
                  <a:lnTo>
                    <a:pt x="795" y="443"/>
                  </a:lnTo>
                  <a:lnTo>
                    <a:pt x="795" y="443"/>
                  </a:lnTo>
                  <a:lnTo>
                    <a:pt x="795" y="446"/>
                  </a:lnTo>
                  <a:lnTo>
                    <a:pt x="795" y="446"/>
                  </a:lnTo>
                  <a:lnTo>
                    <a:pt x="795" y="446"/>
                  </a:lnTo>
                  <a:lnTo>
                    <a:pt x="795" y="446"/>
                  </a:lnTo>
                  <a:lnTo>
                    <a:pt x="795" y="446"/>
                  </a:lnTo>
                  <a:lnTo>
                    <a:pt x="792" y="449"/>
                  </a:lnTo>
                  <a:lnTo>
                    <a:pt x="792" y="449"/>
                  </a:lnTo>
                  <a:lnTo>
                    <a:pt x="792" y="451"/>
                  </a:lnTo>
                  <a:lnTo>
                    <a:pt x="792" y="451"/>
                  </a:lnTo>
                  <a:lnTo>
                    <a:pt x="792" y="451"/>
                  </a:lnTo>
                  <a:lnTo>
                    <a:pt x="789" y="454"/>
                  </a:lnTo>
                  <a:lnTo>
                    <a:pt x="789" y="454"/>
                  </a:lnTo>
                  <a:lnTo>
                    <a:pt x="789" y="454"/>
                  </a:lnTo>
                  <a:lnTo>
                    <a:pt x="789" y="454"/>
                  </a:lnTo>
                  <a:lnTo>
                    <a:pt x="789" y="454"/>
                  </a:lnTo>
                  <a:lnTo>
                    <a:pt x="789" y="454"/>
                  </a:lnTo>
                  <a:lnTo>
                    <a:pt x="789" y="454"/>
                  </a:lnTo>
                  <a:lnTo>
                    <a:pt x="789" y="454"/>
                  </a:lnTo>
                  <a:lnTo>
                    <a:pt x="789" y="457"/>
                  </a:lnTo>
                  <a:lnTo>
                    <a:pt x="789" y="457"/>
                  </a:lnTo>
                  <a:lnTo>
                    <a:pt x="789" y="457"/>
                  </a:lnTo>
                  <a:lnTo>
                    <a:pt x="787" y="457"/>
                  </a:lnTo>
                  <a:lnTo>
                    <a:pt x="787" y="457"/>
                  </a:lnTo>
                  <a:lnTo>
                    <a:pt x="787" y="457"/>
                  </a:lnTo>
                  <a:lnTo>
                    <a:pt x="787" y="459"/>
                  </a:lnTo>
                  <a:lnTo>
                    <a:pt x="787" y="459"/>
                  </a:lnTo>
                  <a:lnTo>
                    <a:pt x="787" y="459"/>
                  </a:lnTo>
                  <a:lnTo>
                    <a:pt x="787" y="462"/>
                  </a:lnTo>
                  <a:lnTo>
                    <a:pt x="787" y="462"/>
                  </a:lnTo>
                  <a:lnTo>
                    <a:pt x="787" y="462"/>
                  </a:lnTo>
                  <a:lnTo>
                    <a:pt x="787" y="462"/>
                  </a:lnTo>
                  <a:lnTo>
                    <a:pt x="787" y="462"/>
                  </a:lnTo>
                  <a:lnTo>
                    <a:pt x="787" y="462"/>
                  </a:lnTo>
                  <a:lnTo>
                    <a:pt x="787" y="465"/>
                  </a:lnTo>
                  <a:lnTo>
                    <a:pt x="787" y="465"/>
                  </a:lnTo>
                  <a:lnTo>
                    <a:pt x="784" y="465"/>
                  </a:lnTo>
                  <a:lnTo>
                    <a:pt x="784" y="467"/>
                  </a:lnTo>
                  <a:close/>
                  <a:moveTo>
                    <a:pt x="811" y="473"/>
                  </a:moveTo>
                  <a:lnTo>
                    <a:pt x="816" y="478"/>
                  </a:lnTo>
                  <a:lnTo>
                    <a:pt x="808" y="473"/>
                  </a:lnTo>
                  <a:lnTo>
                    <a:pt x="808" y="473"/>
                  </a:lnTo>
                  <a:lnTo>
                    <a:pt x="808" y="473"/>
                  </a:lnTo>
                  <a:lnTo>
                    <a:pt x="811" y="473"/>
                  </a:lnTo>
                  <a:close/>
                  <a:moveTo>
                    <a:pt x="811" y="462"/>
                  </a:moveTo>
                  <a:lnTo>
                    <a:pt x="811" y="462"/>
                  </a:lnTo>
                  <a:lnTo>
                    <a:pt x="811" y="462"/>
                  </a:lnTo>
                  <a:lnTo>
                    <a:pt x="811" y="462"/>
                  </a:lnTo>
                  <a:close/>
                  <a:moveTo>
                    <a:pt x="808" y="462"/>
                  </a:moveTo>
                  <a:lnTo>
                    <a:pt x="808" y="462"/>
                  </a:lnTo>
                  <a:lnTo>
                    <a:pt x="811" y="462"/>
                  </a:lnTo>
                  <a:lnTo>
                    <a:pt x="808" y="462"/>
                  </a:lnTo>
                  <a:close/>
                  <a:moveTo>
                    <a:pt x="851" y="489"/>
                  </a:moveTo>
                  <a:lnTo>
                    <a:pt x="851" y="489"/>
                  </a:lnTo>
                  <a:lnTo>
                    <a:pt x="854" y="489"/>
                  </a:lnTo>
                  <a:lnTo>
                    <a:pt x="854" y="489"/>
                  </a:lnTo>
                  <a:lnTo>
                    <a:pt x="854" y="489"/>
                  </a:lnTo>
                  <a:lnTo>
                    <a:pt x="851" y="489"/>
                  </a:lnTo>
                  <a:close/>
                  <a:moveTo>
                    <a:pt x="827" y="1154"/>
                  </a:moveTo>
                  <a:lnTo>
                    <a:pt x="827" y="1151"/>
                  </a:lnTo>
                  <a:lnTo>
                    <a:pt x="827" y="1151"/>
                  </a:lnTo>
                  <a:lnTo>
                    <a:pt x="827" y="1151"/>
                  </a:lnTo>
                  <a:lnTo>
                    <a:pt x="827" y="1149"/>
                  </a:lnTo>
                  <a:lnTo>
                    <a:pt x="827" y="1149"/>
                  </a:lnTo>
                  <a:lnTo>
                    <a:pt x="827" y="1149"/>
                  </a:lnTo>
                  <a:lnTo>
                    <a:pt x="824" y="1149"/>
                  </a:lnTo>
                  <a:lnTo>
                    <a:pt x="824" y="1151"/>
                  </a:lnTo>
                  <a:lnTo>
                    <a:pt x="824" y="1151"/>
                  </a:lnTo>
                  <a:lnTo>
                    <a:pt x="824" y="1154"/>
                  </a:lnTo>
                  <a:lnTo>
                    <a:pt x="824" y="1151"/>
                  </a:lnTo>
                  <a:lnTo>
                    <a:pt x="824" y="1151"/>
                  </a:lnTo>
                  <a:lnTo>
                    <a:pt x="824" y="1151"/>
                  </a:lnTo>
                  <a:lnTo>
                    <a:pt x="824" y="1151"/>
                  </a:lnTo>
                  <a:lnTo>
                    <a:pt x="824" y="1151"/>
                  </a:lnTo>
                  <a:lnTo>
                    <a:pt x="822" y="1151"/>
                  </a:lnTo>
                  <a:lnTo>
                    <a:pt x="822" y="1151"/>
                  </a:lnTo>
                  <a:lnTo>
                    <a:pt x="822" y="1151"/>
                  </a:lnTo>
                  <a:lnTo>
                    <a:pt x="822" y="1151"/>
                  </a:lnTo>
                  <a:lnTo>
                    <a:pt x="822" y="1151"/>
                  </a:lnTo>
                  <a:lnTo>
                    <a:pt x="819" y="1151"/>
                  </a:lnTo>
                  <a:lnTo>
                    <a:pt x="819" y="1151"/>
                  </a:lnTo>
                  <a:lnTo>
                    <a:pt x="819" y="1154"/>
                  </a:lnTo>
                  <a:lnTo>
                    <a:pt x="819" y="1154"/>
                  </a:lnTo>
                  <a:lnTo>
                    <a:pt x="819" y="1154"/>
                  </a:lnTo>
                  <a:lnTo>
                    <a:pt x="819" y="1154"/>
                  </a:lnTo>
                  <a:lnTo>
                    <a:pt x="819" y="1151"/>
                  </a:lnTo>
                  <a:lnTo>
                    <a:pt x="819" y="1151"/>
                  </a:lnTo>
                  <a:lnTo>
                    <a:pt x="819" y="1151"/>
                  </a:lnTo>
                  <a:lnTo>
                    <a:pt x="816" y="1154"/>
                  </a:lnTo>
                  <a:lnTo>
                    <a:pt x="816" y="1154"/>
                  </a:lnTo>
                  <a:lnTo>
                    <a:pt x="816" y="1154"/>
                  </a:lnTo>
                  <a:lnTo>
                    <a:pt x="816" y="1151"/>
                  </a:lnTo>
                  <a:lnTo>
                    <a:pt x="816" y="1151"/>
                  </a:lnTo>
                  <a:lnTo>
                    <a:pt x="816" y="1151"/>
                  </a:lnTo>
                  <a:lnTo>
                    <a:pt x="819" y="1149"/>
                  </a:lnTo>
                  <a:lnTo>
                    <a:pt x="819" y="1149"/>
                  </a:lnTo>
                  <a:lnTo>
                    <a:pt x="819" y="1149"/>
                  </a:lnTo>
                  <a:lnTo>
                    <a:pt x="819" y="1149"/>
                  </a:lnTo>
                  <a:lnTo>
                    <a:pt x="819" y="1149"/>
                  </a:lnTo>
                  <a:lnTo>
                    <a:pt x="819" y="1149"/>
                  </a:lnTo>
                  <a:lnTo>
                    <a:pt x="819" y="1146"/>
                  </a:lnTo>
                  <a:lnTo>
                    <a:pt x="819" y="1149"/>
                  </a:lnTo>
                  <a:lnTo>
                    <a:pt x="824" y="1146"/>
                  </a:lnTo>
                  <a:lnTo>
                    <a:pt x="824" y="1146"/>
                  </a:lnTo>
                  <a:lnTo>
                    <a:pt x="824" y="1146"/>
                  </a:lnTo>
                  <a:lnTo>
                    <a:pt x="824" y="1146"/>
                  </a:lnTo>
                  <a:lnTo>
                    <a:pt x="824" y="1146"/>
                  </a:lnTo>
                  <a:lnTo>
                    <a:pt x="824" y="1146"/>
                  </a:lnTo>
                  <a:lnTo>
                    <a:pt x="827" y="1143"/>
                  </a:lnTo>
                  <a:lnTo>
                    <a:pt x="827" y="1143"/>
                  </a:lnTo>
                  <a:lnTo>
                    <a:pt x="827" y="1143"/>
                  </a:lnTo>
                  <a:lnTo>
                    <a:pt x="827" y="1143"/>
                  </a:lnTo>
                  <a:lnTo>
                    <a:pt x="827" y="1143"/>
                  </a:lnTo>
                  <a:lnTo>
                    <a:pt x="827" y="1143"/>
                  </a:lnTo>
                  <a:lnTo>
                    <a:pt x="827" y="1143"/>
                  </a:lnTo>
                  <a:lnTo>
                    <a:pt x="827" y="1143"/>
                  </a:lnTo>
                  <a:lnTo>
                    <a:pt x="830" y="1143"/>
                  </a:lnTo>
                  <a:lnTo>
                    <a:pt x="830" y="1143"/>
                  </a:lnTo>
                  <a:lnTo>
                    <a:pt x="830" y="1143"/>
                  </a:lnTo>
                  <a:lnTo>
                    <a:pt x="832" y="1143"/>
                  </a:lnTo>
                  <a:lnTo>
                    <a:pt x="832" y="1143"/>
                  </a:lnTo>
                  <a:lnTo>
                    <a:pt x="832" y="1141"/>
                  </a:lnTo>
                  <a:lnTo>
                    <a:pt x="832" y="1141"/>
                  </a:lnTo>
                  <a:lnTo>
                    <a:pt x="832" y="1141"/>
                  </a:lnTo>
                  <a:lnTo>
                    <a:pt x="832" y="1141"/>
                  </a:lnTo>
                  <a:lnTo>
                    <a:pt x="832" y="1141"/>
                  </a:lnTo>
                  <a:lnTo>
                    <a:pt x="830" y="1141"/>
                  </a:lnTo>
                  <a:lnTo>
                    <a:pt x="832" y="1141"/>
                  </a:lnTo>
                  <a:lnTo>
                    <a:pt x="832" y="1141"/>
                  </a:lnTo>
                  <a:lnTo>
                    <a:pt x="832" y="1138"/>
                  </a:lnTo>
                  <a:lnTo>
                    <a:pt x="832" y="1138"/>
                  </a:lnTo>
                  <a:lnTo>
                    <a:pt x="830" y="1138"/>
                  </a:lnTo>
                  <a:lnTo>
                    <a:pt x="830" y="1138"/>
                  </a:lnTo>
                  <a:lnTo>
                    <a:pt x="830" y="1138"/>
                  </a:lnTo>
                  <a:lnTo>
                    <a:pt x="827" y="1138"/>
                  </a:lnTo>
                  <a:lnTo>
                    <a:pt x="827" y="1138"/>
                  </a:lnTo>
                  <a:lnTo>
                    <a:pt x="827" y="1135"/>
                  </a:lnTo>
                  <a:lnTo>
                    <a:pt x="827" y="1135"/>
                  </a:lnTo>
                  <a:lnTo>
                    <a:pt x="827" y="1135"/>
                  </a:lnTo>
                  <a:lnTo>
                    <a:pt x="827" y="1135"/>
                  </a:lnTo>
                  <a:lnTo>
                    <a:pt x="827" y="1135"/>
                  </a:lnTo>
                  <a:lnTo>
                    <a:pt x="824" y="1138"/>
                  </a:lnTo>
                  <a:lnTo>
                    <a:pt x="824" y="1138"/>
                  </a:lnTo>
                  <a:lnTo>
                    <a:pt x="824" y="1138"/>
                  </a:lnTo>
                  <a:lnTo>
                    <a:pt x="824" y="1138"/>
                  </a:lnTo>
                  <a:lnTo>
                    <a:pt x="824" y="1138"/>
                  </a:lnTo>
                  <a:lnTo>
                    <a:pt x="824" y="1138"/>
                  </a:lnTo>
                  <a:lnTo>
                    <a:pt x="822" y="1141"/>
                  </a:lnTo>
                  <a:lnTo>
                    <a:pt x="822" y="1141"/>
                  </a:lnTo>
                  <a:lnTo>
                    <a:pt x="822" y="1141"/>
                  </a:lnTo>
                  <a:lnTo>
                    <a:pt x="822" y="1141"/>
                  </a:lnTo>
                  <a:lnTo>
                    <a:pt x="816" y="1143"/>
                  </a:lnTo>
                  <a:lnTo>
                    <a:pt x="816" y="1143"/>
                  </a:lnTo>
                  <a:lnTo>
                    <a:pt x="816" y="1143"/>
                  </a:lnTo>
                  <a:lnTo>
                    <a:pt x="819" y="1141"/>
                  </a:lnTo>
                  <a:lnTo>
                    <a:pt x="816" y="1141"/>
                  </a:lnTo>
                  <a:lnTo>
                    <a:pt x="816" y="1141"/>
                  </a:lnTo>
                  <a:lnTo>
                    <a:pt x="816" y="1141"/>
                  </a:lnTo>
                  <a:lnTo>
                    <a:pt x="816" y="1141"/>
                  </a:lnTo>
                  <a:lnTo>
                    <a:pt x="816" y="1141"/>
                  </a:lnTo>
                  <a:lnTo>
                    <a:pt x="816" y="1138"/>
                  </a:lnTo>
                  <a:lnTo>
                    <a:pt x="816" y="1138"/>
                  </a:lnTo>
                  <a:lnTo>
                    <a:pt x="816" y="1138"/>
                  </a:lnTo>
                  <a:lnTo>
                    <a:pt x="816" y="1138"/>
                  </a:lnTo>
                  <a:lnTo>
                    <a:pt x="816" y="1138"/>
                  </a:lnTo>
                  <a:lnTo>
                    <a:pt x="816" y="1138"/>
                  </a:lnTo>
                  <a:lnTo>
                    <a:pt x="816" y="1138"/>
                  </a:lnTo>
                  <a:lnTo>
                    <a:pt x="816" y="1135"/>
                  </a:lnTo>
                  <a:lnTo>
                    <a:pt x="816" y="1135"/>
                  </a:lnTo>
                  <a:lnTo>
                    <a:pt x="816" y="1135"/>
                  </a:lnTo>
                  <a:lnTo>
                    <a:pt x="819" y="1135"/>
                  </a:lnTo>
                  <a:lnTo>
                    <a:pt x="819" y="1133"/>
                  </a:lnTo>
                  <a:lnTo>
                    <a:pt x="816" y="1133"/>
                  </a:lnTo>
                  <a:lnTo>
                    <a:pt x="816" y="1133"/>
                  </a:lnTo>
                  <a:lnTo>
                    <a:pt x="814" y="1133"/>
                  </a:lnTo>
                  <a:lnTo>
                    <a:pt x="814" y="1133"/>
                  </a:lnTo>
                  <a:lnTo>
                    <a:pt x="814" y="1133"/>
                  </a:lnTo>
                  <a:lnTo>
                    <a:pt x="814" y="1133"/>
                  </a:lnTo>
                  <a:lnTo>
                    <a:pt x="814" y="1133"/>
                  </a:lnTo>
                  <a:lnTo>
                    <a:pt x="814" y="1133"/>
                  </a:lnTo>
                  <a:lnTo>
                    <a:pt x="814" y="1133"/>
                  </a:lnTo>
                  <a:lnTo>
                    <a:pt x="814" y="1133"/>
                  </a:lnTo>
                  <a:lnTo>
                    <a:pt x="814" y="1130"/>
                  </a:lnTo>
                  <a:lnTo>
                    <a:pt x="811" y="1133"/>
                  </a:lnTo>
                  <a:lnTo>
                    <a:pt x="808" y="1133"/>
                  </a:lnTo>
                  <a:lnTo>
                    <a:pt x="808" y="1133"/>
                  </a:lnTo>
                  <a:lnTo>
                    <a:pt x="808" y="1133"/>
                  </a:lnTo>
                  <a:lnTo>
                    <a:pt x="806" y="1133"/>
                  </a:lnTo>
                  <a:lnTo>
                    <a:pt x="806" y="1133"/>
                  </a:lnTo>
                  <a:lnTo>
                    <a:pt x="806" y="1133"/>
                  </a:lnTo>
                  <a:lnTo>
                    <a:pt x="803" y="1133"/>
                  </a:lnTo>
                  <a:lnTo>
                    <a:pt x="803" y="1133"/>
                  </a:lnTo>
                  <a:lnTo>
                    <a:pt x="800" y="1133"/>
                  </a:lnTo>
                  <a:lnTo>
                    <a:pt x="800" y="1133"/>
                  </a:lnTo>
                  <a:lnTo>
                    <a:pt x="800" y="1133"/>
                  </a:lnTo>
                  <a:lnTo>
                    <a:pt x="797" y="1135"/>
                  </a:lnTo>
                  <a:lnTo>
                    <a:pt x="797" y="1135"/>
                  </a:lnTo>
                  <a:lnTo>
                    <a:pt x="797" y="1138"/>
                  </a:lnTo>
                  <a:lnTo>
                    <a:pt x="795" y="1138"/>
                  </a:lnTo>
                  <a:lnTo>
                    <a:pt x="795" y="1138"/>
                  </a:lnTo>
                  <a:lnTo>
                    <a:pt x="795" y="1138"/>
                  </a:lnTo>
                  <a:lnTo>
                    <a:pt x="795" y="1138"/>
                  </a:lnTo>
                  <a:lnTo>
                    <a:pt x="795" y="1138"/>
                  </a:lnTo>
                  <a:lnTo>
                    <a:pt x="795" y="1138"/>
                  </a:lnTo>
                  <a:lnTo>
                    <a:pt x="795" y="1141"/>
                  </a:lnTo>
                  <a:lnTo>
                    <a:pt x="795" y="1141"/>
                  </a:lnTo>
                  <a:lnTo>
                    <a:pt x="795" y="1141"/>
                  </a:lnTo>
                  <a:lnTo>
                    <a:pt x="795" y="1141"/>
                  </a:lnTo>
                  <a:lnTo>
                    <a:pt x="795" y="1141"/>
                  </a:lnTo>
                  <a:lnTo>
                    <a:pt x="797" y="1141"/>
                  </a:lnTo>
                  <a:lnTo>
                    <a:pt x="797" y="1141"/>
                  </a:lnTo>
                  <a:lnTo>
                    <a:pt x="797" y="1141"/>
                  </a:lnTo>
                  <a:lnTo>
                    <a:pt x="797" y="1141"/>
                  </a:lnTo>
                  <a:lnTo>
                    <a:pt x="797" y="1141"/>
                  </a:lnTo>
                  <a:lnTo>
                    <a:pt x="795" y="1143"/>
                  </a:lnTo>
                  <a:lnTo>
                    <a:pt x="797" y="1146"/>
                  </a:lnTo>
                  <a:lnTo>
                    <a:pt x="800" y="1146"/>
                  </a:lnTo>
                  <a:lnTo>
                    <a:pt x="800" y="1146"/>
                  </a:lnTo>
                  <a:lnTo>
                    <a:pt x="800" y="1146"/>
                  </a:lnTo>
                  <a:lnTo>
                    <a:pt x="803" y="1146"/>
                  </a:lnTo>
                  <a:lnTo>
                    <a:pt x="803" y="1146"/>
                  </a:lnTo>
                  <a:lnTo>
                    <a:pt x="803" y="1146"/>
                  </a:lnTo>
                  <a:lnTo>
                    <a:pt x="806" y="1149"/>
                  </a:lnTo>
                  <a:lnTo>
                    <a:pt x="811" y="1151"/>
                  </a:lnTo>
                  <a:lnTo>
                    <a:pt x="811" y="1151"/>
                  </a:lnTo>
                  <a:lnTo>
                    <a:pt x="811" y="1151"/>
                  </a:lnTo>
                  <a:lnTo>
                    <a:pt x="808" y="1151"/>
                  </a:lnTo>
                  <a:lnTo>
                    <a:pt x="808" y="1151"/>
                  </a:lnTo>
                  <a:lnTo>
                    <a:pt x="808" y="1151"/>
                  </a:lnTo>
                  <a:lnTo>
                    <a:pt x="808" y="1151"/>
                  </a:lnTo>
                  <a:lnTo>
                    <a:pt x="808" y="1151"/>
                  </a:lnTo>
                  <a:lnTo>
                    <a:pt x="808" y="1151"/>
                  </a:lnTo>
                  <a:lnTo>
                    <a:pt x="808" y="1151"/>
                  </a:lnTo>
                  <a:lnTo>
                    <a:pt x="808" y="1151"/>
                  </a:lnTo>
                  <a:lnTo>
                    <a:pt x="806" y="1151"/>
                  </a:lnTo>
                  <a:lnTo>
                    <a:pt x="806" y="1151"/>
                  </a:lnTo>
                  <a:lnTo>
                    <a:pt x="806" y="1157"/>
                  </a:lnTo>
                  <a:lnTo>
                    <a:pt x="806" y="1154"/>
                  </a:lnTo>
                  <a:lnTo>
                    <a:pt x="806" y="1154"/>
                  </a:lnTo>
                  <a:lnTo>
                    <a:pt x="803" y="1154"/>
                  </a:lnTo>
                  <a:lnTo>
                    <a:pt x="803" y="1154"/>
                  </a:lnTo>
                  <a:lnTo>
                    <a:pt x="803" y="1157"/>
                  </a:lnTo>
                  <a:lnTo>
                    <a:pt x="803" y="1154"/>
                  </a:lnTo>
                  <a:lnTo>
                    <a:pt x="803" y="1154"/>
                  </a:lnTo>
                  <a:lnTo>
                    <a:pt x="803" y="1151"/>
                  </a:lnTo>
                  <a:lnTo>
                    <a:pt x="803" y="1151"/>
                  </a:lnTo>
                  <a:lnTo>
                    <a:pt x="803" y="1149"/>
                  </a:lnTo>
                  <a:lnTo>
                    <a:pt x="800" y="1149"/>
                  </a:lnTo>
                  <a:lnTo>
                    <a:pt x="797" y="1149"/>
                  </a:lnTo>
                  <a:lnTo>
                    <a:pt x="797" y="1149"/>
                  </a:lnTo>
                  <a:lnTo>
                    <a:pt x="795" y="1151"/>
                  </a:lnTo>
                  <a:lnTo>
                    <a:pt x="795" y="1151"/>
                  </a:lnTo>
                  <a:lnTo>
                    <a:pt x="797" y="1151"/>
                  </a:lnTo>
                  <a:lnTo>
                    <a:pt x="797" y="1154"/>
                  </a:lnTo>
                  <a:lnTo>
                    <a:pt x="797" y="1154"/>
                  </a:lnTo>
                  <a:lnTo>
                    <a:pt x="797" y="1154"/>
                  </a:lnTo>
                  <a:lnTo>
                    <a:pt x="795" y="1154"/>
                  </a:lnTo>
                  <a:lnTo>
                    <a:pt x="795" y="1154"/>
                  </a:lnTo>
                  <a:lnTo>
                    <a:pt x="795" y="1157"/>
                  </a:lnTo>
                  <a:lnTo>
                    <a:pt x="795" y="1157"/>
                  </a:lnTo>
                  <a:lnTo>
                    <a:pt x="795" y="1157"/>
                  </a:lnTo>
                  <a:lnTo>
                    <a:pt x="795" y="1157"/>
                  </a:lnTo>
                  <a:lnTo>
                    <a:pt x="795" y="1157"/>
                  </a:lnTo>
                  <a:lnTo>
                    <a:pt x="795" y="1157"/>
                  </a:lnTo>
                  <a:lnTo>
                    <a:pt x="795" y="1154"/>
                  </a:lnTo>
                  <a:lnTo>
                    <a:pt x="795" y="1154"/>
                  </a:lnTo>
                  <a:lnTo>
                    <a:pt x="795" y="1154"/>
                  </a:lnTo>
                  <a:lnTo>
                    <a:pt x="792" y="1154"/>
                  </a:lnTo>
                  <a:lnTo>
                    <a:pt x="792" y="1154"/>
                  </a:lnTo>
                  <a:lnTo>
                    <a:pt x="792" y="1154"/>
                  </a:lnTo>
                  <a:lnTo>
                    <a:pt x="792" y="1157"/>
                  </a:lnTo>
                  <a:lnTo>
                    <a:pt x="792" y="1157"/>
                  </a:lnTo>
                  <a:lnTo>
                    <a:pt x="792" y="1157"/>
                  </a:lnTo>
                  <a:lnTo>
                    <a:pt x="792" y="1157"/>
                  </a:lnTo>
                  <a:lnTo>
                    <a:pt x="792" y="1157"/>
                  </a:lnTo>
                  <a:lnTo>
                    <a:pt x="792" y="1159"/>
                  </a:lnTo>
                  <a:lnTo>
                    <a:pt x="792" y="1159"/>
                  </a:lnTo>
                  <a:lnTo>
                    <a:pt x="792" y="1159"/>
                  </a:lnTo>
                  <a:lnTo>
                    <a:pt x="795" y="1159"/>
                  </a:lnTo>
                  <a:lnTo>
                    <a:pt x="797" y="1159"/>
                  </a:lnTo>
                  <a:lnTo>
                    <a:pt x="797" y="1159"/>
                  </a:lnTo>
                  <a:lnTo>
                    <a:pt x="797" y="1162"/>
                  </a:lnTo>
                  <a:lnTo>
                    <a:pt x="797" y="1162"/>
                  </a:lnTo>
                  <a:lnTo>
                    <a:pt x="795" y="1162"/>
                  </a:lnTo>
                  <a:lnTo>
                    <a:pt x="792" y="1162"/>
                  </a:lnTo>
                  <a:lnTo>
                    <a:pt x="789" y="1159"/>
                  </a:lnTo>
                  <a:lnTo>
                    <a:pt x="789" y="1159"/>
                  </a:lnTo>
                  <a:lnTo>
                    <a:pt x="789" y="1159"/>
                  </a:lnTo>
                  <a:lnTo>
                    <a:pt x="789" y="1162"/>
                  </a:lnTo>
                  <a:lnTo>
                    <a:pt x="789" y="1162"/>
                  </a:lnTo>
                  <a:lnTo>
                    <a:pt x="789" y="1162"/>
                  </a:lnTo>
                  <a:lnTo>
                    <a:pt x="789" y="1162"/>
                  </a:lnTo>
                  <a:lnTo>
                    <a:pt x="789" y="1162"/>
                  </a:lnTo>
                  <a:lnTo>
                    <a:pt x="789" y="1162"/>
                  </a:lnTo>
                  <a:lnTo>
                    <a:pt x="789" y="1162"/>
                  </a:lnTo>
                  <a:lnTo>
                    <a:pt x="789" y="1162"/>
                  </a:lnTo>
                  <a:lnTo>
                    <a:pt x="789" y="1162"/>
                  </a:lnTo>
                  <a:lnTo>
                    <a:pt x="789" y="1165"/>
                  </a:lnTo>
                  <a:lnTo>
                    <a:pt x="787" y="1165"/>
                  </a:lnTo>
                  <a:lnTo>
                    <a:pt x="787" y="1165"/>
                  </a:lnTo>
                  <a:lnTo>
                    <a:pt x="784" y="1162"/>
                  </a:lnTo>
                  <a:lnTo>
                    <a:pt x="784" y="1162"/>
                  </a:lnTo>
                  <a:lnTo>
                    <a:pt x="784" y="1165"/>
                  </a:lnTo>
                  <a:lnTo>
                    <a:pt x="784" y="1165"/>
                  </a:lnTo>
                  <a:lnTo>
                    <a:pt x="784" y="1165"/>
                  </a:lnTo>
                  <a:lnTo>
                    <a:pt x="781" y="1165"/>
                  </a:lnTo>
                  <a:lnTo>
                    <a:pt x="781" y="1165"/>
                  </a:lnTo>
                  <a:lnTo>
                    <a:pt x="781" y="1165"/>
                  </a:lnTo>
                  <a:lnTo>
                    <a:pt x="781" y="1165"/>
                  </a:lnTo>
                  <a:lnTo>
                    <a:pt x="779" y="1165"/>
                  </a:lnTo>
                  <a:lnTo>
                    <a:pt x="779" y="1165"/>
                  </a:lnTo>
                  <a:lnTo>
                    <a:pt x="779" y="1165"/>
                  </a:lnTo>
                  <a:lnTo>
                    <a:pt x="779" y="1165"/>
                  </a:lnTo>
                  <a:lnTo>
                    <a:pt x="779" y="1165"/>
                  </a:lnTo>
                  <a:lnTo>
                    <a:pt x="779" y="1165"/>
                  </a:lnTo>
                  <a:lnTo>
                    <a:pt x="776" y="1165"/>
                  </a:lnTo>
                  <a:lnTo>
                    <a:pt x="776" y="1165"/>
                  </a:lnTo>
                  <a:lnTo>
                    <a:pt x="776" y="1165"/>
                  </a:lnTo>
                  <a:lnTo>
                    <a:pt x="776" y="1165"/>
                  </a:lnTo>
                  <a:lnTo>
                    <a:pt x="776" y="1165"/>
                  </a:lnTo>
                  <a:lnTo>
                    <a:pt x="773" y="1165"/>
                  </a:lnTo>
                  <a:lnTo>
                    <a:pt x="773" y="1165"/>
                  </a:lnTo>
                  <a:lnTo>
                    <a:pt x="776" y="1167"/>
                  </a:lnTo>
                  <a:lnTo>
                    <a:pt x="776" y="1167"/>
                  </a:lnTo>
                  <a:lnTo>
                    <a:pt x="773" y="1167"/>
                  </a:lnTo>
                  <a:lnTo>
                    <a:pt x="773" y="1165"/>
                  </a:lnTo>
                  <a:lnTo>
                    <a:pt x="771" y="1165"/>
                  </a:lnTo>
                  <a:lnTo>
                    <a:pt x="771" y="1167"/>
                  </a:lnTo>
                  <a:lnTo>
                    <a:pt x="771" y="1167"/>
                  </a:lnTo>
                  <a:lnTo>
                    <a:pt x="768" y="1165"/>
                  </a:lnTo>
                  <a:lnTo>
                    <a:pt x="768" y="1167"/>
                  </a:lnTo>
                  <a:lnTo>
                    <a:pt x="768" y="1165"/>
                  </a:lnTo>
                  <a:lnTo>
                    <a:pt x="768" y="1165"/>
                  </a:lnTo>
                  <a:lnTo>
                    <a:pt x="765" y="1165"/>
                  </a:lnTo>
                  <a:lnTo>
                    <a:pt x="765" y="1165"/>
                  </a:lnTo>
                  <a:lnTo>
                    <a:pt x="760" y="1170"/>
                  </a:lnTo>
                  <a:lnTo>
                    <a:pt x="760" y="1170"/>
                  </a:lnTo>
                  <a:lnTo>
                    <a:pt x="760" y="1170"/>
                  </a:lnTo>
                  <a:lnTo>
                    <a:pt x="760" y="1170"/>
                  </a:lnTo>
                  <a:lnTo>
                    <a:pt x="760" y="1170"/>
                  </a:lnTo>
                  <a:lnTo>
                    <a:pt x="760" y="1170"/>
                  </a:lnTo>
                  <a:lnTo>
                    <a:pt x="760" y="1170"/>
                  </a:lnTo>
                  <a:lnTo>
                    <a:pt x="763" y="1170"/>
                  </a:lnTo>
                  <a:lnTo>
                    <a:pt x="763" y="1170"/>
                  </a:lnTo>
                  <a:lnTo>
                    <a:pt x="763" y="1173"/>
                  </a:lnTo>
                  <a:lnTo>
                    <a:pt x="765" y="1173"/>
                  </a:lnTo>
                  <a:lnTo>
                    <a:pt x="765" y="1173"/>
                  </a:lnTo>
                  <a:lnTo>
                    <a:pt x="765" y="1175"/>
                  </a:lnTo>
                  <a:lnTo>
                    <a:pt x="768" y="1173"/>
                  </a:lnTo>
                  <a:lnTo>
                    <a:pt x="768" y="1173"/>
                  </a:lnTo>
                  <a:lnTo>
                    <a:pt x="768" y="1173"/>
                  </a:lnTo>
                  <a:lnTo>
                    <a:pt x="768" y="1173"/>
                  </a:lnTo>
                  <a:lnTo>
                    <a:pt x="768" y="1173"/>
                  </a:lnTo>
                  <a:lnTo>
                    <a:pt x="771" y="1173"/>
                  </a:lnTo>
                  <a:lnTo>
                    <a:pt x="771" y="1173"/>
                  </a:lnTo>
                  <a:lnTo>
                    <a:pt x="771" y="1173"/>
                  </a:lnTo>
                  <a:lnTo>
                    <a:pt x="773" y="1173"/>
                  </a:lnTo>
                  <a:lnTo>
                    <a:pt x="773" y="1175"/>
                  </a:lnTo>
                  <a:lnTo>
                    <a:pt x="773" y="1175"/>
                  </a:lnTo>
                  <a:lnTo>
                    <a:pt x="773" y="1175"/>
                  </a:lnTo>
                  <a:lnTo>
                    <a:pt x="773" y="1173"/>
                  </a:lnTo>
                  <a:lnTo>
                    <a:pt x="773" y="1173"/>
                  </a:lnTo>
                  <a:lnTo>
                    <a:pt x="776" y="1173"/>
                  </a:lnTo>
                  <a:lnTo>
                    <a:pt x="776" y="1173"/>
                  </a:lnTo>
                  <a:lnTo>
                    <a:pt x="776" y="1173"/>
                  </a:lnTo>
                  <a:lnTo>
                    <a:pt x="776" y="1170"/>
                  </a:lnTo>
                  <a:lnTo>
                    <a:pt x="776" y="1170"/>
                  </a:lnTo>
                  <a:lnTo>
                    <a:pt x="779" y="1170"/>
                  </a:lnTo>
                  <a:lnTo>
                    <a:pt x="779" y="1170"/>
                  </a:lnTo>
                  <a:lnTo>
                    <a:pt x="781" y="1173"/>
                  </a:lnTo>
                  <a:lnTo>
                    <a:pt x="781" y="1170"/>
                  </a:lnTo>
                  <a:lnTo>
                    <a:pt x="781" y="1170"/>
                  </a:lnTo>
                  <a:lnTo>
                    <a:pt x="784" y="1170"/>
                  </a:lnTo>
                  <a:lnTo>
                    <a:pt x="784" y="1170"/>
                  </a:lnTo>
                  <a:lnTo>
                    <a:pt x="784" y="1170"/>
                  </a:lnTo>
                  <a:lnTo>
                    <a:pt x="787" y="1170"/>
                  </a:lnTo>
                  <a:lnTo>
                    <a:pt x="789" y="1167"/>
                  </a:lnTo>
                  <a:lnTo>
                    <a:pt x="789" y="1167"/>
                  </a:lnTo>
                  <a:lnTo>
                    <a:pt x="792" y="1167"/>
                  </a:lnTo>
                  <a:lnTo>
                    <a:pt x="792" y="1167"/>
                  </a:lnTo>
                  <a:lnTo>
                    <a:pt x="795" y="1167"/>
                  </a:lnTo>
                  <a:lnTo>
                    <a:pt x="797" y="1167"/>
                  </a:lnTo>
                  <a:lnTo>
                    <a:pt x="795" y="1167"/>
                  </a:lnTo>
                  <a:lnTo>
                    <a:pt x="795" y="1167"/>
                  </a:lnTo>
                  <a:lnTo>
                    <a:pt x="797" y="1167"/>
                  </a:lnTo>
                  <a:lnTo>
                    <a:pt x="797" y="1167"/>
                  </a:lnTo>
                  <a:lnTo>
                    <a:pt x="797" y="1167"/>
                  </a:lnTo>
                  <a:lnTo>
                    <a:pt x="797" y="1165"/>
                  </a:lnTo>
                  <a:lnTo>
                    <a:pt x="797" y="1165"/>
                  </a:lnTo>
                  <a:lnTo>
                    <a:pt x="797" y="1167"/>
                  </a:lnTo>
                  <a:lnTo>
                    <a:pt x="797" y="1167"/>
                  </a:lnTo>
                  <a:lnTo>
                    <a:pt x="797" y="1167"/>
                  </a:lnTo>
                  <a:lnTo>
                    <a:pt x="800" y="1167"/>
                  </a:lnTo>
                  <a:lnTo>
                    <a:pt x="800" y="1165"/>
                  </a:lnTo>
                  <a:lnTo>
                    <a:pt x="800" y="1165"/>
                  </a:lnTo>
                  <a:lnTo>
                    <a:pt x="800" y="1165"/>
                  </a:lnTo>
                  <a:lnTo>
                    <a:pt x="803" y="1167"/>
                  </a:lnTo>
                  <a:lnTo>
                    <a:pt x="803" y="1167"/>
                  </a:lnTo>
                  <a:lnTo>
                    <a:pt x="803" y="1167"/>
                  </a:lnTo>
                  <a:lnTo>
                    <a:pt x="803" y="1167"/>
                  </a:lnTo>
                  <a:lnTo>
                    <a:pt x="803" y="1167"/>
                  </a:lnTo>
                  <a:lnTo>
                    <a:pt x="803" y="1167"/>
                  </a:lnTo>
                  <a:lnTo>
                    <a:pt x="803" y="1167"/>
                  </a:lnTo>
                  <a:lnTo>
                    <a:pt x="803" y="1167"/>
                  </a:lnTo>
                  <a:lnTo>
                    <a:pt x="806" y="1167"/>
                  </a:lnTo>
                  <a:lnTo>
                    <a:pt x="806" y="1167"/>
                  </a:lnTo>
                  <a:lnTo>
                    <a:pt x="806" y="1167"/>
                  </a:lnTo>
                  <a:lnTo>
                    <a:pt x="806" y="1167"/>
                  </a:lnTo>
                  <a:lnTo>
                    <a:pt x="806" y="1165"/>
                  </a:lnTo>
                  <a:lnTo>
                    <a:pt x="806" y="1162"/>
                  </a:lnTo>
                  <a:lnTo>
                    <a:pt x="806" y="1162"/>
                  </a:lnTo>
                  <a:lnTo>
                    <a:pt x="806" y="1159"/>
                  </a:lnTo>
                  <a:lnTo>
                    <a:pt x="806" y="1162"/>
                  </a:lnTo>
                  <a:lnTo>
                    <a:pt x="806" y="1162"/>
                  </a:lnTo>
                  <a:lnTo>
                    <a:pt x="806" y="1165"/>
                  </a:lnTo>
                  <a:lnTo>
                    <a:pt x="808" y="1165"/>
                  </a:lnTo>
                  <a:lnTo>
                    <a:pt x="808" y="1165"/>
                  </a:lnTo>
                  <a:lnTo>
                    <a:pt x="808" y="1165"/>
                  </a:lnTo>
                  <a:lnTo>
                    <a:pt x="808" y="1165"/>
                  </a:lnTo>
                  <a:lnTo>
                    <a:pt x="808" y="1167"/>
                  </a:lnTo>
                  <a:lnTo>
                    <a:pt x="811" y="1167"/>
                  </a:lnTo>
                  <a:lnTo>
                    <a:pt x="811" y="1165"/>
                  </a:lnTo>
                  <a:lnTo>
                    <a:pt x="811" y="1165"/>
                  </a:lnTo>
                  <a:lnTo>
                    <a:pt x="808" y="1165"/>
                  </a:lnTo>
                  <a:lnTo>
                    <a:pt x="808" y="1165"/>
                  </a:lnTo>
                  <a:lnTo>
                    <a:pt x="808" y="1162"/>
                  </a:lnTo>
                  <a:lnTo>
                    <a:pt x="808" y="1162"/>
                  </a:lnTo>
                  <a:lnTo>
                    <a:pt x="811" y="1165"/>
                  </a:lnTo>
                  <a:lnTo>
                    <a:pt x="811" y="1165"/>
                  </a:lnTo>
                  <a:lnTo>
                    <a:pt x="811" y="1162"/>
                  </a:lnTo>
                  <a:lnTo>
                    <a:pt x="811" y="1159"/>
                  </a:lnTo>
                  <a:lnTo>
                    <a:pt x="811" y="1159"/>
                  </a:lnTo>
                  <a:lnTo>
                    <a:pt x="814" y="1162"/>
                  </a:lnTo>
                  <a:lnTo>
                    <a:pt x="814" y="1165"/>
                  </a:lnTo>
                  <a:lnTo>
                    <a:pt x="814" y="1162"/>
                  </a:lnTo>
                  <a:lnTo>
                    <a:pt x="814" y="1159"/>
                  </a:lnTo>
                  <a:lnTo>
                    <a:pt x="816" y="1159"/>
                  </a:lnTo>
                  <a:lnTo>
                    <a:pt x="816" y="1162"/>
                  </a:lnTo>
                  <a:lnTo>
                    <a:pt x="816" y="1159"/>
                  </a:lnTo>
                  <a:lnTo>
                    <a:pt x="816" y="1159"/>
                  </a:lnTo>
                  <a:lnTo>
                    <a:pt x="816" y="1159"/>
                  </a:lnTo>
                  <a:lnTo>
                    <a:pt x="816" y="1159"/>
                  </a:lnTo>
                  <a:lnTo>
                    <a:pt x="816" y="1159"/>
                  </a:lnTo>
                  <a:lnTo>
                    <a:pt x="819" y="1157"/>
                  </a:lnTo>
                  <a:lnTo>
                    <a:pt x="819" y="1157"/>
                  </a:lnTo>
                  <a:lnTo>
                    <a:pt x="819" y="1157"/>
                  </a:lnTo>
                  <a:lnTo>
                    <a:pt x="822" y="1157"/>
                  </a:lnTo>
                  <a:lnTo>
                    <a:pt x="822" y="1157"/>
                  </a:lnTo>
                  <a:lnTo>
                    <a:pt x="822" y="1157"/>
                  </a:lnTo>
                  <a:lnTo>
                    <a:pt x="822" y="1157"/>
                  </a:lnTo>
                  <a:lnTo>
                    <a:pt x="822" y="1157"/>
                  </a:lnTo>
                  <a:lnTo>
                    <a:pt x="824" y="1157"/>
                  </a:lnTo>
                  <a:lnTo>
                    <a:pt x="827" y="1157"/>
                  </a:lnTo>
                  <a:lnTo>
                    <a:pt x="827" y="1157"/>
                  </a:lnTo>
                  <a:lnTo>
                    <a:pt x="827" y="1154"/>
                  </a:lnTo>
                  <a:lnTo>
                    <a:pt x="827" y="1154"/>
                  </a:lnTo>
                  <a:lnTo>
                    <a:pt x="827" y="1154"/>
                  </a:lnTo>
                  <a:lnTo>
                    <a:pt x="827" y="1154"/>
                  </a:lnTo>
                  <a:lnTo>
                    <a:pt x="827" y="1154"/>
                  </a:lnTo>
                  <a:close/>
                  <a:moveTo>
                    <a:pt x="838" y="508"/>
                  </a:moveTo>
                  <a:lnTo>
                    <a:pt x="838" y="508"/>
                  </a:lnTo>
                  <a:lnTo>
                    <a:pt x="840" y="510"/>
                  </a:lnTo>
                  <a:lnTo>
                    <a:pt x="838" y="508"/>
                  </a:lnTo>
                  <a:lnTo>
                    <a:pt x="838" y="508"/>
                  </a:lnTo>
                  <a:close/>
                  <a:moveTo>
                    <a:pt x="835" y="1146"/>
                  </a:moveTo>
                  <a:lnTo>
                    <a:pt x="835" y="1146"/>
                  </a:lnTo>
                  <a:lnTo>
                    <a:pt x="835" y="1146"/>
                  </a:lnTo>
                  <a:lnTo>
                    <a:pt x="835" y="1146"/>
                  </a:lnTo>
                  <a:lnTo>
                    <a:pt x="835" y="1146"/>
                  </a:lnTo>
                  <a:lnTo>
                    <a:pt x="832" y="1146"/>
                  </a:lnTo>
                  <a:lnTo>
                    <a:pt x="832" y="1146"/>
                  </a:lnTo>
                  <a:lnTo>
                    <a:pt x="832" y="1146"/>
                  </a:lnTo>
                  <a:lnTo>
                    <a:pt x="832" y="1149"/>
                  </a:lnTo>
                  <a:lnTo>
                    <a:pt x="830" y="1151"/>
                  </a:lnTo>
                  <a:lnTo>
                    <a:pt x="830" y="1151"/>
                  </a:lnTo>
                  <a:lnTo>
                    <a:pt x="830" y="1149"/>
                  </a:lnTo>
                  <a:lnTo>
                    <a:pt x="830" y="1149"/>
                  </a:lnTo>
                  <a:lnTo>
                    <a:pt x="830" y="1149"/>
                  </a:lnTo>
                  <a:lnTo>
                    <a:pt x="830" y="1149"/>
                  </a:lnTo>
                  <a:lnTo>
                    <a:pt x="830" y="1149"/>
                  </a:lnTo>
                  <a:lnTo>
                    <a:pt x="830" y="1149"/>
                  </a:lnTo>
                  <a:lnTo>
                    <a:pt x="830" y="1149"/>
                  </a:lnTo>
                  <a:lnTo>
                    <a:pt x="827" y="1149"/>
                  </a:lnTo>
                  <a:lnTo>
                    <a:pt x="827" y="1149"/>
                  </a:lnTo>
                  <a:lnTo>
                    <a:pt x="827" y="1151"/>
                  </a:lnTo>
                  <a:lnTo>
                    <a:pt x="827" y="1151"/>
                  </a:lnTo>
                  <a:lnTo>
                    <a:pt x="827" y="1151"/>
                  </a:lnTo>
                  <a:lnTo>
                    <a:pt x="830" y="1154"/>
                  </a:lnTo>
                  <a:lnTo>
                    <a:pt x="830" y="1154"/>
                  </a:lnTo>
                  <a:lnTo>
                    <a:pt x="830" y="1154"/>
                  </a:lnTo>
                  <a:lnTo>
                    <a:pt x="830" y="1154"/>
                  </a:lnTo>
                  <a:lnTo>
                    <a:pt x="832" y="1154"/>
                  </a:lnTo>
                  <a:lnTo>
                    <a:pt x="832" y="1154"/>
                  </a:lnTo>
                  <a:lnTo>
                    <a:pt x="832" y="1154"/>
                  </a:lnTo>
                  <a:lnTo>
                    <a:pt x="832" y="1151"/>
                  </a:lnTo>
                  <a:lnTo>
                    <a:pt x="832" y="1151"/>
                  </a:lnTo>
                  <a:lnTo>
                    <a:pt x="832" y="1151"/>
                  </a:lnTo>
                  <a:lnTo>
                    <a:pt x="835" y="1151"/>
                  </a:lnTo>
                  <a:lnTo>
                    <a:pt x="835" y="1151"/>
                  </a:lnTo>
                  <a:lnTo>
                    <a:pt x="835" y="1151"/>
                  </a:lnTo>
                  <a:lnTo>
                    <a:pt x="835" y="1151"/>
                  </a:lnTo>
                  <a:lnTo>
                    <a:pt x="835" y="1149"/>
                  </a:lnTo>
                  <a:lnTo>
                    <a:pt x="835" y="1149"/>
                  </a:lnTo>
                  <a:lnTo>
                    <a:pt x="835" y="1149"/>
                  </a:lnTo>
                  <a:lnTo>
                    <a:pt x="835" y="1149"/>
                  </a:lnTo>
                  <a:lnTo>
                    <a:pt x="835" y="1149"/>
                  </a:lnTo>
                  <a:lnTo>
                    <a:pt x="835" y="1149"/>
                  </a:lnTo>
                  <a:lnTo>
                    <a:pt x="835" y="1149"/>
                  </a:lnTo>
                  <a:lnTo>
                    <a:pt x="838" y="1146"/>
                  </a:lnTo>
                  <a:lnTo>
                    <a:pt x="835" y="1146"/>
                  </a:lnTo>
                  <a:lnTo>
                    <a:pt x="835" y="1146"/>
                  </a:lnTo>
                  <a:close/>
                  <a:moveTo>
                    <a:pt x="1024" y="1090"/>
                  </a:moveTo>
                  <a:lnTo>
                    <a:pt x="1024" y="1087"/>
                  </a:lnTo>
                  <a:lnTo>
                    <a:pt x="1024" y="1087"/>
                  </a:lnTo>
                  <a:lnTo>
                    <a:pt x="1024" y="1090"/>
                  </a:lnTo>
                  <a:lnTo>
                    <a:pt x="1024" y="1090"/>
                  </a:lnTo>
                  <a:lnTo>
                    <a:pt x="1024" y="1090"/>
                  </a:lnTo>
                  <a:lnTo>
                    <a:pt x="1024" y="1090"/>
                  </a:lnTo>
                  <a:lnTo>
                    <a:pt x="1024" y="1090"/>
                  </a:lnTo>
                  <a:lnTo>
                    <a:pt x="1024" y="1090"/>
                  </a:lnTo>
                  <a:lnTo>
                    <a:pt x="1024" y="1093"/>
                  </a:lnTo>
                  <a:lnTo>
                    <a:pt x="1024" y="1093"/>
                  </a:lnTo>
                  <a:lnTo>
                    <a:pt x="1027" y="1093"/>
                  </a:lnTo>
                  <a:lnTo>
                    <a:pt x="1027" y="1093"/>
                  </a:lnTo>
                  <a:lnTo>
                    <a:pt x="1027" y="1090"/>
                  </a:lnTo>
                  <a:lnTo>
                    <a:pt x="1027" y="1090"/>
                  </a:lnTo>
                  <a:lnTo>
                    <a:pt x="1024" y="1090"/>
                  </a:lnTo>
                  <a:close/>
                  <a:moveTo>
                    <a:pt x="1086" y="1082"/>
                  </a:moveTo>
                  <a:lnTo>
                    <a:pt x="1086" y="1082"/>
                  </a:lnTo>
                  <a:lnTo>
                    <a:pt x="1086" y="1082"/>
                  </a:lnTo>
                  <a:lnTo>
                    <a:pt x="1086" y="1079"/>
                  </a:lnTo>
                  <a:lnTo>
                    <a:pt x="1086" y="1079"/>
                  </a:lnTo>
                  <a:lnTo>
                    <a:pt x="1086" y="1079"/>
                  </a:lnTo>
                  <a:lnTo>
                    <a:pt x="1086" y="1079"/>
                  </a:lnTo>
                  <a:lnTo>
                    <a:pt x="1086" y="1079"/>
                  </a:lnTo>
                  <a:lnTo>
                    <a:pt x="1086" y="1079"/>
                  </a:lnTo>
                  <a:lnTo>
                    <a:pt x="1083" y="1079"/>
                  </a:lnTo>
                  <a:lnTo>
                    <a:pt x="1083" y="1079"/>
                  </a:lnTo>
                  <a:lnTo>
                    <a:pt x="1083" y="1079"/>
                  </a:lnTo>
                  <a:lnTo>
                    <a:pt x="1083" y="1079"/>
                  </a:lnTo>
                  <a:lnTo>
                    <a:pt x="1083" y="1082"/>
                  </a:lnTo>
                  <a:lnTo>
                    <a:pt x="1086" y="1082"/>
                  </a:lnTo>
                  <a:close/>
                  <a:moveTo>
                    <a:pt x="1078" y="1074"/>
                  </a:moveTo>
                  <a:lnTo>
                    <a:pt x="1078" y="1074"/>
                  </a:lnTo>
                  <a:lnTo>
                    <a:pt x="1078" y="1074"/>
                  </a:lnTo>
                  <a:lnTo>
                    <a:pt x="1078" y="1074"/>
                  </a:lnTo>
                  <a:lnTo>
                    <a:pt x="1078" y="1074"/>
                  </a:lnTo>
                  <a:lnTo>
                    <a:pt x="1080" y="1074"/>
                  </a:lnTo>
                  <a:lnTo>
                    <a:pt x="1080" y="1074"/>
                  </a:lnTo>
                  <a:lnTo>
                    <a:pt x="1080" y="1074"/>
                  </a:lnTo>
                  <a:lnTo>
                    <a:pt x="1080" y="1077"/>
                  </a:lnTo>
                  <a:lnTo>
                    <a:pt x="1080" y="1077"/>
                  </a:lnTo>
                  <a:lnTo>
                    <a:pt x="1083" y="1077"/>
                  </a:lnTo>
                  <a:lnTo>
                    <a:pt x="1083" y="1074"/>
                  </a:lnTo>
                  <a:lnTo>
                    <a:pt x="1083" y="1074"/>
                  </a:lnTo>
                  <a:lnTo>
                    <a:pt x="1083" y="1074"/>
                  </a:lnTo>
                  <a:lnTo>
                    <a:pt x="1083" y="1071"/>
                  </a:lnTo>
                  <a:lnTo>
                    <a:pt x="1083" y="1071"/>
                  </a:lnTo>
                  <a:lnTo>
                    <a:pt x="1080" y="1071"/>
                  </a:lnTo>
                  <a:lnTo>
                    <a:pt x="1080" y="1071"/>
                  </a:lnTo>
                  <a:lnTo>
                    <a:pt x="1080" y="1071"/>
                  </a:lnTo>
                  <a:lnTo>
                    <a:pt x="1080" y="1071"/>
                  </a:lnTo>
                  <a:lnTo>
                    <a:pt x="1080" y="1071"/>
                  </a:lnTo>
                  <a:lnTo>
                    <a:pt x="1080" y="1071"/>
                  </a:lnTo>
                  <a:lnTo>
                    <a:pt x="1080" y="1071"/>
                  </a:lnTo>
                  <a:lnTo>
                    <a:pt x="1078" y="1071"/>
                  </a:lnTo>
                  <a:lnTo>
                    <a:pt x="1078" y="1071"/>
                  </a:lnTo>
                  <a:lnTo>
                    <a:pt x="1078" y="1071"/>
                  </a:lnTo>
                  <a:lnTo>
                    <a:pt x="1075" y="1071"/>
                  </a:lnTo>
                  <a:lnTo>
                    <a:pt x="1075" y="1074"/>
                  </a:lnTo>
                  <a:lnTo>
                    <a:pt x="1075" y="1074"/>
                  </a:lnTo>
                  <a:lnTo>
                    <a:pt x="1075" y="1074"/>
                  </a:lnTo>
                  <a:lnTo>
                    <a:pt x="1075" y="1074"/>
                  </a:lnTo>
                  <a:lnTo>
                    <a:pt x="1078" y="1074"/>
                  </a:lnTo>
                  <a:close/>
                  <a:moveTo>
                    <a:pt x="1027" y="1079"/>
                  </a:moveTo>
                  <a:lnTo>
                    <a:pt x="1024" y="1079"/>
                  </a:lnTo>
                  <a:lnTo>
                    <a:pt x="1024" y="1079"/>
                  </a:lnTo>
                  <a:lnTo>
                    <a:pt x="1022" y="1079"/>
                  </a:lnTo>
                  <a:lnTo>
                    <a:pt x="1022" y="1082"/>
                  </a:lnTo>
                  <a:lnTo>
                    <a:pt x="1022" y="1082"/>
                  </a:lnTo>
                  <a:lnTo>
                    <a:pt x="1022" y="1082"/>
                  </a:lnTo>
                  <a:lnTo>
                    <a:pt x="1024" y="1082"/>
                  </a:lnTo>
                  <a:lnTo>
                    <a:pt x="1024" y="1082"/>
                  </a:lnTo>
                  <a:lnTo>
                    <a:pt x="1024" y="1082"/>
                  </a:lnTo>
                  <a:lnTo>
                    <a:pt x="1027" y="1082"/>
                  </a:lnTo>
                  <a:lnTo>
                    <a:pt x="1027" y="1082"/>
                  </a:lnTo>
                  <a:lnTo>
                    <a:pt x="1027" y="1082"/>
                  </a:lnTo>
                  <a:lnTo>
                    <a:pt x="1027" y="1079"/>
                  </a:lnTo>
                  <a:lnTo>
                    <a:pt x="1027" y="1079"/>
                  </a:lnTo>
                  <a:lnTo>
                    <a:pt x="1027" y="1079"/>
                  </a:lnTo>
                  <a:close/>
                  <a:moveTo>
                    <a:pt x="1075" y="1077"/>
                  </a:moveTo>
                  <a:lnTo>
                    <a:pt x="1072" y="1077"/>
                  </a:lnTo>
                  <a:lnTo>
                    <a:pt x="1072" y="1077"/>
                  </a:lnTo>
                  <a:lnTo>
                    <a:pt x="1070" y="1077"/>
                  </a:lnTo>
                  <a:lnTo>
                    <a:pt x="1070" y="1077"/>
                  </a:lnTo>
                  <a:lnTo>
                    <a:pt x="1070" y="1077"/>
                  </a:lnTo>
                  <a:lnTo>
                    <a:pt x="1067" y="1077"/>
                  </a:lnTo>
                  <a:lnTo>
                    <a:pt x="1067" y="1077"/>
                  </a:lnTo>
                  <a:lnTo>
                    <a:pt x="1067" y="1079"/>
                  </a:lnTo>
                  <a:lnTo>
                    <a:pt x="1067" y="1079"/>
                  </a:lnTo>
                  <a:lnTo>
                    <a:pt x="1067" y="1079"/>
                  </a:lnTo>
                  <a:lnTo>
                    <a:pt x="1067" y="1079"/>
                  </a:lnTo>
                  <a:lnTo>
                    <a:pt x="1072" y="1082"/>
                  </a:lnTo>
                  <a:lnTo>
                    <a:pt x="1072" y="1085"/>
                  </a:lnTo>
                  <a:lnTo>
                    <a:pt x="1072" y="1085"/>
                  </a:lnTo>
                  <a:lnTo>
                    <a:pt x="1072" y="1085"/>
                  </a:lnTo>
                  <a:lnTo>
                    <a:pt x="1075" y="1085"/>
                  </a:lnTo>
                  <a:lnTo>
                    <a:pt x="1075" y="1082"/>
                  </a:lnTo>
                  <a:lnTo>
                    <a:pt x="1075" y="1082"/>
                  </a:lnTo>
                  <a:lnTo>
                    <a:pt x="1075" y="1079"/>
                  </a:lnTo>
                  <a:lnTo>
                    <a:pt x="1075" y="1077"/>
                  </a:lnTo>
                  <a:lnTo>
                    <a:pt x="1075" y="1077"/>
                  </a:lnTo>
                  <a:lnTo>
                    <a:pt x="1075" y="1077"/>
                  </a:lnTo>
                  <a:close/>
                  <a:moveTo>
                    <a:pt x="1035" y="1085"/>
                  </a:moveTo>
                  <a:lnTo>
                    <a:pt x="1035" y="1082"/>
                  </a:lnTo>
                  <a:lnTo>
                    <a:pt x="1035" y="1082"/>
                  </a:lnTo>
                  <a:lnTo>
                    <a:pt x="1035" y="1082"/>
                  </a:lnTo>
                  <a:lnTo>
                    <a:pt x="1035" y="1082"/>
                  </a:lnTo>
                  <a:lnTo>
                    <a:pt x="1035" y="1082"/>
                  </a:lnTo>
                  <a:lnTo>
                    <a:pt x="1032" y="1082"/>
                  </a:lnTo>
                  <a:lnTo>
                    <a:pt x="1032" y="1082"/>
                  </a:lnTo>
                  <a:lnTo>
                    <a:pt x="1032" y="1082"/>
                  </a:lnTo>
                  <a:lnTo>
                    <a:pt x="1032" y="1085"/>
                  </a:lnTo>
                  <a:lnTo>
                    <a:pt x="1032" y="1085"/>
                  </a:lnTo>
                  <a:lnTo>
                    <a:pt x="1035" y="1085"/>
                  </a:lnTo>
                  <a:lnTo>
                    <a:pt x="1035" y="1087"/>
                  </a:lnTo>
                  <a:lnTo>
                    <a:pt x="1035" y="1087"/>
                  </a:lnTo>
                  <a:lnTo>
                    <a:pt x="1035" y="1085"/>
                  </a:lnTo>
                  <a:lnTo>
                    <a:pt x="1035" y="1085"/>
                  </a:lnTo>
                  <a:lnTo>
                    <a:pt x="1035" y="1085"/>
                  </a:lnTo>
                  <a:lnTo>
                    <a:pt x="1035" y="1085"/>
                  </a:lnTo>
                  <a:lnTo>
                    <a:pt x="1035" y="1085"/>
                  </a:lnTo>
                  <a:close/>
                  <a:moveTo>
                    <a:pt x="1067" y="1087"/>
                  </a:moveTo>
                  <a:lnTo>
                    <a:pt x="1067" y="1087"/>
                  </a:lnTo>
                  <a:lnTo>
                    <a:pt x="1067" y="1087"/>
                  </a:lnTo>
                  <a:lnTo>
                    <a:pt x="1067" y="1087"/>
                  </a:lnTo>
                  <a:lnTo>
                    <a:pt x="1067" y="1085"/>
                  </a:lnTo>
                  <a:lnTo>
                    <a:pt x="1067" y="1085"/>
                  </a:lnTo>
                  <a:lnTo>
                    <a:pt x="1067" y="1085"/>
                  </a:lnTo>
                  <a:lnTo>
                    <a:pt x="1064" y="1085"/>
                  </a:lnTo>
                  <a:lnTo>
                    <a:pt x="1064" y="1085"/>
                  </a:lnTo>
                  <a:lnTo>
                    <a:pt x="1067" y="1085"/>
                  </a:lnTo>
                  <a:lnTo>
                    <a:pt x="1067" y="1085"/>
                  </a:lnTo>
                  <a:lnTo>
                    <a:pt x="1067" y="1082"/>
                  </a:lnTo>
                  <a:lnTo>
                    <a:pt x="1064" y="1082"/>
                  </a:lnTo>
                  <a:lnTo>
                    <a:pt x="1064" y="1082"/>
                  </a:lnTo>
                  <a:lnTo>
                    <a:pt x="1064" y="1082"/>
                  </a:lnTo>
                  <a:lnTo>
                    <a:pt x="1064" y="1079"/>
                  </a:lnTo>
                  <a:lnTo>
                    <a:pt x="1064" y="1079"/>
                  </a:lnTo>
                  <a:lnTo>
                    <a:pt x="1067" y="1077"/>
                  </a:lnTo>
                  <a:lnTo>
                    <a:pt x="1067" y="1077"/>
                  </a:lnTo>
                  <a:lnTo>
                    <a:pt x="1067" y="1074"/>
                  </a:lnTo>
                  <a:lnTo>
                    <a:pt x="1067" y="1074"/>
                  </a:lnTo>
                  <a:lnTo>
                    <a:pt x="1067" y="1074"/>
                  </a:lnTo>
                  <a:lnTo>
                    <a:pt x="1064" y="1074"/>
                  </a:lnTo>
                  <a:lnTo>
                    <a:pt x="1064" y="1074"/>
                  </a:lnTo>
                  <a:lnTo>
                    <a:pt x="1064" y="1077"/>
                  </a:lnTo>
                  <a:lnTo>
                    <a:pt x="1064" y="1077"/>
                  </a:lnTo>
                  <a:lnTo>
                    <a:pt x="1064" y="1079"/>
                  </a:lnTo>
                  <a:lnTo>
                    <a:pt x="1064" y="1079"/>
                  </a:lnTo>
                  <a:lnTo>
                    <a:pt x="1064" y="1077"/>
                  </a:lnTo>
                  <a:lnTo>
                    <a:pt x="1062" y="1077"/>
                  </a:lnTo>
                  <a:lnTo>
                    <a:pt x="1062" y="1077"/>
                  </a:lnTo>
                  <a:lnTo>
                    <a:pt x="1062" y="1079"/>
                  </a:lnTo>
                  <a:lnTo>
                    <a:pt x="1062" y="1079"/>
                  </a:lnTo>
                  <a:lnTo>
                    <a:pt x="1062" y="1079"/>
                  </a:lnTo>
                  <a:lnTo>
                    <a:pt x="1062" y="1079"/>
                  </a:lnTo>
                  <a:lnTo>
                    <a:pt x="1062" y="1079"/>
                  </a:lnTo>
                  <a:lnTo>
                    <a:pt x="1062" y="1079"/>
                  </a:lnTo>
                  <a:lnTo>
                    <a:pt x="1062" y="1077"/>
                  </a:lnTo>
                  <a:lnTo>
                    <a:pt x="1062" y="1077"/>
                  </a:lnTo>
                  <a:lnTo>
                    <a:pt x="1062" y="1074"/>
                  </a:lnTo>
                  <a:lnTo>
                    <a:pt x="1062" y="1071"/>
                  </a:lnTo>
                  <a:lnTo>
                    <a:pt x="1059" y="1071"/>
                  </a:lnTo>
                  <a:lnTo>
                    <a:pt x="1059" y="1074"/>
                  </a:lnTo>
                  <a:lnTo>
                    <a:pt x="1056" y="1074"/>
                  </a:lnTo>
                  <a:lnTo>
                    <a:pt x="1054" y="1077"/>
                  </a:lnTo>
                  <a:lnTo>
                    <a:pt x="1054" y="1077"/>
                  </a:lnTo>
                  <a:lnTo>
                    <a:pt x="1054" y="1079"/>
                  </a:lnTo>
                  <a:lnTo>
                    <a:pt x="1054" y="1079"/>
                  </a:lnTo>
                  <a:lnTo>
                    <a:pt x="1054" y="1082"/>
                  </a:lnTo>
                  <a:lnTo>
                    <a:pt x="1054" y="1082"/>
                  </a:lnTo>
                  <a:lnTo>
                    <a:pt x="1054" y="1082"/>
                  </a:lnTo>
                  <a:lnTo>
                    <a:pt x="1054" y="1082"/>
                  </a:lnTo>
                  <a:lnTo>
                    <a:pt x="1054" y="1082"/>
                  </a:lnTo>
                  <a:lnTo>
                    <a:pt x="1054" y="1085"/>
                  </a:lnTo>
                  <a:lnTo>
                    <a:pt x="1054" y="1085"/>
                  </a:lnTo>
                  <a:lnTo>
                    <a:pt x="1054" y="1085"/>
                  </a:lnTo>
                  <a:lnTo>
                    <a:pt x="1054" y="1085"/>
                  </a:lnTo>
                  <a:lnTo>
                    <a:pt x="1056" y="1087"/>
                  </a:lnTo>
                  <a:lnTo>
                    <a:pt x="1056" y="1087"/>
                  </a:lnTo>
                  <a:lnTo>
                    <a:pt x="1054" y="1090"/>
                  </a:lnTo>
                  <a:lnTo>
                    <a:pt x="1054" y="1090"/>
                  </a:lnTo>
                  <a:lnTo>
                    <a:pt x="1056" y="1090"/>
                  </a:lnTo>
                  <a:lnTo>
                    <a:pt x="1056" y="1087"/>
                  </a:lnTo>
                  <a:lnTo>
                    <a:pt x="1056" y="1087"/>
                  </a:lnTo>
                  <a:lnTo>
                    <a:pt x="1056" y="1087"/>
                  </a:lnTo>
                  <a:lnTo>
                    <a:pt x="1059" y="1087"/>
                  </a:lnTo>
                  <a:lnTo>
                    <a:pt x="1059" y="1087"/>
                  </a:lnTo>
                  <a:lnTo>
                    <a:pt x="1059" y="1087"/>
                  </a:lnTo>
                  <a:lnTo>
                    <a:pt x="1059" y="1087"/>
                  </a:lnTo>
                  <a:lnTo>
                    <a:pt x="1059" y="1085"/>
                  </a:lnTo>
                  <a:lnTo>
                    <a:pt x="1062" y="1085"/>
                  </a:lnTo>
                  <a:lnTo>
                    <a:pt x="1062" y="1087"/>
                  </a:lnTo>
                  <a:lnTo>
                    <a:pt x="1062" y="1087"/>
                  </a:lnTo>
                  <a:lnTo>
                    <a:pt x="1059" y="1087"/>
                  </a:lnTo>
                  <a:lnTo>
                    <a:pt x="1059" y="1087"/>
                  </a:lnTo>
                  <a:lnTo>
                    <a:pt x="1062" y="1087"/>
                  </a:lnTo>
                  <a:lnTo>
                    <a:pt x="1062" y="1090"/>
                  </a:lnTo>
                  <a:lnTo>
                    <a:pt x="1062" y="1090"/>
                  </a:lnTo>
                  <a:lnTo>
                    <a:pt x="1062" y="1090"/>
                  </a:lnTo>
                  <a:lnTo>
                    <a:pt x="1064" y="1090"/>
                  </a:lnTo>
                  <a:lnTo>
                    <a:pt x="1064" y="1090"/>
                  </a:lnTo>
                  <a:lnTo>
                    <a:pt x="1064" y="1093"/>
                  </a:lnTo>
                  <a:lnTo>
                    <a:pt x="1067" y="1090"/>
                  </a:lnTo>
                  <a:lnTo>
                    <a:pt x="1067" y="1090"/>
                  </a:lnTo>
                  <a:lnTo>
                    <a:pt x="1067" y="1087"/>
                  </a:lnTo>
                  <a:lnTo>
                    <a:pt x="1064" y="1087"/>
                  </a:lnTo>
                  <a:lnTo>
                    <a:pt x="1067" y="1087"/>
                  </a:lnTo>
                  <a:lnTo>
                    <a:pt x="1067" y="1087"/>
                  </a:lnTo>
                  <a:lnTo>
                    <a:pt x="1070" y="1087"/>
                  </a:lnTo>
                  <a:lnTo>
                    <a:pt x="1070" y="1087"/>
                  </a:lnTo>
                  <a:lnTo>
                    <a:pt x="1067" y="1087"/>
                  </a:lnTo>
                  <a:close/>
                  <a:moveTo>
                    <a:pt x="1091" y="1090"/>
                  </a:moveTo>
                  <a:lnTo>
                    <a:pt x="1091" y="1093"/>
                  </a:lnTo>
                  <a:lnTo>
                    <a:pt x="1091" y="1093"/>
                  </a:lnTo>
                  <a:lnTo>
                    <a:pt x="1088" y="1093"/>
                  </a:lnTo>
                  <a:lnTo>
                    <a:pt x="1091" y="1090"/>
                  </a:lnTo>
                  <a:lnTo>
                    <a:pt x="1091" y="1087"/>
                  </a:lnTo>
                  <a:lnTo>
                    <a:pt x="1091" y="1087"/>
                  </a:lnTo>
                  <a:lnTo>
                    <a:pt x="1091" y="1087"/>
                  </a:lnTo>
                  <a:lnTo>
                    <a:pt x="1091" y="1085"/>
                  </a:lnTo>
                  <a:lnTo>
                    <a:pt x="1091" y="1085"/>
                  </a:lnTo>
                  <a:lnTo>
                    <a:pt x="1091" y="1085"/>
                  </a:lnTo>
                  <a:lnTo>
                    <a:pt x="1091" y="1082"/>
                  </a:lnTo>
                  <a:lnTo>
                    <a:pt x="1091" y="1085"/>
                  </a:lnTo>
                  <a:lnTo>
                    <a:pt x="1088" y="1085"/>
                  </a:lnTo>
                  <a:lnTo>
                    <a:pt x="1088" y="1085"/>
                  </a:lnTo>
                  <a:lnTo>
                    <a:pt x="1088" y="1087"/>
                  </a:lnTo>
                  <a:lnTo>
                    <a:pt x="1088" y="1087"/>
                  </a:lnTo>
                  <a:lnTo>
                    <a:pt x="1088" y="1087"/>
                  </a:lnTo>
                  <a:lnTo>
                    <a:pt x="1088" y="1087"/>
                  </a:lnTo>
                  <a:lnTo>
                    <a:pt x="1088" y="1087"/>
                  </a:lnTo>
                  <a:lnTo>
                    <a:pt x="1088" y="1087"/>
                  </a:lnTo>
                  <a:lnTo>
                    <a:pt x="1088" y="1087"/>
                  </a:lnTo>
                  <a:lnTo>
                    <a:pt x="1088" y="1087"/>
                  </a:lnTo>
                  <a:lnTo>
                    <a:pt x="1088" y="1090"/>
                  </a:lnTo>
                  <a:lnTo>
                    <a:pt x="1088" y="1090"/>
                  </a:lnTo>
                  <a:lnTo>
                    <a:pt x="1083" y="1087"/>
                  </a:lnTo>
                  <a:lnTo>
                    <a:pt x="1086" y="1090"/>
                  </a:lnTo>
                  <a:lnTo>
                    <a:pt x="1086" y="1093"/>
                  </a:lnTo>
                  <a:lnTo>
                    <a:pt x="1086" y="1095"/>
                  </a:lnTo>
                  <a:lnTo>
                    <a:pt x="1086" y="1095"/>
                  </a:lnTo>
                  <a:lnTo>
                    <a:pt x="1086" y="1095"/>
                  </a:lnTo>
                  <a:lnTo>
                    <a:pt x="1086" y="1095"/>
                  </a:lnTo>
                  <a:lnTo>
                    <a:pt x="1086" y="1095"/>
                  </a:lnTo>
                  <a:lnTo>
                    <a:pt x="1086" y="1095"/>
                  </a:lnTo>
                  <a:lnTo>
                    <a:pt x="1086" y="1095"/>
                  </a:lnTo>
                  <a:lnTo>
                    <a:pt x="1083" y="1095"/>
                  </a:lnTo>
                  <a:lnTo>
                    <a:pt x="1083" y="1093"/>
                  </a:lnTo>
                  <a:lnTo>
                    <a:pt x="1083" y="1093"/>
                  </a:lnTo>
                  <a:lnTo>
                    <a:pt x="1083" y="1093"/>
                  </a:lnTo>
                  <a:lnTo>
                    <a:pt x="1083" y="1093"/>
                  </a:lnTo>
                  <a:lnTo>
                    <a:pt x="1083" y="1093"/>
                  </a:lnTo>
                  <a:lnTo>
                    <a:pt x="1083" y="1090"/>
                  </a:lnTo>
                  <a:lnTo>
                    <a:pt x="1080" y="1093"/>
                  </a:lnTo>
                  <a:lnTo>
                    <a:pt x="1083" y="1093"/>
                  </a:lnTo>
                  <a:lnTo>
                    <a:pt x="1083" y="1095"/>
                  </a:lnTo>
                  <a:lnTo>
                    <a:pt x="1083" y="1095"/>
                  </a:lnTo>
                  <a:lnTo>
                    <a:pt x="1083" y="1095"/>
                  </a:lnTo>
                  <a:lnTo>
                    <a:pt x="1080" y="1093"/>
                  </a:lnTo>
                  <a:lnTo>
                    <a:pt x="1080" y="1093"/>
                  </a:lnTo>
                  <a:lnTo>
                    <a:pt x="1078" y="1093"/>
                  </a:lnTo>
                  <a:lnTo>
                    <a:pt x="1078" y="1095"/>
                  </a:lnTo>
                  <a:lnTo>
                    <a:pt x="1080" y="1095"/>
                  </a:lnTo>
                  <a:lnTo>
                    <a:pt x="1080" y="1095"/>
                  </a:lnTo>
                  <a:lnTo>
                    <a:pt x="1080" y="1095"/>
                  </a:lnTo>
                  <a:lnTo>
                    <a:pt x="1080" y="1095"/>
                  </a:lnTo>
                  <a:lnTo>
                    <a:pt x="1080" y="1098"/>
                  </a:lnTo>
                  <a:lnTo>
                    <a:pt x="1080" y="1098"/>
                  </a:lnTo>
                  <a:lnTo>
                    <a:pt x="1080" y="1098"/>
                  </a:lnTo>
                  <a:lnTo>
                    <a:pt x="1080" y="1098"/>
                  </a:lnTo>
                  <a:lnTo>
                    <a:pt x="1080" y="1098"/>
                  </a:lnTo>
                  <a:lnTo>
                    <a:pt x="1083" y="1098"/>
                  </a:lnTo>
                  <a:lnTo>
                    <a:pt x="1083" y="1101"/>
                  </a:lnTo>
                  <a:lnTo>
                    <a:pt x="1080" y="1101"/>
                  </a:lnTo>
                  <a:lnTo>
                    <a:pt x="1080" y="1101"/>
                  </a:lnTo>
                  <a:lnTo>
                    <a:pt x="1080" y="1101"/>
                  </a:lnTo>
                  <a:lnTo>
                    <a:pt x="1078" y="1106"/>
                  </a:lnTo>
                  <a:lnTo>
                    <a:pt x="1078" y="1106"/>
                  </a:lnTo>
                  <a:lnTo>
                    <a:pt x="1075" y="1106"/>
                  </a:lnTo>
                  <a:lnTo>
                    <a:pt x="1075" y="1106"/>
                  </a:lnTo>
                  <a:lnTo>
                    <a:pt x="1075" y="1109"/>
                  </a:lnTo>
                  <a:lnTo>
                    <a:pt x="1075" y="1109"/>
                  </a:lnTo>
                  <a:lnTo>
                    <a:pt x="1075" y="1109"/>
                  </a:lnTo>
                  <a:lnTo>
                    <a:pt x="1078" y="1111"/>
                  </a:lnTo>
                  <a:lnTo>
                    <a:pt x="1078" y="1109"/>
                  </a:lnTo>
                  <a:lnTo>
                    <a:pt x="1078" y="1106"/>
                  </a:lnTo>
                  <a:lnTo>
                    <a:pt x="1080" y="1106"/>
                  </a:lnTo>
                  <a:lnTo>
                    <a:pt x="1080" y="1103"/>
                  </a:lnTo>
                  <a:lnTo>
                    <a:pt x="1083" y="1103"/>
                  </a:lnTo>
                  <a:lnTo>
                    <a:pt x="1083" y="1101"/>
                  </a:lnTo>
                  <a:lnTo>
                    <a:pt x="1086" y="1098"/>
                  </a:lnTo>
                  <a:lnTo>
                    <a:pt x="1086" y="1098"/>
                  </a:lnTo>
                  <a:lnTo>
                    <a:pt x="1086" y="1098"/>
                  </a:lnTo>
                  <a:lnTo>
                    <a:pt x="1086" y="1098"/>
                  </a:lnTo>
                  <a:lnTo>
                    <a:pt x="1088" y="1098"/>
                  </a:lnTo>
                  <a:lnTo>
                    <a:pt x="1088" y="1098"/>
                  </a:lnTo>
                  <a:lnTo>
                    <a:pt x="1088" y="1098"/>
                  </a:lnTo>
                  <a:lnTo>
                    <a:pt x="1086" y="1095"/>
                  </a:lnTo>
                  <a:lnTo>
                    <a:pt x="1088" y="1095"/>
                  </a:lnTo>
                  <a:lnTo>
                    <a:pt x="1088" y="1093"/>
                  </a:lnTo>
                  <a:lnTo>
                    <a:pt x="1088" y="1093"/>
                  </a:lnTo>
                  <a:lnTo>
                    <a:pt x="1088" y="1095"/>
                  </a:lnTo>
                  <a:lnTo>
                    <a:pt x="1088" y="1095"/>
                  </a:lnTo>
                  <a:lnTo>
                    <a:pt x="1091" y="1095"/>
                  </a:lnTo>
                  <a:lnTo>
                    <a:pt x="1091" y="1095"/>
                  </a:lnTo>
                  <a:lnTo>
                    <a:pt x="1091" y="1095"/>
                  </a:lnTo>
                  <a:lnTo>
                    <a:pt x="1091" y="1095"/>
                  </a:lnTo>
                  <a:lnTo>
                    <a:pt x="1091" y="1095"/>
                  </a:lnTo>
                  <a:lnTo>
                    <a:pt x="1091" y="1095"/>
                  </a:lnTo>
                  <a:lnTo>
                    <a:pt x="1091" y="1093"/>
                  </a:lnTo>
                  <a:lnTo>
                    <a:pt x="1091" y="1093"/>
                  </a:lnTo>
                  <a:lnTo>
                    <a:pt x="1094" y="1093"/>
                  </a:lnTo>
                  <a:lnTo>
                    <a:pt x="1094" y="1093"/>
                  </a:lnTo>
                  <a:lnTo>
                    <a:pt x="1094" y="1090"/>
                  </a:lnTo>
                  <a:lnTo>
                    <a:pt x="1091" y="1090"/>
                  </a:lnTo>
                  <a:lnTo>
                    <a:pt x="1091" y="1090"/>
                  </a:lnTo>
                  <a:close/>
                  <a:moveTo>
                    <a:pt x="1115" y="1109"/>
                  </a:moveTo>
                  <a:lnTo>
                    <a:pt x="1115" y="1109"/>
                  </a:lnTo>
                  <a:lnTo>
                    <a:pt x="1112" y="1109"/>
                  </a:lnTo>
                  <a:lnTo>
                    <a:pt x="1112" y="1109"/>
                  </a:lnTo>
                  <a:lnTo>
                    <a:pt x="1112" y="1109"/>
                  </a:lnTo>
                  <a:lnTo>
                    <a:pt x="1112" y="1109"/>
                  </a:lnTo>
                  <a:lnTo>
                    <a:pt x="1112" y="1109"/>
                  </a:lnTo>
                  <a:lnTo>
                    <a:pt x="1112" y="1109"/>
                  </a:lnTo>
                  <a:lnTo>
                    <a:pt x="1110" y="1109"/>
                  </a:lnTo>
                  <a:lnTo>
                    <a:pt x="1112" y="1109"/>
                  </a:lnTo>
                  <a:lnTo>
                    <a:pt x="1112" y="1109"/>
                  </a:lnTo>
                  <a:lnTo>
                    <a:pt x="1112" y="1109"/>
                  </a:lnTo>
                  <a:lnTo>
                    <a:pt x="1112" y="1111"/>
                  </a:lnTo>
                  <a:lnTo>
                    <a:pt x="1112" y="1111"/>
                  </a:lnTo>
                  <a:lnTo>
                    <a:pt x="1112" y="1111"/>
                  </a:lnTo>
                  <a:lnTo>
                    <a:pt x="1112" y="1114"/>
                  </a:lnTo>
                  <a:lnTo>
                    <a:pt x="1115" y="1111"/>
                  </a:lnTo>
                  <a:lnTo>
                    <a:pt x="1115" y="1111"/>
                  </a:lnTo>
                  <a:lnTo>
                    <a:pt x="1115" y="1111"/>
                  </a:lnTo>
                  <a:lnTo>
                    <a:pt x="1115" y="1109"/>
                  </a:lnTo>
                  <a:lnTo>
                    <a:pt x="1115" y="1109"/>
                  </a:lnTo>
                  <a:close/>
                  <a:moveTo>
                    <a:pt x="1118" y="1050"/>
                  </a:moveTo>
                  <a:lnTo>
                    <a:pt x="1115" y="1050"/>
                  </a:lnTo>
                  <a:lnTo>
                    <a:pt x="1115" y="1050"/>
                  </a:lnTo>
                  <a:lnTo>
                    <a:pt x="1115" y="1053"/>
                  </a:lnTo>
                  <a:lnTo>
                    <a:pt x="1115" y="1053"/>
                  </a:lnTo>
                  <a:lnTo>
                    <a:pt x="1115" y="1053"/>
                  </a:lnTo>
                  <a:lnTo>
                    <a:pt x="1115" y="1053"/>
                  </a:lnTo>
                  <a:lnTo>
                    <a:pt x="1118" y="1053"/>
                  </a:lnTo>
                  <a:lnTo>
                    <a:pt x="1118" y="1053"/>
                  </a:lnTo>
                  <a:lnTo>
                    <a:pt x="1118" y="1053"/>
                  </a:lnTo>
                  <a:lnTo>
                    <a:pt x="1118" y="1050"/>
                  </a:lnTo>
                  <a:lnTo>
                    <a:pt x="1118" y="1050"/>
                  </a:lnTo>
                  <a:close/>
                  <a:moveTo>
                    <a:pt x="1139" y="1047"/>
                  </a:moveTo>
                  <a:lnTo>
                    <a:pt x="1139" y="1047"/>
                  </a:lnTo>
                  <a:lnTo>
                    <a:pt x="1139" y="1047"/>
                  </a:lnTo>
                  <a:lnTo>
                    <a:pt x="1136" y="1047"/>
                  </a:lnTo>
                  <a:lnTo>
                    <a:pt x="1136" y="1047"/>
                  </a:lnTo>
                  <a:lnTo>
                    <a:pt x="1136" y="1045"/>
                  </a:lnTo>
                  <a:lnTo>
                    <a:pt x="1134" y="1045"/>
                  </a:lnTo>
                  <a:lnTo>
                    <a:pt x="1134" y="1047"/>
                  </a:lnTo>
                  <a:lnTo>
                    <a:pt x="1134" y="1047"/>
                  </a:lnTo>
                  <a:lnTo>
                    <a:pt x="1131" y="1050"/>
                  </a:lnTo>
                  <a:lnTo>
                    <a:pt x="1131" y="1050"/>
                  </a:lnTo>
                  <a:lnTo>
                    <a:pt x="1131" y="1050"/>
                  </a:lnTo>
                  <a:lnTo>
                    <a:pt x="1134" y="1053"/>
                  </a:lnTo>
                  <a:lnTo>
                    <a:pt x="1134" y="1053"/>
                  </a:lnTo>
                  <a:lnTo>
                    <a:pt x="1134" y="1050"/>
                  </a:lnTo>
                  <a:lnTo>
                    <a:pt x="1134" y="1050"/>
                  </a:lnTo>
                  <a:lnTo>
                    <a:pt x="1134" y="1050"/>
                  </a:lnTo>
                  <a:lnTo>
                    <a:pt x="1134" y="1050"/>
                  </a:lnTo>
                  <a:lnTo>
                    <a:pt x="1134" y="1050"/>
                  </a:lnTo>
                  <a:lnTo>
                    <a:pt x="1134" y="1047"/>
                  </a:lnTo>
                  <a:lnTo>
                    <a:pt x="1136" y="1047"/>
                  </a:lnTo>
                  <a:lnTo>
                    <a:pt x="1139" y="1050"/>
                  </a:lnTo>
                  <a:lnTo>
                    <a:pt x="1139" y="1050"/>
                  </a:lnTo>
                  <a:lnTo>
                    <a:pt x="1139" y="1047"/>
                  </a:lnTo>
                  <a:close/>
                  <a:moveTo>
                    <a:pt x="1110" y="1103"/>
                  </a:moveTo>
                  <a:lnTo>
                    <a:pt x="1110" y="1103"/>
                  </a:lnTo>
                  <a:lnTo>
                    <a:pt x="1110" y="1103"/>
                  </a:lnTo>
                  <a:lnTo>
                    <a:pt x="1110" y="1103"/>
                  </a:lnTo>
                  <a:lnTo>
                    <a:pt x="1110" y="1103"/>
                  </a:lnTo>
                  <a:lnTo>
                    <a:pt x="1110" y="1103"/>
                  </a:lnTo>
                  <a:lnTo>
                    <a:pt x="1110" y="1101"/>
                  </a:lnTo>
                  <a:lnTo>
                    <a:pt x="1110" y="1103"/>
                  </a:lnTo>
                  <a:lnTo>
                    <a:pt x="1110" y="1101"/>
                  </a:lnTo>
                  <a:lnTo>
                    <a:pt x="1110" y="1101"/>
                  </a:lnTo>
                  <a:lnTo>
                    <a:pt x="1112" y="1101"/>
                  </a:lnTo>
                  <a:lnTo>
                    <a:pt x="1110" y="1101"/>
                  </a:lnTo>
                  <a:lnTo>
                    <a:pt x="1110" y="1101"/>
                  </a:lnTo>
                  <a:lnTo>
                    <a:pt x="1107" y="1101"/>
                  </a:lnTo>
                  <a:lnTo>
                    <a:pt x="1107" y="1101"/>
                  </a:lnTo>
                  <a:lnTo>
                    <a:pt x="1107" y="1101"/>
                  </a:lnTo>
                  <a:lnTo>
                    <a:pt x="1107" y="1101"/>
                  </a:lnTo>
                  <a:lnTo>
                    <a:pt x="1107" y="1101"/>
                  </a:lnTo>
                  <a:lnTo>
                    <a:pt x="1104" y="1103"/>
                  </a:lnTo>
                  <a:lnTo>
                    <a:pt x="1107" y="1103"/>
                  </a:lnTo>
                  <a:lnTo>
                    <a:pt x="1107" y="1103"/>
                  </a:lnTo>
                  <a:lnTo>
                    <a:pt x="1107" y="1106"/>
                  </a:lnTo>
                  <a:lnTo>
                    <a:pt x="1107" y="1106"/>
                  </a:lnTo>
                  <a:lnTo>
                    <a:pt x="1107" y="1106"/>
                  </a:lnTo>
                  <a:lnTo>
                    <a:pt x="1107" y="1106"/>
                  </a:lnTo>
                  <a:lnTo>
                    <a:pt x="1107" y="1106"/>
                  </a:lnTo>
                  <a:lnTo>
                    <a:pt x="1107" y="1106"/>
                  </a:lnTo>
                  <a:lnTo>
                    <a:pt x="1107" y="1106"/>
                  </a:lnTo>
                  <a:lnTo>
                    <a:pt x="1107" y="1106"/>
                  </a:lnTo>
                  <a:lnTo>
                    <a:pt x="1107" y="1109"/>
                  </a:lnTo>
                  <a:lnTo>
                    <a:pt x="1107" y="1109"/>
                  </a:lnTo>
                  <a:lnTo>
                    <a:pt x="1110" y="1109"/>
                  </a:lnTo>
                  <a:lnTo>
                    <a:pt x="1110" y="1106"/>
                  </a:lnTo>
                  <a:lnTo>
                    <a:pt x="1110" y="1103"/>
                  </a:lnTo>
                  <a:close/>
                  <a:moveTo>
                    <a:pt x="1102" y="1117"/>
                  </a:moveTo>
                  <a:lnTo>
                    <a:pt x="1102" y="1117"/>
                  </a:lnTo>
                  <a:lnTo>
                    <a:pt x="1102" y="1117"/>
                  </a:lnTo>
                  <a:lnTo>
                    <a:pt x="1102" y="1117"/>
                  </a:lnTo>
                  <a:lnTo>
                    <a:pt x="1102" y="1117"/>
                  </a:lnTo>
                  <a:lnTo>
                    <a:pt x="1102" y="1117"/>
                  </a:lnTo>
                  <a:lnTo>
                    <a:pt x="1099" y="1117"/>
                  </a:lnTo>
                  <a:lnTo>
                    <a:pt x="1099" y="1117"/>
                  </a:lnTo>
                  <a:lnTo>
                    <a:pt x="1099" y="1117"/>
                  </a:lnTo>
                  <a:lnTo>
                    <a:pt x="1099" y="1117"/>
                  </a:lnTo>
                  <a:lnTo>
                    <a:pt x="1099" y="1119"/>
                  </a:lnTo>
                  <a:lnTo>
                    <a:pt x="1099" y="1119"/>
                  </a:lnTo>
                  <a:lnTo>
                    <a:pt x="1099" y="1119"/>
                  </a:lnTo>
                  <a:lnTo>
                    <a:pt x="1099" y="1119"/>
                  </a:lnTo>
                  <a:lnTo>
                    <a:pt x="1102" y="1119"/>
                  </a:lnTo>
                  <a:lnTo>
                    <a:pt x="1102" y="1119"/>
                  </a:lnTo>
                  <a:lnTo>
                    <a:pt x="1102" y="1119"/>
                  </a:lnTo>
                  <a:lnTo>
                    <a:pt x="1102" y="1119"/>
                  </a:lnTo>
                  <a:lnTo>
                    <a:pt x="1104" y="1119"/>
                  </a:lnTo>
                  <a:lnTo>
                    <a:pt x="1104" y="1119"/>
                  </a:lnTo>
                  <a:lnTo>
                    <a:pt x="1102" y="1117"/>
                  </a:lnTo>
                  <a:close/>
                  <a:moveTo>
                    <a:pt x="918" y="393"/>
                  </a:moveTo>
                  <a:lnTo>
                    <a:pt x="918" y="393"/>
                  </a:lnTo>
                  <a:lnTo>
                    <a:pt x="918" y="393"/>
                  </a:lnTo>
                  <a:lnTo>
                    <a:pt x="918" y="393"/>
                  </a:lnTo>
                  <a:lnTo>
                    <a:pt x="918" y="390"/>
                  </a:lnTo>
                  <a:lnTo>
                    <a:pt x="918" y="393"/>
                  </a:lnTo>
                  <a:lnTo>
                    <a:pt x="918" y="393"/>
                  </a:lnTo>
                  <a:lnTo>
                    <a:pt x="918" y="393"/>
                  </a:lnTo>
                  <a:lnTo>
                    <a:pt x="918" y="393"/>
                  </a:lnTo>
                  <a:close/>
                  <a:moveTo>
                    <a:pt x="1104" y="1098"/>
                  </a:moveTo>
                  <a:lnTo>
                    <a:pt x="1104" y="1098"/>
                  </a:lnTo>
                  <a:lnTo>
                    <a:pt x="1104" y="1095"/>
                  </a:lnTo>
                  <a:lnTo>
                    <a:pt x="1104" y="1093"/>
                  </a:lnTo>
                  <a:lnTo>
                    <a:pt x="1104" y="1093"/>
                  </a:lnTo>
                  <a:lnTo>
                    <a:pt x="1104" y="1093"/>
                  </a:lnTo>
                  <a:lnTo>
                    <a:pt x="1104" y="1093"/>
                  </a:lnTo>
                  <a:lnTo>
                    <a:pt x="1104" y="1093"/>
                  </a:lnTo>
                  <a:lnTo>
                    <a:pt x="1104" y="1090"/>
                  </a:lnTo>
                  <a:lnTo>
                    <a:pt x="1104" y="1090"/>
                  </a:lnTo>
                  <a:lnTo>
                    <a:pt x="1104" y="1090"/>
                  </a:lnTo>
                  <a:lnTo>
                    <a:pt x="1104" y="1090"/>
                  </a:lnTo>
                  <a:lnTo>
                    <a:pt x="1104" y="1087"/>
                  </a:lnTo>
                  <a:lnTo>
                    <a:pt x="1104" y="1087"/>
                  </a:lnTo>
                  <a:lnTo>
                    <a:pt x="1104" y="1087"/>
                  </a:lnTo>
                  <a:lnTo>
                    <a:pt x="1104" y="1087"/>
                  </a:lnTo>
                  <a:lnTo>
                    <a:pt x="1104" y="1087"/>
                  </a:lnTo>
                  <a:lnTo>
                    <a:pt x="1104" y="1090"/>
                  </a:lnTo>
                  <a:lnTo>
                    <a:pt x="1104" y="1090"/>
                  </a:lnTo>
                  <a:lnTo>
                    <a:pt x="1104" y="1090"/>
                  </a:lnTo>
                  <a:lnTo>
                    <a:pt x="1104" y="1090"/>
                  </a:lnTo>
                  <a:lnTo>
                    <a:pt x="1102" y="1090"/>
                  </a:lnTo>
                  <a:lnTo>
                    <a:pt x="1102" y="1090"/>
                  </a:lnTo>
                  <a:lnTo>
                    <a:pt x="1102" y="1093"/>
                  </a:lnTo>
                  <a:lnTo>
                    <a:pt x="1102" y="1093"/>
                  </a:lnTo>
                  <a:lnTo>
                    <a:pt x="1102" y="1093"/>
                  </a:lnTo>
                  <a:lnTo>
                    <a:pt x="1104" y="1093"/>
                  </a:lnTo>
                  <a:lnTo>
                    <a:pt x="1104" y="1093"/>
                  </a:lnTo>
                  <a:lnTo>
                    <a:pt x="1104" y="1095"/>
                  </a:lnTo>
                  <a:lnTo>
                    <a:pt x="1102" y="1095"/>
                  </a:lnTo>
                  <a:lnTo>
                    <a:pt x="1102" y="1095"/>
                  </a:lnTo>
                  <a:lnTo>
                    <a:pt x="1102" y="1095"/>
                  </a:lnTo>
                  <a:lnTo>
                    <a:pt x="1102" y="1095"/>
                  </a:lnTo>
                  <a:lnTo>
                    <a:pt x="1102" y="1095"/>
                  </a:lnTo>
                  <a:lnTo>
                    <a:pt x="1099" y="1095"/>
                  </a:lnTo>
                  <a:lnTo>
                    <a:pt x="1099" y="1095"/>
                  </a:lnTo>
                  <a:lnTo>
                    <a:pt x="1099" y="1095"/>
                  </a:lnTo>
                  <a:lnTo>
                    <a:pt x="1102" y="1095"/>
                  </a:lnTo>
                  <a:lnTo>
                    <a:pt x="1102" y="1095"/>
                  </a:lnTo>
                  <a:lnTo>
                    <a:pt x="1102" y="1098"/>
                  </a:lnTo>
                  <a:lnTo>
                    <a:pt x="1102" y="1098"/>
                  </a:lnTo>
                  <a:lnTo>
                    <a:pt x="1102" y="1098"/>
                  </a:lnTo>
                  <a:lnTo>
                    <a:pt x="1102" y="1098"/>
                  </a:lnTo>
                  <a:lnTo>
                    <a:pt x="1102" y="1098"/>
                  </a:lnTo>
                  <a:lnTo>
                    <a:pt x="1102" y="1098"/>
                  </a:lnTo>
                  <a:lnTo>
                    <a:pt x="1099" y="1098"/>
                  </a:lnTo>
                  <a:lnTo>
                    <a:pt x="1099" y="1098"/>
                  </a:lnTo>
                  <a:lnTo>
                    <a:pt x="1099" y="1098"/>
                  </a:lnTo>
                  <a:lnTo>
                    <a:pt x="1099" y="1101"/>
                  </a:lnTo>
                  <a:lnTo>
                    <a:pt x="1099" y="1101"/>
                  </a:lnTo>
                  <a:lnTo>
                    <a:pt x="1099" y="1101"/>
                  </a:lnTo>
                  <a:lnTo>
                    <a:pt x="1099" y="1101"/>
                  </a:lnTo>
                  <a:lnTo>
                    <a:pt x="1099" y="1101"/>
                  </a:lnTo>
                  <a:lnTo>
                    <a:pt x="1102" y="1101"/>
                  </a:lnTo>
                  <a:lnTo>
                    <a:pt x="1102" y="1101"/>
                  </a:lnTo>
                  <a:lnTo>
                    <a:pt x="1102" y="1101"/>
                  </a:lnTo>
                  <a:lnTo>
                    <a:pt x="1102" y="1101"/>
                  </a:lnTo>
                  <a:lnTo>
                    <a:pt x="1102" y="1098"/>
                  </a:lnTo>
                  <a:lnTo>
                    <a:pt x="1102" y="1098"/>
                  </a:lnTo>
                  <a:lnTo>
                    <a:pt x="1102" y="1098"/>
                  </a:lnTo>
                  <a:lnTo>
                    <a:pt x="1102" y="1098"/>
                  </a:lnTo>
                  <a:lnTo>
                    <a:pt x="1104" y="1098"/>
                  </a:lnTo>
                  <a:lnTo>
                    <a:pt x="1104" y="1101"/>
                  </a:lnTo>
                  <a:lnTo>
                    <a:pt x="1104" y="1101"/>
                  </a:lnTo>
                  <a:lnTo>
                    <a:pt x="1104" y="1101"/>
                  </a:lnTo>
                  <a:lnTo>
                    <a:pt x="1104" y="1101"/>
                  </a:lnTo>
                  <a:lnTo>
                    <a:pt x="1104" y="1101"/>
                  </a:lnTo>
                  <a:lnTo>
                    <a:pt x="1104" y="1101"/>
                  </a:lnTo>
                  <a:lnTo>
                    <a:pt x="1104" y="1098"/>
                  </a:lnTo>
                  <a:close/>
                  <a:moveTo>
                    <a:pt x="982" y="1130"/>
                  </a:moveTo>
                  <a:lnTo>
                    <a:pt x="982" y="1127"/>
                  </a:lnTo>
                  <a:lnTo>
                    <a:pt x="982" y="1127"/>
                  </a:lnTo>
                  <a:lnTo>
                    <a:pt x="982" y="1127"/>
                  </a:lnTo>
                  <a:lnTo>
                    <a:pt x="982" y="1127"/>
                  </a:lnTo>
                  <a:lnTo>
                    <a:pt x="979" y="1127"/>
                  </a:lnTo>
                  <a:lnTo>
                    <a:pt x="979" y="1127"/>
                  </a:lnTo>
                  <a:lnTo>
                    <a:pt x="979" y="1127"/>
                  </a:lnTo>
                  <a:lnTo>
                    <a:pt x="979" y="1127"/>
                  </a:lnTo>
                  <a:lnTo>
                    <a:pt x="976" y="1127"/>
                  </a:lnTo>
                  <a:lnTo>
                    <a:pt x="976" y="1125"/>
                  </a:lnTo>
                  <a:lnTo>
                    <a:pt x="974" y="1125"/>
                  </a:lnTo>
                  <a:lnTo>
                    <a:pt x="974" y="1125"/>
                  </a:lnTo>
                  <a:lnTo>
                    <a:pt x="971" y="1125"/>
                  </a:lnTo>
                  <a:lnTo>
                    <a:pt x="971" y="1125"/>
                  </a:lnTo>
                  <a:lnTo>
                    <a:pt x="971" y="1125"/>
                  </a:lnTo>
                  <a:lnTo>
                    <a:pt x="971" y="1125"/>
                  </a:lnTo>
                  <a:lnTo>
                    <a:pt x="971" y="1127"/>
                  </a:lnTo>
                  <a:lnTo>
                    <a:pt x="971" y="1127"/>
                  </a:lnTo>
                  <a:lnTo>
                    <a:pt x="971" y="1130"/>
                  </a:lnTo>
                  <a:lnTo>
                    <a:pt x="974" y="1130"/>
                  </a:lnTo>
                  <a:lnTo>
                    <a:pt x="974" y="1130"/>
                  </a:lnTo>
                  <a:lnTo>
                    <a:pt x="974" y="1130"/>
                  </a:lnTo>
                  <a:lnTo>
                    <a:pt x="976" y="1133"/>
                  </a:lnTo>
                  <a:lnTo>
                    <a:pt x="976" y="1133"/>
                  </a:lnTo>
                  <a:lnTo>
                    <a:pt x="979" y="1133"/>
                  </a:lnTo>
                  <a:lnTo>
                    <a:pt x="979" y="1133"/>
                  </a:lnTo>
                  <a:lnTo>
                    <a:pt x="979" y="1133"/>
                  </a:lnTo>
                  <a:lnTo>
                    <a:pt x="979" y="1133"/>
                  </a:lnTo>
                  <a:lnTo>
                    <a:pt x="979" y="1133"/>
                  </a:lnTo>
                  <a:lnTo>
                    <a:pt x="979" y="1133"/>
                  </a:lnTo>
                  <a:lnTo>
                    <a:pt x="976" y="1133"/>
                  </a:lnTo>
                  <a:lnTo>
                    <a:pt x="982" y="1133"/>
                  </a:lnTo>
                  <a:lnTo>
                    <a:pt x="982" y="1133"/>
                  </a:lnTo>
                  <a:lnTo>
                    <a:pt x="982" y="1133"/>
                  </a:lnTo>
                  <a:lnTo>
                    <a:pt x="982" y="1130"/>
                  </a:lnTo>
                  <a:lnTo>
                    <a:pt x="982" y="1130"/>
                  </a:lnTo>
                  <a:lnTo>
                    <a:pt x="982" y="1130"/>
                  </a:lnTo>
                  <a:close/>
                  <a:moveTo>
                    <a:pt x="955" y="1082"/>
                  </a:moveTo>
                  <a:lnTo>
                    <a:pt x="955" y="1082"/>
                  </a:lnTo>
                  <a:lnTo>
                    <a:pt x="955" y="1082"/>
                  </a:lnTo>
                  <a:lnTo>
                    <a:pt x="952" y="1082"/>
                  </a:lnTo>
                  <a:lnTo>
                    <a:pt x="952" y="1082"/>
                  </a:lnTo>
                  <a:lnTo>
                    <a:pt x="952" y="1082"/>
                  </a:lnTo>
                  <a:lnTo>
                    <a:pt x="955" y="1082"/>
                  </a:lnTo>
                  <a:lnTo>
                    <a:pt x="955" y="1082"/>
                  </a:lnTo>
                  <a:lnTo>
                    <a:pt x="955" y="1082"/>
                  </a:lnTo>
                  <a:lnTo>
                    <a:pt x="955" y="1082"/>
                  </a:lnTo>
                  <a:lnTo>
                    <a:pt x="955" y="1082"/>
                  </a:lnTo>
                  <a:lnTo>
                    <a:pt x="955" y="1082"/>
                  </a:lnTo>
                  <a:lnTo>
                    <a:pt x="955" y="1082"/>
                  </a:lnTo>
                  <a:lnTo>
                    <a:pt x="952" y="1082"/>
                  </a:lnTo>
                  <a:lnTo>
                    <a:pt x="952" y="1082"/>
                  </a:lnTo>
                  <a:lnTo>
                    <a:pt x="955" y="1082"/>
                  </a:lnTo>
                  <a:close/>
                  <a:moveTo>
                    <a:pt x="763" y="1127"/>
                  </a:moveTo>
                  <a:lnTo>
                    <a:pt x="760" y="1125"/>
                  </a:lnTo>
                  <a:lnTo>
                    <a:pt x="760" y="1125"/>
                  </a:lnTo>
                  <a:lnTo>
                    <a:pt x="760" y="1127"/>
                  </a:lnTo>
                  <a:lnTo>
                    <a:pt x="763" y="1127"/>
                  </a:lnTo>
                  <a:close/>
                  <a:moveTo>
                    <a:pt x="987" y="1133"/>
                  </a:moveTo>
                  <a:lnTo>
                    <a:pt x="987" y="1133"/>
                  </a:lnTo>
                  <a:lnTo>
                    <a:pt x="987" y="1133"/>
                  </a:lnTo>
                  <a:lnTo>
                    <a:pt x="987" y="1133"/>
                  </a:lnTo>
                  <a:lnTo>
                    <a:pt x="984" y="1130"/>
                  </a:lnTo>
                  <a:lnTo>
                    <a:pt x="984" y="1130"/>
                  </a:lnTo>
                  <a:lnTo>
                    <a:pt x="984" y="1130"/>
                  </a:lnTo>
                  <a:lnTo>
                    <a:pt x="984" y="1130"/>
                  </a:lnTo>
                  <a:lnTo>
                    <a:pt x="984" y="1133"/>
                  </a:lnTo>
                  <a:lnTo>
                    <a:pt x="984" y="1133"/>
                  </a:lnTo>
                  <a:lnTo>
                    <a:pt x="984" y="1133"/>
                  </a:lnTo>
                  <a:lnTo>
                    <a:pt x="987" y="1135"/>
                  </a:lnTo>
                  <a:lnTo>
                    <a:pt x="987" y="1135"/>
                  </a:lnTo>
                  <a:lnTo>
                    <a:pt x="990" y="1133"/>
                  </a:lnTo>
                  <a:lnTo>
                    <a:pt x="990" y="1133"/>
                  </a:lnTo>
                  <a:lnTo>
                    <a:pt x="987" y="1133"/>
                  </a:lnTo>
                  <a:lnTo>
                    <a:pt x="987" y="1133"/>
                  </a:lnTo>
                  <a:close/>
                  <a:moveTo>
                    <a:pt x="891" y="1130"/>
                  </a:moveTo>
                  <a:lnTo>
                    <a:pt x="891" y="1130"/>
                  </a:lnTo>
                  <a:lnTo>
                    <a:pt x="888" y="1133"/>
                  </a:lnTo>
                  <a:lnTo>
                    <a:pt x="888" y="1133"/>
                  </a:lnTo>
                  <a:lnTo>
                    <a:pt x="888" y="1133"/>
                  </a:lnTo>
                  <a:lnTo>
                    <a:pt x="891" y="1133"/>
                  </a:lnTo>
                  <a:lnTo>
                    <a:pt x="894" y="1133"/>
                  </a:lnTo>
                  <a:lnTo>
                    <a:pt x="894" y="1133"/>
                  </a:lnTo>
                  <a:lnTo>
                    <a:pt x="894" y="1130"/>
                  </a:lnTo>
                  <a:lnTo>
                    <a:pt x="891" y="1130"/>
                  </a:lnTo>
                  <a:close/>
                  <a:moveTo>
                    <a:pt x="963" y="1111"/>
                  </a:moveTo>
                  <a:lnTo>
                    <a:pt x="963" y="1109"/>
                  </a:lnTo>
                  <a:lnTo>
                    <a:pt x="963" y="1109"/>
                  </a:lnTo>
                  <a:lnTo>
                    <a:pt x="963" y="1109"/>
                  </a:lnTo>
                  <a:lnTo>
                    <a:pt x="963" y="1109"/>
                  </a:lnTo>
                  <a:lnTo>
                    <a:pt x="963" y="1109"/>
                  </a:lnTo>
                  <a:lnTo>
                    <a:pt x="963" y="1106"/>
                  </a:lnTo>
                  <a:lnTo>
                    <a:pt x="963" y="1103"/>
                  </a:lnTo>
                  <a:lnTo>
                    <a:pt x="960" y="1103"/>
                  </a:lnTo>
                  <a:lnTo>
                    <a:pt x="960" y="1103"/>
                  </a:lnTo>
                  <a:lnTo>
                    <a:pt x="960" y="1103"/>
                  </a:lnTo>
                  <a:lnTo>
                    <a:pt x="960" y="1103"/>
                  </a:lnTo>
                  <a:lnTo>
                    <a:pt x="960" y="1103"/>
                  </a:lnTo>
                  <a:lnTo>
                    <a:pt x="960" y="1103"/>
                  </a:lnTo>
                  <a:lnTo>
                    <a:pt x="958" y="1103"/>
                  </a:lnTo>
                  <a:lnTo>
                    <a:pt x="958" y="1103"/>
                  </a:lnTo>
                  <a:lnTo>
                    <a:pt x="955" y="1103"/>
                  </a:lnTo>
                  <a:lnTo>
                    <a:pt x="955" y="1103"/>
                  </a:lnTo>
                  <a:lnTo>
                    <a:pt x="955" y="1103"/>
                  </a:lnTo>
                  <a:lnTo>
                    <a:pt x="952" y="1101"/>
                  </a:lnTo>
                  <a:lnTo>
                    <a:pt x="952" y="1098"/>
                  </a:lnTo>
                  <a:lnTo>
                    <a:pt x="952" y="1095"/>
                  </a:lnTo>
                  <a:lnTo>
                    <a:pt x="952" y="1093"/>
                  </a:lnTo>
                  <a:lnTo>
                    <a:pt x="952" y="1090"/>
                  </a:lnTo>
                  <a:lnTo>
                    <a:pt x="952" y="1090"/>
                  </a:lnTo>
                  <a:lnTo>
                    <a:pt x="952" y="1090"/>
                  </a:lnTo>
                  <a:lnTo>
                    <a:pt x="950" y="1087"/>
                  </a:lnTo>
                  <a:lnTo>
                    <a:pt x="950" y="1087"/>
                  </a:lnTo>
                  <a:lnTo>
                    <a:pt x="950" y="1085"/>
                  </a:lnTo>
                  <a:lnTo>
                    <a:pt x="950" y="1085"/>
                  </a:lnTo>
                  <a:lnTo>
                    <a:pt x="950" y="1085"/>
                  </a:lnTo>
                  <a:lnTo>
                    <a:pt x="950" y="1085"/>
                  </a:lnTo>
                  <a:lnTo>
                    <a:pt x="950" y="1085"/>
                  </a:lnTo>
                  <a:lnTo>
                    <a:pt x="950" y="1085"/>
                  </a:lnTo>
                  <a:lnTo>
                    <a:pt x="947" y="1082"/>
                  </a:lnTo>
                  <a:lnTo>
                    <a:pt x="944" y="1082"/>
                  </a:lnTo>
                  <a:lnTo>
                    <a:pt x="942" y="1082"/>
                  </a:lnTo>
                  <a:lnTo>
                    <a:pt x="939" y="1082"/>
                  </a:lnTo>
                  <a:lnTo>
                    <a:pt x="939" y="1082"/>
                  </a:lnTo>
                  <a:lnTo>
                    <a:pt x="939" y="1082"/>
                  </a:lnTo>
                  <a:lnTo>
                    <a:pt x="934" y="1082"/>
                  </a:lnTo>
                  <a:lnTo>
                    <a:pt x="934" y="1082"/>
                  </a:lnTo>
                  <a:lnTo>
                    <a:pt x="931" y="1085"/>
                  </a:lnTo>
                  <a:lnTo>
                    <a:pt x="931" y="1085"/>
                  </a:lnTo>
                  <a:lnTo>
                    <a:pt x="928" y="1085"/>
                  </a:lnTo>
                  <a:lnTo>
                    <a:pt x="926" y="1085"/>
                  </a:lnTo>
                  <a:lnTo>
                    <a:pt x="926" y="1085"/>
                  </a:lnTo>
                  <a:lnTo>
                    <a:pt x="923" y="1087"/>
                  </a:lnTo>
                  <a:lnTo>
                    <a:pt x="920" y="1087"/>
                  </a:lnTo>
                  <a:lnTo>
                    <a:pt x="923" y="1087"/>
                  </a:lnTo>
                  <a:lnTo>
                    <a:pt x="923" y="1090"/>
                  </a:lnTo>
                  <a:lnTo>
                    <a:pt x="920" y="1090"/>
                  </a:lnTo>
                  <a:lnTo>
                    <a:pt x="918" y="1090"/>
                  </a:lnTo>
                  <a:lnTo>
                    <a:pt x="918" y="1087"/>
                  </a:lnTo>
                  <a:lnTo>
                    <a:pt x="915" y="1087"/>
                  </a:lnTo>
                  <a:lnTo>
                    <a:pt x="915" y="1087"/>
                  </a:lnTo>
                  <a:lnTo>
                    <a:pt x="912" y="1085"/>
                  </a:lnTo>
                  <a:lnTo>
                    <a:pt x="912" y="1087"/>
                  </a:lnTo>
                  <a:lnTo>
                    <a:pt x="910" y="1087"/>
                  </a:lnTo>
                  <a:lnTo>
                    <a:pt x="910" y="1087"/>
                  </a:lnTo>
                  <a:lnTo>
                    <a:pt x="907" y="1090"/>
                  </a:lnTo>
                  <a:lnTo>
                    <a:pt x="907" y="1090"/>
                  </a:lnTo>
                  <a:lnTo>
                    <a:pt x="902" y="1101"/>
                  </a:lnTo>
                  <a:lnTo>
                    <a:pt x="899" y="1103"/>
                  </a:lnTo>
                  <a:lnTo>
                    <a:pt x="896" y="1103"/>
                  </a:lnTo>
                  <a:lnTo>
                    <a:pt x="894" y="1103"/>
                  </a:lnTo>
                  <a:lnTo>
                    <a:pt x="891" y="1103"/>
                  </a:lnTo>
                  <a:lnTo>
                    <a:pt x="891" y="1106"/>
                  </a:lnTo>
                  <a:lnTo>
                    <a:pt x="888" y="1106"/>
                  </a:lnTo>
                  <a:lnTo>
                    <a:pt x="891" y="1109"/>
                  </a:lnTo>
                  <a:lnTo>
                    <a:pt x="891" y="1109"/>
                  </a:lnTo>
                  <a:lnTo>
                    <a:pt x="891" y="1109"/>
                  </a:lnTo>
                  <a:lnTo>
                    <a:pt x="891" y="1111"/>
                  </a:lnTo>
                  <a:lnTo>
                    <a:pt x="891" y="1111"/>
                  </a:lnTo>
                  <a:lnTo>
                    <a:pt x="891" y="1111"/>
                  </a:lnTo>
                  <a:lnTo>
                    <a:pt x="891" y="1114"/>
                  </a:lnTo>
                  <a:lnTo>
                    <a:pt x="891" y="1114"/>
                  </a:lnTo>
                  <a:lnTo>
                    <a:pt x="891" y="1114"/>
                  </a:lnTo>
                  <a:lnTo>
                    <a:pt x="891" y="1117"/>
                  </a:lnTo>
                  <a:lnTo>
                    <a:pt x="894" y="1117"/>
                  </a:lnTo>
                  <a:lnTo>
                    <a:pt x="894" y="1119"/>
                  </a:lnTo>
                  <a:lnTo>
                    <a:pt x="899" y="1119"/>
                  </a:lnTo>
                  <a:lnTo>
                    <a:pt x="899" y="1119"/>
                  </a:lnTo>
                  <a:lnTo>
                    <a:pt x="902" y="1119"/>
                  </a:lnTo>
                  <a:lnTo>
                    <a:pt x="902" y="1119"/>
                  </a:lnTo>
                  <a:lnTo>
                    <a:pt x="904" y="1119"/>
                  </a:lnTo>
                  <a:lnTo>
                    <a:pt x="907" y="1119"/>
                  </a:lnTo>
                  <a:lnTo>
                    <a:pt x="910" y="1119"/>
                  </a:lnTo>
                  <a:lnTo>
                    <a:pt x="912" y="1117"/>
                  </a:lnTo>
                  <a:lnTo>
                    <a:pt x="912" y="1117"/>
                  </a:lnTo>
                  <a:lnTo>
                    <a:pt x="912" y="1114"/>
                  </a:lnTo>
                  <a:lnTo>
                    <a:pt x="912" y="1114"/>
                  </a:lnTo>
                  <a:lnTo>
                    <a:pt x="912" y="1114"/>
                  </a:lnTo>
                  <a:lnTo>
                    <a:pt x="912" y="1114"/>
                  </a:lnTo>
                  <a:lnTo>
                    <a:pt x="912" y="1114"/>
                  </a:lnTo>
                  <a:lnTo>
                    <a:pt x="918" y="1109"/>
                  </a:lnTo>
                  <a:lnTo>
                    <a:pt x="920" y="1109"/>
                  </a:lnTo>
                  <a:lnTo>
                    <a:pt x="923" y="1109"/>
                  </a:lnTo>
                  <a:lnTo>
                    <a:pt x="936" y="1109"/>
                  </a:lnTo>
                  <a:lnTo>
                    <a:pt x="939" y="1111"/>
                  </a:lnTo>
                  <a:lnTo>
                    <a:pt x="942" y="1111"/>
                  </a:lnTo>
                  <a:lnTo>
                    <a:pt x="944" y="1111"/>
                  </a:lnTo>
                  <a:lnTo>
                    <a:pt x="947" y="1111"/>
                  </a:lnTo>
                  <a:lnTo>
                    <a:pt x="947" y="1109"/>
                  </a:lnTo>
                  <a:lnTo>
                    <a:pt x="950" y="1109"/>
                  </a:lnTo>
                  <a:lnTo>
                    <a:pt x="950" y="1109"/>
                  </a:lnTo>
                  <a:lnTo>
                    <a:pt x="950" y="1109"/>
                  </a:lnTo>
                  <a:lnTo>
                    <a:pt x="950" y="1106"/>
                  </a:lnTo>
                  <a:lnTo>
                    <a:pt x="950" y="1103"/>
                  </a:lnTo>
                  <a:lnTo>
                    <a:pt x="950" y="1103"/>
                  </a:lnTo>
                  <a:lnTo>
                    <a:pt x="952" y="1103"/>
                  </a:lnTo>
                  <a:lnTo>
                    <a:pt x="952" y="1103"/>
                  </a:lnTo>
                  <a:lnTo>
                    <a:pt x="955" y="1103"/>
                  </a:lnTo>
                  <a:lnTo>
                    <a:pt x="955" y="1106"/>
                  </a:lnTo>
                  <a:lnTo>
                    <a:pt x="955" y="1106"/>
                  </a:lnTo>
                  <a:lnTo>
                    <a:pt x="955" y="1106"/>
                  </a:lnTo>
                  <a:lnTo>
                    <a:pt x="958" y="1109"/>
                  </a:lnTo>
                  <a:lnTo>
                    <a:pt x="958" y="1109"/>
                  </a:lnTo>
                  <a:lnTo>
                    <a:pt x="958" y="1109"/>
                  </a:lnTo>
                  <a:lnTo>
                    <a:pt x="958" y="1109"/>
                  </a:lnTo>
                  <a:lnTo>
                    <a:pt x="958" y="1109"/>
                  </a:lnTo>
                  <a:lnTo>
                    <a:pt x="960" y="1109"/>
                  </a:lnTo>
                  <a:lnTo>
                    <a:pt x="960" y="1109"/>
                  </a:lnTo>
                  <a:lnTo>
                    <a:pt x="960" y="1109"/>
                  </a:lnTo>
                  <a:lnTo>
                    <a:pt x="960" y="1109"/>
                  </a:lnTo>
                  <a:lnTo>
                    <a:pt x="963" y="1109"/>
                  </a:lnTo>
                  <a:lnTo>
                    <a:pt x="963" y="1109"/>
                  </a:lnTo>
                  <a:lnTo>
                    <a:pt x="960" y="1111"/>
                  </a:lnTo>
                  <a:lnTo>
                    <a:pt x="960" y="1111"/>
                  </a:lnTo>
                  <a:lnTo>
                    <a:pt x="960" y="1111"/>
                  </a:lnTo>
                  <a:lnTo>
                    <a:pt x="963" y="1111"/>
                  </a:lnTo>
                  <a:lnTo>
                    <a:pt x="966" y="1111"/>
                  </a:lnTo>
                  <a:lnTo>
                    <a:pt x="966" y="1111"/>
                  </a:lnTo>
                  <a:lnTo>
                    <a:pt x="963" y="1111"/>
                  </a:lnTo>
                  <a:close/>
                  <a:moveTo>
                    <a:pt x="974" y="1095"/>
                  </a:moveTo>
                  <a:lnTo>
                    <a:pt x="974" y="1095"/>
                  </a:lnTo>
                  <a:lnTo>
                    <a:pt x="974" y="1095"/>
                  </a:lnTo>
                  <a:lnTo>
                    <a:pt x="974" y="1098"/>
                  </a:lnTo>
                  <a:lnTo>
                    <a:pt x="974" y="1098"/>
                  </a:lnTo>
                  <a:lnTo>
                    <a:pt x="974" y="1095"/>
                  </a:lnTo>
                  <a:close/>
                  <a:moveTo>
                    <a:pt x="1019" y="1085"/>
                  </a:moveTo>
                  <a:lnTo>
                    <a:pt x="1019" y="1085"/>
                  </a:lnTo>
                  <a:lnTo>
                    <a:pt x="1019" y="1085"/>
                  </a:lnTo>
                  <a:lnTo>
                    <a:pt x="1019" y="1085"/>
                  </a:lnTo>
                  <a:lnTo>
                    <a:pt x="1019" y="1085"/>
                  </a:lnTo>
                  <a:lnTo>
                    <a:pt x="1019" y="1085"/>
                  </a:lnTo>
                  <a:lnTo>
                    <a:pt x="1016" y="1085"/>
                  </a:lnTo>
                  <a:lnTo>
                    <a:pt x="1014" y="1085"/>
                  </a:lnTo>
                  <a:lnTo>
                    <a:pt x="1014" y="1085"/>
                  </a:lnTo>
                  <a:lnTo>
                    <a:pt x="1014" y="1085"/>
                  </a:lnTo>
                  <a:lnTo>
                    <a:pt x="1014" y="1085"/>
                  </a:lnTo>
                  <a:lnTo>
                    <a:pt x="1014" y="1085"/>
                  </a:lnTo>
                  <a:lnTo>
                    <a:pt x="1014" y="1085"/>
                  </a:lnTo>
                  <a:lnTo>
                    <a:pt x="1014" y="1085"/>
                  </a:lnTo>
                  <a:lnTo>
                    <a:pt x="1014" y="1087"/>
                  </a:lnTo>
                  <a:lnTo>
                    <a:pt x="1016" y="1087"/>
                  </a:lnTo>
                  <a:lnTo>
                    <a:pt x="1016" y="1087"/>
                  </a:lnTo>
                  <a:lnTo>
                    <a:pt x="1016" y="1087"/>
                  </a:lnTo>
                  <a:lnTo>
                    <a:pt x="1016" y="1085"/>
                  </a:lnTo>
                  <a:lnTo>
                    <a:pt x="1016" y="1085"/>
                  </a:lnTo>
                  <a:lnTo>
                    <a:pt x="1016" y="1085"/>
                  </a:lnTo>
                  <a:lnTo>
                    <a:pt x="1019" y="1087"/>
                  </a:lnTo>
                  <a:lnTo>
                    <a:pt x="1019" y="1087"/>
                  </a:lnTo>
                  <a:lnTo>
                    <a:pt x="1016" y="1087"/>
                  </a:lnTo>
                  <a:lnTo>
                    <a:pt x="1016" y="1090"/>
                  </a:lnTo>
                  <a:lnTo>
                    <a:pt x="1016" y="1090"/>
                  </a:lnTo>
                  <a:lnTo>
                    <a:pt x="1016" y="1090"/>
                  </a:lnTo>
                  <a:lnTo>
                    <a:pt x="1016" y="1090"/>
                  </a:lnTo>
                  <a:lnTo>
                    <a:pt x="1019" y="1093"/>
                  </a:lnTo>
                  <a:lnTo>
                    <a:pt x="1019" y="1090"/>
                  </a:lnTo>
                  <a:lnTo>
                    <a:pt x="1019" y="1090"/>
                  </a:lnTo>
                  <a:lnTo>
                    <a:pt x="1019" y="1090"/>
                  </a:lnTo>
                  <a:lnTo>
                    <a:pt x="1022" y="1090"/>
                  </a:lnTo>
                  <a:lnTo>
                    <a:pt x="1022" y="1090"/>
                  </a:lnTo>
                  <a:lnTo>
                    <a:pt x="1022" y="1087"/>
                  </a:lnTo>
                  <a:lnTo>
                    <a:pt x="1022" y="1087"/>
                  </a:lnTo>
                  <a:lnTo>
                    <a:pt x="1022" y="1087"/>
                  </a:lnTo>
                  <a:lnTo>
                    <a:pt x="1019" y="1085"/>
                  </a:lnTo>
                  <a:close/>
                  <a:moveTo>
                    <a:pt x="1014" y="1095"/>
                  </a:moveTo>
                  <a:lnTo>
                    <a:pt x="1011" y="1093"/>
                  </a:lnTo>
                  <a:lnTo>
                    <a:pt x="1011" y="1093"/>
                  </a:lnTo>
                  <a:lnTo>
                    <a:pt x="1011" y="1093"/>
                  </a:lnTo>
                  <a:lnTo>
                    <a:pt x="1011" y="1093"/>
                  </a:lnTo>
                  <a:lnTo>
                    <a:pt x="1014" y="1095"/>
                  </a:lnTo>
                  <a:lnTo>
                    <a:pt x="1014" y="1095"/>
                  </a:lnTo>
                  <a:lnTo>
                    <a:pt x="1014" y="1095"/>
                  </a:lnTo>
                  <a:lnTo>
                    <a:pt x="1014" y="1095"/>
                  </a:lnTo>
                  <a:lnTo>
                    <a:pt x="1014" y="1095"/>
                  </a:lnTo>
                  <a:close/>
                  <a:moveTo>
                    <a:pt x="992" y="1117"/>
                  </a:moveTo>
                  <a:lnTo>
                    <a:pt x="992" y="1117"/>
                  </a:lnTo>
                  <a:lnTo>
                    <a:pt x="990" y="1117"/>
                  </a:lnTo>
                  <a:lnTo>
                    <a:pt x="990" y="1117"/>
                  </a:lnTo>
                  <a:lnTo>
                    <a:pt x="992" y="1117"/>
                  </a:lnTo>
                  <a:lnTo>
                    <a:pt x="990" y="1117"/>
                  </a:lnTo>
                  <a:lnTo>
                    <a:pt x="990" y="1117"/>
                  </a:lnTo>
                  <a:lnTo>
                    <a:pt x="990" y="1117"/>
                  </a:lnTo>
                  <a:lnTo>
                    <a:pt x="990" y="1117"/>
                  </a:lnTo>
                  <a:lnTo>
                    <a:pt x="990" y="1117"/>
                  </a:lnTo>
                  <a:lnTo>
                    <a:pt x="990" y="1117"/>
                  </a:lnTo>
                  <a:lnTo>
                    <a:pt x="990" y="1117"/>
                  </a:lnTo>
                  <a:lnTo>
                    <a:pt x="990" y="1117"/>
                  </a:lnTo>
                  <a:lnTo>
                    <a:pt x="990" y="1117"/>
                  </a:lnTo>
                  <a:lnTo>
                    <a:pt x="992" y="1117"/>
                  </a:lnTo>
                  <a:lnTo>
                    <a:pt x="992" y="1117"/>
                  </a:lnTo>
                  <a:lnTo>
                    <a:pt x="992" y="1117"/>
                  </a:lnTo>
                  <a:lnTo>
                    <a:pt x="992" y="1117"/>
                  </a:lnTo>
                  <a:lnTo>
                    <a:pt x="992" y="1117"/>
                  </a:lnTo>
                  <a:lnTo>
                    <a:pt x="992" y="1117"/>
                  </a:lnTo>
                  <a:close/>
                  <a:moveTo>
                    <a:pt x="1011" y="1090"/>
                  </a:moveTo>
                  <a:lnTo>
                    <a:pt x="1011" y="1090"/>
                  </a:lnTo>
                  <a:lnTo>
                    <a:pt x="1011" y="1090"/>
                  </a:lnTo>
                  <a:lnTo>
                    <a:pt x="1011" y="1090"/>
                  </a:lnTo>
                  <a:lnTo>
                    <a:pt x="1011" y="1093"/>
                  </a:lnTo>
                  <a:lnTo>
                    <a:pt x="1011" y="1093"/>
                  </a:lnTo>
                  <a:lnTo>
                    <a:pt x="1011" y="1090"/>
                  </a:lnTo>
                  <a:lnTo>
                    <a:pt x="1011" y="1090"/>
                  </a:lnTo>
                  <a:lnTo>
                    <a:pt x="1011" y="1090"/>
                  </a:lnTo>
                  <a:close/>
                  <a:moveTo>
                    <a:pt x="998" y="1093"/>
                  </a:moveTo>
                  <a:lnTo>
                    <a:pt x="995" y="1093"/>
                  </a:lnTo>
                  <a:lnTo>
                    <a:pt x="995" y="1095"/>
                  </a:lnTo>
                  <a:lnTo>
                    <a:pt x="992" y="1095"/>
                  </a:lnTo>
                  <a:lnTo>
                    <a:pt x="992" y="1095"/>
                  </a:lnTo>
                  <a:lnTo>
                    <a:pt x="990" y="1098"/>
                  </a:lnTo>
                  <a:lnTo>
                    <a:pt x="990" y="1098"/>
                  </a:lnTo>
                  <a:lnTo>
                    <a:pt x="990" y="1098"/>
                  </a:lnTo>
                  <a:lnTo>
                    <a:pt x="992" y="1101"/>
                  </a:lnTo>
                  <a:lnTo>
                    <a:pt x="992" y="1103"/>
                  </a:lnTo>
                  <a:lnTo>
                    <a:pt x="992" y="1103"/>
                  </a:lnTo>
                  <a:lnTo>
                    <a:pt x="995" y="1103"/>
                  </a:lnTo>
                  <a:lnTo>
                    <a:pt x="995" y="1103"/>
                  </a:lnTo>
                  <a:lnTo>
                    <a:pt x="998" y="1101"/>
                  </a:lnTo>
                  <a:lnTo>
                    <a:pt x="998" y="1098"/>
                  </a:lnTo>
                  <a:lnTo>
                    <a:pt x="998" y="1098"/>
                  </a:lnTo>
                  <a:lnTo>
                    <a:pt x="998" y="1098"/>
                  </a:lnTo>
                  <a:lnTo>
                    <a:pt x="998" y="1095"/>
                  </a:lnTo>
                  <a:lnTo>
                    <a:pt x="998" y="1095"/>
                  </a:lnTo>
                  <a:lnTo>
                    <a:pt x="998" y="1093"/>
                  </a:lnTo>
                  <a:close/>
                  <a:moveTo>
                    <a:pt x="34" y="962"/>
                  </a:moveTo>
                  <a:lnTo>
                    <a:pt x="29" y="962"/>
                  </a:lnTo>
                  <a:lnTo>
                    <a:pt x="29" y="962"/>
                  </a:lnTo>
                  <a:lnTo>
                    <a:pt x="29" y="962"/>
                  </a:lnTo>
                  <a:lnTo>
                    <a:pt x="29" y="962"/>
                  </a:lnTo>
                  <a:lnTo>
                    <a:pt x="26" y="962"/>
                  </a:lnTo>
                  <a:lnTo>
                    <a:pt x="26" y="962"/>
                  </a:lnTo>
                  <a:lnTo>
                    <a:pt x="26" y="962"/>
                  </a:lnTo>
                  <a:lnTo>
                    <a:pt x="26" y="962"/>
                  </a:lnTo>
                  <a:lnTo>
                    <a:pt x="26" y="962"/>
                  </a:lnTo>
                  <a:lnTo>
                    <a:pt x="24" y="962"/>
                  </a:lnTo>
                  <a:lnTo>
                    <a:pt x="24" y="962"/>
                  </a:lnTo>
                  <a:lnTo>
                    <a:pt x="24" y="962"/>
                  </a:lnTo>
                  <a:lnTo>
                    <a:pt x="21" y="962"/>
                  </a:lnTo>
                  <a:lnTo>
                    <a:pt x="21" y="962"/>
                  </a:lnTo>
                  <a:lnTo>
                    <a:pt x="21" y="962"/>
                  </a:lnTo>
                  <a:lnTo>
                    <a:pt x="21" y="962"/>
                  </a:lnTo>
                  <a:lnTo>
                    <a:pt x="18" y="962"/>
                  </a:lnTo>
                  <a:lnTo>
                    <a:pt x="18" y="962"/>
                  </a:lnTo>
                  <a:lnTo>
                    <a:pt x="18" y="962"/>
                  </a:lnTo>
                  <a:lnTo>
                    <a:pt x="18" y="962"/>
                  </a:lnTo>
                  <a:lnTo>
                    <a:pt x="21" y="964"/>
                  </a:lnTo>
                  <a:lnTo>
                    <a:pt x="24" y="967"/>
                  </a:lnTo>
                  <a:lnTo>
                    <a:pt x="26" y="967"/>
                  </a:lnTo>
                  <a:lnTo>
                    <a:pt x="26" y="967"/>
                  </a:lnTo>
                  <a:lnTo>
                    <a:pt x="26" y="970"/>
                  </a:lnTo>
                  <a:lnTo>
                    <a:pt x="26" y="970"/>
                  </a:lnTo>
                  <a:lnTo>
                    <a:pt x="26" y="970"/>
                  </a:lnTo>
                  <a:lnTo>
                    <a:pt x="26" y="970"/>
                  </a:lnTo>
                  <a:lnTo>
                    <a:pt x="26" y="970"/>
                  </a:lnTo>
                  <a:lnTo>
                    <a:pt x="26" y="970"/>
                  </a:lnTo>
                  <a:lnTo>
                    <a:pt x="26" y="970"/>
                  </a:lnTo>
                  <a:lnTo>
                    <a:pt x="26" y="970"/>
                  </a:lnTo>
                  <a:lnTo>
                    <a:pt x="26" y="970"/>
                  </a:lnTo>
                  <a:lnTo>
                    <a:pt x="29" y="972"/>
                  </a:lnTo>
                  <a:lnTo>
                    <a:pt x="29" y="970"/>
                  </a:lnTo>
                  <a:lnTo>
                    <a:pt x="29" y="970"/>
                  </a:lnTo>
                  <a:lnTo>
                    <a:pt x="29" y="967"/>
                  </a:lnTo>
                  <a:lnTo>
                    <a:pt x="29" y="967"/>
                  </a:lnTo>
                  <a:lnTo>
                    <a:pt x="32" y="964"/>
                  </a:lnTo>
                  <a:lnTo>
                    <a:pt x="32" y="964"/>
                  </a:lnTo>
                  <a:lnTo>
                    <a:pt x="34" y="964"/>
                  </a:lnTo>
                  <a:lnTo>
                    <a:pt x="34" y="964"/>
                  </a:lnTo>
                  <a:lnTo>
                    <a:pt x="34" y="962"/>
                  </a:lnTo>
                  <a:close/>
                  <a:moveTo>
                    <a:pt x="301" y="1151"/>
                  </a:moveTo>
                  <a:lnTo>
                    <a:pt x="301" y="1151"/>
                  </a:lnTo>
                  <a:lnTo>
                    <a:pt x="301" y="1151"/>
                  </a:lnTo>
                  <a:lnTo>
                    <a:pt x="299" y="1151"/>
                  </a:lnTo>
                  <a:lnTo>
                    <a:pt x="299" y="1151"/>
                  </a:lnTo>
                  <a:lnTo>
                    <a:pt x="301" y="1151"/>
                  </a:lnTo>
                  <a:lnTo>
                    <a:pt x="301" y="1151"/>
                  </a:lnTo>
                  <a:lnTo>
                    <a:pt x="301" y="1154"/>
                  </a:lnTo>
                  <a:lnTo>
                    <a:pt x="301" y="1154"/>
                  </a:lnTo>
                  <a:lnTo>
                    <a:pt x="301" y="1151"/>
                  </a:lnTo>
                  <a:lnTo>
                    <a:pt x="301" y="1151"/>
                  </a:lnTo>
                  <a:lnTo>
                    <a:pt x="301" y="1151"/>
                  </a:lnTo>
                  <a:close/>
                  <a:moveTo>
                    <a:pt x="411" y="1170"/>
                  </a:moveTo>
                  <a:lnTo>
                    <a:pt x="411" y="1170"/>
                  </a:lnTo>
                  <a:lnTo>
                    <a:pt x="411" y="1173"/>
                  </a:lnTo>
                  <a:lnTo>
                    <a:pt x="408" y="1170"/>
                  </a:lnTo>
                  <a:lnTo>
                    <a:pt x="408" y="1170"/>
                  </a:lnTo>
                  <a:lnTo>
                    <a:pt x="411" y="1170"/>
                  </a:lnTo>
                  <a:lnTo>
                    <a:pt x="411" y="1170"/>
                  </a:lnTo>
                  <a:lnTo>
                    <a:pt x="411" y="1170"/>
                  </a:lnTo>
                  <a:lnTo>
                    <a:pt x="411" y="1170"/>
                  </a:lnTo>
                  <a:lnTo>
                    <a:pt x="411" y="1170"/>
                  </a:lnTo>
                  <a:lnTo>
                    <a:pt x="408" y="1170"/>
                  </a:lnTo>
                  <a:lnTo>
                    <a:pt x="408" y="1170"/>
                  </a:lnTo>
                  <a:lnTo>
                    <a:pt x="405" y="1170"/>
                  </a:lnTo>
                  <a:lnTo>
                    <a:pt x="405" y="1170"/>
                  </a:lnTo>
                  <a:lnTo>
                    <a:pt x="411" y="1173"/>
                  </a:lnTo>
                  <a:lnTo>
                    <a:pt x="411" y="1173"/>
                  </a:lnTo>
                  <a:lnTo>
                    <a:pt x="411" y="1173"/>
                  </a:lnTo>
                  <a:lnTo>
                    <a:pt x="411" y="1173"/>
                  </a:lnTo>
                  <a:lnTo>
                    <a:pt x="411" y="1173"/>
                  </a:lnTo>
                  <a:lnTo>
                    <a:pt x="411" y="1170"/>
                  </a:lnTo>
                  <a:lnTo>
                    <a:pt x="411" y="1170"/>
                  </a:lnTo>
                  <a:close/>
                  <a:moveTo>
                    <a:pt x="309" y="1165"/>
                  </a:moveTo>
                  <a:lnTo>
                    <a:pt x="309" y="1165"/>
                  </a:lnTo>
                  <a:lnTo>
                    <a:pt x="309" y="1165"/>
                  </a:lnTo>
                  <a:lnTo>
                    <a:pt x="309" y="1165"/>
                  </a:lnTo>
                  <a:lnTo>
                    <a:pt x="309" y="1165"/>
                  </a:lnTo>
                  <a:lnTo>
                    <a:pt x="309" y="1165"/>
                  </a:lnTo>
                  <a:close/>
                  <a:moveTo>
                    <a:pt x="293" y="1151"/>
                  </a:moveTo>
                  <a:lnTo>
                    <a:pt x="291" y="1151"/>
                  </a:lnTo>
                  <a:lnTo>
                    <a:pt x="291" y="1151"/>
                  </a:lnTo>
                  <a:lnTo>
                    <a:pt x="291" y="1151"/>
                  </a:lnTo>
                  <a:lnTo>
                    <a:pt x="291" y="1149"/>
                  </a:lnTo>
                  <a:lnTo>
                    <a:pt x="291" y="1149"/>
                  </a:lnTo>
                  <a:lnTo>
                    <a:pt x="291" y="1149"/>
                  </a:lnTo>
                  <a:lnTo>
                    <a:pt x="291" y="1149"/>
                  </a:lnTo>
                  <a:lnTo>
                    <a:pt x="291" y="1149"/>
                  </a:lnTo>
                  <a:lnTo>
                    <a:pt x="291" y="1151"/>
                  </a:lnTo>
                  <a:lnTo>
                    <a:pt x="291" y="1151"/>
                  </a:lnTo>
                  <a:lnTo>
                    <a:pt x="291" y="1151"/>
                  </a:lnTo>
                  <a:lnTo>
                    <a:pt x="291" y="1151"/>
                  </a:lnTo>
                  <a:lnTo>
                    <a:pt x="291" y="1151"/>
                  </a:lnTo>
                  <a:lnTo>
                    <a:pt x="293" y="1151"/>
                  </a:lnTo>
                  <a:lnTo>
                    <a:pt x="293" y="1154"/>
                  </a:lnTo>
                  <a:lnTo>
                    <a:pt x="293" y="1151"/>
                  </a:lnTo>
                  <a:lnTo>
                    <a:pt x="293" y="1151"/>
                  </a:lnTo>
                  <a:lnTo>
                    <a:pt x="293" y="1151"/>
                  </a:lnTo>
                  <a:close/>
                  <a:moveTo>
                    <a:pt x="299" y="1151"/>
                  </a:moveTo>
                  <a:lnTo>
                    <a:pt x="299" y="1151"/>
                  </a:lnTo>
                  <a:lnTo>
                    <a:pt x="299" y="1149"/>
                  </a:lnTo>
                  <a:lnTo>
                    <a:pt x="299" y="1149"/>
                  </a:lnTo>
                  <a:lnTo>
                    <a:pt x="296" y="1149"/>
                  </a:lnTo>
                  <a:lnTo>
                    <a:pt x="296" y="1149"/>
                  </a:lnTo>
                  <a:lnTo>
                    <a:pt x="296" y="1151"/>
                  </a:lnTo>
                  <a:lnTo>
                    <a:pt x="296" y="1151"/>
                  </a:lnTo>
                  <a:lnTo>
                    <a:pt x="296" y="1151"/>
                  </a:lnTo>
                  <a:lnTo>
                    <a:pt x="296" y="1151"/>
                  </a:lnTo>
                  <a:lnTo>
                    <a:pt x="299" y="1151"/>
                  </a:lnTo>
                  <a:lnTo>
                    <a:pt x="299" y="1151"/>
                  </a:lnTo>
                  <a:lnTo>
                    <a:pt x="299" y="1151"/>
                  </a:lnTo>
                  <a:lnTo>
                    <a:pt x="299" y="1151"/>
                  </a:lnTo>
                  <a:lnTo>
                    <a:pt x="299" y="1151"/>
                  </a:lnTo>
                  <a:lnTo>
                    <a:pt x="299" y="1151"/>
                  </a:lnTo>
                  <a:lnTo>
                    <a:pt x="299" y="1151"/>
                  </a:lnTo>
                  <a:close/>
                  <a:moveTo>
                    <a:pt x="339" y="1151"/>
                  </a:moveTo>
                  <a:lnTo>
                    <a:pt x="339" y="1151"/>
                  </a:lnTo>
                  <a:lnTo>
                    <a:pt x="341" y="1151"/>
                  </a:lnTo>
                  <a:lnTo>
                    <a:pt x="341" y="1151"/>
                  </a:lnTo>
                  <a:lnTo>
                    <a:pt x="344" y="1151"/>
                  </a:lnTo>
                  <a:lnTo>
                    <a:pt x="344" y="1151"/>
                  </a:lnTo>
                  <a:lnTo>
                    <a:pt x="344" y="1151"/>
                  </a:lnTo>
                  <a:lnTo>
                    <a:pt x="344" y="1151"/>
                  </a:lnTo>
                  <a:lnTo>
                    <a:pt x="341" y="1149"/>
                  </a:lnTo>
                  <a:lnTo>
                    <a:pt x="336" y="1149"/>
                  </a:lnTo>
                  <a:lnTo>
                    <a:pt x="336" y="1146"/>
                  </a:lnTo>
                  <a:lnTo>
                    <a:pt x="333" y="1146"/>
                  </a:lnTo>
                  <a:lnTo>
                    <a:pt x="336" y="1146"/>
                  </a:lnTo>
                  <a:lnTo>
                    <a:pt x="336" y="1143"/>
                  </a:lnTo>
                  <a:lnTo>
                    <a:pt x="336" y="1143"/>
                  </a:lnTo>
                  <a:lnTo>
                    <a:pt x="333" y="1143"/>
                  </a:lnTo>
                  <a:lnTo>
                    <a:pt x="333" y="1141"/>
                  </a:lnTo>
                  <a:lnTo>
                    <a:pt x="333" y="1141"/>
                  </a:lnTo>
                  <a:lnTo>
                    <a:pt x="325" y="1138"/>
                  </a:lnTo>
                  <a:lnTo>
                    <a:pt x="325" y="1138"/>
                  </a:lnTo>
                  <a:lnTo>
                    <a:pt x="323" y="1141"/>
                  </a:lnTo>
                  <a:lnTo>
                    <a:pt x="323" y="1141"/>
                  </a:lnTo>
                  <a:lnTo>
                    <a:pt x="325" y="1146"/>
                  </a:lnTo>
                  <a:lnTo>
                    <a:pt x="325" y="1146"/>
                  </a:lnTo>
                  <a:lnTo>
                    <a:pt x="325" y="1149"/>
                  </a:lnTo>
                  <a:lnTo>
                    <a:pt x="328" y="1149"/>
                  </a:lnTo>
                  <a:lnTo>
                    <a:pt x="328" y="1149"/>
                  </a:lnTo>
                  <a:lnTo>
                    <a:pt x="331" y="1151"/>
                  </a:lnTo>
                  <a:lnTo>
                    <a:pt x="328" y="1151"/>
                  </a:lnTo>
                  <a:lnTo>
                    <a:pt x="328" y="1154"/>
                  </a:lnTo>
                  <a:lnTo>
                    <a:pt x="328" y="1154"/>
                  </a:lnTo>
                  <a:lnTo>
                    <a:pt x="328" y="1154"/>
                  </a:lnTo>
                  <a:lnTo>
                    <a:pt x="325" y="1154"/>
                  </a:lnTo>
                  <a:lnTo>
                    <a:pt x="325" y="1154"/>
                  </a:lnTo>
                  <a:lnTo>
                    <a:pt x="325" y="1154"/>
                  </a:lnTo>
                  <a:lnTo>
                    <a:pt x="323" y="1154"/>
                  </a:lnTo>
                  <a:lnTo>
                    <a:pt x="323" y="1154"/>
                  </a:lnTo>
                  <a:lnTo>
                    <a:pt x="323" y="1154"/>
                  </a:lnTo>
                  <a:lnTo>
                    <a:pt x="323" y="1157"/>
                  </a:lnTo>
                  <a:lnTo>
                    <a:pt x="323" y="1157"/>
                  </a:lnTo>
                  <a:lnTo>
                    <a:pt x="323" y="1157"/>
                  </a:lnTo>
                  <a:lnTo>
                    <a:pt x="325" y="1157"/>
                  </a:lnTo>
                  <a:lnTo>
                    <a:pt x="325" y="1159"/>
                  </a:lnTo>
                  <a:lnTo>
                    <a:pt x="325" y="1159"/>
                  </a:lnTo>
                  <a:lnTo>
                    <a:pt x="325" y="1159"/>
                  </a:lnTo>
                  <a:lnTo>
                    <a:pt x="325" y="1162"/>
                  </a:lnTo>
                  <a:lnTo>
                    <a:pt x="325" y="1162"/>
                  </a:lnTo>
                  <a:lnTo>
                    <a:pt x="325" y="1162"/>
                  </a:lnTo>
                  <a:lnTo>
                    <a:pt x="328" y="1162"/>
                  </a:lnTo>
                  <a:lnTo>
                    <a:pt x="328" y="1162"/>
                  </a:lnTo>
                  <a:lnTo>
                    <a:pt x="328" y="1162"/>
                  </a:lnTo>
                  <a:lnTo>
                    <a:pt x="328" y="1159"/>
                  </a:lnTo>
                  <a:lnTo>
                    <a:pt x="328" y="1159"/>
                  </a:lnTo>
                  <a:lnTo>
                    <a:pt x="328" y="1159"/>
                  </a:lnTo>
                  <a:lnTo>
                    <a:pt x="328" y="1157"/>
                  </a:lnTo>
                  <a:lnTo>
                    <a:pt x="328" y="1157"/>
                  </a:lnTo>
                  <a:lnTo>
                    <a:pt x="331" y="1157"/>
                  </a:lnTo>
                  <a:lnTo>
                    <a:pt x="331" y="1157"/>
                  </a:lnTo>
                  <a:lnTo>
                    <a:pt x="331" y="1157"/>
                  </a:lnTo>
                  <a:lnTo>
                    <a:pt x="331" y="1157"/>
                  </a:lnTo>
                  <a:lnTo>
                    <a:pt x="331" y="1159"/>
                  </a:lnTo>
                  <a:lnTo>
                    <a:pt x="333" y="1159"/>
                  </a:lnTo>
                  <a:lnTo>
                    <a:pt x="333" y="1157"/>
                  </a:lnTo>
                  <a:lnTo>
                    <a:pt x="333" y="1157"/>
                  </a:lnTo>
                  <a:lnTo>
                    <a:pt x="333" y="1157"/>
                  </a:lnTo>
                  <a:lnTo>
                    <a:pt x="336" y="1154"/>
                  </a:lnTo>
                  <a:lnTo>
                    <a:pt x="336" y="1154"/>
                  </a:lnTo>
                  <a:lnTo>
                    <a:pt x="336" y="1154"/>
                  </a:lnTo>
                  <a:lnTo>
                    <a:pt x="336" y="1154"/>
                  </a:lnTo>
                  <a:lnTo>
                    <a:pt x="336" y="1151"/>
                  </a:lnTo>
                  <a:lnTo>
                    <a:pt x="336" y="1151"/>
                  </a:lnTo>
                  <a:lnTo>
                    <a:pt x="336" y="1151"/>
                  </a:lnTo>
                  <a:lnTo>
                    <a:pt x="339" y="1151"/>
                  </a:lnTo>
                  <a:close/>
                  <a:moveTo>
                    <a:pt x="352" y="1151"/>
                  </a:moveTo>
                  <a:lnTo>
                    <a:pt x="352" y="1151"/>
                  </a:lnTo>
                  <a:lnTo>
                    <a:pt x="355" y="1151"/>
                  </a:lnTo>
                  <a:lnTo>
                    <a:pt x="355" y="1151"/>
                  </a:lnTo>
                  <a:lnTo>
                    <a:pt x="355" y="1149"/>
                  </a:lnTo>
                  <a:lnTo>
                    <a:pt x="355" y="1149"/>
                  </a:lnTo>
                  <a:lnTo>
                    <a:pt x="355" y="1149"/>
                  </a:lnTo>
                  <a:lnTo>
                    <a:pt x="352" y="1149"/>
                  </a:lnTo>
                  <a:lnTo>
                    <a:pt x="352" y="1149"/>
                  </a:lnTo>
                  <a:lnTo>
                    <a:pt x="352" y="1149"/>
                  </a:lnTo>
                  <a:lnTo>
                    <a:pt x="352" y="1149"/>
                  </a:lnTo>
                  <a:lnTo>
                    <a:pt x="352" y="1151"/>
                  </a:lnTo>
                  <a:lnTo>
                    <a:pt x="352" y="1151"/>
                  </a:lnTo>
                  <a:close/>
                  <a:moveTo>
                    <a:pt x="395" y="1170"/>
                  </a:moveTo>
                  <a:lnTo>
                    <a:pt x="397" y="1170"/>
                  </a:lnTo>
                  <a:lnTo>
                    <a:pt x="397" y="1170"/>
                  </a:lnTo>
                  <a:lnTo>
                    <a:pt x="397" y="1170"/>
                  </a:lnTo>
                  <a:lnTo>
                    <a:pt x="397" y="1167"/>
                  </a:lnTo>
                  <a:lnTo>
                    <a:pt x="395" y="1167"/>
                  </a:lnTo>
                  <a:lnTo>
                    <a:pt x="395" y="1167"/>
                  </a:lnTo>
                  <a:lnTo>
                    <a:pt x="392" y="1167"/>
                  </a:lnTo>
                  <a:lnTo>
                    <a:pt x="392" y="1170"/>
                  </a:lnTo>
                  <a:lnTo>
                    <a:pt x="392" y="1170"/>
                  </a:lnTo>
                  <a:lnTo>
                    <a:pt x="392" y="1170"/>
                  </a:lnTo>
                  <a:lnTo>
                    <a:pt x="392" y="1170"/>
                  </a:lnTo>
                  <a:lnTo>
                    <a:pt x="392" y="1170"/>
                  </a:lnTo>
                  <a:lnTo>
                    <a:pt x="392" y="1173"/>
                  </a:lnTo>
                  <a:lnTo>
                    <a:pt x="392" y="1175"/>
                  </a:lnTo>
                  <a:lnTo>
                    <a:pt x="392" y="1175"/>
                  </a:lnTo>
                  <a:lnTo>
                    <a:pt x="392" y="1175"/>
                  </a:lnTo>
                  <a:lnTo>
                    <a:pt x="392" y="1175"/>
                  </a:lnTo>
                  <a:lnTo>
                    <a:pt x="392" y="1175"/>
                  </a:lnTo>
                  <a:lnTo>
                    <a:pt x="392" y="1175"/>
                  </a:lnTo>
                  <a:lnTo>
                    <a:pt x="392" y="1175"/>
                  </a:lnTo>
                  <a:lnTo>
                    <a:pt x="395" y="1175"/>
                  </a:lnTo>
                  <a:lnTo>
                    <a:pt x="395" y="1175"/>
                  </a:lnTo>
                  <a:lnTo>
                    <a:pt x="395" y="1175"/>
                  </a:lnTo>
                  <a:lnTo>
                    <a:pt x="395" y="1175"/>
                  </a:lnTo>
                  <a:lnTo>
                    <a:pt x="395" y="1175"/>
                  </a:lnTo>
                  <a:lnTo>
                    <a:pt x="395" y="1175"/>
                  </a:lnTo>
                  <a:lnTo>
                    <a:pt x="397" y="1175"/>
                  </a:lnTo>
                  <a:lnTo>
                    <a:pt x="397" y="1175"/>
                  </a:lnTo>
                  <a:lnTo>
                    <a:pt x="397" y="1175"/>
                  </a:lnTo>
                  <a:lnTo>
                    <a:pt x="397" y="1175"/>
                  </a:lnTo>
                  <a:lnTo>
                    <a:pt x="397" y="1173"/>
                  </a:lnTo>
                  <a:lnTo>
                    <a:pt x="397" y="1173"/>
                  </a:lnTo>
                  <a:lnTo>
                    <a:pt x="397" y="1173"/>
                  </a:lnTo>
                  <a:lnTo>
                    <a:pt x="397" y="1173"/>
                  </a:lnTo>
                  <a:lnTo>
                    <a:pt x="397" y="1173"/>
                  </a:lnTo>
                  <a:lnTo>
                    <a:pt x="397" y="1173"/>
                  </a:lnTo>
                  <a:lnTo>
                    <a:pt x="397" y="1170"/>
                  </a:lnTo>
                  <a:lnTo>
                    <a:pt x="397" y="1170"/>
                  </a:lnTo>
                  <a:lnTo>
                    <a:pt x="395" y="1173"/>
                  </a:lnTo>
                  <a:lnTo>
                    <a:pt x="395" y="1170"/>
                  </a:lnTo>
                  <a:lnTo>
                    <a:pt x="395" y="1170"/>
                  </a:lnTo>
                  <a:lnTo>
                    <a:pt x="395" y="1170"/>
                  </a:lnTo>
                  <a:lnTo>
                    <a:pt x="395" y="1170"/>
                  </a:lnTo>
                  <a:lnTo>
                    <a:pt x="395" y="1170"/>
                  </a:lnTo>
                  <a:lnTo>
                    <a:pt x="395" y="1170"/>
                  </a:lnTo>
                  <a:lnTo>
                    <a:pt x="395" y="1170"/>
                  </a:lnTo>
                  <a:close/>
                  <a:moveTo>
                    <a:pt x="408" y="1175"/>
                  </a:moveTo>
                  <a:lnTo>
                    <a:pt x="408" y="1175"/>
                  </a:lnTo>
                  <a:lnTo>
                    <a:pt x="408" y="1173"/>
                  </a:lnTo>
                  <a:lnTo>
                    <a:pt x="405" y="1173"/>
                  </a:lnTo>
                  <a:lnTo>
                    <a:pt x="405" y="1173"/>
                  </a:lnTo>
                  <a:lnTo>
                    <a:pt x="405" y="1173"/>
                  </a:lnTo>
                  <a:lnTo>
                    <a:pt x="405" y="1173"/>
                  </a:lnTo>
                  <a:lnTo>
                    <a:pt x="405" y="1173"/>
                  </a:lnTo>
                  <a:lnTo>
                    <a:pt x="405" y="1170"/>
                  </a:lnTo>
                  <a:lnTo>
                    <a:pt x="405" y="1170"/>
                  </a:lnTo>
                  <a:lnTo>
                    <a:pt x="403" y="1170"/>
                  </a:lnTo>
                  <a:lnTo>
                    <a:pt x="403" y="1170"/>
                  </a:lnTo>
                  <a:lnTo>
                    <a:pt x="403" y="1170"/>
                  </a:lnTo>
                  <a:lnTo>
                    <a:pt x="403" y="1167"/>
                  </a:lnTo>
                  <a:lnTo>
                    <a:pt x="403" y="1170"/>
                  </a:lnTo>
                  <a:lnTo>
                    <a:pt x="400" y="1170"/>
                  </a:lnTo>
                  <a:lnTo>
                    <a:pt x="400" y="1170"/>
                  </a:lnTo>
                  <a:lnTo>
                    <a:pt x="400" y="1170"/>
                  </a:lnTo>
                  <a:lnTo>
                    <a:pt x="400" y="1170"/>
                  </a:lnTo>
                  <a:lnTo>
                    <a:pt x="400" y="1173"/>
                  </a:lnTo>
                  <a:lnTo>
                    <a:pt x="400" y="1173"/>
                  </a:lnTo>
                  <a:lnTo>
                    <a:pt x="400" y="1173"/>
                  </a:lnTo>
                  <a:lnTo>
                    <a:pt x="400" y="1173"/>
                  </a:lnTo>
                  <a:lnTo>
                    <a:pt x="403" y="1173"/>
                  </a:lnTo>
                  <a:lnTo>
                    <a:pt x="403" y="1173"/>
                  </a:lnTo>
                  <a:lnTo>
                    <a:pt x="403" y="1173"/>
                  </a:lnTo>
                  <a:lnTo>
                    <a:pt x="403" y="1175"/>
                  </a:lnTo>
                  <a:lnTo>
                    <a:pt x="400" y="1175"/>
                  </a:lnTo>
                  <a:lnTo>
                    <a:pt x="403" y="1175"/>
                  </a:lnTo>
                  <a:lnTo>
                    <a:pt x="403" y="1175"/>
                  </a:lnTo>
                  <a:lnTo>
                    <a:pt x="403" y="1175"/>
                  </a:lnTo>
                  <a:lnTo>
                    <a:pt x="403" y="1175"/>
                  </a:lnTo>
                  <a:lnTo>
                    <a:pt x="403" y="1175"/>
                  </a:lnTo>
                  <a:lnTo>
                    <a:pt x="403" y="1175"/>
                  </a:lnTo>
                  <a:lnTo>
                    <a:pt x="403" y="1173"/>
                  </a:lnTo>
                  <a:lnTo>
                    <a:pt x="403" y="1173"/>
                  </a:lnTo>
                  <a:lnTo>
                    <a:pt x="403" y="1173"/>
                  </a:lnTo>
                  <a:lnTo>
                    <a:pt x="403" y="1175"/>
                  </a:lnTo>
                  <a:lnTo>
                    <a:pt x="403" y="1175"/>
                  </a:lnTo>
                  <a:lnTo>
                    <a:pt x="405" y="1175"/>
                  </a:lnTo>
                  <a:lnTo>
                    <a:pt x="405" y="1175"/>
                  </a:lnTo>
                  <a:lnTo>
                    <a:pt x="405" y="1173"/>
                  </a:lnTo>
                  <a:lnTo>
                    <a:pt x="405" y="1173"/>
                  </a:lnTo>
                  <a:lnTo>
                    <a:pt x="405" y="1175"/>
                  </a:lnTo>
                  <a:lnTo>
                    <a:pt x="405" y="1175"/>
                  </a:lnTo>
                  <a:lnTo>
                    <a:pt x="408" y="1175"/>
                  </a:lnTo>
                  <a:lnTo>
                    <a:pt x="408" y="1175"/>
                  </a:lnTo>
                  <a:lnTo>
                    <a:pt x="408" y="1175"/>
                  </a:lnTo>
                  <a:lnTo>
                    <a:pt x="408" y="1175"/>
                  </a:lnTo>
                  <a:lnTo>
                    <a:pt x="408" y="1175"/>
                  </a:lnTo>
                  <a:lnTo>
                    <a:pt x="408" y="1175"/>
                  </a:lnTo>
                  <a:close/>
                  <a:moveTo>
                    <a:pt x="368" y="1157"/>
                  </a:moveTo>
                  <a:lnTo>
                    <a:pt x="368" y="1157"/>
                  </a:lnTo>
                  <a:lnTo>
                    <a:pt x="368" y="1157"/>
                  </a:lnTo>
                  <a:lnTo>
                    <a:pt x="368" y="1157"/>
                  </a:lnTo>
                  <a:lnTo>
                    <a:pt x="368" y="1157"/>
                  </a:lnTo>
                  <a:lnTo>
                    <a:pt x="368" y="1154"/>
                  </a:lnTo>
                  <a:lnTo>
                    <a:pt x="368" y="1154"/>
                  </a:lnTo>
                  <a:lnTo>
                    <a:pt x="368" y="1154"/>
                  </a:lnTo>
                  <a:lnTo>
                    <a:pt x="365" y="1151"/>
                  </a:lnTo>
                  <a:lnTo>
                    <a:pt x="365" y="1151"/>
                  </a:lnTo>
                  <a:lnTo>
                    <a:pt x="363" y="1151"/>
                  </a:lnTo>
                  <a:lnTo>
                    <a:pt x="363" y="1154"/>
                  </a:lnTo>
                  <a:lnTo>
                    <a:pt x="363" y="1154"/>
                  </a:lnTo>
                  <a:lnTo>
                    <a:pt x="363" y="1154"/>
                  </a:lnTo>
                  <a:lnTo>
                    <a:pt x="363" y="1154"/>
                  </a:lnTo>
                  <a:lnTo>
                    <a:pt x="360" y="1159"/>
                  </a:lnTo>
                  <a:lnTo>
                    <a:pt x="357" y="1159"/>
                  </a:lnTo>
                  <a:lnTo>
                    <a:pt x="352" y="1159"/>
                  </a:lnTo>
                  <a:lnTo>
                    <a:pt x="349" y="1159"/>
                  </a:lnTo>
                  <a:lnTo>
                    <a:pt x="349" y="1159"/>
                  </a:lnTo>
                  <a:lnTo>
                    <a:pt x="349" y="1159"/>
                  </a:lnTo>
                  <a:lnTo>
                    <a:pt x="349" y="1159"/>
                  </a:lnTo>
                  <a:lnTo>
                    <a:pt x="347" y="1159"/>
                  </a:lnTo>
                  <a:lnTo>
                    <a:pt x="347" y="1159"/>
                  </a:lnTo>
                  <a:lnTo>
                    <a:pt x="347" y="1159"/>
                  </a:lnTo>
                  <a:lnTo>
                    <a:pt x="347" y="1159"/>
                  </a:lnTo>
                  <a:lnTo>
                    <a:pt x="347" y="1159"/>
                  </a:lnTo>
                  <a:lnTo>
                    <a:pt x="347" y="1159"/>
                  </a:lnTo>
                  <a:lnTo>
                    <a:pt x="344" y="1159"/>
                  </a:lnTo>
                  <a:lnTo>
                    <a:pt x="344" y="1159"/>
                  </a:lnTo>
                  <a:lnTo>
                    <a:pt x="341" y="1157"/>
                  </a:lnTo>
                  <a:lnTo>
                    <a:pt x="341" y="1157"/>
                  </a:lnTo>
                  <a:lnTo>
                    <a:pt x="341" y="1157"/>
                  </a:lnTo>
                  <a:lnTo>
                    <a:pt x="339" y="1159"/>
                  </a:lnTo>
                  <a:lnTo>
                    <a:pt x="339" y="1159"/>
                  </a:lnTo>
                  <a:lnTo>
                    <a:pt x="339" y="1159"/>
                  </a:lnTo>
                  <a:lnTo>
                    <a:pt x="339" y="1159"/>
                  </a:lnTo>
                  <a:lnTo>
                    <a:pt x="339" y="1159"/>
                  </a:lnTo>
                  <a:lnTo>
                    <a:pt x="339" y="1159"/>
                  </a:lnTo>
                  <a:lnTo>
                    <a:pt x="339" y="1162"/>
                  </a:lnTo>
                  <a:lnTo>
                    <a:pt x="339" y="1162"/>
                  </a:lnTo>
                  <a:lnTo>
                    <a:pt x="339" y="1162"/>
                  </a:lnTo>
                  <a:lnTo>
                    <a:pt x="339" y="1162"/>
                  </a:lnTo>
                  <a:lnTo>
                    <a:pt x="339" y="1162"/>
                  </a:lnTo>
                  <a:lnTo>
                    <a:pt x="341" y="1159"/>
                  </a:lnTo>
                  <a:lnTo>
                    <a:pt x="341" y="1159"/>
                  </a:lnTo>
                  <a:lnTo>
                    <a:pt x="344" y="1162"/>
                  </a:lnTo>
                  <a:lnTo>
                    <a:pt x="347" y="1162"/>
                  </a:lnTo>
                  <a:lnTo>
                    <a:pt x="347" y="1162"/>
                  </a:lnTo>
                  <a:lnTo>
                    <a:pt x="347" y="1162"/>
                  </a:lnTo>
                  <a:lnTo>
                    <a:pt x="349" y="1162"/>
                  </a:lnTo>
                  <a:lnTo>
                    <a:pt x="349" y="1162"/>
                  </a:lnTo>
                  <a:lnTo>
                    <a:pt x="352" y="1162"/>
                  </a:lnTo>
                  <a:lnTo>
                    <a:pt x="352" y="1162"/>
                  </a:lnTo>
                  <a:lnTo>
                    <a:pt x="352" y="1162"/>
                  </a:lnTo>
                  <a:lnTo>
                    <a:pt x="352" y="1165"/>
                  </a:lnTo>
                  <a:lnTo>
                    <a:pt x="352" y="1165"/>
                  </a:lnTo>
                  <a:lnTo>
                    <a:pt x="352" y="1165"/>
                  </a:lnTo>
                  <a:lnTo>
                    <a:pt x="352" y="1165"/>
                  </a:lnTo>
                  <a:lnTo>
                    <a:pt x="352" y="1165"/>
                  </a:lnTo>
                  <a:lnTo>
                    <a:pt x="355" y="1165"/>
                  </a:lnTo>
                  <a:lnTo>
                    <a:pt x="355" y="1167"/>
                  </a:lnTo>
                  <a:lnTo>
                    <a:pt x="355" y="1167"/>
                  </a:lnTo>
                  <a:lnTo>
                    <a:pt x="357" y="1165"/>
                  </a:lnTo>
                  <a:lnTo>
                    <a:pt x="357" y="1167"/>
                  </a:lnTo>
                  <a:lnTo>
                    <a:pt x="357" y="1167"/>
                  </a:lnTo>
                  <a:lnTo>
                    <a:pt x="357" y="1165"/>
                  </a:lnTo>
                  <a:lnTo>
                    <a:pt x="357" y="1165"/>
                  </a:lnTo>
                  <a:lnTo>
                    <a:pt x="357" y="1165"/>
                  </a:lnTo>
                  <a:lnTo>
                    <a:pt x="357" y="1165"/>
                  </a:lnTo>
                  <a:lnTo>
                    <a:pt x="360" y="1167"/>
                  </a:lnTo>
                  <a:lnTo>
                    <a:pt x="360" y="1165"/>
                  </a:lnTo>
                  <a:lnTo>
                    <a:pt x="363" y="1165"/>
                  </a:lnTo>
                  <a:lnTo>
                    <a:pt x="363" y="1162"/>
                  </a:lnTo>
                  <a:lnTo>
                    <a:pt x="363" y="1162"/>
                  </a:lnTo>
                  <a:lnTo>
                    <a:pt x="363" y="1159"/>
                  </a:lnTo>
                  <a:lnTo>
                    <a:pt x="365" y="1159"/>
                  </a:lnTo>
                  <a:lnTo>
                    <a:pt x="365" y="1157"/>
                  </a:lnTo>
                  <a:lnTo>
                    <a:pt x="368" y="1157"/>
                  </a:lnTo>
                  <a:close/>
                  <a:moveTo>
                    <a:pt x="283" y="1146"/>
                  </a:moveTo>
                  <a:lnTo>
                    <a:pt x="283" y="1146"/>
                  </a:lnTo>
                  <a:lnTo>
                    <a:pt x="283" y="1146"/>
                  </a:lnTo>
                  <a:lnTo>
                    <a:pt x="283" y="1146"/>
                  </a:lnTo>
                  <a:lnTo>
                    <a:pt x="283" y="1146"/>
                  </a:lnTo>
                  <a:lnTo>
                    <a:pt x="283" y="1146"/>
                  </a:lnTo>
                  <a:lnTo>
                    <a:pt x="283" y="1146"/>
                  </a:lnTo>
                  <a:lnTo>
                    <a:pt x="283" y="1146"/>
                  </a:lnTo>
                  <a:lnTo>
                    <a:pt x="283" y="1146"/>
                  </a:lnTo>
                  <a:lnTo>
                    <a:pt x="283" y="1146"/>
                  </a:lnTo>
                  <a:close/>
                  <a:moveTo>
                    <a:pt x="389" y="1173"/>
                  </a:moveTo>
                  <a:lnTo>
                    <a:pt x="389" y="1173"/>
                  </a:lnTo>
                  <a:lnTo>
                    <a:pt x="389" y="1170"/>
                  </a:lnTo>
                  <a:lnTo>
                    <a:pt x="392" y="1170"/>
                  </a:lnTo>
                  <a:lnTo>
                    <a:pt x="392" y="1170"/>
                  </a:lnTo>
                  <a:lnTo>
                    <a:pt x="392" y="1170"/>
                  </a:lnTo>
                  <a:lnTo>
                    <a:pt x="392" y="1170"/>
                  </a:lnTo>
                  <a:lnTo>
                    <a:pt x="392" y="1167"/>
                  </a:lnTo>
                  <a:lnTo>
                    <a:pt x="392" y="1167"/>
                  </a:lnTo>
                  <a:lnTo>
                    <a:pt x="389" y="1167"/>
                  </a:lnTo>
                  <a:lnTo>
                    <a:pt x="389" y="1167"/>
                  </a:lnTo>
                  <a:lnTo>
                    <a:pt x="389" y="1167"/>
                  </a:lnTo>
                  <a:lnTo>
                    <a:pt x="389" y="1167"/>
                  </a:lnTo>
                  <a:lnTo>
                    <a:pt x="389" y="1167"/>
                  </a:lnTo>
                  <a:lnTo>
                    <a:pt x="389" y="1167"/>
                  </a:lnTo>
                  <a:lnTo>
                    <a:pt x="387" y="1167"/>
                  </a:lnTo>
                  <a:lnTo>
                    <a:pt x="387" y="1167"/>
                  </a:lnTo>
                  <a:lnTo>
                    <a:pt x="387" y="1167"/>
                  </a:lnTo>
                  <a:lnTo>
                    <a:pt x="384" y="1167"/>
                  </a:lnTo>
                  <a:lnTo>
                    <a:pt x="384" y="1165"/>
                  </a:lnTo>
                  <a:lnTo>
                    <a:pt x="384" y="1165"/>
                  </a:lnTo>
                  <a:lnTo>
                    <a:pt x="384" y="1165"/>
                  </a:lnTo>
                  <a:lnTo>
                    <a:pt x="387" y="1165"/>
                  </a:lnTo>
                  <a:lnTo>
                    <a:pt x="384" y="1165"/>
                  </a:lnTo>
                  <a:lnTo>
                    <a:pt x="384" y="1165"/>
                  </a:lnTo>
                  <a:lnTo>
                    <a:pt x="384" y="1165"/>
                  </a:lnTo>
                  <a:lnTo>
                    <a:pt x="384" y="1162"/>
                  </a:lnTo>
                  <a:lnTo>
                    <a:pt x="387" y="1162"/>
                  </a:lnTo>
                  <a:lnTo>
                    <a:pt x="387" y="1162"/>
                  </a:lnTo>
                  <a:lnTo>
                    <a:pt x="387" y="1162"/>
                  </a:lnTo>
                  <a:lnTo>
                    <a:pt x="387" y="1162"/>
                  </a:lnTo>
                  <a:lnTo>
                    <a:pt x="389" y="1162"/>
                  </a:lnTo>
                  <a:lnTo>
                    <a:pt x="389" y="1162"/>
                  </a:lnTo>
                  <a:lnTo>
                    <a:pt x="389" y="1159"/>
                  </a:lnTo>
                  <a:lnTo>
                    <a:pt x="389" y="1159"/>
                  </a:lnTo>
                  <a:lnTo>
                    <a:pt x="389" y="1159"/>
                  </a:lnTo>
                  <a:lnTo>
                    <a:pt x="389" y="1157"/>
                  </a:lnTo>
                  <a:lnTo>
                    <a:pt x="389" y="1157"/>
                  </a:lnTo>
                  <a:lnTo>
                    <a:pt x="389" y="1157"/>
                  </a:lnTo>
                  <a:lnTo>
                    <a:pt x="389" y="1157"/>
                  </a:lnTo>
                  <a:lnTo>
                    <a:pt x="389" y="1157"/>
                  </a:lnTo>
                  <a:lnTo>
                    <a:pt x="387" y="1157"/>
                  </a:lnTo>
                  <a:lnTo>
                    <a:pt x="387" y="1157"/>
                  </a:lnTo>
                  <a:lnTo>
                    <a:pt x="387" y="1157"/>
                  </a:lnTo>
                  <a:lnTo>
                    <a:pt x="387" y="1159"/>
                  </a:lnTo>
                  <a:lnTo>
                    <a:pt x="384" y="1157"/>
                  </a:lnTo>
                  <a:lnTo>
                    <a:pt x="384" y="1157"/>
                  </a:lnTo>
                  <a:lnTo>
                    <a:pt x="384" y="1157"/>
                  </a:lnTo>
                  <a:lnTo>
                    <a:pt x="381" y="1157"/>
                  </a:lnTo>
                  <a:lnTo>
                    <a:pt x="381" y="1157"/>
                  </a:lnTo>
                  <a:lnTo>
                    <a:pt x="381" y="1157"/>
                  </a:lnTo>
                  <a:lnTo>
                    <a:pt x="379" y="1157"/>
                  </a:lnTo>
                  <a:lnTo>
                    <a:pt x="379" y="1159"/>
                  </a:lnTo>
                  <a:lnTo>
                    <a:pt x="379" y="1162"/>
                  </a:lnTo>
                  <a:lnTo>
                    <a:pt x="381" y="1162"/>
                  </a:lnTo>
                  <a:lnTo>
                    <a:pt x="379" y="1162"/>
                  </a:lnTo>
                  <a:lnTo>
                    <a:pt x="379" y="1162"/>
                  </a:lnTo>
                  <a:lnTo>
                    <a:pt x="379" y="1162"/>
                  </a:lnTo>
                  <a:lnTo>
                    <a:pt x="379" y="1165"/>
                  </a:lnTo>
                  <a:lnTo>
                    <a:pt x="379" y="1165"/>
                  </a:lnTo>
                  <a:lnTo>
                    <a:pt x="379" y="1165"/>
                  </a:lnTo>
                  <a:lnTo>
                    <a:pt x="379" y="1167"/>
                  </a:lnTo>
                  <a:lnTo>
                    <a:pt x="379" y="1167"/>
                  </a:lnTo>
                  <a:lnTo>
                    <a:pt x="379" y="1167"/>
                  </a:lnTo>
                  <a:lnTo>
                    <a:pt x="376" y="1167"/>
                  </a:lnTo>
                  <a:lnTo>
                    <a:pt x="373" y="1165"/>
                  </a:lnTo>
                  <a:lnTo>
                    <a:pt x="373" y="1165"/>
                  </a:lnTo>
                  <a:lnTo>
                    <a:pt x="373" y="1165"/>
                  </a:lnTo>
                  <a:lnTo>
                    <a:pt x="373" y="1162"/>
                  </a:lnTo>
                  <a:lnTo>
                    <a:pt x="373" y="1162"/>
                  </a:lnTo>
                  <a:lnTo>
                    <a:pt x="373" y="1165"/>
                  </a:lnTo>
                  <a:lnTo>
                    <a:pt x="371" y="1165"/>
                  </a:lnTo>
                  <a:lnTo>
                    <a:pt x="371" y="1165"/>
                  </a:lnTo>
                  <a:lnTo>
                    <a:pt x="371" y="1167"/>
                  </a:lnTo>
                  <a:lnTo>
                    <a:pt x="373" y="1167"/>
                  </a:lnTo>
                  <a:lnTo>
                    <a:pt x="373" y="1167"/>
                  </a:lnTo>
                  <a:lnTo>
                    <a:pt x="376" y="1167"/>
                  </a:lnTo>
                  <a:lnTo>
                    <a:pt x="373" y="1167"/>
                  </a:lnTo>
                  <a:lnTo>
                    <a:pt x="373" y="1167"/>
                  </a:lnTo>
                  <a:lnTo>
                    <a:pt x="373" y="1167"/>
                  </a:lnTo>
                  <a:lnTo>
                    <a:pt x="373" y="1167"/>
                  </a:lnTo>
                  <a:lnTo>
                    <a:pt x="373" y="1167"/>
                  </a:lnTo>
                  <a:lnTo>
                    <a:pt x="371" y="1167"/>
                  </a:lnTo>
                  <a:lnTo>
                    <a:pt x="371" y="1167"/>
                  </a:lnTo>
                  <a:lnTo>
                    <a:pt x="371" y="1170"/>
                  </a:lnTo>
                  <a:lnTo>
                    <a:pt x="371" y="1170"/>
                  </a:lnTo>
                  <a:lnTo>
                    <a:pt x="371" y="1170"/>
                  </a:lnTo>
                  <a:lnTo>
                    <a:pt x="365" y="1173"/>
                  </a:lnTo>
                  <a:lnTo>
                    <a:pt x="365" y="1173"/>
                  </a:lnTo>
                  <a:lnTo>
                    <a:pt x="365" y="1175"/>
                  </a:lnTo>
                  <a:lnTo>
                    <a:pt x="365" y="1175"/>
                  </a:lnTo>
                  <a:lnTo>
                    <a:pt x="365" y="1175"/>
                  </a:lnTo>
                  <a:lnTo>
                    <a:pt x="365" y="1175"/>
                  </a:lnTo>
                  <a:lnTo>
                    <a:pt x="368" y="1175"/>
                  </a:lnTo>
                  <a:lnTo>
                    <a:pt x="368" y="1175"/>
                  </a:lnTo>
                  <a:lnTo>
                    <a:pt x="368" y="1175"/>
                  </a:lnTo>
                  <a:lnTo>
                    <a:pt x="368" y="1175"/>
                  </a:lnTo>
                  <a:lnTo>
                    <a:pt x="373" y="1170"/>
                  </a:lnTo>
                  <a:lnTo>
                    <a:pt x="373" y="1170"/>
                  </a:lnTo>
                  <a:lnTo>
                    <a:pt x="373" y="1173"/>
                  </a:lnTo>
                  <a:lnTo>
                    <a:pt x="373" y="1173"/>
                  </a:lnTo>
                  <a:lnTo>
                    <a:pt x="373" y="1175"/>
                  </a:lnTo>
                  <a:lnTo>
                    <a:pt x="373" y="1175"/>
                  </a:lnTo>
                  <a:lnTo>
                    <a:pt x="373" y="1175"/>
                  </a:lnTo>
                  <a:lnTo>
                    <a:pt x="371" y="1175"/>
                  </a:lnTo>
                  <a:lnTo>
                    <a:pt x="371" y="1175"/>
                  </a:lnTo>
                  <a:lnTo>
                    <a:pt x="371" y="1178"/>
                  </a:lnTo>
                  <a:lnTo>
                    <a:pt x="371" y="1178"/>
                  </a:lnTo>
                  <a:lnTo>
                    <a:pt x="373" y="1178"/>
                  </a:lnTo>
                  <a:lnTo>
                    <a:pt x="373" y="1178"/>
                  </a:lnTo>
                  <a:lnTo>
                    <a:pt x="373" y="1175"/>
                  </a:lnTo>
                  <a:lnTo>
                    <a:pt x="376" y="1178"/>
                  </a:lnTo>
                  <a:lnTo>
                    <a:pt x="376" y="1178"/>
                  </a:lnTo>
                  <a:lnTo>
                    <a:pt x="376" y="1178"/>
                  </a:lnTo>
                  <a:lnTo>
                    <a:pt x="376" y="1175"/>
                  </a:lnTo>
                  <a:lnTo>
                    <a:pt x="376" y="1175"/>
                  </a:lnTo>
                  <a:lnTo>
                    <a:pt x="376" y="1175"/>
                  </a:lnTo>
                  <a:lnTo>
                    <a:pt x="376" y="1175"/>
                  </a:lnTo>
                  <a:lnTo>
                    <a:pt x="376" y="1173"/>
                  </a:lnTo>
                  <a:lnTo>
                    <a:pt x="379" y="1175"/>
                  </a:lnTo>
                  <a:lnTo>
                    <a:pt x="379" y="1175"/>
                  </a:lnTo>
                  <a:lnTo>
                    <a:pt x="379" y="1175"/>
                  </a:lnTo>
                  <a:lnTo>
                    <a:pt x="379" y="1175"/>
                  </a:lnTo>
                  <a:lnTo>
                    <a:pt x="379" y="1175"/>
                  </a:lnTo>
                  <a:lnTo>
                    <a:pt x="379" y="1175"/>
                  </a:lnTo>
                  <a:lnTo>
                    <a:pt x="381" y="1175"/>
                  </a:lnTo>
                  <a:lnTo>
                    <a:pt x="381" y="1175"/>
                  </a:lnTo>
                  <a:lnTo>
                    <a:pt x="381" y="1175"/>
                  </a:lnTo>
                  <a:lnTo>
                    <a:pt x="381" y="1175"/>
                  </a:lnTo>
                  <a:lnTo>
                    <a:pt x="381" y="1175"/>
                  </a:lnTo>
                  <a:lnTo>
                    <a:pt x="381" y="1175"/>
                  </a:lnTo>
                  <a:lnTo>
                    <a:pt x="381" y="1175"/>
                  </a:lnTo>
                  <a:lnTo>
                    <a:pt x="387" y="1173"/>
                  </a:lnTo>
                  <a:lnTo>
                    <a:pt x="387" y="1173"/>
                  </a:lnTo>
                  <a:lnTo>
                    <a:pt x="387" y="1175"/>
                  </a:lnTo>
                  <a:lnTo>
                    <a:pt x="389" y="1175"/>
                  </a:lnTo>
                  <a:lnTo>
                    <a:pt x="389" y="1175"/>
                  </a:lnTo>
                  <a:lnTo>
                    <a:pt x="389" y="1173"/>
                  </a:lnTo>
                  <a:lnTo>
                    <a:pt x="389" y="1173"/>
                  </a:lnTo>
                  <a:lnTo>
                    <a:pt x="389" y="1173"/>
                  </a:lnTo>
                  <a:close/>
                  <a:moveTo>
                    <a:pt x="299" y="1133"/>
                  </a:moveTo>
                  <a:lnTo>
                    <a:pt x="296" y="1133"/>
                  </a:lnTo>
                  <a:lnTo>
                    <a:pt x="296" y="1135"/>
                  </a:lnTo>
                  <a:lnTo>
                    <a:pt x="296" y="1135"/>
                  </a:lnTo>
                  <a:lnTo>
                    <a:pt x="293" y="1135"/>
                  </a:lnTo>
                  <a:lnTo>
                    <a:pt x="296" y="1138"/>
                  </a:lnTo>
                  <a:lnTo>
                    <a:pt x="296" y="1138"/>
                  </a:lnTo>
                  <a:lnTo>
                    <a:pt x="296" y="1138"/>
                  </a:lnTo>
                  <a:lnTo>
                    <a:pt x="299" y="1141"/>
                  </a:lnTo>
                  <a:lnTo>
                    <a:pt x="299" y="1138"/>
                  </a:lnTo>
                  <a:lnTo>
                    <a:pt x="299" y="1135"/>
                  </a:lnTo>
                  <a:lnTo>
                    <a:pt x="299" y="1135"/>
                  </a:lnTo>
                  <a:lnTo>
                    <a:pt x="299" y="1133"/>
                  </a:lnTo>
                  <a:close/>
                  <a:moveTo>
                    <a:pt x="112" y="1012"/>
                  </a:moveTo>
                  <a:lnTo>
                    <a:pt x="109" y="1012"/>
                  </a:lnTo>
                  <a:lnTo>
                    <a:pt x="109" y="1010"/>
                  </a:lnTo>
                  <a:lnTo>
                    <a:pt x="109" y="1012"/>
                  </a:lnTo>
                  <a:lnTo>
                    <a:pt x="109" y="1015"/>
                  </a:lnTo>
                  <a:lnTo>
                    <a:pt x="112" y="1015"/>
                  </a:lnTo>
                  <a:lnTo>
                    <a:pt x="112" y="1015"/>
                  </a:lnTo>
                  <a:lnTo>
                    <a:pt x="112" y="1012"/>
                  </a:lnTo>
                  <a:lnTo>
                    <a:pt x="112" y="1012"/>
                  </a:lnTo>
                  <a:close/>
                  <a:moveTo>
                    <a:pt x="56" y="956"/>
                  </a:moveTo>
                  <a:lnTo>
                    <a:pt x="53" y="956"/>
                  </a:lnTo>
                  <a:lnTo>
                    <a:pt x="53" y="956"/>
                  </a:lnTo>
                  <a:lnTo>
                    <a:pt x="53" y="956"/>
                  </a:lnTo>
                  <a:lnTo>
                    <a:pt x="53" y="956"/>
                  </a:lnTo>
                  <a:lnTo>
                    <a:pt x="56" y="959"/>
                  </a:lnTo>
                  <a:lnTo>
                    <a:pt x="56" y="959"/>
                  </a:lnTo>
                  <a:lnTo>
                    <a:pt x="56" y="956"/>
                  </a:lnTo>
                  <a:close/>
                  <a:moveTo>
                    <a:pt x="280" y="1159"/>
                  </a:moveTo>
                  <a:lnTo>
                    <a:pt x="280" y="1159"/>
                  </a:lnTo>
                  <a:lnTo>
                    <a:pt x="280" y="1159"/>
                  </a:lnTo>
                  <a:lnTo>
                    <a:pt x="280" y="1159"/>
                  </a:lnTo>
                  <a:lnTo>
                    <a:pt x="280" y="1162"/>
                  </a:lnTo>
                  <a:lnTo>
                    <a:pt x="277" y="1162"/>
                  </a:lnTo>
                  <a:lnTo>
                    <a:pt x="277" y="1162"/>
                  </a:lnTo>
                  <a:lnTo>
                    <a:pt x="277" y="1165"/>
                  </a:lnTo>
                  <a:lnTo>
                    <a:pt x="277" y="1165"/>
                  </a:lnTo>
                  <a:lnTo>
                    <a:pt x="280" y="1162"/>
                  </a:lnTo>
                  <a:lnTo>
                    <a:pt x="280" y="1162"/>
                  </a:lnTo>
                  <a:lnTo>
                    <a:pt x="283" y="1162"/>
                  </a:lnTo>
                  <a:lnTo>
                    <a:pt x="283" y="1162"/>
                  </a:lnTo>
                  <a:lnTo>
                    <a:pt x="283" y="1159"/>
                  </a:lnTo>
                  <a:lnTo>
                    <a:pt x="280" y="1159"/>
                  </a:lnTo>
                  <a:lnTo>
                    <a:pt x="280" y="1159"/>
                  </a:lnTo>
                  <a:close/>
                  <a:moveTo>
                    <a:pt x="1176" y="1018"/>
                  </a:moveTo>
                  <a:lnTo>
                    <a:pt x="1176" y="1018"/>
                  </a:lnTo>
                  <a:lnTo>
                    <a:pt x="1176" y="1018"/>
                  </a:lnTo>
                  <a:lnTo>
                    <a:pt x="1176" y="1018"/>
                  </a:lnTo>
                  <a:lnTo>
                    <a:pt x="1176" y="1015"/>
                  </a:lnTo>
                  <a:lnTo>
                    <a:pt x="1174" y="1015"/>
                  </a:lnTo>
                  <a:lnTo>
                    <a:pt x="1171" y="1018"/>
                  </a:lnTo>
                  <a:lnTo>
                    <a:pt x="1171" y="1018"/>
                  </a:lnTo>
                  <a:lnTo>
                    <a:pt x="1174" y="1018"/>
                  </a:lnTo>
                  <a:lnTo>
                    <a:pt x="1174" y="1018"/>
                  </a:lnTo>
                  <a:lnTo>
                    <a:pt x="1174" y="1020"/>
                  </a:lnTo>
                  <a:lnTo>
                    <a:pt x="1174" y="1020"/>
                  </a:lnTo>
                  <a:lnTo>
                    <a:pt x="1176" y="1020"/>
                  </a:lnTo>
                  <a:lnTo>
                    <a:pt x="1176" y="1018"/>
                  </a:lnTo>
                  <a:lnTo>
                    <a:pt x="1176" y="1018"/>
                  </a:lnTo>
                  <a:lnTo>
                    <a:pt x="1176" y="1018"/>
                  </a:lnTo>
                  <a:lnTo>
                    <a:pt x="1176" y="1018"/>
                  </a:lnTo>
                  <a:close/>
                  <a:moveTo>
                    <a:pt x="194" y="1087"/>
                  </a:moveTo>
                  <a:lnTo>
                    <a:pt x="194" y="1087"/>
                  </a:lnTo>
                  <a:lnTo>
                    <a:pt x="197" y="1087"/>
                  </a:lnTo>
                  <a:lnTo>
                    <a:pt x="197" y="1087"/>
                  </a:lnTo>
                  <a:lnTo>
                    <a:pt x="197" y="1087"/>
                  </a:lnTo>
                  <a:lnTo>
                    <a:pt x="197" y="1087"/>
                  </a:lnTo>
                  <a:lnTo>
                    <a:pt x="197" y="1087"/>
                  </a:lnTo>
                  <a:lnTo>
                    <a:pt x="200" y="1085"/>
                  </a:lnTo>
                  <a:lnTo>
                    <a:pt x="200" y="1085"/>
                  </a:lnTo>
                  <a:lnTo>
                    <a:pt x="200" y="1085"/>
                  </a:lnTo>
                  <a:lnTo>
                    <a:pt x="200" y="1085"/>
                  </a:lnTo>
                  <a:lnTo>
                    <a:pt x="200" y="1082"/>
                  </a:lnTo>
                  <a:lnTo>
                    <a:pt x="197" y="1082"/>
                  </a:lnTo>
                  <a:lnTo>
                    <a:pt x="197" y="1082"/>
                  </a:lnTo>
                  <a:lnTo>
                    <a:pt x="197" y="1082"/>
                  </a:lnTo>
                  <a:lnTo>
                    <a:pt x="197" y="1079"/>
                  </a:lnTo>
                  <a:lnTo>
                    <a:pt x="197" y="1082"/>
                  </a:lnTo>
                  <a:lnTo>
                    <a:pt x="197" y="1079"/>
                  </a:lnTo>
                  <a:lnTo>
                    <a:pt x="197" y="1079"/>
                  </a:lnTo>
                  <a:lnTo>
                    <a:pt x="194" y="1082"/>
                  </a:lnTo>
                  <a:lnTo>
                    <a:pt x="194" y="1082"/>
                  </a:lnTo>
                  <a:lnTo>
                    <a:pt x="194" y="1082"/>
                  </a:lnTo>
                  <a:lnTo>
                    <a:pt x="194" y="1082"/>
                  </a:lnTo>
                  <a:lnTo>
                    <a:pt x="194" y="1085"/>
                  </a:lnTo>
                  <a:lnTo>
                    <a:pt x="194" y="1085"/>
                  </a:lnTo>
                  <a:lnTo>
                    <a:pt x="194" y="1087"/>
                  </a:lnTo>
                  <a:close/>
                  <a:moveTo>
                    <a:pt x="18" y="930"/>
                  </a:moveTo>
                  <a:lnTo>
                    <a:pt x="18" y="930"/>
                  </a:lnTo>
                  <a:lnTo>
                    <a:pt x="21" y="930"/>
                  </a:lnTo>
                  <a:lnTo>
                    <a:pt x="21" y="932"/>
                  </a:lnTo>
                  <a:lnTo>
                    <a:pt x="21" y="932"/>
                  </a:lnTo>
                  <a:lnTo>
                    <a:pt x="21" y="935"/>
                  </a:lnTo>
                  <a:lnTo>
                    <a:pt x="21" y="935"/>
                  </a:lnTo>
                  <a:lnTo>
                    <a:pt x="21" y="935"/>
                  </a:lnTo>
                  <a:lnTo>
                    <a:pt x="24" y="935"/>
                  </a:lnTo>
                  <a:lnTo>
                    <a:pt x="24" y="935"/>
                  </a:lnTo>
                  <a:lnTo>
                    <a:pt x="24" y="932"/>
                  </a:lnTo>
                  <a:lnTo>
                    <a:pt x="24" y="932"/>
                  </a:lnTo>
                  <a:lnTo>
                    <a:pt x="24" y="932"/>
                  </a:lnTo>
                  <a:lnTo>
                    <a:pt x="24" y="932"/>
                  </a:lnTo>
                  <a:lnTo>
                    <a:pt x="24" y="932"/>
                  </a:lnTo>
                  <a:lnTo>
                    <a:pt x="24" y="932"/>
                  </a:lnTo>
                  <a:lnTo>
                    <a:pt x="26" y="932"/>
                  </a:lnTo>
                  <a:lnTo>
                    <a:pt x="26" y="932"/>
                  </a:lnTo>
                  <a:lnTo>
                    <a:pt x="26" y="932"/>
                  </a:lnTo>
                  <a:lnTo>
                    <a:pt x="26" y="935"/>
                  </a:lnTo>
                  <a:lnTo>
                    <a:pt x="26" y="935"/>
                  </a:lnTo>
                  <a:lnTo>
                    <a:pt x="29" y="938"/>
                  </a:lnTo>
                  <a:lnTo>
                    <a:pt x="29" y="935"/>
                  </a:lnTo>
                  <a:lnTo>
                    <a:pt x="29" y="935"/>
                  </a:lnTo>
                  <a:lnTo>
                    <a:pt x="32" y="938"/>
                  </a:lnTo>
                  <a:lnTo>
                    <a:pt x="32" y="938"/>
                  </a:lnTo>
                  <a:lnTo>
                    <a:pt x="32" y="938"/>
                  </a:lnTo>
                  <a:lnTo>
                    <a:pt x="34" y="935"/>
                  </a:lnTo>
                  <a:lnTo>
                    <a:pt x="32" y="935"/>
                  </a:lnTo>
                  <a:lnTo>
                    <a:pt x="29" y="935"/>
                  </a:lnTo>
                  <a:lnTo>
                    <a:pt x="29" y="932"/>
                  </a:lnTo>
                  <a:lnTo>
                    <a:pt x="26" y="932"/>
                  </a:lnTo>
                  <a:lnTo>
                    <a:pt x="29" y="932"/>
                  </a:lnTo>
                  <a:lnTo>
                    <a:pt x="29" y="932"/>
                  </a:lnTo>
                  <a:lnTo>
                    <a:pt x="32" y="932"/>
                  </a:lnTo>
                  <a:lnTo>
                    <a:pt x="32" y="930"/>
                  </a:lnTo>
                  <a:lnTo>
                    <a:pt x="32" y="930"/>
                  </a:lnTo>
                  <a:lnTo>
                    <a:pt x="29" y="927"/>
                  </a:lnTo>
                  <a:lnTo>
                    <a:pt x="29" y="927"/>
                  </a:lnTo>
                  <a:lnTo>
                    <a:pt x="29" y="927"/>
                  </a:lnTo>
                  <a:lnTo>
                    <a:pt x="26" y="927"/>
                  </a:lnTo>
                  <a:lnTo>
                    <a:pt x="26" y="927"/>
                  </a:lnTo>
                  <a:lnTo>
                    <a:pt x="26" y="927"/>
                  </a:lnTo>
                  <a:lnTo>
                    <a:pt x="26" y="927"/>
                  </a:lnTo>
                  <a:lnTo>
                    <a:pt x="24" y="927"/>
                  </a:lnTo>
                  <a:lnTo>
                    <a:pt x="26" y="924"/>
                  </a:lnTo>
                  <a:lnTo>
                    <a:pt x="26" y="924"/>
                  </a:lnTo>
                  <a:lnTo>
                    <a:pt x="29" y="924"/>
                  </a:lnTo>
                  <a:lnTo>
                    <a:pt x="26" y="924"/>
                  </a:lnTo>
                  <a:lnTo>
                    <a:pt x="26" y="922"/>
                  </a:lnTo>
                  <a:lnTo>
                    <a:pt x="26" y="922"/>
                  </a:lnTo>
                  <a:lnTo>
                    <a:pt x="24" y="919"/>
                  </a:lnTo>
                  <a:lnTo>
                    <a:pt x="21" y="919"/>
                  </a:lnTo>
                  <a:lnTo>
                    <a:pt x="21" y="919"/>
                  </a:lnTo>
                  <a:lnTo>
                    <a:pt x="21" y="919"/>
                  </a:lnTo>
                  <a:lnTo>
                    <a:pt x="18" y="919"/>
                  </a:lnTo>
                  <a:lnTo>
                    <a:pt x="18" y="919"/>
                  </a:lnTo>
                  <a:lnTo>
                    <a:pt x="18" y="919"/>
                  </a:lnTo>
                  <a:lnTo>
                    <a:pt x="18" y="919"/>
                  </a:lnTo>
                  <a:lnTo>
                    <a:pt x="18" y="916"/>
                  </a:lnTo>
                  <a:lnTo>
                    <a:pt x="18" y="916"/>
                  </a:lnTo>
                  <a:lnTo>
                    <a:pt x="16" y="914"/>
                  </a:lnTo>
                  <a:lnTo>
                    <a:pt x="13" y="914"/>
                  </a:lnTo>
                  <a:lnTo>
                    <a:pt x="13" y="914"/>
                  </a:lnTo>
                  <a:lnTo>
                    <a:pt x="13" y="914"/>
                  </a:lnTo>
                  <a:lnTo>
                    <a:pt x="10" y="911"/>
                  </a:lnTo>
                  <a:lnTo>
                    <a:pt x="5" y="911"/>
                  </a:lnTo>
                  <a:lnTo>
                    <a:pt x="5" y="914"/>
                  </a:lnTo>
                  <a:lnTo>
                    <a:pt x="5" y="911"/>
                  </a:lnTo>
                  <a:lnTo>
                    <a:pt x="0" y="914"/>
                  </a:lnTo>
                  <a:lnTo>
                    <a:pt x="2" y="914"/>
                  </a:lnTo>
                  <a:lnTo>
                    <a:pt x="2" y="914"/>
                  </a:lnTo>
                  <a:lnTo>
                    <a:pt x="2" y="914"/>
                  </a:lnTo>
                  <a:lnTo>
                    <a:pt x="2" y="916"/>
                  </a:lnTo>
                  <a:lnTo>
                    <a:pt x="5" y="916"/>
                  </a:lnTo>
                  <a:lnTo>
                    <a:pt x="8" y="916"/>
                  </a:lnTo>
                  <a:lnTo>
                    <a:pt x="8" y="916"/>
                  </a:lnTo>
                  <a:lnTo>
                    <a:pt x="8" y="916"/>
                  </a:lnTo>
                  <a:lnTo>
                    <a:pt x="5" y="919"/>
                  </a:lnTo>
                  <a:lnTo>
                    <a:pt x="5" y="919"/>
                  </a:lnTo>
                  <a:lnTo>
                    <a:pt x="5" y="919"/>
                  </a:lnTo>
                  <a:lnTo>
                    <a:pt x="8" y="922"/>
                  </a:lnTo>
                  <a:lnTo>
                    <a:pt x="10" y="922"/>
                  </a:lnTo>
                  <a:lnTo>
                    <a:pt x="10" y="922"/>
                  </a:lnTo>
                  <a:lnTo>
                    <a:pt x="10" y="922"/>
                  </a:lnTo>
                  <a:lnTo>
                    <a:pt x="10" y="922"/>
                  </a:lnTo>
                  <a:lnTo>
                    <a:pt x="13" y="922"/>
                  </a:lnTo>
                  <a:lnTo>
                    <a:pt x="10" y="922"/>
                  </a:lnTo>
                  <a:lnTo>
                    <a:pt x="10" y="924"/>
                  </a:lnTo>
                  <a:lnTo>
                    <a:pt x="8" y="924"/>
                  </a:lnTo>
                  <a:lnTo>
                    <a:pt x="8" y="927"/>
                  </a:lnTo>
                  <a:lnTo>
                    <a:pt x="8" y="927"/>
                  </a:lnTo>
                  <a:lnTo>
                    <a:pt x="8" y="927"/>
                  </a:lnTo>
                  <a:lnTo>
                    <a:pt x="8" y="927"/>
                  </a:lnTo>
                  <a:lnTo>
                    <a:pt x="8" y="927"/>
                  </a:lnTo>
                  <a:lnTo>
                    <a:pt x="8" y="927"/>
                  </a:lnTo>
                  <a:lnTo>
                    <a:pt x="8" y="927"/>
                  </a:lnTo>
                  <a:lnTo>
                    <a:pt x="10" y="927"/>
                  </a:lnTo>
                  <a:lnTo>
                    <a:pt x="10" y="927"/>
                  </a:lnTo>
                  <a:lnTo>
                    <a:pt x="10" y="927"/>
                  </a:lnTo>
                  <a:lnTo>
                    <a:pt x="10" y="930"/>
                  </a:lnTo>
                  <a:lnTo>
                    <a:pt x="10" y="930"/>
                  </a:lnTo>
                  <a:lnTo>
                    <a:pt x="10" y="930"/>
                  </a:lnTo>
                  <a:lnTo>
                    <a:pt x="13" y="930"/>
                  </a:lnTo>
                  <a:lnTo>
                    <a:pt x="13" y="930"/>
                  </a:lnTo>
                  <a:lnTo>
                    <a:pt x="13" y="930"/>
                  </a:lnTo>
                  <a:lnTo>
                    <a:pt x="10" y="930"/>
                  </a:lnTo>
                  <a:lnTo>
                    <a:pt x="10" y="932"/>
                  </a:lnTo>
                  <a:lnTo>
                    <a:pt x="10" y="932"/>
                  </a:lnTo>
                  <a:lnTo>
                    <a:pt x="13" y="932"/>
                  </a:lnTo>
                  <a:lnTo>
                    <a:pt x="13" y="932"/>
                  </a:lnTo>
                  <a:lnTo>
                    <a:pt x="16" y="932"/>
                  </a:lnTo>
                  <a:lnTo>
                    <a:pt x="18" y="930"/>
                  </a:lnTo>
                  <a:lnTo>
                    <a:pt x="18" y="930"/>
                  </a:lnTo>
                  <a:close/>
                  <a:moveTo>
                    <a:pt x="245" y="1101"/>
                  </a:moveTo>
                  <a:lnTo>
                    <a:pt x="245" y="1101"/>
                  </a:lnTo>
                  <a:lnTo>
                    <a:pt x="242" y="1098"/>
                  </a:lnTo>
                  <a:lnTo>
                    <a:pt x="242" y="1098"/>
                  </a:lnTo>
                  <a:lnTo>
                    <a:pt x="242" y="1098"/>
                  </a:lnTo>
                  <a:lnTo>
                    <a:pt x="242" y="1098"/>
                  </a:lnTo>
                  <a:lnTo>
                    <a:pt x="242" y="1098"/>
                  </a:lnTo>
                  <a:lnTo>
                    <a:pt x="242" y="1098"/>
                  </a:lnTo>
                  <a:lnTo>
                    <a:pt x="242" y="1098"/>
                  </a:lnTo>
                  <a:lnTo>
                    <a:pt x="242" y="1095"/>
                  </a:lnTo>
                  <a:lnTo>
                    <a:pt x="240" y="1098"/>
                  </a:lnTo>
                  <a:lnTo>
                    <a:pt x="240" y="1098"/>
                  </a:lnTo>
                  <a:lnTo>
                    <a:pt x="240" y="1098"/>
                  </a:lnTo>
                  <a:lnTo>
                    <a:pt x="237" y="1098"/>
                  </a:lnTo>
                  <a:lnTo>
                    <a:pt x="237" y="1098"/>
                  </a:lnTo>
                  <a:lnTo>
                    <a:pt x="237" y="1098"/>
                  </a:lnTo>
                  <a:lnTo>
                    <a:pt x="234" y="1098"/>
                  </a:lnTo>
                  <a:lnTo>
                    <a:pt x="234" y="1098"/>
                  </a:lnTo>
                  <a:lnTo>
                    <a:pt x="234" y="1098"/>
                  </a:lnTo>
                  <a:lnTo>
                    <a:pt x="234" y="1098"/>
                  </a:lnTo>
                  <a:lnTo>
                    <a:pt x="234" y="1101"/>
                  </a:lnTo>
                  <a:lnTo>
                    <a:pt x="234" y="1101"/>
                  </a:lnTo>
                  <a:lnTo>
                    <a:pt x="234" y="1101"/>
                  </a:lnTo>
                  <a:lnTo>
                    <a:pt x="234" y="1101"/>
                  </a:lnTo>
                  <a:lnTo>
                    <a:pt x="234" y="1101"/>
                  </a:lnTo>
                  <a:lnTo>
                    <a:pt x="234" y="1103"/>
                  </a:lnTo>
                  <a:lnTo>
                    <a:pt x="234" y="1103"/>
                  </a:lnTo>
                  <a:lnTo>
                    <a:pt x="234" y="1103"/>
                  </a:lnTo>
                  <a:lnTo>
                    <a:pt x="234" y="1106"/>
                  </a:lnTo>
                  <a:lnTo>
                    <a:pt x="237" y="1106"/>
                  </a:lnTo>
                  <a:lnTo>
                    <a:pt x="240" y="1106"/>
                  </a:lnTo>
                  <a:lnTo>
                    <a:pt x="240" y="1106"/>
                  </a:lnTo>
                  <a:lnTo>
                    <a:pt x="242" y="1106"/>
                  </a:lnTo>
                  <a:lnTo>
                    <a:pt x="242" y="1106"/>
                  </a:lnTo>
                  <a:lnTo>
                    <a:pt x="242" y="1106"/>
                  </a:lnTo>
                  <a:lnTo>
                    <a:pt x="245" y="1103"/>
                  </a:lnTo>
                  <a:lnTo>
                    <a:pt x="245" y="1103"/>
                  </a:lnTo>
                  <a:lnTo>
                    <a:pt x="245" y="1103"/>
                  </a:lnTo>
                  <a:lnTo>
                    <a:pt x="245" y="1103"/>
                  </a:lnTo>
                  <a:lnTo>
                    <a:pt x="245" y="1103"/>
                  </a:lnTo>
                  <a:lnTo>
                    <a:pt x="245" y="1103"/>
                  </a:lnTo>
                  <a:lnTo>
                    <a:pt x="245" y="1101"/>
                  </a:lnTo>
                  <a:close/>
                  <a:moveTo>
                    <a:pt x="275" y="1162"/>
                  </a:moveTo>
                  <a:lnTo>
                    <a:pt x="272" y="1162"/>
                  </a:lnTo>
                  <a:lnTo>
                    <a:pt x="272" y="1162"/>
                  </a:lnTo>
                  <a:lnTo>
                    <a:pt x="269" y="1165"/>
                  </a:lnTo>
                  <a:lnTo>
                    <a:pt x="269" y="1165"/>
                  </a:lnTo>
                  <a:lnTo>
                    <a:pt x="269" y="1165"/>
                  </a:lnTo>
                  <a:lnTo>
                    <a:pt x="269" y="1165"/>
                  </a:lnTo>
                  <a:lnTo>
                    <a:pt x="269" y="1167"/>
                  </a:lnTo>
                  <a:lnTo>
                    <a:pt x="269" y="1167"/>
                  </a:lnTo>
                  <a:lnTo>
                    <a:pt x="272" y="1167"/>
                  </a:lnTo>
                  <a:lnTo>
                    <a:pt x="272" y="1167"/>
                  </a:lnTo>
                  <a:lnTo>
                    <a:pt x="272" y="1167"/>
                  </a:lnTo>
                  <a:lnTo>
                    <a:pt x="275" y="1165"/>
                  </a:lnTo>
                  <a:lnTo>
                    <a:pt x="272" y="1165"/>
                  </a:lnTo>
                  <a:lnTo>
                    <a:pt x="275" y="1165"/>
                  </a:lnTo>
                  <a:lnTo>
                    <a:pt x="275" y="1162"/>
                  </a:lnTo>
                  <a:close/>
                  <a:moveTo>
                    <a:pt x="186" y="1087"/>
                  </a:moveTo>
                  <a:lnTo>
                    <a:pt x="186" y="1087"/>
                  </a:lnTo>
                  <a:lnTo>
                    <a:pt x="184" y="1087"/>
                  </a:lnTo>
                  <a:lnTo>
                    <a:pt x="184" y="1087"/>
                  </a:lnTo>
                  <a:lnTo>
                    <a:pt x="184" y="1087"/>
                  </a:lnTo>
                  <a:lnTo>
                    <a:pt x="184" y="1085"/>
                  </a:lnTo>
                  <a:lnTo>
                    <a:pt x="181" y="1085"/>
                  </a:lnTo>
                  <a:lnTo>
                    <a:pt x="181" y="1085"/>
                  </a:lnTo>
                  <a:lnTo>
                    <a:pt x="181" y="1087"/>
                  </a:lnTo>
                  <a:lnTo>
                    <a:pt x="184" y="1087"/>
                  </a:lnTo>
                  <a:lnTo>
                    <a:pt x="184" y="1087"/>
                  </a:lnTo>
                  <a:lnTo>
                    <a:pt x="184" y="1090"/>
                  </a:lnTo>
                  <a:lnTo>
                    <a:pt x="184" y="1090"/>
                  </a:lnTo>
                  <a:lnTo>
                    <a:pt x="184" y="1090"/>
                  </a:lnTo>
                  <a:lnTo>
                    <a:pt x="184" y="1093"/>
                  </a:lnTo>
                  <a:lnTo>
                    <a:pt x="186" y="1093"/>
                  </a:lnTo>
                  <a:lnTo>
                    <a:pt x="186" y="1093"/>
                  </a:lnTo>
                  <a:lnTo>
                    <a:pt x="186" y="1093"/>
                  </a:lnTo>
                  <a:lnTo>
                    <a:pt x="186" y="1090"/>
                  </a:lnTo>
                  <a:lnTo>
                    <a:pt x="186" y="1087"/>
                  </a:lnTo>
                  <a:close/>
                  <a:moveTo>
                    <a:pt x="216" y="1133"/>
                  </a:moveTo>
                  <a:lnTo>
                    <a:pt x="216" y="1133"/>
                  </a:lnTo>
                  <a:lnTo>
                    <a:pt x="210" y="1130"/>
                  </a:lnTo>
                  <a:lnTo>
                    <a:pt x="210" y="1130"/>
                  </a:lnTo>
                  <a:lnTo>
                    <a:pt x="213" y="1130"/>
                  </a:lnTo>
                  <a:lnTo>
                    <a:pt x="213" y="1130"/>
                  </a:lnTo>
                  <a:lnTo>
                    <a:pt x="213" y="1130"/>
                  </a:lnTo>
                  <a:lnTo>
                    <a:pt x="213" y="1130"/>
                  </a:lnTo>
                  <a:lnTo>
                    <a:pt x="210" y="1130"/>
                  </a:lnTo>
                  <a:lnTo>
                    <a:pt x="210" y="1127"/>
                  </a:lnTo>
                  <a:lnTo>
                    <a:pt x="210" y="1127"/>
                  </a:lnTo>
                  <a:lnTo>
                    <a:pt x="210" y="1125"/>
                  </a:lnTo>
                  <a:lnTo>
                    <a:pt x="210" y="1125"/>
                  </a:lnTo>
                  <a:lnTo>
                    <a:pt x="210" y="1125"/>
                  </a:lnTo>
                  <a:lnTo>
                    <a:pt x="208" y="1122"/>
                  </a:lnTo>
                  <a:lnTo>
                    <a:pt x="208" y="1122"/>
                  </a:lnTo>
                  <a:lnTo>
                    <a:pt x="205" y="1119"/>
                  </a:lnTo>
                  <a:lnTo>
                    <a:pt x="205" y="1117"/>
                  </a:lnTo>
                  <a:lnTo>
                    <a:pt x="205" y="1117"/>
                  </a:lnTo>
                  <a:lnTo>
                    <a:pt x="205" y="1117"/>
                  </a:lnTo>
                  <a:lnTo>
                    <a:pt x="205" y="1114"/>
                  </a:lnTo>
                  <a:lnTo>
                    <a:pt x="205" y="1114"/>
                  </a:lnTo>
                  <a:lnTo>
                    <a:pt x="205" y="1114"/>
                  </a:lnTo>
                  <a:lnTo>
                    <a:pt x="205" y="1114"/>
                  </a:lnTo>
                  <a:lnTo>
                    <a:pt x="205" y="1114"/>
                  </a:lnTo>
                  <a:lnTo>
                    <a:pt x="202" y="1114"/>
                  </a:lnTo>
                  <a:lnTo>
                    <a:pt x="202" y="1114"/>
                  </a:lnTo>
                  <a:lnTo>
                    <a:pt x="202" y="1111"/>
                  </a:lnTo>
                  <a:lnTo>
                    <a:pt x="202" y="1111"/>
                  </a:lnTo>
                  <a:lnTo>
                    <a:pt x="202" y="1111"/>
                  </a:lnTo>
                  <a:lnTo>
                    <a:pt x="202" y="1111"/>
                  </a:lnTo>
                  <a:lnTo>
                    <a:pt x="202" y="1109"/>
                  </a:lnTo>
                  <a:lnTo>
                    <a:pt x="202" y="1109"/>
                  </a:lnTo>
                  <a:lnTo>
                    <a:pt x="200" y="1109"/>
                  </a:lnTo>
                  <a:lnTo>
                    <a:pt x="200" y="1109"/>
                  </a:lnTo>
                  <a:lnTo>
                    <a:pt x="200" y="1109"/>
                  </a:lnTo>
                  <a:lnTo>
                    <a:pt x="200" y="1109"/>
                  </a:lnTo>
                  <a:lnTo>
                    <a:pt x="200" y="1109"/>
                  </a:lnTo>
                  <a:lnTo>
                    <a:pt x="197" y="1109"/>
                  </a:lnTo>
                  <a:lnTo>
                    <a:pt x="197" y="1106"/>
                  </a:lnTo>
                  <a:lnTo>
                    <a:pt x="197" y="1106"/>
                  </a:lnTo>
                  <a:lnTo>
                    <a:pt x="194" y="1103"/>
                  </a:lnTo>
                  <a:lnTo>
                    <a:pt x="194" y="1103"/>
                  </a:lnTo>
                  <a:lnTo>
                    <a:pt x="192" y="1103"/>
                  </a:lnTo>
                  <a:lnTo>
                    <a:pt x="194" y="1106"/>
                  </a:lnTo>
                  <a:lnTo>
                    <a:pt x="194" y="1109"/>
                  </a:lnTo>
                  <a:lnTo>
                    <a:pt x="194" y="1109"/>
                  </a:lnTo>
                  <a:lnTo>
                    <a:pt x="194" y="1109"/>
                  </a:lnTo>
                  <a:lnTo>
                    <a:pt x="197" y="1109"/>
                  </a:lnTo>
                  <a:lnTo>
                    <a:pt x="197" y="1111"/>
                  </a:lnTo>
                  <a:lnTo>
                    <a:pt x="197" y="1111"/>
                  </a:lnTo>
                  <a:lnTo>
                    <a:pt x="197" y="1111"/>
                  </a:lnTo>
                  <a:lnTo>
                    <a:pt x="200" y="1111"/>
                  </a:lnTo>
                  <a:lnTo>
                    <a:pt x="200" y="1111"/>
                  </a:lnTo>
                  <a:lnTo>
                    <a:pt x="202" y="1114"/>
                  </a:lnTo>
                  <a:lnTo>
                    <a:pt x="202" y="1117"/>
                  </a:lnTo>
                  <a:lnTo>
                    <a:pt x="202" y="1117"/>
                  </a:lnTo>
                  <a:lnTo>
                    <a:pt x="205" y="1119"/>
                  </a:lnTo>
                  <a:lnTo>
                    <a:pt x="205" y="1119"/>
                  </a:lnTo>
                  <a:lnTo>
                    <a:pt x="205" y="1119"/>
                  </a:lnTo>
                  <a:lnTo>
                    <a:pt x="205" y="1122"/>
                  </a:lnTo>
                  <a:lnTo>
                    <a:pt x="205" y="1122"/>
                  </a:lnTo>
                  <a:lnTo>
                    <a:pt x="205" y="1122"/>
                  </a:lnTo>
                  <a:lnTo>
                    <a:pt x="205" y="1125"/>
                  </a:lnTo>
                  <a:lnTo>
                    <a:pt x="210" y="1130"/>
                  </a:lnTo>
                  <a:lnTo>
                    <a:pt x="210" y="1130"/>
                  </a:lnTo>
                  <a:lnTo>
                    <a:pt x="208" y="1130"/>
                  </a:lnTo>
                  <a:lnTo>
                    <a:pt x="208" y="1133"/>
                  </a:lnTo>
                  <a:lnTo>
                    <a:pt x="208" y="1133"/>
                  </a:lnTo>
                  <a:lnTo>
                    <a:pt x="210" y="1133"/>
                  </a:lnTo>
                  <a:lnTo>
                    <a:pt x="210" y="1133"/>
                  </a:lnTo>
                  <a:lnTo>
                    <a:pt x="210" y="1133"/>
                  </a:lnTo>
                  <a:lnTo>
                    <a:pt x="210" y="1133"/>
                  </a:lnTo>
                  <a:lnTo>
                    <a:pt x="210" y="1133"/>
                  </a:lnTo>
                  <a:lnTo>
                    <a:pt x="213" y="1133"/>
                  </a:lnTo>
                  <a:lnTo>
                    <a:pt x="213" y="1133"/>
                  </a:lnTo>
                  <a:lnTo>
                    <a:pt x="213" y="1133"/>
                  </a:lnTo>
                  <a:lnTo>
                    <a:pt x="213" y="1133"/>
                  </a:lnTo>
                  <a:lnTo>
                    <a:pt x="213" y="1133"/>
                  </a:lnTo>
                  <a:lnTo>
                    <a:pt x="216" y="1133"/>
                  </a:lnTo>
                  <a:lnTo>
                    <a:pt x="216" y="1133"/>
                  </a:lnTo>
                  <a:lnTo>
                    <a:pt x="216" y="1135"/>
                  </a:lnTo>
                  <a:lnTo>
                    <a:pt x="216" y="1135"/>
                  </a:lnTo>
                  <a:lnTo>
                    <a:pt x="216" y="1135"/>
                  </a:lnTo>
                  <a:lnTo>
                    <a:pt x="216" y="1135"/>
                  </a:lnTo>
                  <a:lnTo>
                    <a:pt x="216" y="1135"/>
                  </a:lnTo>
                  <a:lnTo>
                    <a:pt x="218" y="1135"/>
                  </a:lnTo>
                  <a:lnTo>
                    <a:pt x="218" y="1135"/>
                  </a:lnTo>
                  <a:lnTo>
                    <a:pt x="218" y="1135"/>
                  </a:lnTo>
                  <a:lnTo>
                    <a:pt x="216" y="1133"/>
                  </a:lnTo>
                  <a:close/>
                  <a:moveTo>
                    <a:pt x="168" y="1058"/>
                  </a:moveTo>
                  <a:lnTo>
                    <a:pt x="168" y="1058"/>
                  </a:lnTo>
                  <a:lnTo>
                    <a:pt x="165" y="1058"/>
                  </a:lnTo>
                  <a:lnTo>
                    <a:pt x="165" y="1058"/>
                  </a:lnTo>
                  <a:lnTo>
                    <a:pt x="162" y="1058"/>
                  </a:lnTo>
                  <a:lnTo>
                    <a:pt x="160" y="1061"/>
                  </a:lnTo>
                  <a:lnTo>
                    <a:pt x="160" y="1063"/>
                  </a:lnTo>
                  <a:lnTo>
                    <a:pt x="160" y="1063"/>
                  </a:lnTo>
                  <a:lnTo>
                    <a:pt x="157" y="1063"/>
                  </a:lnTo>
                  <a:lnTo>
                    <a:pt x="157" y="1063"/>
                  </a:lnTo>
                  <a:lnTo>
                    <a:pt x="157" y="1063"/>
                  </a:lnTo>
                  <a:lnTo>
                    <a:pt x="157" y="1063"/>
                  </a:lnTo>
                  <a:lnTo>
                    <a:pt x="154" y="1063"/>
                  </a:lnTo>
                  <a:lnTo>
                    <a:pt x="154" y="1063"/>
                  </a:lnTo>
                  <a:lnTo>
                    <a:pt x="154" y="1063"/>
                  </a:lnTo>
                  <a:lnTo>
                    <a:pt x="152" y="1063"/>
                  </a:lnTo>
                  <a:lnTo>
                    <a:pt x="152" y="1063"/>
                  </a:lnTo>
                  <a:lnTo>
                    <a:pt x="152" y="1063"/>
                  </a:lnTo>
                  <a:lnTo>
                    <a:pt x="149" y="1063"/>
                  </a:lnTo>
                  <a:lnTo>
                    <a:pt x="149" y="1063"/>
                  </a:lnTo>
                  <a:lnTo>
                    <a:pt x="146" y="1063"/>
                  </a:lnTo>
                  <a:lnTo>
                    <a:pt x="146" y="1066"/>
                  </a:lnTo>
                  <a:lnTo>
                    <a:pt x="146" y="1069"/>
                  </a:lnTo>
                  <a:lnTo>
                    <a:pt x="146" y="1069"/>
                  </a:lnTo>
                  <a:lnTo>
                    <a:pt x="146" y="1069"/>
                  </a:lnTo>
                  <a:lnTo>
                    <a:pt x="146" y="1069"/>
                  </a:lnTo>
                  <a:lnTo>
                    <a:pt x="146" y="1071"/>
                  </a:lnTo>
                  <a:lnTo>
                    <a:pt x="146" y="1071"/>
                  </a:lnTo>
                  <a:lnTo>
                    <a:pt x="149" y="1069"/>
                  </a:lnTo>
                  <a:lnTo>
                    <a:pt x="149" y="1069"/>
                  </a:lnTo>
                  <a:lnTo>
                    <a:pt x="152" y="1066"/>
                  </a:lnTo>
                  <a:lnTo>
                    <a:pt x="152" y="1066"/>
                  </a:lnTo>
                  <a:lnTo>
                    <a:pt x="152" y="1066"/>
                  </a:lnTo>
                  <a:lnTo>
                    <a:pt x="154" y="1066"/>
                  </a:lnTo>
                  <a:lnTo>
                    <a:pt x="157" y="1066"/>
                  </a:lnTo>
                  <a:lnTo>
                    <a:pt x="154" y="1066"/>
                  </a:lnTo>
                  <a:lnTo>
                    <a:pt x="154" y="1069"/>
                  </a:lnTo>
                  <a:lnTo>
                    <a:pt x="157" y="1069"/>
                  </a:lnTo>
                  <a:lnTo>
                    <a:pt x="157" y="1066"/>
                  </a:lnTo>
                  <a:lnTo>
                    <a:pt x="157" y="1066"/>
                  </a:lnTo>
                  <a:lnTo>
                    <a:pt x="157" y="1066"/>
                  </a:lnTo>
                  <a:lnTo>
                    <a:pt x="160" y="1069"/>
                  </a:lnTo>
                  <a:lnTo>
                    <a:pt x="160" y="1069"/>
                  </a:lnTo>
                  <a:lnTo>
                    <a:pt x="160" y="1069"/>
                  </a:lnTo>
                  <a:lnTo>
                    <a:pt x="160" y="1069"/>
                  </a:lnTo>
                  <a:lnTo>
                    <a:pt x="160" y="1069"/>
                  </a:lnTo>
                  <a:lnTo>
                    <a:pt x="160" y="1069"/>
                  </a:lnTo>
                  <a:lnTo>
                    <a:pt x="160" y="1069"/>
                  </a:lnTo>
                  <a:lnTo>
                    <a:pt x="162" y="1069"/>
                  </a:lnTo>
                  <a:lnTo>
                    <a:pt x="162" y="1069"/>
                  </a:lnTo>
                  <a:lnTo>
                    <a:pt x="162" y="1069"/>
                  </a:lnTo>
                  <a:lnTo>
                    <a:pt x="162" y="1069"/>
                  </a:lnTo>
                  <a:lnTo>
                    <a:pt x="160" y="1066"/>
                  </a:lnTo>
                  <a:lnTo>
                    <a:pt x="160" y="1066"/>
                  </a:lnTo>
                  <a:lnTo>
                    <a:pt x="160" y="1066"/>
                  </a:lnTo>
                  <a:lnTo>
                    <a:pt x="162" y="1066"/>
                  </a:lnTo>
                  <a:lnTo>
                    <a:pt x="162" y="1063"/>
                  </a:lnTo>
                  <a:lnTo>
                    <a:pt x="165" y="1063"/>
                  </a:lnTo>
                  <a:lnTo>
                    <a:pt x="165" y="1063"/>
                  </a:lnTo>
                  <a:lnTo>
                    <a:pt x="165" y="1063"/>
                  </a:lnTo>
                  <a:lnTo>
                    <a:pt x="165" y="1061"/>
                  </a:lnTo>
                  <a:lnTo>
                    <a:pt x="168" y="1061"/>
                  </a:lnTo>
                  <a:lnTo>
                    <a:pt x="168" y="1061"/>
                  </a:lnTo>
                  <a:lnTo>
                    <a:pt x="168" y="1061"/>
                  </a:lnTo>
                  <a:lnTo>
                    <a:pt x="168" y="1061"/>
                  </a:lnTo>
                  <a:lnTo>
                    <a:pt x="168" y="1061"/>
                  </a:lnTo>
                  <a:lnTo>
                    <a:pt x="168" y="1058"/>
                  </a:lnTo>
                  <a:lnTo>
                    <a:pt x="168" y="1058"/>
                  </a:lnTo>
                  <a:close/>
                  <a:moveTo>
                    <a:pt x="696" y="641"/>
                  </a:moveTo>
                  <a:lnTo>
                    <a:pt x="696" y="641"/>
                  </a:lnTo>
                  <a:lnTo>
                    <a:pt x="696" y="641"/>
                  </a:lnTo>
                  <a:lnTo>
                    <a:pt x="696" y="641"/>
                  </a:lnTo>
                  <a:lnTo>
                    <a:pt x="696" y="638"/>
                  </a:lnTo>
                  <a:lnTo>
                    <a:pt x="696" y="638"/>
                  </a:lnTo>
                  <a:lnTo>
                    <a:pt x="696" y="638"/>
                  </a:lnTo>
                  <a:lnTo>
                    <a:pt x="696" y="638"/>
                  </a:lnTo>
                  <a:lnTo>
                    <a:pt x="696" y="636"/>
                  </a:lnTo>
                  <a:lnTo>
                    <a:pt x="696" y="636"/>
                  </a:lnTo>
                  <a:lnTo>
                    <a:pt x="696" y="636"/>
                  </a:lnTo>
                  <a:lnTo>
                    <a:pt x="693" y="638"/>
                  </a:lnTo>
                  <a:lnTo>
                    <a:pt x="693" y="638"/>
                  </a:lnTo>
                  <a:lnTo>
                    <a:pt x="693" y="638"/>
                  </a:lnTo>
                  <a:lnTo>
                    <a:pt x="696" y="641"/>
                  </a:lnTo>
                  <a:close/>
                  <a:moveTo>
                    <a:pt x="680" y="1181"/>
                  </a:moveTo>
                  <a:lnTo>
                    <a:pt x="680" y="1181"/>
                  </a:lnTo>
                  <a:lnTo>
                    <a:pt x="680" y="1181"/>
                  </a:lnTo>
                  <a:lnTo>
                    <a:pt x="680" y="1181"/>
                  </a:lnTo>
                  <a:lnTo>
                    <a:pt x="680" y="1181"/>
                  </a:lnTo>
                  <a:lnTo>
                    <a:pt x="680" y="1181"/>
                  </a:lnTo>
                  <a:lnTo>
                    <a:pt x="677" y="1181"/>
                  </a:lnTo>
                  <a:lnTo>
                    <a:pt x="677" y="1181"/>
                  </a:lnTo>
                  <a:lnTo>
                    <a:pt x="677" y="1181"/>
                  </a:lnTo>
                  <a:lnTo>
                    <a:pt x="677" y="1178"/>
                  </a:lnTo>
                  <a:lnTo>
                    <a:pt x="677" y="1178"/>
                  </a:lnTo>
                  <a:lnTo>
                    <a:pt x="675" y="1178"/>
                  </a:lnTo>
                  <a:lnTo>
                    <a:pt x="675" y="1178"/>
                  </a:lnTo>
                  <a:lnTo>
                    <a:pt x="672" y="1178"/>
                  </a:lnTo>
                  <a:lnTo>
                    <a:pt x="672" y="1181"/>
                  </a:lnTo>
                  <a:lnTo>
                    <a:pt x="672" y="1181"/>
                  </a:lnTo>
                  <a:lnTo>
                    <a:pt x="669" y="1181"/>
                  </a:lnTo>
                  <a:lnTo>
                    <a:pt x="669" y="1178"/>
                  </a:lnTo>
                  <a:lnTo>
                    <a:pt x="669" y="1178"/>
                  </a:lnTo>
                  <a:lnTo>
                    <a:pt x="667" y="1181"/>
                  </a:lnTo>
                  <a:lnTo>
                    <a:pt x="667" y="1181"/>
                  </a:lnTo>
                  <a:lnTo>
                    <a:pt x="667" y="1181"/>
                  </a:lnTo>
                  <a:lnTo>
                    <a:pt x="667" y="1183"/>
                  </a:lnTo>
                  <a:lnTo>
                    <a:pt x="667" y="1183"/>
                  </a:lnTo>
                  <a:lnTo>
                    <a:pt x="667" y="1183"/>
                  </a:lnTo>
                  <a:lnTo>
                    <a:pt x="667" y="1183"/>
                  </a:lnTo>
                  <a:lnTo>
                    <a:pt x="669" y="1183"/>
                  </a:lnTo>
                  <a:lnTo>
                    <a:pt x="669" y="1183"/>
                  </a:lnTo>
                  <a:lnTo>
                    <a:pt x="669" y="1183"/>
                  </a:lnTo>
                  <a:lnTo>
                    <a:pt x="672" y="1183"/>
                  </a:lnTo>
                  <a:lnTo>
                    <a:pt x="672" y="1183"/>
                  </a:lnTo>
                  <a:lnTo>
                    <a:pt x="675" y="1183"/>
                  </a:lnTo>
                  <a:lnTo>
                    <a:pt x="675" y="1186"/>
                  </a:lnTo>
                  <a:lnTo>
                    <a:pt x="677" y="1186"/>
                  </a:lnTo>
                  <a:lnTo>
                    <a:pt x="677" y="1186"/>
                  </a:lnTo>
                  <a:lnTo>
                    <a:pt x="677" y="1186"/>
                  </a:lnTo>
                  <a:lnTo>
                    <a:pt x="677" y="1186"/>
                  </a:lnTo>
                  <a:lnTo>
                    <a:pt x="677" y="1186"/>
                  </a:lnTo>
                  <a:lnTo>
                    <a:pt x="680" y="1183"/>
                  </a:lnTo>
                  <a:lnTo>
                    <a:pt x="680" y="1183"/>
                  </a:lnTo>
                  <a:lnTo>
                    <a:pt x="680" y="1183"/>
                  </a:lnTo>
                  <a:lnTo>
                    <a:pt x="680" y="1183"/>
                  </a:lnTo>
                  <a:lnTo>
                    <a:pt x="680" y="1181"/>
                  </a:lnTo>
                  <a:lnTo>
                    <a:pt x="680" y="1181"/>
                  </a:lnTo>
                  <a:lnTo>
                    <a:pt x="680" y="1181"/>
                  </a:lnTo>
                  <a:close/>
                  <a:moveTo>
                    <a:pt x="683" y="1170"/>
                  </a:moveTo>
                  <a:lnTo>
                    <a:pt x="683" y="1170"/>
                  </a:lnTo>
                  <a:lnTo>
                    <a:pt x="680" y="1170"/>
                  </a:lnTo>
                  <a:lnTo>
                    <a:pt x="680" y="1170"/>
                  </a:lnTo>
                  <a:lnTo>
                    <a:pt x="680" y="1173"/>
                  </a:lnTo>
                  <a:lnTo>
                    <a:pt x="680" y="1173"/>
                  </a:lnTo>
                  <a:lnTo>
                    <a:pt x="680" y="1173"/>
                  </a:lnTo>
                  <a:lnTo>
                    <a:pt x="680" y="1175"/>
                  </a:lnTo>
                  <a:lnTo>
                    <a:pt x="680" y="1175"/>
                  </a:lnTo>
                  <a:lnTo>
                    <a:pt x="680" y="1175"/>
                  </a:lnTo>
                  <a:lnTo>
                    <a:pt x="680" y="1175"/>
                  </a:lnTo>
                  <a:lnTo>
                    <a:pt x="683" y="1173"/>
                  </a:lnTo>
                  <a:lnTo>
                    <a:pt x="683" y="1173"/>
                  </a:lnTo>
                  <a:lnTo>
                    <a:pt x="683" y="1173"/>
                  </a:lnTo>
                  <a:lnTo>
                    <a:pt x="683" y="1170"/>
                  </a:lnTo>
                  <a:lnTo>
                    <a:pt x="683" y="1170"/>
                  </a:lnTo>
                  <a:lnTo>
                    <a:pt x="683" y="1170"/>
                  </a:lnTo>
                  <a:close/>
                  <a:moveTo>
                    <a:pt x="739" y="938"/>
                  </a:moveTo>
                  <a:lnTo>
                    <a:pt x="739" y="938"/>
                  </a:lnTo>
                  <a:lnTo>
                    <a:pt x="739" y="938"/>
                  </a:lnTo>
                  <a:lnTo>
                    <a:pt x="741" y="940"/>
                  </a:lnTo>
                  <a:lnTo>
                    <a:pt x="741" y="940"/>
                  </a:lnTo>
                  <a:lnTo>
                    <a:pt x="744" y="940"/>
                  </a:lnTo>
                  <a:lnTo>
                    <a:pt x="744" y="938"/>
                  </a:lnTo>
                  <a:lnTo>
                    <a:pt x="747" y="938"/>
                  </a:lnTo>
                  <a:lnTo>
                    <a:pt x="747" y="938"/>
                  </a:lnTo>
                  <a:lnTo>
                    <a:pt x="744" y="935"/>
                  </a:lnTo>
                  <a:lnTo>
                    <a:pt x="744" y="935"/>
                  </a:lnTo>
                  <a:lnTo>
                    <a:pt x="744" y="935"/>
                  </a:lnTo>
                  <a:lnTo>
                    <a:pt x="741" y="935"/>
                  </a:lnTo>
                  <a:lnTo>
                    <a:pt x="739" y="932"/>
                  </a:lnTo>
                  <a:lnTo>
                    <a:pt x="736" y="932"/>
                  </a:lnTo>
                  <a:lnTo>
                    <a:pt x="736" y="935"/>
                  </a:lnTo>
                  <a:lnTo>
                    <a:pt x="739" y="938"/>
                  </a:lnTo>
                  <a:close/>
                  <a:moveTo>
                    <a:pt x="669" y="1175"/>
                  </a:moveTo>
                  <a:lnTo>
                    <a:pt x="667" y="1175"/>
                  </a:lnTo>
                  <a:lnTo>
                    <a:pt x="667" y="1175"/>
                  </a:lnTo>
                  <a:lnTo>
                    <a:pt x="664" y="1173"/>
                  </a:lnTo>
                  <a:lnTo>
                    <a:pt x="664" y="1173"/>
                  </a:lnTo>
                  <a:lnTo>
                    <a:pt x="664" y="1175"/>
                  </a:lnTo>
                  <a:lnTo>
                    <a:pt x="664" y="1175"/>
                  </a:lnTo>
                  <a:lnTo>
                    <a:pt x="664" y="1175"/>
                  </a:lnTo>
                  <a:lnTo>
                    <a:pt x="664" y="1175"/>
                  </a:lnTo>
                  <a:lnTo>
                    <a:pt x="664" y="1178"/>
                  </a:lnTo>
                  <a:lnTo>
                    <a:pt x="664" y="1178"/>
                  </a:lnTo>
                  <a:lnTo>
                    <a:pt x="664" y="1178"/>
                  </a:lnTo>
                  <a:lnTo>
                    <a:pt x="667" y="1178"/>
                  </a:lnTo>
                  <a:lnTo>
                    <a:pt x="667" y="1178"/>
                  </a:lnTo>
                  <a:lnTo>
                    <a:pt x="669" y="1175"/>
                  </a:lnTo>
                  <a:close/>
                  <a:moveTo>
                    <a:pt x="664" y="1183"/>
                  </a:moveTo>
                  <a:lnTo>
                    <a:pt x="661" y="1183"/>
                  </a:lnTo>
                  <a:lnTo>
                    <a:pt x="661" y="1183"/>
                  </a:lnTo>
                  <a:lnTo>
                    <a:pt x="661" y="1183"/>
                  </a:lnTo>
                  <a:lnTo>
                    <a:pt x="661" y="1181"/>
                  </a:lnTo>
                  <a:lnTo>
                    <a:pt x="659" y="1181"/>
                  </a:lnTo>
                  <a:lnTo>
                    <a:pt x="659" y="1181"/>
                  </a:lnTo>
                  <a:lnTo>
                    <a:pt x="659" y="1183"/>
                  </a:lnTo>
                  <a:lnTo>
                    <a:pt x="659" y="1183"/>
                  </a:lnTo>
                  <a:lnTo>
                    <a:pt x="659" y="1183"/>
                  </a:lnTo>
                  <a:lnTo>
                    <a:pt x="659" y="1183"/>
                  </a:lnTo>
                  <a:lnTo>
                    <a:pt x="659" y="1186"/>
                  </a:lnTo>
                  <a:lnTo>
                    <a:pt x="661" y="1186"/>
                  </a:lnTo>
                  <a:lnTo>
                    <a:pt x="664" y="1186"/>
                  </a:lnTo>
                  <a:lnTo>
                    <a:pt x="664" y="1186"/>
                  </a:lnTo>
                  <a:lnTo>
                    <a:pt x="664" y="1186"/>
                  </a:lnTo>
                  <a:lnTo>
                    <a:pt x="664" y="1186"/>
                  </a:lnTo>
                  <a:lnTo>
                    <a:pt x="664" y="1183"/>
                  </a:lnTo>
                  <a:lnTo>
                    <a:pt x="664" y="1183"/>
                  </a:lnTo>
                  <a:close/>
                  <a:moveTo>
                    <a:pt x="723" y="892"/>
                  </a:moveTo>
                  <a:lnTo>
                    <a:pt x="723" y="892"/>
                  </a:lnTo>
                  <a:lnTo>
                    <a:pt x="725" y="892"/>
                  </a:lnTo>
                  <a:lnTo>
                    <a:pt x="725" y="892"/>
                  </a:lnTo>
                  <a:lnTo>
                    <a:pt x="725" y="895"/>
                  </a:lnTo>
                  <a:lnTo>
                    <a:pt x="728" y="895"/>
                  </a:lnTo>
                  <a:lnTo>
                    <a:pt x="728" y="895"/>
                  </a:lnTo>
                  <a:lnTo>
                    <a:pt x="725" y="895"/>
                  </a:lnTo>
                  <a:lnTo>
                    <a:pt x="725" y="898"/>
                  </a:lnTo>
                  <a:lnTo>
                    <a:pt x="725" y="898"/>
                  </a:lnTo>
                  <a:lnTo>
                    <a:pt x="728" y="895"/>
                  </a:lnTo>
                  <a:lnTo>
                    <a:pt x="728" y="895"/>
                  </a:lnTo>
                  <a:lnTo>
                    <a:pt x="728" y="895"/>
                  </a:lnTo>
                  <a:lnTo>
                    <a:pt x="731" y="895"/>
                  </a:lnTo>
                  <a:lnTo>
                    <a:pt x="731" y="895"/>
                  </a:lnTo>
                  <a:lnTo>
                    <a:pt x="731" y="892"/>
                  </a:lnTo>
                  <a:lnTo>
                    <a:pt x="731" y="892"/>
                  </a:lnTo>
                  <a:lnTo>
                    <a:pt x="731" y="892"/>
                  </a:lnTo>
                  <a:lnTo>
                    <a:pt x="733" y="892"/>
                  </a:lnTo>
                  <a:lnTo>
                    <a:pt x="733" y="892"/>
                  </a:lnTo>
                  <a:lnTo>
                    <a:pt x="733" y="890"/>
                  </a:lnTo>
                  <a:lnTo>
                    <a:pt x="733" y="890"/>
                  </a:lnTo>
                  <a:lnTo>
                    <a:pt x="733" y="890"/>
                  </a:lnTo>
                  <a:lnTo>
                    <a:pt x="733" y="890"/>
                  </a:lnTo>
                  <a:lnTo>
                    <a:pt x="733" y="890"/>
                  </a:lnTo>
                  <a:lnTo>
                    <a:pt x="733" y="890"/>
                  </a:lnTo>
                  <a:lnTo>
                    <a:pt x="728" y="890"/>
                  </a:lnTo>
                  <a:lnTo>
                    <a:pt x="728" y="890"/>
                  </a:lnTo>
                  <a:lnTo>
                    <a:pt x="725" y="890"/>
                  </a:lnTo>
                  <a:lnTo>
                    <a:pt x="725" y="890"/>
                  </a:lnTo>
                  <a:lnTo>
                    <a:pt x="725" y="890"/>
                  </a:lnTo>
                  <a:lnTo>
                    <a:pt x="725" y="890"/>
                  </a:lnTo>
                  <a:lnTo>
                    <a:pt x="723" y="890"/>
                  </a:lnTo>
                  <a:lnTo>
                    <a:pt x="723" y="890"/>
                  </a:lnTo>
                  <a:lnTo>
                    <a:pt x="723" y="890"/>
                  </a:lnTo>
                  <a:lnTo>
                    <a:pt x="723" y="892"/>
                  </a:lnTo>
                  <a:lnTo>
                    <a:pt x="723" y="892"/>
                  </a:lnTo>
                  <a:lnTo>
                    <a:pt x="723" y="892"/>
                  </a:lnTo>
                  <a:close/>
                  <a:moveTo>
                    <a:pt x="640" y="1183"/>
                  </a:moveTo>
                  <a:lnTo>
                    <a:pt x="640" y="1183"/>
                  </a:lnTo>
                  <a:lnTo>
                    <a:pt x="640" y="1183"/>
                  </a:lnTo>
                  <a:lnTo>
                    <a:pt x="640" y="1183"/>
                  </a:lnTo>
                  <a:lnTo>
                    <a:pt x="640" y="1183"/>
                  </a:lnTo>
                  <a:lnTo>
                    <a:pt x="637" y="1183"/>
                  </a:lnTo>
                  <a:lnTo>
                    <a:pt x="637" y="1183"/>
                  </a:lnTo>
                  <a:lnTo>
                    <a:pt x="637" y="1183"/>
                  </a:lnTo>
                  <a:lnTo>
                    <a:pt x="637" y="1183"/>
                  </a:lnTo>
                  <a:lnTo>
                    <a:pt x="635" y="1183"/>
                  </a:lnTo>
                  <a:lnTo>
                    <a:pt x="635" y="1183"/>
                  </a:lnTo>
                  <a:lnTo>
                    <a:pt x="635" y="1183"/>
                  </a:lnTo>
                  <a:lnTo>
                    <a:pt x="635" y="1183"/>
                  </a:lnTo>
                  <a:lnTo>
                    <a:pt x="635" y="1183"/>
                  </a:lnTo>
                  <a:lnTo>
                    <a:pt x="635" y="1183"/>
                  </a:lnTo>
                  <a:lnTo>
                    <a:pt x="629" y="1186"/>
                  </a:lnTo>
                  <a:lnTo>
                    <a:pt x="629" y="1189"/>
                  </a:lnTo>
                  <a:lnTo>
                    <a:pt x="629" y="1191"/>
                  </a:lnTo>
                  <a:lnTo>
                    <a:pt x="629" y="1191"/>
                  </a:lnTo>
                  <a:lnTo>
                    <a:pt x="629" y="1191"/>
                  </a:lnTo>
                  <a:lnTo>
                    <a:pt x="629" y="1191"/>
                  </a:lnTo>
                  <a:lnTo>
                    <a:pt x="632" y="1191"/>
                  </a:lnTo>
                  <a:lnTo>
                    <a:pt x="632" y="1191"/>
                  </a:lnTo>
                  <a:lnTo>
                    <a:pt x="632" y="1189"/>
                  </a:lnTo>
                  <a:lnTo>
                    <a:pt x="635" y="1189"/>
                  </a:lnTo>
                  <a:lnTo>
                    <a:pt x="637" y="1189"/>
                  </a:lnTo>
                  <a:lnTo>
                    <a:pt x="637" y="1191"/>
                  </a:lnTo>
                  <a:lnTo>
                    <a:pt x="637" y="1189"/>
                  </a:lnTo>
                  <a:lnTo>
                    <a:pt x="640" y="1189"/>
                  </a:lnTo>
                  <a:lnTo>
                    <a:pt x="640" y="1186"/>
                  </a:lnTo>
                  <a:lnTo>
                    <a:pt x="643" y="1186"/>
                  </a:lnTo>
                  <a:lnTo>
                    <a:pt x="643" y="1186"/>
                  </a:lnTo>
                  <a:lnTo>
                    <a:pt x="643" y="1186"/>
                  </a:lnTo>
                  <a:lnTo>
                    <a:pt x="643" y="1186"/>
                  </a:lnTo>
                  <a:lnTo>
                    <a:pt x="640" y="1183"/>
                  </a:lnTo>
                  <a:close/>
                  <a:moveTo>
                    <a:pt x="760" y="1162"/>
                  </a:moveTo>
                  <a:lnTo>
                    <a:pt x="760" y="1162"/>
                  </a:lnTo>
                  <a:lnTo>
                    <a:pt x="760" y="1162"/>
                  </a:lnTo>
                  <a:lnTo>
                    <a:pt x="760" y="1162"/>
                  </a:lnTo>
                  <a:lnTo>
                    <a:pt x="760" y="1162"/>
                  </a:lnTo>
                  <a:lnTo>
                    <a:pt x="763" y="1159"/>
                  </a:lnTo>
                  <a:lnTo>
                    <a:pt x="763" y="1157"/>
                  </a:lnTo>
                  <a:lnTo>
                    <a:pt x="765" y="1157"/>
                  </a:lnTo>
                  <a:lnTo>
                    <a:pt x="765" y="1154"/>
                  </a:lnTo>
                  <a:lnTo>
                    <a:pt x="763" y="1154"/>
                  </a:lnTo>
                  <a:lnTo>
                    <a:pt x="760" y="1154"/>
                  </a:lnTo>
                  <a:lnTo>
                    <a:pt x="760" y="1154"/>
                  </a:lnTo>
                  <a:lnTo>
                    <a:pt x="757" y="1154"/>
                  </a:lnTo>
                  <a:lnTo>
                    <a:pt x="757" y="1151"/>
                  </a:lnTo>
                  <a:lnTo>
                    <a:pt x="757" y="1151"/>
                  </a:lnTo>
                  <a:lnTo>
                    <a:pt x="755" y="1151"/>
                  </a:lnTo>
                  <a:lnTo>
                    <a:pt x="755" y="1151"/>
                  </a:lnTo>
                  <a:lnTo>
                    <a:pt x="752" y="1151"/>
                  </a:lnTo>
                  <a:lnTo>
                    <a:pt x="752" y="1151"/>
                  </a:lnTo>
                  <a:lnTo>
                    <a:pt x="749" y="1151"/>
                  </a:lnTo>
                  <a:lnTo>
                    <a:pt x="747" y="1151"/>
                  </a:lnTo>
                  <a:lnTo>
                    <a:pt x="747" y="1151"/>
                  </a:lnTo>
                  <a:lnTo>
                    <a:pt x="744" y="1154"/>
                  </a:lnTo>
                  <a:lnTo>
                    <a:pt x="741" y="1154"/>
                  </a:lnTo>
                  <a:lnTo>
                    <a:pt x="741" y="1154"/>
                  </a:lnTo>
                  <a:lnTo>
                    <a:pt x="741" y="1154"/>
                  </a:lnTo>
                  <a:lnTo>
                    <a:pt x="739" y="1157"/>
                  </a:lnTo>
                  <a:lnTo>
                    <a:pt x="739" y="1157"/>
                  </a:lnTo>
                  <a:lnTo>
                    <a:pt x="739" y="1157"/>
                  </a:lnTo>
                  <a:lnTo>
                    <a:pt x="739" y="1159"/>
                  </a:lnTo>
                  <a:lnTo>
                    <a:pt x="739" y="1159"/>
                  </a:lnTo>
                  <a:lnTo>
                    <a:pt x="739" y="1159"/>
                  </a:lnTo>
                  <a:lnTo>
                    <a:pt x="739" y="1162"/>
                  </a:lnTo>
                  <a:lnTo>
                    <a:pt x="739" y="1162"/>
                  </a:lnTo>
                  <a:lnTo>
                    <a:pt x="736" y="1162"/>
                  </a:lnTo>
                  <a:lnTo>
                    <a:pt x="736" y="1162"/>
                  </a:lnTo>
                  <a:lnTo>
                    <a:pt x="739" y="1162"/>
                  </a:lnTo>
                  <a:lnTo>
                    <a:pt x="739" y="1162"/>
                  </a:lnTo>
                  <a:lnTo>
                    <a:pt x="739" y="1165"/>
                  </a:lnTo>
                  <a:lnTo>
                    <a:pt x="739" y="1165"/>
                  </a:lnTo>
                  <a:lnTo>
                    <a:pt x="739" y="1165"/>
                  </a:lnTo>
                  <a:lnTo>
                    <a:pt x="739" y="1165"/>
                  </a:lnTo>
                  <a:lnTo>
                    <a:pt x="739" y="1165"/>
                  </a:lnTo>
                  <a:lnTo>
                    <a:pt x="739" y="1167"/>
                  </a:lnTo>
                  <a:lnTo>
                    <a:pt x="739" y="1167"/>
                  </a:lnTo>
                  <a:lnTo>
                    <a:pt x="736" y="1167"/>
                  </a:lnTo>
                  <a:lnTo>
                    <a:pt x="736" y="1167"/>
                  </a:lnTo>
                  <a:lnTo>
                    <a:pt x="736" y="1167"/>
                  </a:lnTo>
                  <a:lnTo>
                    <a:pt x="736" y="1167"/>
                  </a:lnTo>
                  <a:lnTo>
                    <a:pt x="736" y="1165"/>
                  </a:lnTo>
                  <a:lnTo>
                    <a:pt x="736" y="1165"/>
                  </a:lnTo>
                  <a:lnTo>
                    <a:pt x="733" y="1165"/>
                  </a:lnTo>
                  <a:lnTo>
                    <a:pt x="733" y="1165"/>
                  </a:lnTo>
                  <a:lnTo>
                    <a:pt x="733" y="1165"/>
                  </a:lnTo>
                  <a:lnTo>
                    <a:pt x="733" y="1167"/>
                  </a:lnTo>
                  <a:lnTo>
                    <a:pt x="731" y="1167"/>
                  </a:lnTo>
                  <a:lnTo>
                    <a:pt x="731" y="1167"/>
                  </a:lnTo>
                  <a:lnTo>
                    <a:pt x="731" y="1167"/>
                  </a:lnTo>
                  <a:lnTo>
                    <a:pt x="731" y="1165"/>
                  </a:lnTo>
                  <a:lnTo>
                    <a:pt x="728" y="1165"/>
                  </a:lnTo>
                  <a:lnTo>
                    <a:pt x="728" y="1165"/>
                  </a:lnTo>
                  <a:lnTo>
                    <a:pt x="728" y="1165"/>
                  </a:lnTo>
                  <a:lnTo>
                    <a:pt x="728" y="1165"/>
                  </a:lnTo>
                  <a:lnTo>
                    <a:pt x="725" y="1167"/>
                  </a:lnTo>
                  <a:lnTo>
                    <a:pt x="725" y="1167"/>
                  </a:lnTo>
                  <a:lnTo>
                    <a:pt x="723" y="1167"/>
                  </a:lnTo>
                  <a:lnTo>
                    <a:pt x="723" y="1170"/>
                  </a:lnTo>
                  <a:lnTo>
                    <a:pt x="720" y="1170"/>
                  </a:lnTo>
                  <a:lnTo>
                    <a:pt x="720" y="1170"/>
                  </a:lnTo>
                  <a:lnTo>
                    <a:pt x="720" y="1173"/>
                  </a:lnTo>
                  <a:lnTo>
                    <a:pt x="720" y="1173"/>
                  </a:lnTo>
                  <a:lnTo>
                    <a:pt x="720" y="1175"/>
                  </a:lnTo>
                  <a:lnTo>
                    <a:pt x="720" y="1175"/>
                  </a:lnTo>
                  <a:lnTo>
                    <a:pt x="717" y="1178"/>
                  </a:lnTo>
                  <a:lnTo>
                    <a:pt x="717" y="1181"/>
                  </a:lnTo>
                  <a:lnTo>
                    <a:pt x="715" y="1178"/>
                  </a:lnTo>
                  <a:lnTo>
                    <a:pt x="715" y="1181"/>
                  </a:lnTo>
                  <a:lnTo>
                    <a:pt x="715" y="1183"/>
                  </a:lnTo>
                  <a:lnTo>
                    <a:pt x="715" y="1183"/>
                  </a:lnTo>
                  <a:lnTo>
                    <a:pt x="712" y="1183"/>
                  </a:lnTo>
                  <a:lnTo>
                    <a:pt x="712" y="1183"/>
                  </a:lnTo>
                  <a:lnTo>
                    <a:pt x="712" y="1183"/>
                  </a:lnTo>
                  <a:lnTo>
                    <a:pt x="709" y="1183"/>
                  </a:lnTo>
                  <a:lnTo>
                    <a:pt x="709" y="1183"/>
                  </a:lnTo>
                  <a:lnTo>
                    <a:pt x="709" y="1186"/>
                  </a:lnTo>
                  <a:lnTo>
                    <a:pt x="709" y="1186"/>
                  </a:lnTo>
                  <a:lnTo>
                    <a:pt x="707" y="1189"/>
                  </a:lnTo>
                  <a:lnTo>
                    <a:pt x="704" y="1186"/>
                  </a:lnTo>
                  <a:lnTo>
                    <a:pt x="704" y="1189"/>
                  </a:lnTo>
                  <a:lnTo>
                    <a:pt x="704" y="1189"/>
                  </a:lnTo>
                  <a:lnTo>
                    <a:pt x="704" y="1189"/>
                  </a:lnTo>
                  <a:lnTo>
                    <a:pt x="704" y="1189"/>
                  </a:lnTo>
                  <a:lnTo>
                    <a:pt x="704" y="1189"/>
                  </a:lnTo>
                  <a:lnTo>
                    <a:pt x="704" y="1189"/>
                  </a:lnTo>
                  <a:lnTo>
                    <a:pt x="704" y="1189"/>
                  </a:lnTo>
                  <a:lnTo>
                    <a:pt x="701" y="1189"/>
                  </a:lnTo>
                  <a:lnTo>
                    <a:pt x="707" y="1189"/>
                  </a:lnTo>
                  <a:lnTo>
                    <a:pt x="707" y="1189"/>
                  </a:lnTo>
                  <a:lnTo>
                    <a:pt x="707" y="1189"/>
                  </a:lnTo>
                  <a:lnTo>
                    <a:pt x="707" y="1189"/>
                  </a:lnTo>
                  <a:lnTo>
                    <a:pt x="707" y="1189"/>
                  </a:lnTo>
                  <a:lnTo>
                    <a:pt x="709" y="1186"/>
                  </a:lnTo>
                  <a:lnTo>
                    <a:pt x="712" y="1186"/>
                  </a:lnTo>
                  <a:lnTo>
                    <a:pt x="712" y="1186"/>
                  </a:lnTo>
                  <a:lnTo>
                    <a:pt x="715" y="1186"/>
                  </a:lnTo>
                  <a:lnTo>
                    <a:pt x="715" y="1186"/>
                  </a:lnTo>
                  <a:lnTo>
                    <a:pt x="715" y="1186"/>
                  </a:lnTo>
                  <a:lnTo>
                    <a:pt x="715" y="1186"/>
                  </a:lnTo>
                  <a:lnTo>
                    <a:pt x="717" y="1186"/>
                  </a:lnTo>
                  <a:lnTo>
                    <a:pt x="717" y="1186"/>
                  </a:lnTo>
                  <a:lnTo>
                    <a:pt x="717" y="1186"/>
                  </a:lnTo>
                  <a:lnTo>
                    <a:pt x="717" y="1186"/>
                  </a:lnTo>
                  <a:lnTo>
                    <a:pt x="717" y="1186"/>
                  </a:lnTo>
                  <a:lnTo>
                    <a:pt x="717" y="1186"/>
                  </a:lnTo>
                  <a:lnTo>
                    <a:pt x="717" y="1183"/>
                  </a:lnTo>
                  <a:lnTo>
                    <a:pt x="717" y="1183"/>
                  </a:lnTo>
                  <a:lnTo>
                    <a:pt x="720" y="1183"/>
                  </a:lnTo>
                  <a:lnTo>
                    <a:pt x="723" y="1183"/>
                  </a:lnTo>
                  <a:lnTo>
                    <a:pt x="723" y="1183"/>
                  </a:lnTo>
                  <a:lnTo>
                    <a:pt x="723" y="1183"/>
                  </a:lnTo>
                  <a:lnTo>
                    <a:pt x="723" y="1183"/>
                  </a:lnTo>
                  <a:lnTo>
                    <a:pt x="725" y="1183"/>
                  </a:lnTo>
                  <a:lnTo>
                    <a:pt x="725" y="1181"/>
                  </a:lnTo>
                  <a:lnTo>
                    <a:pt x="725" y="1181"/>
                  </a:lnTo>
                  <a:lnTo>
                    <a:pt x="728" y="1181"/>
                  </a:lnTo>
                  <a:lnTo>
                    <a:pt x="731" y="1181"/>
                  </a:lnTo>
                  <a:lnTo>
                    <a:pt x="731" y="1181"/>
                  </a:lnTo>
                  <a:lnTo>
                    <a:pt x="731" y="1181"/>
                  </a:lnTo>
                  <a:lnTo>
                    <a:pt x="733" y="1178"/>
                  </a:lnTo>
                  <a:lnTo>
                    <a:pt x="733" y="1178"/>
                  </a:lnTo>
                  <a:lnTo>
                    <a:pt x="736" y="1175"/>
                  </a:lnTo>
                  <a:lnTo>
                    <a:pt x="736" y="1175"/>
                  </a:lnTo>
                  <a:lnTo>
                    <a:pt x="736" y="1173"/>
                  </a:lnTo>
                  <a:lnTo>
                    <a:pt x="739" y="1175"/>
                  </a:lnTo>
                  <a:lnTo>
                    <a:pt x="739" y="1173"/>
                  </a:lnTo>
                  <a:lnTo>
                    <a:pt x="739" y="1173"/>
                  </a:lnTo>
                  <a:lnTo>
                    <a:pt x="739" y="1173"/>
                  </a:lnTo>
                  <a:lnTo>
                    <a:pt x="739" y="1173"/>
                  </a:lnTo>
                  <a:lnTo>
                    <a:pt x="739" y="1170"/>
                  </a:lnTo>
                  <a:lnTo>
                    <a:pt x="741" y="1170"/>
                  </a:lnTo>
                  <a:lnTo>
                    <a:pt x="741" y="1170"/>
                  </a:lnTo>
                  <a:lnTo>
                    <a:pt x="741" y="1170"/>
                  </a:lnTo>
                  <a:lnTo>
                    <a:pt x="744" y="1170"/>
                  </a:lnTo>
                  <a:lnTo>
                    <a:pt x="744" y="1170"/>
                  </a:lnTo>
                  <a:lnTo>
                    <a:pt x="747" y="1170"/>
                  </a:lnTo>
                  <a:lnTo>
                    <a:pt x="747" y="1167"/>
                  </a:lnTo>
                  <a:lnTo>
                    <a:pt x="755" y="1165"/>
                  </a:lnTo>
                  <a:lnTo>
                    <a:pt x="755" y="1165"/>
                  </a:lnTo>
                  <a:lnTo>
                    <a:pt x="757" y="1165"/>
                  </a:lnTo>
                  <a:lnTo>
                    <a:pt x="760" y="1165"/>
                  </a:lnTo>
                  <a:lnTo>
                    <a:pt x="760" y="1165"/>
                  </a:lnTo>
                  <a:lnTo>
                    <a:pt x="760" y="1162"/>
                  </a:lnTo>
                  <a:close/>
                  <a:moveTo>
                    <a:pt x="731" y="1183"/>
                  </a:moveTo>
                  <a:lnTo>
                    <a:pt x="731" y="1183"/>
                  </a:lnTo>
                  <a:lnTo>
                    <a:pt x="731" y="1183"/>
                  </a:lnTo>
                  <a:lnTo>
                    <a:pt x="731" y="1186"/>
                  </a:lnTo>
                  <a:lnTo>
                    <a:pt x="731" y="1186"/>
                  </a:lnTo>
                  <a:lnTo>
                    <a:pt x="731" y="1186"/>
                  </a:lnTo>
                  <a:lnTo>
                    <a:pt x="731" y="1186"/>
                  </a:lnTo>
                  <a:lnTo>
                    <a:pt x="731" y="1186"/>
                  </a:lnTo>
                  <a:lnTo>
                    <a:pt x="731" y="1186"/>
                  </a:lnTo>
                  <a:lnTo>
                    <a:pt x="731" y="1186"/>
                  </a:lnTo>
                  <a:lnTo>
                    <a:pt x="731" y="1183"/>
                  </a:lnTo>
                  <a:lnTo>
                    <a:pt x="731" y="1183"/>
                  </a:lnTo>
                  <a:close/>
                  <a:moveTo>
                    <a:pt x="704" y="665"/>
                  </a:moveTo>
                  <a:lnTo>
                    <a:pt x="704" y="665"/>
                  </a:lnTo>
                  <a:lnTo>
                    <a:pt x="707" y="665"/>
                  </a:lnTo>
                  <a:lnTo>
                    <a:pt x="707" y="665"/>
                  </a:lnTo>
                  <a:lnTo>
                    <a:pt x="709" y="662"/>
                  </a:lnTo>
                  <a:lnTo>
                    <a:pt x="709" y="665"/>
                  </a:lnTo>
                  <a:lnTo>
                    <a:pt x="712" y="665"/>
                  </a:lnTo>
                  <a:lnTo>
                    <a:pt x="712" y="665"/>
                  </a:lnTo>
                  <a:lnTo>
                    <a:pt x="715" y="668"/>
                  </a:lnTo>
                  <a:lnTo>
                    <a:pt x="715" y="668"/>
                  </a:lnTo>
                  <a:lnTo>
                    <a:pt x="715" y="668"/>
                  </a:lnTo>
                  <a:lnTo>
                    <a:pt x="715" y="668"/>
                  </a:lnTo>
                  <a:lnTo>
                    <a:pt x="717" y="668"/>
                  </a:lnTo>
                  <a:lnTo>
                    <a:pt x="717" y="668"/>
                  </a:lnTo>
                  <a:lnTo>
                    <a:pt x="715" y="665"/>
                  </a:lnTo>
                  <a:lnTo>
                    <a:pt x="715" y="665"/>
                  </a:lnTo>
                  <a:lnTo>
                    <a:pt x="712" y="662"/>
                  </a:lnTo>
                  <a:lnTo>
                    <a:pt x="712" y="660"/>
                  </a:lnTo>
                  <a:lnTo>
                    <a:pt x="709" y="660"/>
                  </a:lnTo>
                  <a:lnTo>
                    <a:pt x="707" y="660"/>
                  </a:lnTo>
                  <a:lnTo>
                    <a:pt x="701" y="652"/>
                  </a:lnTo>
                  <a:lnTo>
                    <a:pt x="699" y="649"/>
                  </a:lnTo>
                  <a:lnTo>
                    <a:pt x="699" y="649"/>
                  </a:lnTo>
                  <a:lnTo>
                    <a:pt x="699" y="649"/>
                  </a:lnTo>
                  <a:lnTo>
                    <a:pt x="699" y="646"/>
                  </a:lnTo>
                  <a:lnTo>
                    <a:pt x="699" y="644"/>
                  </a:lnTo>
                  <a:lnTo>
                    <a:pt x="699" y="644"/>
                  </a:lnTo>
                  <a:lnTo>
                    <a:pt x="699" y="644"/>
                  </a:lnTo>
                  <a:lnTo>
                    <a:pt x="699" y="644"/>
                  </a:lnTo>
                  <a:lnTo>
                    <a:pt x="696" y="644"/>
                  </a:lnTo>
                  <a:lnTo>
                    <a:pt x="696" y="644"/>
                  </a:lnTo>
                  <a:lnTo>
                    <a:pt x="696" y="644"/>
                  </a:lnTo>
                  <a:lnTo>
                    <a:pt x="696" y="644"/>
                  </a:lnTo>
                  <a:lnTo>
                    <a:pt x="693" y="644"/>
                  </a:lnTo>
                  <a:lnTo>
                    <a:pt x="693" y="644"/>
                  </a:lnTo>
                  <a:lnTo>
                    <a:pt x="693" y="646"/>
                  </a:lnTo>
                  <a:lnTo>
                    <a:pt x="693" y="646"/>
                  </a:lnTo>
                  <a:lnTo>
                    <a:pt x="693" y="646"/>
                  </a:lnTo>
                  <a:lnTo>
                    <a:pt x="693" y="646"/>
                  </a:lnTo>
                  <a:lnTo>
                    <a:pt x="693" y="646"/>
                  </a:lnTo>
                  <a:lnTo>
                    <a:pt x="693" y="649"/>
                  </a:lnTo>
                  <a:lnTo>
                    <a:pt x="693" y="649"/>
                  </a:lnTo>
                  <a:lnTo>
                    <a:pt x="693" y="649"/>
                  </a:lnTo>
                  <a:lnTo>
                    <a:pt x="693" y="649"/>
                  </a:lnTo>
                  <a:lnTo>
                    <a:pt x="699" y="657"/>
                  </a:lnTo>
                  <a:lnTo>
                    <a:pt x="701" y="657"/>
                  </a:lnTo>
                  <a:lnTo>
                    <a:pt x="701" y="657"/>
                  </a:lnTo>
                  <a:lnTo>
                    <a:pt x="701" y="660"/>
                  </a:lnTo>
                  <a:lnTo>
                    <a:pt x="701" y="660"/>
                  </a:lnTo>
                  <a:lnTo>
                    <a:pt x="701" y="660"/>
                  </a:lnTo>
                  <a:lnTo>
                    <a:pt x="701" y="660"/>
                  </a:lnTo>
                  <a:lnTo>
                    <a:pt x="701" y="662"/>
                  </a:lnTo>
                  <a:lnTo>
                    <a:pt x="704" y="662"/>
                  </a:lnTo>
                  <a:lnTo>
                    <a:pt x="704" y="665"/>
                  </a:lnTo>
                  <a:close/>
                  <a:moveTo>
                    <a:pt x="699" y="1191"/>
                  </a:moveTo>
                  <a:lnTo>
                    <a:pt x="696" y="1191"/>
                  </a:lnTo>
                  <a:lnTo>
                    <a:pt x="696" y="1191"/>
                  </a:lnTo>
                  <a:lnTo>
                    <a:pt x="696" y="1191"/>
                  </a:lnTo>
                  <a:lnTo>
                    <a:pt x="696" y="1191"/>
                  </a:lnTo>
                  <a:lnTo>
                    <a:pt x="696" y="1191"/>
                  </a:lnTo>
                  <a:lnTo>
                    <a:pt x="699" y="1191"/>
                  </a:lnTo>
                  <a:lnTo>
                    <a:pt x="699" y="1191"/>
                  </a:lnTo>
                  <a:lnTo>
                    <a:pt x="699" y="1191"/>
                  </a:lnTo>
                  <a:lnTo>
                    <a:pt x="699" y="1191"/>
                  </a:lnTo>
                  <a:lnTo>
                    <a:pt x="699" y="1191"/>
                  </a:lnTo>
                  <a:lnTo>
                    <a:pt x="699" y="1191"/>
                  </a:lnTo>
                  <a:lnTo>
                    <a:pt x="699" y="1191"/>
                  </a:lnTo>
                  <a:close/>
                  <a:moveTo>
                    <a:pt x="419" y="1173"/>
                  </a:moveTo>
                  <a:lnTo>
                    <a:pt x="419" y="1170"/>
                  </a:lnTo>
                  <a:lnTo>
                    <a:pt x="419" y="1170"/>
                  </a:lnTo>
                  <a:lnTo>
                    <a:pt x="419" y="1170"/>
                  </a:lnTo>
                  <a:lnTo>
                    <a:pt x="419" y="1170"/>
                  </a:lnTo>
                  <a:lnTo>
                    <a:pt x="419" y="1170"/>
                  </a:lnTo>
                  <a:lnTo>
                    <a:pt x="416" y="1170"/>
                  </a:lnTo>
                  <a:lnTo>
                    <a:pt x="416" y="1170"/>
                  </a:lnTo>
                  <a:lnTo>
                    <a:pt x="416" y="1170"/>
                  </a:lnTo>
                  <a:lnTo>
                    <a:pt x="416" y="1170"/>
                  </a:lnTo>
                  <a:lnTo>
                    <a:pt x="416" y="1170"/>
                  </a:lnTo>
                  <a:lnTo>
                    <a:pt x="419" y="1170"/>
                  </a:lnTo>
                  <a:lnTo>
                    <a:pt x="419" y="1170"/>
                  </a:lnTo>
                  <a:lnTo>
                    <a:pt x="419" y="1170"/>
                  </a:lnTo>
                  <a:lnTo>
                    <a:pt x="419" y="1173"/>
                  </a:lnTo>
                  <a:lnTo>
                    <a:pt x="419" y="1173"/>
                  </a:lnTo>
                  <a:lnTo>
                    <a:pt x="419" y="1173"/>
                  </a:lnTo>
                  <a:lnTo>
                    <a:pt x="419" y="1173"/>
                  </a:lnTo>
                  <a:lnTo>
                    <a:pt x="419" y="1173"/>
                  </a:lnTo>
                  <a:lnTo>
                    <a:pt x="419" y="1173"/>
                  </a:lnTo>
                  <a:close/>
                  <a:moveTo>
                    <a:pt x="408" y="1165"/>
                  </a:moveTo>
                  <a:lnTo>
                    <a:pt x="408" y="1165"/>
                  </a:lnTo>
                  <a:lnTo>
                    <a:pt x="408" y="1165"/>
                  </a:lnTo>
                  <a:lnTo>
                    <a:pt x="405" y="1165"/>
                  </a:lnTo>
                  <a:lnTo>
                    <a:pt x="405" y="1165"/>
                  </a:lnTo>
                  <a:lnTo>
                    <a:pt x="405" y="1165"/>
                  </a:lnTo>
                  <a:lnTo>
                    <a:pt x="405" y="1165"/>
                  </a:lnTo>
                  <a:lnTo>
                    <a:pt x="405" y="1165"/>
                  </a:lnTo>
                  <a:lnTo>
                    <a:pt x="408" y="1165"/>
                  </a:lnTo>
                  <a:close/>
                  <a:moveTo>
                    <a:pt x="424" y="1170"/>
                  </a:moveTo>
                  <a:lnTo>
                    <a:pt x="421" y="1170"/>
                  </a:lnTo>
                  <a:lnTo>
                    <a:pt x="421" y="1170"/>
                  </a:lnTo>
                  <a:lnTo>
                    <a:pt x="421" y="1170"/>
                  </a:lnTo>
                  <a:lnTo>
                    <a:pt x="421" y="1173"/>
                  </a:lnTo>
                  <a:lnTo>
                    <a:pt x="421" y="1173"/>
                  </a:lnTo>
                  <a:lnTo>
                    <a:pt x="421" y="1173"/>
                  </a:lnTo>
                  <a:lnTo>
                    <a:pt x="421" y="1170"/>
                  </a:lnTo>
                  <a:lnTo>
                    <a:pt x="424" y="1170"/>
                  </a:lnTo>
                  <a:lnTo>
                    <a:pt x="424" y="1170"/>
                  </a:lnTo>
                  <a:lnTo>
                    <a:pt x="424" y="1170"/>
                  </a:lnTo>
                  <a:lnTo>
                    <a:pt x="424" y="1170"/>
                  </a:lnTo>
                  <a:lnTo>
                    <a:pt x="424" y="1170"/>
                  </a:lnTo>
                  <a:close/>
                  <a:moveTo>
                    <a:pt x="435" y="1173"/>
                  </a:moveTo>
                  <a:lnTo>
                    <a:pt x="435" y="1173"/>
                  </a:lnTo>
                  <a:lnTo>
                    <a:pt x="432" y="1173"/>
                  </a:lnTo>
                  <a:lnTo>
                    <a:pt x="435" y="1173"/>
                  </a:lnTo>
                  <a:lnTo>
                    <a:pt x="435" y="1173"/>
                  </a:lnTo>
                  <a:lnTo>
                    <a:pt x="435" y="1173"/>
                  </a:lnTo>
                  <a:lnTo>
                    <a:pt x="435" y="1173"/>
                  </a:lnTo>
                  <a:close/>
                  <a:moveTo>
                    <a:pt x="413" y="1162"/>
                  </a:moveTo>
                  <a:lnTo>
                    <a:pt x="413" y="1162"/>
                  </a:lnTo>
                  <a:lnTo>
                    <a:pt x="413" y="1162"/>
                  </a:lnTo>
                  <a:lnTo>
                    <a:pt x="413" y="1162"/>
                  </a:lnTo>
                  <a:lnTo>
                    <a:pt x="413" y="1159"/>
                  </a:lnTo>
                  <a:lnTo>
                    <a:pt x="413" y="1159"/>
                  </a:lnTo>
                  <a:lnTo>
                    <a:pt x="413" y="1157"/>
                  </a:lnTo>
                  <a:lnTo>
                    <a:pt x="411" y="1157"/>
                  </a:lnTo>
                  <a:lnTo>
                    <a:pt x="411" y="1157"/>
                  </a:lnTo>
                  <a:lnTo>
                    <a:pt x="408" y="1154"/>
                  </a:lnTo>
                  <a:lnTo>
                    <a:pt x="408" y="1157"/>
                  </a:lnTo>
                  <a:lnTo>
                    <a:pt x="408" y="1157"/>
                  </a:lnTo>
                  <a:lnTo>
                    <a:pt x="405" y="1157"/>
                  </a:lnTo>
                  <a:lnTo>
                    <a:pt x="405" y="1157"/>
                  </a:lnTo>
                  <a:lnTo>
                    <a:pt x="405" y="1159"/>
                  </a:lnTo>
                  <a:lnTo>
                    <a:pt x="405" y="1159"/>
                  </a:lnTo>
                  <a:lnTo>
                    <a:pt x="405" y="1162"/>
                  </a:lnTo>
                  <a:lnTo>
                    <a:pt x="405" y="1162"/>
                  </a:lnTo>
                  <a:lnTo>
                    <a:pt x="405" y="1162"/>
                  </a:lnTo>
                  <a:lnTo>
                    <a:pt x="405" y="1162"/>
                  </a:lnTo>
                  <a:lnTo>
                    <a:pt x="408" y="1162"/>
                  </a:lnTo>
                  <a:lnTo>
                    <a:pt x="408" y="1165"/>
                  </a:lnTo>
                  <a:lnTo>
                    <a:pt x="408" y="1165"/>
                  </a:lnTo>
                  <a:lnTo>
                    <a:pt x="411" y="1165"/>
                  </a:lnTo>
                  <a:lnTo>
                    <a:pt x="411" y="1165"/>
                  </a:lnTo>
                  <a:lnTo>
                    <a:pt x="411" y="1165"/>
                  </a:lnTo>
                  <a:lnTo>
                    <a:pt x="411" y="1165"/>
                  </a:lnTo>
                  <a:lnTo>
                    <a:pt x="411" y="1165"/>
                  </a:lnTo>
                  <a:lnTo>
                    <a:pt x="411" y="1165"/>
                  </a:lnTo>
                  <a:lnTo>
                    <a:pt x="411" y="1162"/>
                  </a:lnTo>
                  <a:lnTo>
                    <a:pt x="413" y="1162"/>
                  </a:lnTo>
                  <a:lnTo>
                    <a:pt x="413" y="1162"/>
                  </a:lnTo>
                  <a:close/>
                  <a:moveTo>
                    <a:pt x="419" y="1167"/>
                  </a:moveTo>
                  <a:lnTo>
                    <a:pt x="419" y="1167"/>
                  </a:lnTo>
                  <a:lnTo>
                    <a:pt x="419" y="1167"/>
                  </a:lnTo>
                  <a:lnTo>
                    <a:pt x="419" y="1167"/>
                  </a:lnTo>
                  <a:lnTo>
                    <a:pt x="416" y="1167"/>
                  </a:lnTo>
                  <a:lnTo>
                    <a:pt x="416" y="1165"/>
                  </a:lnTo>
                  <a:lnTo>
                    <a:pt x="416" y="1167"/>
                  </a:lnTo>
                  <a:lnTo>
                    <a:pt x="416" y="1167"/>
                  </a:lnTo>
                  <a:lnTo>
                    <a:pt x="416" y="1167"/>
                  </a:lnTo>
                  <a:lnTo>
                    <a:pt x="416" y="1167"/>
                  </a:lnTo>
                  <a:lnTo>
                    <a:pt x="416" y="1167"/>
                  </a:lnTo>
                  <a:lnTo>
                    <a:pt x="416" y="1165"/>
                  </a:lnTo>
                  <a:lnTo>
                    <a:pt x="413" y="1165"/>
                  </a:lnTo>
                  <a:lnTo>
                    <a:pt x="413" y="1167"/>
                  </a:lnTo>
                  <a:lnTo>
                    <a:pt x="416" y="1167"/>
                  </a:lnTo>
                  <a:lnTo>
                    <a:pt x="416" y="1167"/>
                  </a:lnTo>
                  <a:lnTo>
                    <a:pt x="419" y="1167"/>
                  </a:lnTo>
                  <a:close/>
                  <a:moveTo>
                    <a:pt x="563" y="1186"/>
                  </a:moveTo>
                  <a:lnTo>
                    <a:pt x="563" y="1183"/>
                  </a:lnTo>
                  <a:lnTo>
                    <a:pt x="563" y="1183"/>
                  </a:lnTo>
                  <a:lnTo>
                    <a:pt x="563" y="1183"/>
                  </a:lnTo>
                  <a:lnTo>
                    <a:pt x="563" y="1183"/>
                  </a:lnTo>
                  <a:lnTo>
                    <a:pt x="560" y="1183"/>
                  </a:lnTo>
                  <a:lnTo>
                    <a:pt x="557" y="1183"/>
                  </a:lnTo>
                  <a:lnTo>
                    <a:pt x="555" y="1186"/>
                  </a:lnTo>
                  <a:lnTo>
                    <a:pt x="555" y="1186"/>
                  </a:lnTo>
                  <a:lnTo>
                    <a:pt x="552" y="1189"/>
                  </a:lnTo>
                  <a:lnTo>
                    <a:pt x="555" y="1191"/>
                  </a:lnTo>
                  <a:lnTo>
                    <a:pt x="555" y="1191"/>
                  </a:lnTo>
                  <a:lnTo>
                    <a:pt x="557" y="1191"/>
                  </a:lnTo>
                  <a:lnTo>
                    <a:pt x="560" y="1189"/>
                  </a:lnTo>
                  <a:lnTo>
                    <a:pt x="560" y="1191"/>
                  </a:lnTo>
                  <a:lnTo>
                    <a:pt x="560" y="1191"/>
                  </a:lnTo>
                  <a:lnTo>
                    <a:pt x="563" y="1191"/>
                  </a:lnTo>
                  <a:lnTo>
                    <a:pt x="565" y="1189"/>
                  </a:lnTo>
                  <a:lnTo>
                    <a:pt x="565" y="1189"/>
                  </a:lnTo>
                  <a:lnTo>
                    <a:pt x="565" y="1189"/>
                  </a:lnTo>
                  <a:lnTo>
                    <a:pt x="565" y="1186"/>
                  </a:lnTo>
                  <a:lnTo>
                    <a:pt x="563" y="1186"/>
                  </a:lnTo>
                  <a:close/>
                  <a:moveTo>
                    <a:pt x="611" y="1189"/>
                  </a:moveTo>
                  <a:lnTo>
                    <a:pt x="611" y="1189"/>
                  </a:lnTo>
                  <a:lnTo>
                    <a:pt x="608" y="1189"/>
                  </a:lnTo>
                  <a:lnTo>
                    <a:pt x="608" y="1191"/>
                  </a:lnTo>
                  <a:lnTo>
                    <a:pt x="611" y="1191"/>
                  </a:lnTo>
                  <a:lnTo>
                    <a:pt x="611" y="1191"/>
                  </a:lnTo>
                  <a:lnTo>
                    <a:pt x="613" y="1191"/>
                  </a:lnTo>
                  <a:lnTo>
                    <a:pt x="613" y="1191"/>
                  </a:lnTo>
                  <a:lnTo>
                    <a:pt x="613" y="1191"/>
                  </a:lnTo>
                  <a:lnTo>
                    <a:pt x="613" y="1189"/>
                  </a:lnTo>
                  <a:lnTo>
                    <a:pt x="613" y="1189"/>
                  </a:lnTo>
                  <a:lnTo>
                    <a:pt x="611" y="1189"/>
                  </a:lnTo>
                  <a:close/>
                  <a:moveTo>
                    <a:pt x="616" y="1186"/>
                  </a:moveTo>
                  <a:lnTo>
                    <a:pt x="616" y="1186"/>
                  </a:lnTo>
                  <a:lnTo>
                    <a:pt x="616" y="1186"/>
                  </a:lnTo>
                  <a:lnTo>
                    <a:pt x="616" y="1186"/>
                  </a:lnTo>
                  <a:lnTo>
                    <a:pt x="616" y="1186"/>
                  </a:lnTo>
                  <a:lnTo>
                    <a:pt x="616" y="1186"/>
                  </a:lnTo>
                  <a:lnTo>
                    <a:pt x="619" y="1186"/>
                  </a:lnTo>
                  <a:lnTo>
                    <a:pt x="619" y="1186"/>
                  </a:lnTo>
                  <a:lnTo>
                    <a:pt x="619" y="1186"/>
                  </a:lnTo>
                  <a:lnTo>
                    <a:pt x="619" y="1186"/>
                  </a:lnTo>
                  <a:lnTo>
                    <a:pt x="616" y="1186"/>
                  </a:lnTo>
                  <a:lnTo>
                    <a:pt x="616" y="1186"/>
                  </a:lnTo>
                  <a:close/>
                  <a:moveTo>
                    <a:pt x="435" y="1159"/>
                  </a:moveTo>
                  <a:lnTo>
                    <a:pt x="435" y="1159"/>
                  </a:lnTo>
                  <a:lnTo>
                    <a:pt x="435" y="1159"/>
                  </a:lnTo>
                  <a:lnTo>
                    <a:pt x="435" y="1159"/>
                  </a:lnTo>
                  <a:lnTo>
                    <a:pt x="435" y="1159"/>
                  </a:lnTo>
                  <a:lnTo>
                    <a:pt x="435" y="1159"/>
                  </a:lnTo>
                  <a:lnTo>
                    <a:pt x="435" y="1159"/>
                  </a:lnTo>
                  <a:lnTo>
                    <a:pt x="435" y="1159"/>
                  </a:lnTo>
                  <a:lnTo>
                    <a:pt x="435" y="1159"/>
                  </a:lnTo>
                  <a:lnTo>
                    <a:pt x="437" y="1159"/>
                  </a:lnTo>
                  <a:lnTo>
                    <a:pt x="435" y="1159"/>
                  </a:lnTo>
                  <a:lnTo>
                    <a:pt x="435" y="1159"/>
                  </a:lnTo>
                  <a:close/>
                  <a:moveTo>
                    <a:pt x="531" y="1194"/>
                  </a:moveTo>
                  <a:lnTo>
                    <a:pt x="528" y="1194"/>
                  </a:lnTo>
                  <a:lnTo>
                    <a:pt x="528" y="1194"/>
                  </a:lnTo>
                  <a:lnTo>
                    <a:pt x="528" y="1194"/>
                  </a:lnTo>
                  <a:lnTo>
                    <a:pt x="528" y="1194"/>
                  </a:lnTo>
                  <a:lnTo>
                    <a:pt x="525" y="1194"/>
                  </a:lnTo>
                  <a:lnTo>
                    <a:pt x="525" y="1194"/>
                  </a:lnTo>
                  <a:lnTo>
                    <a:pt x="525" y="1194"/>
                  </a:lnTo>
                  <a:lnTo>
                    <a:pt x="525" y="1194"/>
                  </a:lnTo>
                  <a:lnTo>
                    <a:pt x="525" y="1194"/>
                  </a:lnTo>
                  <a:lnTo>
                    <a:pt x="525" y="1191"/>
                  </a:lnTo>
                  <a:lnTo>
                    <a:pt x="525" y="1191"/>
                  </a:lnTo>
                  <a:lnTo>
                    <a:pt x="525" y="1191"/>
                  </a:lnTo>
                  <a:lnTo>
                    <a:pt x="523" y="1191"/>
                  </a:lnTo>
                  <a:lnTo>
                    <a:pt x="523" y="1191"/>
                  </a:lnTo>
                  <a:lnTo>
                    <a:pt x="520" y="1191"/>
                  </a:lnTo>
                  <a:lnTo>
                    <a:pt x="520" y="1191"/>
                  </a:lnTo>
                  <a:lnTo>
                    <a:pt x="520" y="1191"/>
                  </a:lnTo>
                  <a:lnTo>
                    <a:pt x="520" y="1191"/>
                  </a:lnTo>
                  <a:lnTo>
                    <a:pt x="517" y="1191"/>
                  </a:lnTo>
                  <a:lnTo>
                    <a:pt x="517" y="1191"/>
                  </a:lnTo>
                  <a:lnTo>
                    <a:pt x="517" y="1191"/>
                  </a:lnTo>
                  <a:lnTo>
                    <a:pt x="517" y="1189"/>
                  </a:lnTo>
                  <a:lnTo>
                    <a:pt x="517" y="1189"/>
                  </a:lnTo>
                  <a:lnTo>
                    <a:pt x="517" y="1189"/>
                  </a:lnTo>
                  <a:lnTo>
                    <a:pt x="517" y="1189"/>
                  </a:lnTo>
                  <a:lnTo>
                    <a:pt x="515" y="1189"/>
                  </a:lnTo>
                  <a:lnTo>
                    <a:pt x="515" y="1189"/>
                  </a:lnTo>
                  <a:lnTo>
                    <a:pt x="512" y="1189"/>
                  </a:lnTo>
                  <a:lnTo>
                    <a:pt x="512" y="1189"/>
                  </a:lnTo>
                  <a:lnTo>
                    <a:pt x="515" y="1186"/>
                  </a:lnTo>
                  <a:lnTo>
                    <a:pt x="512" y="1186"/>
                  </a:lnTo>
                  <a:lnTo>
                    <a:pt x="512" y="1186"/>
                  </a:lnTo>
                  <a:lnTo>
                    <a:pt x="512" y="1186"/>
                  </a:lnTo>
                  <a:lnTo>
                    <a:pt x="509" y="1186"/>
                  </a:lnTo>
                  <a:lnTo>
                    <a:pt x="509" y="1186"/>
                  </a:lnTo>
                  <a:lnTo>
                    <a:pt x="509" y="1186"/>
                  </a:lnTo>
                  <a:lnTo>
                    <a:pt x="509" y="1183"/>
                  </a:lnTo>
                  <a:lnTo>
                    <a:pt x="509" y="1183"/>
                  </a:lnTo>
                  <a:lnTo>
                    <a:pt x="507" y="1186"/>
                  </a:lnTo>
                  <a:lnTo>
                    <a:pt x="507" y="1186"/>
                  </a:lnTo>
                  <a:lnTo>
                    <a:pt x="504" y="1186"/>
                  </a:lnTo>
                  <a:lnTo>
                    <a:pt x="504" y="1186"/>
                  </a:lnTo>
                  <a:lnTo>
                    <a:pt x="501" y="1186"/>
                  </a:lnTo>
                  <a:lnTo>
                    <a:pt x="501" y="1186"/>
                  </a:lnTo>
                  <a:lnTo>
                    <a:pt x="501" y="1183"/>
                  </a:lnTo>
                  <a:lnTo>
                    <a:pt x="501" y="1183"/>
                  </a:lnTo>
                  <a:lnTo>
                    <a:pt x="501" y="1183"/>
                  </a:lnTo>
                  <a:lnTo>
                    <a:pt x="499" y="1183"/>
                  </a:lnTo>
                  <a:lnTo>
                    <a:pt x="499" y="1183"/>
                  </a:lnTo>
                  <a:lnTo>
                    <a:pt x="499" y="1183"/>
                  </a:lnTo>
                  <a:lnTo>
                    <a:pt x="499" y="1183"/>
                  </a:lnTo>
                  <a:lnTo>
                    <a:pt x="499" y="1183"/>
                  </a:lnTo>
                  <a:lnTo>
                    <a:pt x="499" y="1183"/>
                  </a:lnTo>
                  <a:lnTo>
                    <a:pt x="496" y="1183"/>
                  </a:lnTo>
                  <a:lnTo>
                    <a:pt x="496" y="1183"/>
                  </a:lnTo>
                  <a:lnTo>
                    <a:pt x="493" y="1181"/>
                  </a:lnTo>
                  <a:lnTo>
                    <a:pt x="493" y="1181"/>
                  </a:lnTo>
                  <a:lnTo>
                    <a:pt x="493" y="1181"/>
                  </a:lnTo>
                  <a:lnTo>
                    <a:pt x="493" y="1181"/>
                  </a:lnTo>
                  <a:lnTo>
                    <a:pt x="493" y="1181"/>
                  </a:lnTo>
                  <a:lnTo>
                    <a:pt x="493" y="1181"/>
                  </a:lnTo>
                  <a:lnTo>
                    <a:pt x="493" y="1181"/>
                  </a:lnTo>
                  <a:lnTo>
                    <a:pt x="493" y="1181"/>
                  </a:lnTo>
                  <a:lnTo>
                    <a:pt x="493" y="1181"/>
                  </a:lnTo>
                  <a:lnTo>
                    <a:pt x="493" y="1183"/>
                  </a:lnTo>
                  <a:lnTo>
                    <a:pt x="493" y="1183"/>
                  </a:lnTo>
                  <a:lnTo>
                    <a:pt x="493" y="1183"/>
                  </a:lnTo>
                  <a:lnTo>
                    <a:pt x="493" y="1183"/>
                  </a:lnTo>
                  <a:lnTo>
                    <a:pt x="493" y="1183"/>
                  </a:lnTo>
                  <a:lnTo>
                    <a:pt x="496" y="1183"/>
                  </a:lnTo>
                  <a:lnTo>
                    <a:pt x="496" y="1183"/>
                  </a:lnTo>
                  <a:lnTo>
                    <a:pt x="496" y="1186"/>
                  </a:lnTo>
                  <a:lnTo>
                    <a:pt x="496" y="1186"/>
                  </a:lnTo>
                  <a:lnTo>
                    <a:pt x="496" y="1186"/>
                  </a:lnTo>
                  <a:lnTo>
                    <a:pt x="496" y="1186"/>
                  </a:lnTo>
                  <a:lnTo>
                    <a:pt x="496" y="1186"/>
                  </a:lnTo>
                  <a:lnTo>
                    <a:pt x="499" y="1189"/>
                  </a:lnTo>
                  <a:lnTo>
                    <a:pt x="499" y="1189"/>
                  </a:lnTo>
                  <a:lnTo>
                    <a:pt x="504" y="1191"/>
                  </a:lnTo>
                  <a:lnTo>
                    <a:pt x="504" y="1189"/>
                  </a:lnTo>
                  <a:lnTo>
                    <a:pt x="507" y="1189"/>
                  </a:lnTo>
                  <a:lnTo>
                    <a:pt x="507" y="1189"/>
                  </a:lnTo>
                  <a:lnTo>
                    <a:pt x="507" y="1191"/>
                  </a:lnTo>
                  <a:lnTo>
                    <a:pt x="507" y="1191"/>
                  </a:lnTo>
                  <a:lnTo>
                    <a:pt x="509" y="1191"/>
                  </a:lnTo>
                  <a:lnTo>
                    <a:pt x="509" y="1191"/>
                  </a:lnTo>
                  <a:lnTo>
                    <a:pt x="509" y="1194"/>
                  </a:lnTo>
                  <a:lnTo>
                    <a:pt x="509" y="1194"/>
                  </a:lnTo>
                  <a:lnTo>
                    <a:pt x="509" y="1194"/>
                  </a:lnTo>
                  <a:lnTo>
                    <a:pt x="512" y="1194"/>
                  </a:lnTo>
                  <a:lnTo>
                    <a:pt x="512" y="1194"/>
                  </a:lnTo>
                  <a:lnTo>
                    <a:pt x="512" y="1194"/>
                  </a:lnTo>
                  <a:lnTo>
                    <a:pt x="512" y="1194"/>
                  </a:lnTo>
                  <a:lnTo>
                    <a:pt x="512" y="1194"/>
                  </a:lnTo>
                  <a:lnTo>
                    <a:pt x="512" y="1194"/>
                  </a:lnTo>
                  <a:lnTo>
                    <a:pt x="515" y="1194"/>
                  </a:lnTo>
                  <a:lnTo>
                    <a:pt x="515" y="1194"/>
                  </a:lnTo>
                  <a:lnTo>
                    <a:pt x="515" y="1194"/>
                  </a:lnTo>
                  <a:lnTo>
                    <a:pt x="517" y="1194"/>
                  </a:lnTo>
                  <a:lnTo>
                    <a:pt x="517" y="1194"/>
                  </a:lnTo>
                  <a:lnTo>
                    <a:pt x="520" y="1194"/>
                  </a:lnTo>
                  <a:lnTo>
                    <a:pt x="523" y="1194"/>
                  </a:lnTo>
                  <a:lnTo>
                    <a:pt x="523" y="1194"/>
                  </a:lnTo>
                  <a:lnTo>
                    <a:pt x="523" y="1194"/>
                  </a:lnTo>
                  <a:lnTo>
                    <a:pt x="523" y="1194"/>
                  </a:lnTo>
                  <a:lnTo>
                    <a:pt x="523" y="1194"/>
                  </a:lnTo>
                  <a:lnTo>
                    <a:pt x="525" y="1194"/>
                  </a:lnTo>
                  <a:lnTo>
                    <a:pt x="525" y="1194"/>
                  </a:lnTo>
                  <a:lnTo>
                    <a:pt x="525" y="1197"/>
                  </a:lnTo>
                  <a:lnTo>
                    <a:pt x="525" y="1197"/>
                  </a:lnTo>
                  <a:lnTo>
                    <a:pt x="528" y="1197"/>
                  </a:lnTo>
                  <a:lnTo>
                    <a:pt x="531" y="1197"/>
                  </a:lnTo>
                  <a:lnTo>
                    <a:pt x="531" y="1197"/>
                  </a:lnTo>
                  <a:lnTo>
                    <a:pt x="533" y="1197"/>
                  </a:lnTo>
                  <a:lnTo>
                    <a:pt x="533" y="1197"/>
                  </a:lnTo>
                  <a:lnTo>
                    <a:pt x="536" y="1197"/>
                  </a:lnTo>
                  <a:lnTo>
                    <a:pt x="536" y="1197"/>
                  </a:lnTo>
                  <a:lnTo>
                    <a:pt x="531" y="1194"/>
                  </a:lnTo>
                  <a:lnTo>
                    <a:pt x="531" y="1194"/>
                  </a:lnTo>
                  <a:close/>
                  <a:moveTo>
                    <a:pt x="491" y="1178"/>
                  </a:moveTo>
                  <a:lnTo>
                    <a:pt x="488" y="1178"/>
                  </a:lnTo>
                  <a:lnTo>
                    <a:pt x="488" y="1175"/>
                  </a:lnTo>
                  <a:lnTo>
                    <a:pt x="488" y="1175"/>
                  </a:lnTo>
                  <a:lnTo>
                    <a:pt x="488" y="1173"/>
                  </a:lnTo>
                  <a:lnTo>
                    <a:pt x="491" y="1173"/>
                  </a:lnTo>
                  <a:lnTo>
                    <a:pt x="493" y="1175"/>
                  </a:lnTo>
                  <a:lnTo>
                    <a:pt x="496" y="1173"/>
                  </a:lnTo>
                  <a:lnTo>
                    <a:pt x="496" y="1173"/>
                  </a:lnTo>
                  <a:lnTo>
                    <a:pt x="496" y="1173"/>
                  </a:lnTo>
                  <a:lnTo>
                    <a:pt x="496" y="1173"/>
                  </a:lnTo>
                  <a:lnTo>
                    <a:pt x="496" y="1173"/>
                  </a:lnTo>
                  <a:lnTo>
                    <a:pt x="496" y="1173"/>
                  </a:lnTo>
                  <a:lnTo>
                    <a:pt x="496" y="1173"/>
                  </a:lnTo>
                  <a:lnTo>
                    <a:pt x="499" y="1173"/>
                  </a:lnTo>
                  <a:lnTo>
                    <a:pt x="499" y="1170"/>
                  </a:lnTo>
                  <a:lnTo>
                    <a:pt x="499" y="1170"/>
                  </a:lnTo>
                  <a:lnTo>
                    <a:pt x="499" y="1170"/>
                  </a:lnTo>
                  <a:lnTo>
                    <a:pt x="499" y="1167"/>
                  </a:lnTo>
                  <a:lnTo>
                    <a:pt x="499" y="1167"/>
                  </a:lnTo>
                  <a:lnTo>
                    <a:pt x="499" y="1167"/>
                  </a:lnTo>
                  <a:lnTo>
                    <a:pt x="496" y="1165"/>
                  </a:lnTo>
                  <a:lnTo>
                    <a:pt x="496" y="1165"/>
                  </a:lnTo>
                  <a:lnTo>
                    <a:pt x="496" y="1162"/>
                  </a:lnTo>
                  <a:lnTo>
                    <a:pt x="496" y="1165"/>
                  </a:lnTo>
                  <a:lnTo>
                    <a:pt x="496" y="1162"/>
                  </a:lnTo>
                  <a:lnTo>
                    <a:pt x="493" y="1162"/>
                  </a:lnTo>
                  <a:lnTo>
                    <a:pt x="493" y="1162"/>
                  </a:lnTo>
                  <a:lnTo>
                    <a:pt x="493" y="1162"/>
                  </a:lnTo>
                  <a:lnTo>
                    <a:pt x="491" y="1162"/>
                  </a:lnTo>
                  <a:lnTo>
                    <a:pt x="488" y="1162"/>
                  </a:lnTo>
                  <a:lnTo>
                    <a:pt x="488" y="1162"/>
                  </a:lnTo>
                  <a:lnTo>
                    <a:pt x="488" y="1162"/>
                  </a:lnTo>
                  <a:lnTo>
                    <a:pt x="488" y="1162"/>
                  </a:lnTo>
                  <a:lnTo>
                    <a:pt x="485" y="1162"/>
                  </a:lnTo>
                  <a:lnTo>
                    <a:pt x="485" y="1162"/>
                  </a:lnTo>
                  <a:lnTo>
                    <a:pt x="485" y="1162"/>
                  </a:lnTo>
                  <a:lnTo>
                    <a:pt x="485" y="1165"/>
                  </a:lnTo>
                  <a:lnTo>
                    <a:pt x="483" y="1165"/>
                  </a:lnTo>
                  <a:lnTo>
                    <a:pt x="480" y="1165"/>
                  </a:lnTo>
                  <a:lnTo>
                    <a:pt x="480" y="1165"/>
                  </a:lnTo>
                  <a:lnTo>
                    <a:pt x="480" y="1165"/>
                  </a:lnTo>
                  <a:lnTo>
                    <a:pt x="483" y="1167"/>
                  </a:lnTo>
                  <a:lnTo>
                    <a:pt x="483" y="1167"/>
                  </a:lnTo>
                  <a:lnTo>
                    <a:pt x="483" y="1167"/>
                  </a:lnTo>
                  <a:lnTo>
                    <a:pt x="485" y="1165"/>
                  </a:lnTo>
                  <a:lnTo>
                    <a:pt x="485" y="1165"/>
                  </a:lnTo>
                  <a:lnTo>
                    <a:pt x="485" y="1167"/>
                  </a:lnTo>
                  <a:lnTo>
                    <a:pt x="485" y="1167"/>
                  </a:lnTo>
                  <a:lnTo>
                    <a:pt x="485" y="1167"/>
                  </a:lnTo>
                  <a:lnTo>
                    <a:pt x="485" y="1167"/>
                  </a:lnTo>
                  <a:lnTo>
                    <a:pt x="485" y="1170"/>
                  </a:lnTo>
                  <a:lnTo>
                    <a:pt x="488" y="1170"/>
                  </a:lnTo>
                  <a:lnTo>
                    <a:pt x="488" y="1170"/>
                  </a:lnTo>
                  <a:lnTo>
                    <a:pt x="488" y="1170"/>
                  </a:lnTo>
                  <a:lnTo>
                    <a:pt x="488" y="1173"/>
                  </a:lnTo>
                  <a:lnTo>
                    <a:pt x="485" y="1170"/>
                  </a:lnTo>
                  <a:lnTo>
                    <a:pt x="485" y="1173"/>
                  </a:lnTo>
                  <a:lnTo>
                    <a:pt x="485" y="1173"/>
                  </a:lnTo>
                  <a:lnTo>
                    <a:pt x="485" y="1173"/>
                  </a:lnTo>
                  <a:lnTo>
                    <a:pt x="485" y="1173"/>
                  </a:lnTo>
                  <a:lnTo>
                    <a:pt x="485" y="1173"/>
                  </a:lnTo>
                  <a:lnTo>
                    <a:pt x="483" y="1173"/>
                  </a:lnTo>
                  <a:lnTo>
                    <a:pt x="483" y="1173"/>
                  </a:lnTo>
                  <a:lnTo>
                    <a:pt x="483" y="1173"/>
                  </a:lnTo>
                  <a:lnTo>
                    <a:pt x="483" y="1173"/>
                  </a:lnTo>
                  <a:lnTo>
                    <a:pt x="480" y="1173"/>
                  </a:lnTo>
                  <a:lnTo>
                    <a:pt x="477" y="1170"/>
                  </a:lnTo>
                  <a:lnTo>
                    <a:pt x="477" y="1170"/>
                  </a:lnTo>
                  <a:lnTo>
                    <a:pt x="480" y="1173"/>
                  </a:lnTo>
                  <a:lnTo>
                    <a:pt x="480" y="1173"/>
                  </a:lnTo>
                  <a:lnTo>
                    <a:pt x="480" y="1173"/>
                  </a:lnTo>
                  <a:lnTo>
                    <a:pt x="480" y="1173"/>
                  </a:lnTo>
                  <a:lnTo>
                    <a:pt x="477" y="1173"/>
                  </a:lnTo>
                  <a:lnTo>
                    <a:pt x="477" y="1173"/>
                  </a:lnTo>
                  <a:lnTo>
                    <a:pt x="472" y="1173"/>
                  </a:lnTo>
                  <a:lnTo>
                    <a:pt x="475" y="1173"/>
                  </a:lnTo>
                  <a:lnTo>
                    <a:pt x="475" y="1173"/>
                  </a:lnTo>
                  <a:lnTo>
                    <a:pt x="475" y="1173"/>
                  </a:lnTo>
                  <a:lnTo>
                    <a:pt x="472" y="1173"/>
                  </a:lnTo>
                  <a:lnTo>
                    <a:pt x="475" y="1173"/>
                  </a:lnTo>
                  <a:lnTo>
                    <a:pt x="475" y="1173"/>
                  </a:lnTo>
                  <a:lnTo>
                    <a:pt x="475" y="1173"/>
                  </a:lnTo>
                  <a:lnTo>
                    <a:pt x="475" y="1175"/>
                  </a:lnTo>
                  <a:lnTo>
                    <a:pt x="475" y="1175"/>
                  </a:lnTo>
                  <a:lnTo>
                    <a:pt x="472" y="1175"/>
                  </a:lnTo>
                  <a:lnTo>
                    <a:pt x="472" y="1173"/>
                  </a:lnTo>
                  <a:lnTo>
                    <a:pt x="472" y="1175"/>
                  </a:lnTo>
                  <a:lnTo>
                    <a:pt x="469" y="1175"/>
                  </a:lnTo>
                  <a:lnTo>
                    <a:pt x="469" y="1175"/>
                  </a:lnTo>
                  <a:lnTo>
                    <a:pt x="472" y="1175"/>
                  </a:lnTo>
                  <a:lnTo>
                    <a:pt x="469" y="1175"/>
                  </a:lnTo>
                  <a:lnTo>
                    <a:pt x="469" y="1175"/>
                  </a:lnTo>
                  <a:lnTo>
                    <a:pt x="467" y="1175"/>
                  </a:lnTo>
                  <a:lnTo>
                    <a:pt x="467" y="1173"/>
                  </a:lnTo>
                  <a:lnTo>
                    <a:pt x="464" y="1173"/>
                  </a:lnTo>
                  <a:lnTo>
                    <a:pt x="464" y="1173"/>
                  </a:lnTo>
                  <a:lnTo>
                    <a:pt x="464" y="1175"/>
                  </a:lnTo>
                  <a:lnTo>
                    <a:pt x="461" y="1175"/>
                  </a:lnTo>
                  <a:lnTo>
                    <a:pt x="461" y="1175"/>
                  </a:lnTo>
                  <a:lnTo>
                    <a:pt x="461" y="1173"/>
                  </a:lnTo>
                  <a:lnTo>
                    <a:pt x="461" y="1173"/>
                  </a:lnTo>
                  <a:lnTo>
                    <a:pt x="461" y="1173"/>
                  </a:lnTo>
                  <a:lnTo>
                    <a:pt x="459" y="1173"/>
                  </a:lnTo>
                  <a:lnTo>
                    <a:pt x="459" y="1173"/>
                  </a:lnTo>
                  <a:lnTo>
                    <a:pt x="459" y="1173"/>
                  </a:lnTo>
                  <a:lnTo>
                    <a:pt x="459" y="1170"/>
                  </a:lnTo>
                  <a:lnTo>
                    <a:pt x="459" y="1173"/>
                  </a:lnTo>
                  <a:lnTo>
                    <a:pt x="456" y="1173"/>
                  </a:lnTo>
                  <a:lnTo>
                    <a:pt x="456" y="1173"/>
                  </a:lnTo>
                  <a:lnTo>
                    <a:pt x="456" y="1173"/>
                  </a:lnTo>
                  <a:lnTo>
                    <a:pt x="456" y="1173"/>
                  </a:lnTo>
                  <a:lnTo>
                    <a:pt x="453" y="1173"/>
                  </a:lnTo>
                  <a:lnTo>
                    <a:pt x="453" y="1173"/>
                  </a:lnTo>
                  <a:lnTo>
                    <a:pt x="453" y="1173"/>
                  </a:lnTo>
                  <a:lnTo>
                    <a:pt x="453" y="1173"/>
                  </a:lnTo>
                  <a:lnTo>
                    <a:pt x="453" y="1173"/>
                  </a:lnTo>
                  <a:lnTo>
                    <a:pt x="453" y="1173"/>
                  </a:lnTo>
                  <a:lnTo>
                    <a:pt x="453" y="1173"/>
                  </a:lnTo>
                  <a:lnTo>
                    <a:pt x="453" y="1173"/>
                  </a:lnTo>
                  <a:lnTo>
                    <a:pt x="453" y="1173"/>
                  </a:lnTo>
                  <a:lnTo>
                    <a:pt x="453" y="1173"/>
                  </a:lnTo>
                  <a:lnTo>
                    <a:pt x="453" y="1173"/>
                  </a:lnTo>
                  <a:lnTo>
                    <a:pt x="453" y="1175"/>
                  </a:lnTo>
                  <a:lnTo>
                    <a:pt x="451" y="1175"/>
                  </a:lnTo>
                  <a:lnTo>
                    <a:pt x="451" y="1175"/>
                  </a:lnTo>
                  <a:lnTo>
                    <a:pt x="451" y="1175"/>
                  </a:lnTo>
                  <a:lnTo>
                    <a:pt x="451" y="1173"/>
                  </a:lnTo>
                  <a:lnTo>
                    <a:pt x="451" y="1173"/>
                  </a:lnTo>
                  <a:lnTo>
                    <a:pt x="448" y="1173"/>
                  </a:lnTo>
                  <a:lnTo>
                    <a:pt x="448" y="1173"/>
                  </a:lnTo>
                  <a:lnTo>
                    <a:pt x="448" y="1173"/>
                  </a:lnTo>
                  <a:lnTo>
                    <a:pt x="448" y="1173"/>
                  </a:lnTo>
                  <a:lnTo>
                    <a:pt x="448" y="1173"/>
                  </a:lnTo>
                  <a:lnTo>
                    <a:pt x="448" y="1173"/>
                  </a:lnTo>
                  <a:lnTo>
                    <a:pt x="445" y="1173"/>
                  </a:lnTo>
                  <a:lnTo>
                    <a:pt x="445" y="1173"/>
                  </a:lnTo>
                  <a:lnTo>
                    <a:pt x="440" y="1173"/>
                  </a:lnTo>
                  <a:lnTo>
                    <a:pt x="440" y="1173"/>
                  </a:lnTo>
                  <a:lnTo>
                    <a:pt x="440" y="1173"/>
                  </a:lnTo>
                  <a:lnTo>
                    <a:pt x="451" y="1175"/>
                  </a:lnTo>
                  <a:lnTo>
                    <a:pt x="453" y="1175"/>
                  </a:lnTo>
                  <a:lnTo>
                    <a:pt x="453" y="1175"/>
                  </a:lnTo>
                  <a:lnTo>
                    <a:pt x="453" y="1175"/>
                  </a:lnTo>
                  <a:lnTo>
                    <a:pt x="456" y="1175"/>
                  </a:lnTo>
                  <a:lnTo>
                    <a:pt x="456" y="1175"/>
                  </a:lnTo>
                  <a:lnTo>
                    <a:pt x="456" y="1175"/>
                  </a:lnTo>
                  <a:lnTo>
                    <a:pt x="459" y="1175"/>
                  </a:lnTo>
                  <a:lnTo>
                    <a:pt x="461" y="1178"/>
                  </a:lnTo>
                  <a:lnTo>
                    <a:pt x="461" y="1178"/>
                  </a:lnTo>
                  <a:lnTo>
                    <a:pt x="461" y="1181"/>
                  </a:lnTo>
                  <a:lnTo>
                    <a:pt x="464" y="1181"/>
                  </a:lnTo>
                  <a:lnTo>
                    <a:pt x="464" y="1181"/>
                  </a:lnTo>
                  <a:lnTo>
                    <a:pt x="464" y="1178"/>
                  </a:lnTo>
                  <a:lnTo>
                    <a:pt x="464" y="1178"/>
                  </a:lnTo>
                  <a:lnTo>
                    <a:pt x="464" y="1178"/>
                  </a:lnTo>
                  <a:lnTo>
                    <a:pt x="464" y="1178"/>
                  </a:lnTo>
                  <a:lnTo>
                    <a:pt x="464" y="1178"/>
                  </a:lnTo>
                  <a:lnTo>
                    <a:pt x="464" y="1178"/>
                  </a:lnTo>
                  <a:lnTo>
                    <a:pt x="467" y="1181"/>
                  </a:lnTo>
                  <a:lnTo>
                    <a:pt x="467" y="1181"/>
                  </a:lnTo>
                  <a:lnTo>
                    <a:pt x="467" y="1181"/>
                  </a:lnTo>
                  <a:lnTo>
                    <a:pt x="469" y="1181"/>
                  </a:lnTo>
                  <a:lnTo>
                    <a:pt x="469" y="1181"/>
                  </a:lnTo>
                  <a:lnTo>
                    <a:pt x="469" y="1181"/>
                  </a:lnTo>
                  <a:lnTo>
                    <a:pt x="472" y="1181"/>
                  </a:lnTo>
                  <a:lnTo>
                    <a:pt x="472" y="1181"/>
                  </a:lnTo>
                  <a:lnTo>
                    <a:pt x="472" y="1181"/>
                  </a:lnTo>
                  <a:lnTo>
                    <a:pt x="472" y="1181"/>
                  </a:lnTo>
                  <a:lnTo>
                    <a:pt x="472" y="1181"/>
                  </a:lnTo>
                  <a:lnTo>
                    <a:pt x="472" y="1181"/>
                  </a:lnTo>
                  <a:lnTo>
                    <a:pt x="472" y="1178"/>
                  </a:lnTo>
                  <a:lnTo>
                    <a:pt x="472" y="1181"/>
                  </a:lnTo>
                  <a:lnTo>
                    <a:pt x="472" y="1181"/>
                  </a:lnTo>
                  <a:lnTo>
                    <a:pt x="472" y="1181"/>
                  </a:lnTo>
                  <a:lnTo>
                    <a:pt x="472" y="1181"/>
                  </a:lnTo>
                  <a:lnTo>
                    <a:pt x="472" y="1178"/>
                  </a:lnTo>
                  <a:lnTo>
                    <a:pt x="472" y="1178"/>
                  </a:lnTo>
                  <a:lnTo>
                    <a:pt x="472" y="1178"/>
                  </a:lnTo>
                  <a:lnTo>
                    <a:pt x="475" y="1178"/>
                  </a:lnTo>
                  <a:lnTo>
                    <a:pt x="475" y="1181"/>
                  </a:lnTo>
                  <a:lnTo>
                    <a:pt x="475" y="1178"/>
                  </a:lnTo>
                  <a:lnTo>
                    <a:pt x="475" y="1181"/>
                  </a:lnTo>
                  <a:lnTo>
                    <a:pt x="475" y="1181"/>
                  </a:lnTo>
                  <a:lnTo>
                    <a:pt x="475" y="1181"/>
                  </a:lnTo>
                  <a:lnTo>
                    <a:pt x="477" y="1183"/>
                  </a:lnTo>
                  <a:lnTo>
                    <a:pt x="477" y="1181"/>
                  </a:lnTo>
                  <a:lnTo>
                    <a:pt x="477" y="1178"/>
                  </a:lnTo>
                  <a:lnTo>
                    <a:pt x="480" y="1178"/>
                  </a:lnTo>
                  <a:lnTo>
                    <a:pt x="480" y="1178"/>
                  </a:lnTo>
                  <a:lnTo>
                    <a:pt x="477" y="1178"/>
                  </a:lnTo>
                  <a:lnTo>
                    <a:pt x="477" y="1178"/>
                  </a:lnTo>
                  <a:lnTo>
                    <a:pt x="477" y="1178"/>
                  </a:lnTo>
                  <a:lnTo>
                    <a:pt x="477" y="1178"/>
                  </a:lnTo>
                  <a:lnTo>
                    <a:pt x="477" y="1178"/>
                  </a:lnTo>
                  <a:lnTo>
                    <a:pt x="480" y="1178"/>
                  </a:lnTo>
                  <a:lnTo>
                    <a:pt x="480" y="1178"/>
                  </a:lnTo>
                  <a:lnTo>
                    <a:pt x="480" y="1178"/>
                  </a:lnTo>
                  <a:lnTo>
                    <a:pt x="483" y="1178"/>
                  </a:lnTo>
                  <a:lnTo>
                    <a:pt x="483" y="1178"/>
                  </a:lnTo>
                  <a:lnTo>
                    <a:pt x="483" y="1178"/>
                  </a:lnTo>
                  <a:lnTo>
                    <a:pt x="483" y="1181"/>
                  </a:lnTo>
                  <a:lnTo>
                    <a:pt x="483" y="1181"/>
                  </a:lnTo>
                  <a:lnTo>
                    <a:pt x="485" y="1181"/>
                  </a:lnTo>
                  <a:lnTo>
                    <a:pt x="485" y="1181"/>
                  </a:lnTo>
                  <a:lnTo>
                    <a:pt x="485" y="1181"/>
                  </a:lnTo>
                  <a:lnTo>
                    <a:pt x="485" y="1181"/>
                  </a:lnTo>
                  <a:lnTo>
                    <a:pt x="485" y="1181"/>
                  </a:lnTo>
                  <a:lnTo>
                    <a:pt x="485" y="1178"/>
                  </a:lnTo>
                  <a:lnTo>
                    <a:pt x="485" y="1181"/>
                  </a:lnTo>
                  <a:lnTo>
                    <a:pt x="488" y="1181"/>
                  </a:lnTo>
                  <a:lnTo>
                    <a:pt x="488" y="1181"/>
                  </a:lnTo>
                  <a:lnTo>
                    <a:pt x="488" y="1181"/>
                  </a:lnTo>
                  <a:lnTo>
                    <a:pt x="488" y="1181"/>
                  </a:lnTo>
                  <a:lnTo>
                    <a:pt x="488" y="1181"/>
                  </a:lnTo>
                  <a:lnTo>
                    <a:pt x="488" y="1181"/>
                  </a:lnTo>
                  <a:lnTo>
                    <a:pt x="491" y="1181"/>
                  </a:lnTo>
                  <a:lnTo>
                    <a:pt x="491" y="1181"/>
                  </a:lnTo>
                  <a:lnTo>
                    <a:pt x="491" y="1181"/>
                  </a:lnTo>
                  <a:lnTo>
                    <a:pt x="491" y="1181"/>
                  </a:lnTo>
                  <a:lnTo>
                    <a:pt x="491" y="1178"/>
                  </a:lnTo>
                  <a:close/>
                  <a:moveTo>
                    <a:pt x="934" y="342"/>
                  </a:moveTo>
                  <a:lnTo>
                    <a:pt x="936" y="342"/>
                  </a:lnTo>
                  <a:lnTo>
                    <a:pt x="936" y="342"/>
                  </a:lnTo>
                  <a:lnTo>
                    <a:pt x="936" y="342"/>
                  </a:lnTo>
                  <a:lnTo>
                    <a:pt x="936" y="342"/>
                  </a:lnTo>
                  <a:lnTo>
                    <a:pt x="936" y="342"/>
                  </a:lnTo>
                  <a:lnTo>
                    <a:pt x="939" y="342"/>
                  </a:lnTo>
                  <a:lnTo>
                    <a:pt x="939" y="342"/>
                  </a:lnTo>
                  <a:lnTo>
                    <a:pt x="939" y="339"/>
                  </a:lnTo>
                  <a:lnTo>
                    <a:pt x="936" y="342"/>
                  </a:lnTo>
                  <a:lnTo>
                    <a:pt x="936" y="342"/>
                  </a:lnTo>
                  <a:lnTo>
                    <a:pt x="936" y="342"/>
                  </a:lnTo>
                  <a:lnTo>
                    <a:pt x="934" y="342"/>
                  </a:lnTo>
                  <a:lnTo>
                    <a:pt x="934" y="342"/>
                  </a:lnTo>
                  <a:close/>
                  <a:moveTo>
                    <a:pt x="2134" y="895"/>
                  </a:moveTo>
                  <a:lnTo>
                    <a:pt x="2134" y="895"/>
                  </a:lnTo>
                  <a:lnTo>
                    <a:pt x="2134" y="895"/>
                  </a:lnTo>
                  <a:lnTo>
                    <a:pt x="2134" y="892"/>
                  </a:lnTo>
                  <a:lnTo>
                    <a:pt x="2132" y="890"/>
                  </a:lnTo>
                  <a:lnTo>
                    <a:pt x="2129" y="887"/>
                  </a:lnTo>
                  <a:lnTo>
                    <a:pt x="2129" y="887"/>
                  </a:lnTo>
                  <a:lnTo>
                    <a:pt x="2129" y="887"/>
                  </a:lnTo>
                  <a:lnTo>
                    <a:pt x="2126" y="884"/>
                  </a:lnTo>
                  <a:lnTo>
                    <a:pt x="2126" y="887"/>
                  </a:lnTo>
                  <a:lnTo>
                    <a:pt x="2126" y="887"/>
                  </a:lnTo>
                  <a:lnTo>
                    <a:pt x="2126" y="887"/>
                  </a:lnTo>
                  <a:lnTo>
                    <a:pt x="2124" y="887"/>
                  </a:lnTo>
                  <a:lnTo>
                    <a:pt x="2124" y="887"/>
                  </a:lnTo>
                  <a:lnTo>
                    <a:pt x="2121" y="887"/>
                  </a:lnTo>
                  <a:lnTo>
                    <a:pt x="2121" y="884"/>
                  </a:lnTo>
                  <a:lnTo>
                    <a:pt x="2118" y="884"/>
                  </a:lnTo>
                  <a:lnTo>
                    <a:pt x="2118" y="882"/>
                  </a:lnTo>
                  <a:lnTo>
                    <a:pt x="2118" y="882"/>
                  </a:lnTo>
                  <a:lnTo>
                    <a:pt x="2116" y="882"/>
                  </a:lnTo>
                  <a:lnTo>
                    <a:pt x="2113" y="882"/>
                  </a:lnTo>
                  <a:lnTo>
                    <a:pt x="2113" y="882"/>
                  </a:lnTo>
                  <a:lnTo>
                    <a:pt x="2113" y="882"/>
                  </a:lnTo>
                  <a:lnTo>
                    <a:pt x="2116" y="884"/>
                  </a:lnTo>
                  <a:lnTo>
                    <a:pt x="2116" y="884"/>
                  </a:lnTo>
                  <a:lnTo>
                    <a:pt x="2116" y="884"/>
                  </a:lnTo>
                  <a:lnTo>
                    <a:pt x="2116" y="887"/>
                  </a:lnTo>
                  <a:lnTo>
                    <a:pt x="2116" y="887"/>
                  </a:lnTo>
                  <a:lnTo>
                    <a:pt x="2116" y="887"/>
                  </a:lnTo>
                  <a:lnTo>
                    <a:pt x="2116" y="887"/>
                  </a:lnTo>
                  <a:lnTo>
                    <a:pt x="2116" y="890"/>
                  </a:lnTo>
                  <a:lnTo>
                    <a:pt x="2116" y="890"/>
                  </a:lnTo>
                  <a:lnTo>
                    <a:pt x="2118" y="890"/>
                  </a:lnTo>
                  <a:lnTo>
                    <a:pt x="2118" y="890"/>
                  </a:lnTo>
                  <a:lnTo>
                    <a:pt x="2118" y="895"/>
                  </a:lnTo>
                  <a:lnTo>
                    <a:pt x="2118" y="895"/>
                  </a:lnTo>
                  <a:lnTo>
                    <a:pt x="2121" y="898"/>
                  </a:lnTo>
                  <a:lnTo>
                    <a:pt x="2124" y="898"/>
                  </a:lnTo>
                  <a:lnTo>
                    <a:pt x="2124" y="898"/>
                  </a:lnTo>
                  <a:lnTo>
                    <a:pt x="2126" y="898"/>
                  </a:lnTo>
                  <a:lnTo>
                    <a:pt x="2126" y="898"/>
                  </a:lnTo>
                  <a:lnTo>
                    <a:pt x="2129" y="900"/>
                  </a:lnTo>
                  <a:lnTo>
                    <a:pt x="2129" y="900"/>
                  </a:lnTo>
                  <a:lnTo>
                    <a:pt x="2129" y="900"/>
                  </a:lnTo>
                  <a:lnTo>
                    <a:pt x="2129" y="898"/>
                  </a:lnTo>
                  <a:lnTo>
                    <a:pt x="2129" y="898"/>
                  </a:lnTo>
                  <a:lnTo>
                    <a:pt x="2132" y="900"/>
                  </a:lnTo>
                  <a:lnTo>
                    <a:pt x="2132" y="900"/>
                  </a:lnTo>
                  <a:lnTo>
                    <a:pt x="2132" y="900"/>
                  </a:lnTo>
                  <a:lnTo>
                    <a:pt x="2132" y="900"/>
                  </a:lnTo>
                  <a:lnTo>
                    <a:pt x="2134" y="900"/>
                  </a:lnTo>
                  <a:lnTo>
                    <a:pt x="2134" y="900"/>
                  </a:lnTo>
                  <a:lnTo>
                    <a:pt x="2134" y="898"/>
                  </a:lnTo>
                  <a:lnTo>
                    <a:pt x="2134" y="895"/>
                  </a:lnTo>
                  <a:lnTo>
                    <a:pt x="2134" y="895"/>
                  </a:lnTo>
                  <a:lnTo>
                    <a:pt x="2134" y="895"/>
                  </a:lnTo>
                  <a:close/>
                  <a:moveTo>
                    <a:pt x="1366" y="761"/>
                  </a:moveTo>
                  <a:lnTo>
                    <a:pt x="1366" y="761"/>
                  </a:lnTo>
                  <a:lnTo>
                    <a:pt x="1366" y="761"/>
                  </a:lnTo>
                  <a:lnTo>
                    <a:pt x="1366" y="761"/>
                  </a:lnTo>
                  <a:lnTo>
                    <a:pt x="1366" y="761"/>
                  </a:lnTo>
                  <a:lnTo>
                    <a:pt x="1363" y="761"/>
                  </a:lnTo>
                  <a:lnTo>
                    <a:pt x="1366" y="761"/>
                  </a:lnTo>
                  <a:lnTo>
                    <a:pt x="1366" y="761"/>
                  </a:lnTo>
                  <a:lnTo>
                    <a:pt x="1366" y="764"/>
                  </a:lnTo>
                  <a:lnTo>
                    <a:pt x="1366" y="764"/>
                  </a:lnTo>
                  <a:lnTo>
                    <a:pt x="1369" y="764"/>
                  </a:lnTo>
                  <a:lnTo>
                    <a:pt x="1366" y="764"/>
                  </a:lnTo>
                  <a:lnTo>
                    <a:pt x="1366" y="761"/>
                  </a:lnTo>
                  <a:lnTo>
                    <a:pt x="1366" y="761"/>
                  </a:lnTo>
                  <a:close/>
                  <a:moveTo>
                    <a:pt x="1336" y="812"/>
                  </a:moveTo>
                  <a:lnTo>
                    <a:pt x="1336" y="815"/>
                  </a:lnTo>
                  <a:lnTo>
                    <a:pt x="1336" y="815"/>
                  </a:lnTo>
                  <a:lnTo>
                    <a:pt x="1336" y="815"/>
                  </a:lnTo>
                  <a:lnTo>
                    <a:pt x="1334" y="815"/>
                  </a:lnTo>
                  <a:lnTo>
                    <a:pt x="1334" y="815"/>
                  </a:lnTo>
                  <a:lnTo>
                    <a:pt x="1334" y="815"/>
                  </a:lnTo>
                  <a:lnTo>
                    <a:pt x="1334" y="817"/>
                  </a:lnTo>
                  <a:lnTo>
                    <a:pt x="1334" y="817"/>
                  </a:lnTo>
                  <a:lnTo>
                    <a:pt x="1334" y="817"/>
                  </a:lnTo>
                  <a:lnTo>
                    <a:pt x="1334" y="817"/>
                  </a:lnTo>
                  <a:lnTo>
                    <a:pt x="1334" y="817"/>
                  </a:lnTo>
                  <a:lnTo>
                    <a:pt x="1336" y="820"/>
                  </a:lnTo>
                  <a:lnTo>
                    <a:pt x="1339" y="817"/>
                  </a:lnTo>
                  <a:lnTo>
                    <a:pt x="1339" y="817"/>
                  </a:lnTo>
                  <a:lnTo>
                    <a:pt x="1342" y="817"/>
                  </a:lnTo>
                  <a:lnTo>
                    <a:pt x="1342" y="815"/>
                  </a:lnTo>
                  <a:lnTo>
                    <a:pt x="1339" y="812"/>
                  </a:lnTo>
                  <a:lnTo>
                    <a:pt x="1336" y="812"/>
                  </a:lnTo>
                  <a:close/>
                  <a:moveTo>
                    <a:pt x="2222" y="924"/>
                  </a:moveTo>
                  <a:lnTo>
                    <a:pt x="2222" y="924"/>
                  </a:lnTo>
                  <a:lnTo>
                    <a:pt x="2222" y="924"/>
                  </a:lnTo>
                  <a:lnTo>
                    <a:pt x="2220" y="919"/>
                  </a:lnTo>
                  <a:lnTo>
                    <a:pt x="2220" y="919"/>
                  </a:lnTo>
                  <a:lnTo>
                    <a:pt x="2220" y="919"/>
                  </a:lnTo>
                  <a:lnTo>
                    <a:pt x="2217" y="916"/>
                  </a:lnTo>
                  <a:lnTo>
                    <a:pt x="2217" y="916"/>
                  </a:lnTo>
                  <a:lnTo>
                    <a:pt x="2217" y="916"/>
                  </a:lnTo>
                  <a:lnTo>
                    <a:pt x="2214" y="914"/>
                  </a:lnTo>
                  <a:lnTo>
                    <a:pt x="2214" y="911"/>
                  </a:lnTo>
                  <a:lnTo>
                    <a:pt x="2214" y="911"/>
                  </a:lnTo>
                  <a:lnTo>
                    <a:pt x="2212" y="911"/>
                  </a:lnTo>
                  <a:lnTo>
                    <a:pt x="2212" y="908"/>
                  </a:lnTo>
                  <a:lnTo>
                    <a:pt x="2212" y="908"/>
                  </a:lnTo>
                  <a:lnTo>
                    <a:pt x="2212" y="906"/>
                  </a:lnTo>
                  <a:lnTo>
                    <a:pt x="2212" y="906"/>
                  </a:lnTo>
                  <a:lnTo>
                    <a:pt x="2212" y="903"/>
                  </a:lnTo>
                  <a:lnTo>
                    <a:pt x="2209" y="903"/>
                  </a:lnTo>
                  <a:lnTo>
                    <a:pt x="2209" y="903"/>
                  </a:lnTo>
                  <a:lnTo>
                    <a:pt x="2209" y="903"/>
                  </a:lnTo>
                  <a:lnTo>
                    <a:pt x="2209" y="900"/>
                  </a:lnTo>
                  <a:lnTo>
                    <a:pt x="2209" y="900"/>
                  </a:lnTo>
                  <a:lnTo>
                    <a:pt x="2209" y="900"/>
                  </a:lnTo>
                  <a:lnTo>
                    <a:pt x="2209" y="900"/>
                  </a:lnTo>
                  <a:lnTo>
                    <a:pt x="2209" y="900"/>
                  </a:lnTo>
                  <a:lnTo>
                    <a:pt x="2209" y="900"/>
                  </a:lnTo>
                  <a:lnTo>
                    <a:pt x="2209" y="898"/>
                  </a:lnTo>
                  <a:lnTo>
                    <a:pt x="2209" y="898"/>
                  </a:lnTo>
                  <a:lnTo>
                    <a:pt x="2209" y="895"/>
                  </a:lnTo>
                  <a:lnTo>
                    <a:pt x="2209" y="892"/>
                  </a:lnTo>
                  <a:lnTo>
                    <a:pt x="2209" y="890"/>
                  </a:lnTo>
                  <a:lnTo>
                    <a:pt x="2209" y="890"/>
                  </a:lnTo>
                  <a:lnTo>
                    <a:pt x="2209" y="887"/>
                  </a:lnTo>
                  <a:lnTo>
                    <a:pt x="2209" y="884"/>
                  </a:lnTo>
                  <a:lnTo>
                    <a:pt x="2206" y="882"/>
                  </a:lnTo>
                  <a:lnTo>
                    <a:pt x="2206" y="882"/>
                  </a:lnTo>
                  <a:lnTo>
                    <a:pt x="2206" y="879"/>
                  </a:lnTo>
                  <a:lnTo>
                    <a:pt x="2204" y="879"/>
                  </a:lnTo>
                  <a:lnTo>
                    <a:pt x="2204" y="876"/>
                  </a:lnTo>
                  <a:lnTo>
                    <a:pt x="2201" y="876"/>
                  </a:lnTo>
                  <a:lnTo>
                    <a:pt x="2198" y="879"/>
                  </a:lnTo>
                  <a:lnTo>
                    <a:pt x="2198" y="879"/>
                  </a:lnTo>
                  <a:lnTo>
                    <a:pt x="2196" y="879"/>
                  </a:lnTo>
                  <a:lnTo>
                    <a:pt x="2190" y="879"/>
                  </a:lnTo>
                  <a:lnTo>
                    <a:pt x="2190" y="879"/>
                  </a:lnTo>
                  <a:lnTo>
                    <a:pt x="2190" y="879"/>
                  </a:lnTo>
                  <a:lnTo>
                    <a:pt x="2188" y="876"/>
                  </a:lnTo>
                  <a:lnTo>
                    <a:pt x="2185" y="874"/>
                  </a:lnTo>
                  <a:lnTo>
                    <a:pt x="2185" y="874"/>
                  </a:lnTo>
                  <a:lnTo>
                    <a:pt x="2182" y="874"/>
                  </a:lnTo>
                  <a:lnTo>
                    <a:pt x="2180" y="874"/>
                  </a:lnTo>
                  <a:lnTo>
                    <a:pt x="2174" y="871"/>
                  </a:lnTo>
                  <a:lnTo>
                    <a:pt x="2169" y="871"/>
                  </a:lnTo>
                  <a:lnTo>
                    <a:pt x="2164" y="871"/>
                  </a:lnTo>
                  <a:lnTo>
                    <a:pt x="2161" y="871"/>
                  </a:lnTo>
                  <a:lnTo>
                    <a:pt x="2156" y="868"/>
                  </a:lnTo>
                  <a:lnTo>
                    <a:pt x="2150" y="868"/>
                  </a:lnTo>
                  <a:lnTo>
                    <a:pt x="2142" y="866"/>
                  </a:lnTo>
                  <a:lnTo>
                    <a:pt x="2140" y="866"/>
                  </a:lnTo>
                  <a:lnTo>
                    <a:pt x="2140" y="866"/>
                  </a:lnTo>
                  <a:lnTo>
                    <a:pt x="2140" y="866"/>
                  </a:lnTo>
                  <a:lnTo>
                    <a:pt x="2134" y="866"/>
                  </a:lnTo>
                  <a:lnTo>
                    <a:pt x="2132" y="868"/>
                  </a:lnTo>
                  <a:lnTo>
                    <a:pt x="2129" y="868"/>
                  </a:lnTo>
                  <a:lnTo>
                    <a:pt x="2129" y="868"/>
                  </a:lnTo>
                  <a:lnTo>
                    <a:pt x="2129" y="866"/>
                  </a:lnTo>
                  <a:lnTo>
                    <a:pt x="2129" y="863"/>
                  </a:lnTo>
                  <a:lnTo>
                    <a:pt x="2129" y="863"/>
                  </a:lnTo>
                  <a:lnTo>
                    <a:pt x="2126" y="860"/>
                  </a:lnTo>
                  <a:lnTo>
                    <a:pt x="2126" y="860"/>
                  </a:lnTo>
                  <a:lnTo>
                    <a:pt x="2124" y="860"/>
                  </a:lnTo>
                  <a:lnTo>
                    <a:pt x="2124" y="858"/>
                  </a:lnTo>
                  <a:lnTo>
                    <a:pt x="2124" y="858"/>
                  </a:lnTo>
                  <a:lnTo>
                    <a:pt x="2124" y="858"/>
                  </a:lnTo>
                  <a:lnTo>
                    <a:pt x="2124" y="855"/>
                  </a:lnTo>
                  <a:lnTo>
                    <a:pt x="2124" y="855"/>
                  </a:lnTo>
                  <a:lnTo>
                    <a:pt x="2116" y="855"/>
                  </a:lnTo>
                  <a:lnTo>
                    <a:pt x="2113" y="841"/>
                  </a:lnTo>
                  <a:lnTo>
                    <a:pt x="2108" y="841"/>
                  </a:lnTo>
                  <a:lnTo>
                    <a:pt x="2102" y="841"/>
                  </a:lnTo>
                  <a:lnTo>
                    <a:pt x="2102" y="839"/>
                  </a:lnTo>
                  <a:lnTo>
                    <a:pt x="2102" y="833"/>
                  </a:lnTo>
                  <a:lnTo>
                    <a:pt x="2100" y="828"/>
                  </a:lnTo>
                  <a:lnTo>
                    <a:pt x="2094" y="825"/>
                  </a:lnTo>
                  <a:lnTo>
                    <a:pt x="2089" y="823"/>
                  </a:lnTo>
                  <a:lnTo>
                    <a:pt x="2086" y="817"/>
                  </a:lnTo>
                  <a:lnTo>
                    <a:pt x="2081" y="815"/>
                  </a:lnTo>
                  <a:lnTo>
                    <a:pt x="2076" y="809"/>
                  </a:lnTo>
                  <a:lnTo>
                    <a:pt x="2070" y="801"/>
                  </a:lnTo>
                  <a:lnTo>
                    <a:pt x="2065" y="799"/>
                  </a:lnTo>
                  <a:lnTo>
                    <a:pt x="2057" y="791"/>
                  </a:lnTo>
                  <a:lnTo>
                    <a:pt x="2049" y="783"/>
                  </a:lnTo>
                  <a:lnTo>
                    <a:pt x="2041" y="775"/>
                  </a:lnTo>
                  <a:lnTo>
                    <a:pt x="2036" y="772"/>
                  </a:lnTo>
                  <a:lnTo>
                    <a:pt x="2038" y="767"/>
                  </a:lnTo>
                  <a:lnTo>
                    <a:pt x="2022" y="759"/>
                  </a:lnTo>
                  <a:lnTo>
                    <a:pt x="2014" y="753"/>
                  </a:lnTo>
                  <a:lnTo>
                    <a:pt x="1998" y="748"/>
                  </a:lnTo>
                  <a:lnTo>
                    <a:pt x="1996" y="745"/>
                  </a:lnTo>
                  <a:lnTo>
                    <a:pt x="1996" y="743"/>
                  </a:lnTo>
                  <a:lnTo>
                    <a:pt x="1993" y="743"/>
                  </a:lnTo>
                  <a:lnTo>
                    <a:pt x="1990" y="737"/>
                  </a:lnTo>
                  <a:lnTo>
                    <a:pt x="1985" y="735"/>
                  </a:lnTo>
                  <a:lnTo>
                    <a:pt x="1982" y="735"/>
                  </a:lnTo>
                  <a:lnTo>
                    <a:pt x="1977" y="732"/>
                  </a:lnTo>
                  <a:lnTo>
                    <a:pt x="1977" y="729"/>
                  </a:lnTo>
                  <a:lnTo>
                    <a:pt x="1966" y="729"/>
                  </a:lnTo>
                  <a:lnTo>
                    <a:pt x="1964" y="724"/>
                  </a:lnTo>
                  <a:lnTo>
                    <a:pt x="1964" y="721"/>
                  </a:lnTo>
                  <a:lnTo>
                    <a:pt x="1961" y="721"/>
                  </a:lnTo>
                  <a:lnTo>
                    <a:pt x="1961" y="719"/>
                  </a:lnTo>
                  <a:lnTo>
                    <a:pt x="1961" y="716"/>
                  </a:lnTo>
                  <a:lnTo>
                    <a:pt x="1958" y="711"/>
                  </a:lnTo>
                  <a:lnTo>
                    <a:pt x="1956" y="708"/>
                  </a:lnTo>
                  <a:lnTo>
                    <a:pt x="1953" y="708"/>
                  </a:lnTo>
                  <a:lnTo>
                    <a:pt x="1950" y="705"/>
                  </a:lnTo>
                  <a:lnTo>
                    <a:pt x="1950" y="703"/>
                  </a:lnTo>
                  <a:lnTo>
                    <a:pt x="1945" y="703"/>
                  </a:lnTo>
                  <a:lnTo>
                    <a:pt x="1940" y="700"/>
                  </a:lnTo>
                  <a:lnTo>
                    <a:pt x="1926" y="713"/>
                  </a:lnTo>
                  <a:lnTo>
                    <a:pt x="1921" y="716"/>
                  </a:lnTo>
                  <a:lnTo>
                    <a:pt x="1918" y="719"/>
                  </a:lnTo>
                  <a:lnTo>
                    <a:pt x="1916" y="721"/>
                  </a:lnTo>
                  <a:lnTo>
                    <a:pt x="1921" y="721"/>
                  </a:lnTo>
                  <a:lnTo>
                    <a:pt x="1921" y="724"/>
                  </a:lnTo>
                  <a:lnTo>
                    <a:pt x="1921" y="729"/>
                  </a:lnTo>
                  <a:lnTo>
                    <a:pt x="1916" y="732"/>
                  </a:lnTo>
                  <a:lnTo>
                    <a:pt x="1913" y="729"/>
                  </a:lnTo>
                  <a:lnTo>
                    <a:pt x="1918" y="743"/>
                  </a:lnTo>
                  <a:lnTo>
                    <a:pt x="1916" y="751"/>
                  </a:lnTo>
                  <a:lnTo>
                    <a:pt x="1908" y="753"/>
                  </a:lnTo>
                  <a:lnTo>
                    <a:pt x="1894" y="769"/>
                  </a:lnTo>
                  <a:lnTo>
                    <a:pt x="1892" y="775"/>
                  </a:lnTo>
                  <a:lnTo>
                    <a:pt x="1889" y="777"/>
                  </a:lnTo>
                  <a:lnTo>
                    <a:pt x="1889" y="769"/>
                  </a:lnTo>
                  <a:lnTo>
                    <a:pt x="1881" y="756"/>
                  </a:lnTo>
                  <a:lnTo>
                    <a:pt x="1862" y="743"/>
                  </a:lnTo>
                  <a:lnTo>
                    <a:pt x="1838" y="729"/>
                  </a:lnTo>
                  <a:lnTo>
                    <a:pt x="1835" y="727"/>
                  </a:lnTo>
                  <a:lnTo>
                    <a:pt x="1833" y="719"/>
                  </a:lnTo>
                  <a:lnTo>
                    <a:pt x="1819" y="716"/>
                  </a:lnTo>
                  <a:lnTo>
                    <a:pt x="1814" y="711"/>
                  </a:lnTo>
                  <a:lnTo>
                    <a:pt x="1814" y="695"/>
                  </a:lnTo>
                  <a:lnTo>
                    <a:pt x="1814" y="692"/>
                  </a:lnTo>
                  <a:lnTo>
                    <a:pt x="1793" y="697"/>
                  </a:lnTo>
                  <a:lnTo>
                    <a:pt x="1787" y="711"/>
                  </a:lnTo>
                  <a:lnTo>
                    <a:pt x="1769" y="705"/>
                  </a:lnTo>
                  <a:lnTo>
                    <a:pt x="1769" y="711"/>
                  </a:lnTo>
                  <a:lnTo>
                    <a:pt x="1750" y="708"/>
                  </a:lnTo>
                  <a:lnTo>
                    <a:pt x="1750" y="700"/>
                  </a:lnTo>
                  <a:lnTo>
                    <a:pt x="1747" y="689"/>
                  </a:lnTo>
                  <a:lnTo>
                    <a:pt x="1745" y="679"/>
                  </a:lnTo>
                  <a:lnTo>
                    <a:pt x="1742" y="670"/>
                  </a:lnTo>
                  <a:lnTo>
                    <a:pt x="1742" y="660"/>
                  </a:lnTo>
                  <a:lnTo>
                    <a:pt x="1739" y="649"/>
                  </a:lnTo>
                  <a:lnTo>
                    <a:pt x="1737" y="641"/>
                  </a:lnTo>
                  <a:lnTo>
                    <a:pt x="1737" y="630"/>
                  </a:lnTo>
                  <a:lnTo>
                    <a:pt x="1734" y="620"/>
                  </a:lnTo>
                  <a:lnTo>
                    <a:pt x="1729" y="601"/>
                  </a:lnTo>
                  <a:lnTo>
                    <a:pt x="1729" y="593"/>
                  </a:lnTo>
                  <a:lnTo>
                    <a:pt x="1726" y="582"/>
                  </a:lnTo>
                  <a:lnTo>
                    <a:pt x="1723" y="572"/>
                  </a:lnTo>
                  <a:lnTo>
                    <a:pt x="1721" y="564"/>
                  </a:lnTo>
                  <a:lnTo>
                    <a:pt x="1721" y="553"/>
                  </a:lnTo>
                  <a:lnTo>
                    <a:pt x="1718" y="542"/>
                  </a:lnTo>
                  <a:lnTo>
                    <a:pt x="1715" y="534"/>
                  </a:lnTo>
                  <a:lnTo>
                    <a:pt x="1715" y="524"/>
                  </a:lnTo>
                  <a:lnTo>
                    <a:pt x="1713" y="513"/>
                  </a:lnTo>
                  <a:lnTo>
                    <a:pt x="1710" y="505"/>
                  </a:lnTo>
                  <a:lnTo>
                    <a:pt x="1707" y="494"/>
                  </a:lnTo>
                  <a:lnTo>
                    <a:pt x="1707" y="483"/>
                  </a:lnTo>
                  <a:lnTo>
                    <a:pt x="1705" y="475"/>
                  </a:lnTo>
                  <a:lnTo>
                    <a:pt x="1702" y="465"/>
                  </a:lnTo>
                  <a:lnTo>
                    <a:pt x="1702" y="457"/>
                  </a:lnTo>
                  <a:lnTo>
                    <a:pt x="1699" y="446"/>
                  </a:lnTo>
                  <a:lnTo>
                    <a:pt x="1697" y="435"/>
                  </a:lnTo>
                  <a:lnTo>
                    <a:pt x="1694" y="427"/>
                  </a:lnTo>
                  <a:lnTo>
                    <a:pt x="1694" y="417"/>
                  </a:lnTo>
                  <a:lnTo>
                    <a:pt x="1686" y="377"/>
                  </a:lnTo>
                  <a:lnTo>
                    <a:pt x="1683" y="369"/>
                  </a:lnTo>
                  <a:lnTo>
                    <a:pt x="1681" y="350"/>
                  </a:lnTo>
                  <a:lnTo>
                    <a:pt x="1678" y="339"/>
                  </a:lnTo>
                  <a:lnTo>
                    <a:pt x="1673" y="320"/>
                  </a:lnTo>
                  <a:lnTo>
                    <a:pt x="1673" y="310"/>
                  </a:lnTo>
                  <a:lnTo>
                    <a:pt x="1670" y="299"/>
                  </a:lnTo>
                  <a:lnTo>
                    <a:pt x="1667" y="291"/>
                  </a:lnTo>
                  <a:lnTo>
                    <a:pt x="1667" y="280"/>
                  </a:lnTo>
                  <a:lnTo>
                    <a:pt x="1662" y="262"/>
                  </a:lnTo>
                  <a:lnTo>
                    <a:pt x="1659" y="251"/>
                  </a:lnTo>
                  <a:lnTo>
                    <a:pt x="1659" y="243"/>
                  </a:lnTo>
                  <a:lnTo>
                    <a:pt x="1657" y="232"/>
                  </a:lnTo>
                  <a:lnTo>
                    <a:pt x="1654" y="214"/>
                  </a:lnTo>
                  <a:lnTo>
                    <a:pt x="1651" y="203"/>
                  </a:lnTo>
                  <a:lnTo>
                    <a:pt x="1649" y="195"/>
                  </a:lnTo>
                  <a:lnTo>
                    <a:pt x="1646" y="174"/>
                  </a:lnTo>
                  <a:lnTo>
                    <a:pt x="1641" y="155"/>
                  </a:lnTo>
                  <a:lnTo>
                    <a:pt x="1641" y="147"/>
                  </a:lnTo>
                  <a:lnTo>
                    <a:pt x="1638" y="136"/>
                  </a:lnTo>
                  <a:lnTo>
                    <a:pt x="1635" y="128"/>
                  </a:lnTo>
                  <a:lnTo>
                    <a:pt x="1633" y="117"/>
                  </a:lnTo>
                  <a:lnTo>
                    <a:pt x="1633" y="107"/>
                  </a:lnTo>
                  <a:lnTo>
                    <a:pt x="1630" y="99"/>
                  </a:lnTo>
                  <a:lnTo>
                    <a:pt x="1627" y="88"/>
                  </a:lnTo>
                  <a:lnTo>
                    <a:pt x="1627" y="88"/>
                  </a:lnTo>
                  <a:lnTo>
                    <a:pt x="1619" y="88"/>
                  </a:lnTo>
                  <a:lnTo>
                    <a:pt x="1619" y="88"/>
                  </a:lnTo>
                  <a:lnTo>
                    <a:pt x="1622" y="88"/>
                  </a:lnTo>
                  <a:lnTo>
                    <a:pt x="1622" y="88"/>
                  </a:lnTo>
                  <a:lnTo>
                    <a:pt x="1622" y="88"/>
                  </a:lnTo>
                  <a:lnTo>
                    <a:pt x="1622" y="88"/>
                  </a:lnTo>
                  <a:lnTo>
                    <a:pt x="1622" y="88"/>
                  </a:lnTo>
                  <a:lnTo>
                    <a:pt x="1622" y="91"/>
                  </a:lnTo>
                  <a:lnTo>
                    <a:pt x="1622" y="91"/>
                  </a:lnTo>
                  <a:lnTo>
                    <a:pt x="1619" y="91"/>
                  </a:lnTo>
                  <a:lnTo>
                    <a:pt x="1617" y="91"/>
                  </a:lnTo>
                  <a:lnTo>
                    <a:pt x="1617" y="88"/>
                  </a:lnTo>
                  <a:lnTo>
                    <a:pt x="1617" y="88"/>
                  </a:lnTo>
                  <a:lnTo>
                    <a:pt x="1614" y="85"/>
                  </a:lnTo>
                  <a:lnTo>
                    <a:pt x="1614" y="85"/>
                  </a:lnTo>
                  <a:lnTo>
                    <a:pt x="1611" y="85"/>
                  </a:lnTo>
                  <a:lnTo>
                    <a:pt x="1606" y="83"/>
                  </a:lnTo>
                  <a:lnTo>
                    <a:pt x="1606" y="83"/>
                  </a:lnTo>
                  <a:lnTo>
                    <a:pt x="1603" y="83"/>
                  </a:lnTo>
                  <a:lnTo>
                    <a:pt x="1603" y="83"/>
                  </a:lnTo>
                  <a:lnTo>
                    <a:pt x="1603" y="83"/>
                  </a:lnTo>
                  <a:lnTo>
                    <a:pt x="1603" y="83"/>
                  </a:lnTo>
                  <a:lnTo>
                    <a:pt x="1603" y="83"/>
                  </a:lnTo>
                  <a:lnTo>
                    <a:pt x="1601" y="83"/>
                  </a:lnTo>
                  <a:lnTo>
                    <a:pt x="1601" y="80"/>
                  </a:lnTo>
                  <a:lnTo>
                    <a:pt x="1601" y="80"/>
                  </a:lnTo>
                  <a:lnTo>
                    <a:pt x="1595" y="80"/>
                  </a:lnTo>
                  <a:lnTo>
                    <a:pt x="1595" y="80"/>
                  </a:lnTo>
                  <a:lnTo>
                    <a:pt x="1595" y="80"/>
                  </a:lnTo>
                  <a:lnTo>
                    <a:pt x="1595" y="80"/>
                  </a:lnTo>
                  <a:lnTo>
                    <a:pt x="1593" y="80"/>
                  </a:lnTo>
                  <a:lnTo>
                    <a:pt x="1593" y="77"/>
                  </a:lnTo>
                  <a:lnTo>
                    <a:pt x="1593" y="77"/>
                  </a:lnTo>
                  <a:lnTo>
                    <a:pt x="1593" y="77"/>
                  </a:lnTo>
                  <a:lnTo>
                    <a:pt x="1593" y="77"/>
                  </a:lnTo>
                  <a:lnTo>
                    <a:pt x="1593" y="77"/>
                  </a:lnTo>
                  <a:lnTo>
                    <a:pt x="1593" y="77"/>
                  </a:lnTo>
                  <a:lnTo>
                    <a:pt x="1593" y="77"/>
                  </a:lnTo>
                  <a:lnTo>
                    <a:pt x="1593" y="77"/>
                  </a:lnTo>
                  <a:lnTo>
                    <a:pt x="1593" y="77"/>
                  </a:lnTo>
                  <a:lnTo>
                    <a:pt x="1593" y="77"/>
                  </a:lnTo>
                  <a:lnTo>
                    <a:pt x="1593" y="77"/>
                  </a:lnTo>
                  <a:lnTo>
                    <a:pt x="1590" y="75"/>
                  </a:lnTo>
                  <a:lnTo>
                    <a:pt x="1590" y="75"/>
                  </a:lnTo>
                  <a:lnTo>
                    <a:pt x="1590" y="75"/>
                  </a:lnTo>
                  <a:lnTo>
                    <a:pt x="1590" y="75"/>
                  </a:lnTo>
                  <a:lnTo>
                    <a:pt x="1590" y="75"/>
                  </a:lnTo>
                  <a:lnTo>
                    <a:pt x="1590" y="75"/>
                  </a:lnTo>
                  <a:lnTo>
                    <a:pt x="1590" y="75"/>
                  </a:lnTo>
                  <a:lnTo>
                    <a:pt x="1587" y="75"/>
                  </a:lnTo>
                  <a:lnTo>
                    <a:pt x="1587" y="72"/>
                  </a:lnTo>
                  <a:lnTo>
                    <a:pt x="1587" y="75"/>
                  </a:lnTo>
                  <a:lnTo>
                    <a:pt x="1587" y="75"/>
                  </a:lnTo>
                  <a:lnTo>
                    <a:pt x="1587" y="75"/>
                  </a:lnTo>
                  <a:lnTo>
                    <a:pt x="1587" y="75"/>
                  </a:lnTo>
                  <a:lnTo>
                    <a:pt x="1587" y="75"/>
                  </a:lnTo>
                  <a:lnTo>
                    <a:pt x="1587" y="72"/>
                  </a:lnTo>
                  <a:lnTo>
                    <a:pt x="1587" y="72"/>
                  </a:lnTo>
                  <a:lnTo>
                    <a:pt x="1585" y="72"/>
                  </a:lnTo>
                  <a:lnTo>
                    <a:pt x="1579" y="69"/>
                  </a:lnTo>
                  <a:lnTo>
                    <a:pt x="1577" y="69"/>
                  </a:lnTo>
                  <a:lnTo>
                    <a:pt x="1579" y="69"/>
                  </a:lnTo>
                  <a:lnTo>
                    <a:pt x="1577" y="69"/>
                  </a:lnTo>
                  <a:lnTo>
                    <a:pt x="1577" y="69"/>
                  </a:lnTo>
                  <a:lnTo>
                    <a:pt x="1577" y="69"/>
                  </a:lnTo>
                  <a:lnTo>
                    <a:pt x="1577" y="69"/>
                  </a:lnTo>
                  <a:lnTo>
                    <a:pt x="1577" y="69"/>
                  </a:lnTo>
                  <a:lnTo>
                    <a:pt x="1577" y="69"/>
                  </a:lnTo>
                  <a:lnTo>
                    <a:pt x="1577" y="69"/>
                  </a:lnTo>
                  <a:lnTo>
                    <a:pt x="1574" y="69"/>
                  </a:lnTo>
                  <a:lnTo>
                    <a:pt x="1574" y="69"/>
                  </a:lnTo>
                  <a:lnTo>
                    <a:pt x="1574" y="69"/>
                  </a:lnTo>
                  <a:lnTo>
                    <a:pt x="1571" y="69"/>
                  </a:lnTo>
                  <a:lnTo>
                    <a:pt x="1571" y="67"/>
                  </a:lnTo>
                  <a:lnTo>
                    <a:pt x="1571" y="67"/>
                  </a:lnTo>
                  <a:lnTo>
                    <a:pt x="1569" y="67"/>
                  </a:lnTo>
                  <a:lnTo>
                    <a:pt x="1569" y="67"/>
                  </a:lnTo>
                  <a:lnTo>
                    <a:pt x="1569" y="69"/>
                  </a:lnTo>
                  <a:lnTo>
                    <a:pt x="1569" y="69"/>
                  </a:lnTo>
                  <a:lnTo>
                    <a:pt x="1569" y="72"/>
                  </a:lnTo>
                  <a:lnTo>
                    <a:pt x="1571" y="72"/>
                  </a:lnTo>
                  <a:lnTo>
                    <a:pt x="1569" y="72"/>
                  </a:lnTo>
                  <a:lnTo>
                    <a:pt x="1569" y="72"/>
                  </a:lnTo>
                  <a:lnTo>
                    <a:pt x="1569" y="69"/>
                  </a:lnTo>
                  <a:lnTo>
                    <a:pt x="1569" y="69"/>
                  </a:lnTo>
                  <a:lnTo>
                    <a:pt x="1569" y="69"/>
                  </a:lnTo>
                  <a:lnTo>
                    <a:pt x="1563" y="69"/>
                  </a:lnTo>
                  <a:lnTo>
                    <a:pt x="1563" y="69"/>
                  </a:lnTo>
                  <a:lnTo>
                    <a:pt x="1563" y="69"/>
                  </a:lnTo>
                  <a:lnTo>
                    <a:pt x="1563" y="67"/>
                  </a:lnTo>
                  <a:lnTo>
                    <a:pt x="1563" y="69"/>
                  </a:lnTo>
                  <a:lnTo>
                    <a:pt x="1563" y="69"/>
                  </a:lnTo>
                  <a:lnTo>
                    <a:pt x="1563" y="69"/>
                  </a:lnTo>
                  <a:lnTo>
                    <a:pt x="1563" y="69"/>
                  </a:lnTo>
                  <a:lnTo>
                    <a:pt x="1563" y="69"/>
                  </a:lnTo>
                  <a:lnTo>
                    <a:pt x="1561" y="72"/>
                  </a:lnTo>
                  <a:lnTo>
                    <a:pt x="1561" y="69"/>
                  </a:lnTo>
                  <a:lnTo>
                    <a:pt x="1558" y="69"/>
                  </a:lnTo>
                  <a:lnTo>
                    <a:pt x="1558" y="69"/>
                  </a:lnTo>
                  <a:lnTo>
                    <a:pt x="1558" y="72"/>
                  </a:lnTo>
                  <a:lnTo>
                    <a:pt x="1555" y="72"/>
                  </a:lnTo>
                  <a:lnTo>
                    <a:pt x="1555" y="72"/>
                  </a:lnTo>
                  <a:lnTo>
                    <a:pt x="1555" y="72"/>
                  </a:lnTo>
                  <a:lnTo>
                    <a:pt x="1555" y="72"/>
                  </a:lnTo>
                  <a:lnTo>
                    <a:pt x="1555" y="72"/>
                  </a:lnTo>
                  <a:lnTo>
                    <a:pt x="1555" y="72"/>
                  </a:lnTo>
                  <a:lnTo>
                    <a:pt x="1555" y="72"/>
                  </a:lnTo>
                  <a:lnTo>
                    <a:pt x="1555" y="72"/>
                  </a:lnTo>
                  <a:lnTo>
                    <a:pt x="1553" y="72"/>
                  </a:lnTo>
                  <a:lnTo>
                    <a:pt x="1553" y="72"/>
                  </a:lnTo>
                  <a:lnTo>
                    <a:pt x="1553" y="72"/>
                  </a:lnTo>
                  <a:lnTo>
                    <a:pt x="1553" y="72"/>
                  </a:lnTo>
                  <a:lnTo>
                    <a:pt x="1553" y="72"/>
                  </a:lnTo>
                  <a:lnTo>
                    <a:pt x="1553" y="72"/>
                  </a:lnTo>
                  <a:lnTo>
                    <a:pt x="1553" y="75"/>
                  </a:lnTo>
                  <a:lnTo>
                    <a:pt x="1553" y="75"/>
                  </a:lnTo>
                  <a:lnTo>
                    <a:pt x="1553" y="77"/>
                  </a:lnTo>
                  <a:lnTo>
                    <a:pt x="1553" y="77"/>
                  </a:lnTo>
                  <a:lnTo>
                    <a:pt x="1553" y="80"/>
                  </a:lnTo>
                  <a:lnTo>
                    <a:pt x="1553" y="77"/>
                  </a:lnTo>
                  <a:lnTo>
                    <a:pt x="1553" y="77"/>
                  </a:lnTo>
                  <a:lnTo>
                    <a:pt x="1553" y="77"/>
                  </a:lnTo>
                  <a:lnTo>
                    <a:pt x="1553" y="77"/>
                  </a:lnTo>
                  <a:lnTo>
                    <a:pt x="1553" y="77"/>
                  </a:lnTo>
                  <a:lnTo>
                    <a:pt x="1553" y="75"/>
                  </a:lnTo>
                  <a:lnTo>
                    <a:pt x="1553" y="75"/>
                  </a:lnTo>
                  <a:lnTo>
                    <a:pt x="1553" y="75"/>
                  </a:lnTo>
                  <a:lnTo>
                    <a:pt x="1550" y="75"/>
                  </a:lnTo>
                  <a:lnTo>
                    <a:pt x="1550" y="75"/>
                  </a:lnTo>
                  <a:lnTo>
                    <a:pt x="1550" y="75"/>
                  </a:lnTo>
                  <a:lnTo>
                    <a:pt x="1550" y="75"/>
                  </a:lnTo>
                  <a:lnTo>
                    <a:pt x="1550" y="75"/>
                  </a:lnTo>
                  <a:lnTo>
                    <a:pt x="1545" y="77"/>
                  </a:lnTo>
                  <a:lnTo>
                    <a:pt x="1542" y="77"/>
                  </a:lnTo>
                  <a:lnTo>
                    <a:pt x="1542" y="80"/>
                  </a:lnTo>
                  <a:lnTo>
                    <a:pt x="1539" y="80"/>
                  </a:lnTo>
                  <a:lnTo>
                    <a:pt x="1537" y="83"/>
                  </a:lnTo>
                  <a:lnTo>
                    <a:pt x="1534" y="83"/>
                  </a:lnTo>
                  <a:lnTo>
                    <a:pt x="1534" y="80"/>
                  </a:lnTo>
                  <a:lnTo>
                    <a:pt x="1534" y="80"/>
                  </a:lnTo>
                  <a:lnTo>
                    <a:pt x="1531" y="83"/>
                  </a:lnTo>
                  <a:lnTo>
                    <a:pt x="1526" y="83"/>
                  </a:lnTo>
                  <a:lnTo>
                    <a:pt x="1523" y="83"/>
                  </a:lnTo>
                  <a:lnTo>
                    <a:pt x="1523" y="83"/>
                  </a:lnTo>
                  <a:lnTo>
                    <a:pt x="1526" y="80"/>
                  </a:lnTo>
                  <a:lnTo>
                    <a:pt x="1526" y="80"/>
                  </a:lnTo>
                  <a:lnTo>
                    <a:pt x="1526" y="80"/>
                  </a:lnTo>
                  <a:lnTo>
                    <a:pt x="1523" y="80"/>
                  </a:lnTo>
                  <a:lnTo>
                    <a:pt x="1521" y="80"/>
                  </a:lnTo>
                  <a:lnTo>
                    <a:pt x="1521" y="80"/>
                  </a:lnTo>
                  <a:lnTo>
                    <a:pt x="1521" y="80"/>
                  </a:lnTo>
                  <a:lnTo>
                    <a:pt x="1518" y="80"/>
                  </a:lnTo>
                  <a:lnTo>
                    <a:pt x="1518" y="77"/>
                  </a:lnTo>
                  <a:lnTo>
                    <a:pt x="1518" y="77"/>
                  </a:lnTo>
                  <a:lnTo>
                    <a:pt x="1518" y="77"/>
                  </a:lnTo>
                  <a:lnTo>
                    <a:pt x="1518" y="77"/>
                  </a:lnTo>
                  <a:lnTo>
                    <a:pt x="1515" y="77"/>
                  </a:lnTo>
                  <a:lnTo>
                    <a:pt x="1515" y="77"/>
                  </a:lnTo>
                  <a:lnTo>
                    <a:pt x="1515" y="77"/>
                  </a:lnTo>
                  <a:lnTo>
                    <a:pt x="1515" y="77"/>
                  </a:lnTo>
                  <a:lnTo>
                    <a:pt x="1515" y="77"/>
                  </a:lnTo>
                  <a:lnTo>
                    <a:pt x="1515" y="77"/>
                  </a:lnTo>
                  <a:lnTo>
                    <a:pt x="1515" y="77"/>
                  </a:lnTo>
                  <a:lnTo>
                    <a:pt x="1513" y="75"/>
                  </a:lnTo>
                  <a:lnTo>
                    <a:pt x="1513" y="75"/>
                  </a:lnTo>
                  <a:lnTo>
                    <a:pt x="1510" y="72"/>
                  </a:lnTo>
                  <a:lnTo>
                    <a:pt x="1507" y="72"/>
                  </a:lnTo>
                  <a:lnTo>
                    <a:pt x="1510" y="75"/>
                  </a:lnTo>
                  <a:lnTo>
                    <a:pt x="1507" y="75"/>
                  </a:lnTo>
                  <a:lnTo>
                    <a:pt x="1507" y="72"/>
                  </a:lnTo>
                  <a:lnTo>
                    <a:pt x="1507" y="72"/>
                  </a:lnTo>
                  <a:lnTo>
                    <a:pt x="1507" y="75"/>
                  </a:lnTo>
                  <a:lnTo>
                    <a:pt x="1507" y="75"/>
                  </a:lnTo>
                  <a:lnTo>
                    <a:pt x="1505" y="75"/>
                  </a:lnTo>
                  <a:lnTo>
                    <a:pt x="1499" y="72"/>
                  </a:lnTo>
                  <a:lnTo>
                    <a:pt x="1497" y="72"/>
                  </a:lnTo>
                  <a:lnTo>
                    <a:pt x="1489" y="75"/>
                  </a:lnTo>
                  <a:lnTo>
                    <a:pt x="1486" y="75"/>
                  </a:lnTo>
                  <a:lnTo>
                    <a:pt x="1486" y="75"/>
                  </a:lnTo>
                  <a:lnTo>
                    <a:pt x="1486" y="75"/>
                  </a:lnTo>
                  <a:lnTo>
                    <a:pt x="1481" y="77"/>
                  </a:lnTo>
                  <a:lnTo>
                    <a:pt x="1478" y="75"/>
                  </a:lnTo>
                  <a:lnTo>
                    <a:pt x="1478" y="75"/>
                  </a:lnTo>
                  <a:lnTo>
                    <a:pt x="1478" y="75"/>
                  </a:lnTo>
                  <a:lnTo>
                    <a:pt x="1478" y="75"/>
                  </a:lnTo>
                  <a:lnTo>
                    <a:pt x="1478" y="75"/>
                  </a:lnTo>
                  <a:lnTo>
                    <a:pt x="1478" y="75"/>
                  </a:lnTo>
                  <a:lnTo>
                    <a:pt x="1478" y="75"/>
                  </a:lnTo>
                  <a:lnTo>
                    <a:pt x="1473" y="75"/>
                  </a:lnTo>
                  <a:lnTo>
                    <a:pt x="1467" y="75"/>
                  </a:lnTo>
                  <a:lnTo>
                    <a:pt x="1465" y="75"/>
                  </a:lnTo>
                  <a:lnTo>
                    <a:pt x="1462" y="72"/>
                  </a:lnTo>
                  <a:lnTo>
                    <a:pt x="1465" y="72"/>
                  </a:lnTo>
                  <a:lnTo>
                    <a:pt x="1465" y="72"/>
                  </a:lnTo>
                  <a:lnTo>
                    <a:pt x="1465" y="72"/>
                  </a:lnTo>
                  <a:lnTo>
                    <a:pt x="1465" y="72"/>
                  </a:lnTo>
                  <a:lnTo>
                    <a:pt x="1462" y="72"/>
                  </a:lnTo>
                  <a:lnTo>
                    <a:pt x="1462" y="72"/>
                  </a:lnTo>
                  <a:lnTo>
                    <a:pt x="1462" y="72"/>
                  </a:lnTo>
                  <a:lnTo>
                    <a:pt x="1462" y="69"/>
                  </a:lnTo>
                  <a:lnTo>
                    <a:pt x="1462" y="69"/>
                  </a:lnTo>
                  <a:lnTo>
                    <a:pt x="1462" y="69"/>
                  </a:lnTo>
                  <a:lnTo>
                    <a:pt x="1462" y="69"/>
                  </a:lnTo>
                  <a:lnTo>
                    <a:pt x="1462" y="69"/>
                  </a:lnTo>
                  <a:lnTo>
                    <a:pt x="1462" y="69"/>
                  </a:lnTo>
                  <a:lnTo>
                    <a:pt x="1462" y="69"/>
                  </a:lnTo>
                  <a:lnTo>
                    <a:pt x="1459" y="69"/>
                  </a:lnTo>
                  <a:lnTo>
                    <a:pt x="1459" y="69"/>
                  </a:lnTo>
                  <a:lnTo>
                    <a:pt x="1459" y="69"/>
                  </a:lnTo>
                  <a:lnTo>
                    <a:pt x="1459" y="69"/>
                  </a:lnTo>
                  <a:lnTo>
                    <a:pt x="1459" y="69"/>
                  </a:lnTo>
                  <a:lnTo>
                    <a:pt x="1457" y="69"/>
                  </a:lnTo>
                  <a:lnTo>
                    <a:pt x="1457" y="69"/>
                  </a:lnTo>
                  <a:lnTo>
                    <a:pt x="1457" y="69"/>
                  </a:lnTo>
                  <a:lnTo>
                    <a:pt x="1457" y="69"/>
                  </a:lnTo>
                  <a:lnTo>
                    <a:pt x="1457" y="67"/>
                  </a:lnTo>
                  <a:lnTo>
                    <a:pt x="1454" y="67"/>
                  </a:lnTo>
                  <a:lnTo>
                    <a:pt x="1454" y="67"/>
                  </a:lnTo>
                  <a:lnTo>
                    <a:pt x="1451" y="67"/>
                  </a:lnTo>
                  <a:lnTo>
                    <a:pt x="1451" y="69"/>
                  </a:lnTo>
                  <a:lnTo>
                    <a:pt x="1449" y="69"/>
                  </a:lnTo>
                  <a:lnTo>
                    <a:pt x="1446" y="69"/>
                  </a:lnTo>
                  <a:lnTo>
                    <a:pt x="1446" y="67"/>
                  </a:lnTo>
                  <a:lnTo>
                    <a:pt x="1446" y="67"/>
                  </a:lnTo>
                  <a:lnTo>
                    <a:pt x="1446" y="67"/>
                  </a:lnTo>
                  <a:lnTo>
                    <a:pt x="1446" y="64"/>
                  </a:lnTo>
                  <a:lnTo>
                    <a:pt x="1443" y="64"/>
                  </a:lnTo>
                  <a:lnTo>
                    <a:pt x="1443" y="64"/>
                  </a:lnTo>
                  <a:lnTo>
                    <a:pt x="1443" y="64"/>
                  </a:lnTo>
                  <a:lnTo>
                    <a:pt x="1441" y="61"/>
                  </a:lnTo>
                  <a:lnTo>
                    <a:pt x="1441" y="61"/>
                  </a:lnTo>
                  <a:lnTo>
                    <a:pt x="1441" y="64"/>
                  </a:lnTo>
                  <a:lnTo>
                    <a:pt x="1438" y="64"/>
                  </a:lnTo>
                  <a:lnTo>
                    <a:pt x="1438" y="61"/>
                  </a:lnTo>
                  <a:lnTo>
                    <a:pt x="1435" y="61"/>
                  </a:lnTo>
                  <a:lnTo>
                    <a:pt x="1435" y="61"/>
                  </a:lnTo>
                  <a:lnTo>
                    <a:pt x="1435" y="61"/>
                  </a:lnTo>
                  <a:lnTo>
                    <a:pt x="1435" y="61"/>
                  </a:lnTo>
                  <a:lnTo>
                    <a:pt x="1435" y="61"/>
                  </a:lnTo>
                  <a:lnTo>
                    <a:pt x="1435" y="61"/>
                  </a:lnTo>
                  <a:lnTo>
                    <a:pt x="1435" y="61"/>
                  </a:lnTo>
                  <a:lnTo>
                    <a:pt x="1433" y="61"/>
                  </a:lnTo>
                  <a:lnTo>
                    <a:pt x="1427" y="59"/>
                  </a:lnTo>
                  <a:lnTo>
                    <a:pt x="1425" y="59"/>
                  </a:lnTo>
                  <a:lnTo>
                    <a:pt x="1427" y="59"/>
                  </a:lnTo>
                  <a:lnTo>
                    <a:pt x="1425" y="59"/>
                  </a:lnTo>
                  <a:lnTo>
                    <a:pt x="1422" y="59"/>
                  </a:lnTo>
                  <a:lnTo>
                    <a:pt x="1422" y="59"/>
                  </a:lnTo>
                  <a:lnTo>
                    <a:pt x="1422" y="59"/>
                  </a:lnTo>
                  <a:lnTo>
                    <a:pt x="1425" y="59"/>
                  </a:lnTo>
                  <a:lnTo>
                    <a:pt x="1425" y="59"/>
                  </a:lnTo>
                  <a:lnTo>
                    <a:pt x="1422" y="56"/>
                  </a:lnTo>
                  <a:lnTo>
                    <a:pt x="1422" y="56"/>
                  </a:lnTo>
                  <a:lnTo>
                    <a:pt x="1422" y="59"/>
                  </a:lnTo>
                  <a:lnTo>
                    <a:pt x="1417" y="59"/>
                  </a:lnTo>
                  <a:lnTo>
                    <a:pt x="1417" y="59"/>
                  </a:lnTo>
                  <a:lnTo>
                    <a:pt x="1417" y="59"/>
                  </a:lnTo>
                  <a:lnTo>
                    <a:pt x="1414" y="59"/>
                  </a:lnTo>
                  <a:lnTo>
                    <a:pt x="1414" y="59"/>
                  </a:lnTo>
                  <a:lnTo>
                    <a:pt x="1409" y="64"/>
                  </a:lnTo>
                  <a:lnTo>
                    <a:pt x="1406" y="64"/>
                  </a:lnTo>
                  <a:lnTo>
                    <a:pt x="1403" y="67"/>
                  </a:lnTo>
                  <a:lnTo>
                    <a:pt x="1401" y="67"/>
                  </a:lnTo>
                  <a:lnTo>
                    <a:pt x="1401" y="64"/>
                  </a:lnTo>
                  <a:lnTo>
                    <a:pt x="1403" y="61"/>
                  </a:lnTo>
                  <a:lnTo>
                    <a:pt x="1403" y="61"/>
                  </a:lnTo>
                  <a:lnTo>
                    <a:pt x="1403" y="61"/>
                  </a:lnTo>
                  <a:lnTo>
                    <a:pt x="1401" y="61"/>
                  </a:lnTo>
                  <a:lnTo>
                    <a:pt x="1401" y="61"/>
                  </a:lnTo>
                  <a:lnTo>
                    <a:pt x="1401" y="61"/>
                  </a:lnTo>
                  <a:lnTo>
                    <a:pt x="1401" y="61"/>
                  </a:lnTo>
                  <a:lnTo>
                    <a:pt x="1401" y="61"/>
                  </a:lnTo>
                  <a:lnTo>
                    <a:pt x="1398" y="59"/>
                  </a:lnTo>
                  <a:lnTo>
                    <a:pt x="1398" y="59"/>
                  </a:lnTo>
                  <a:lnTo>
                    <a:pt x="1398" y="59"/>
                  </a:lnTo>
                  <a:lnTo>
                    <a:pt x="1398" y="59"/>
                  </a:lnTo>
                  <a:lnTo>
                    <a:pt x="1398" y="61"/>
                  </a:lnTo>
                  <a:lnTo>
                    <a:pt x="1398" y="59"/>
                  </a:lnTo>
                  <a:lnTo>
                    <a:pt x="1398" y="59"/>
                  </a:lnTo>
                  <a:lnTo>
                    <a:pt x="1398" y="59"/>
                  </a:lnTo>
                  <a:lnTo>
                    <a:pt x="1393" y="61"/>
                  </a:lnTo>
                  <a:lnTo>
                    <a:pt x="1393" y="61"/>
                  </a:lnTo>
                  <a:lnTo>
                    <a:pt x="1393" y="61"/>
                  </a:lnTo>
                  <a:lnTo>
                    <a:pt x="1395" y="61"/>
                  </a:lnTo>
                  <a:lnTo>
                    <a:pt x="1393" y="61"/>
                  </a:lnTo>
                  <a:lnTo>
                    <a:pt x="1393" y="61"/>
                  </a:lnTo>
                  <a:lnTo>
                    <a:pt x="1393" y="61"/>
                  </a:lnTo>
                  <a:lnTo>
                    <a:pt x="1393" y="61"/>
                  </a:lnTo>
                  <a:lnTo>
                    <a:pt x="1393" y="61"/>
                  </a:lnTo>
                  <a:lnTo>
                    <a:pt x="1393" y="61"/>
                  </a:lnTo>
                  <a:lnTo>
                    <a:pt x="1390" y="61"/>
                  </a:lnTo>
                  <a:lnTo>
                    <a:pt x="1390" y="64"/>
                  </a:lnTo>
                  <a:lnTo>
                    <a:pt x="1390" y="64"/>
                  </a:lnTo>
                  <a:lnTo>
                    <a:pt x="1390" y="64"/>
                  </a:lnTo>
                  <a:lnTo>
                    <a:pt x="1385" y="64"/>
                  </a:lnTo>
                  <a:lnTo>
                    <a:pt x="1385" y="64"/>
                  </a:lnTo>
                  <a:lnTo>
                    <a:pt x="1385" y="67"/>
                  </a:lnTo>
                  <a:lnTo>
                    <a:pt x="1385" y="67"/>
                  </a:lnTo>
                  <a:lnTo>
                    <a:pt x="1385" y="69"/>
                  </a:lnTo>
                  <a:lnTo>
                    <a:pt x="1385" y="69"/>
                  </a:lnTo>
                  <a:lnTo>
                    <a:pt x="1382" y="69"/>
                  </a:lnTo>
                  <a:lnTo>
                    <a:pt x="1382" y="69"/>
                  </a:lnTo>
                  <a:lnTo>
                    <a:pt x="1382" y="67"/>
                  </a:lnTo>
                  <a:lnTo>
                    <a:pt x="1382" y="67"/>
                  </a:lnTo>
                  <a:lnTo>
                    <a:pt x="1379" y="67"/>
                  </a:lnTo>
                  <a:lnTo>
                    <a:pt x="1379" y="67"/>
                  </a:lnTo>
                  <a:lnTo>
                    <a:pt x="1379" y="67"/>
                  </a:lnTo>
                  <a:lnTo>
                    <a:pt x="1377" y="64"/>
                  </a:lnTo>
                  <a:lnTo>
                    <a:pt x="1371" y="67"/>
                  </a:lnTo>
                  <a:lnTo>
                    <a:pt x="1366" y="64"/>
                  </a:lnTo>
                  <a:lnTo>
                    <a:pt x="1366" y="64"/>
                  </a:lnTo>
                  <a:lnTo>
                    <a:pt x="1369" y="61"/>
                  </a:lnTo>
                  <a:lnTo>
                    <a:pt x="1369" y="61"/>
                  </a:lnTo>
                  <a:lnTo>
                    <a:pt x="1369" y="61"/>
                  </a:lnTo>
                  <a:lnTo>
                    <a:pt x="1369" y="61"/>
                  </a:lnTo>
                  <a:lnTo>
                    <a:pt x="1369" y="59"/>
                  </a:lnTo>
                  <a:lnTo>
                    <a:pt x="1369" y="61"/>
                  </a:lnTo>
                  <a:lnTo>
                    <a:pt x="1369" y="59"/>
                  </a:lnTo>
                  <a:lnTo>
                    <a:pt x="1371" y="59"/>
                  </a:lnTo>
                  <a:lnTo>
                    <a:pt x="1371" y="59"/>
                  </a:lnTo>
                  <a:lnTo>
                    <a:pt x="1371" y="59"/>
                  </a:lnTo>
                  <a:lnTo>
                    <a:pt x="1371" y="56"/>
                  </a:lnTo>
                  <a:lnTo>
                    <a:pt x="1369" y="59"/>
                  </a:lnTo>
                  <a:lnTo>
                    <a:pt x="1366" y="56"/>
                  </a:lnTo>
                  <a:lnTo>
                    <a:pt x="1355" y="59"/>
                  </a:lnTo>
                  <a:lnTo>
                    <a:pt x="1353" y="59"/>
                  </a:lnTo>
                  <a:lnTo>
                    <a:pt x="1353" y="59"/>
                  </a:lnTo>
                  <a:lnTo>
                    <a:pt x="1353" y="59"/>
                  </a:lnTo>
                  <a:lnTo>
                    <a:pt x="1353" y="59"/>
                  </a:lnTo>
                  <a:lnTo>
                    <a:pt x="1353" y="59"/>
                  </a:lnTo>
                  <a:lnTo>
                    <a:pt x="1350" y="59"/>
                  </a:lnTo>
                  <a:lnTo>
                    <a:pt x="1350" y="59"/>
                  </a:lnTo>
                  <a:lnTo>
                    <a:pt x="1350" y="56"/>
                  </a:lnTo>
                  <a:lnTo>
                    <a:pt x="1353" y="56"/>
                  </a:lnTo>
                  <a:lnTo>
                    <a:pt x="1353" y="56"/>
                  </a:lnTo>
                  <a:lnTo>
                    <a:pt x="1353" y="56"/>
                  </a:lnTo>
                  <a:lnTo>
                    <a:pt x="1355" y="56"/>
                  </a:lnTo>
                  <a:lnTo>
                    <a:pt x="1355" y="56"/>
                  </a:lnTo>
                  <a:lnTo>
                    <a:pt x="1361" y="56"/>
                  </a:lnTo>
                  <a:lnTo>
                    <a:pt x="1363" y="56"/>
                  </a:lnTo>
                  <a:lnTo>
                    <a:pt x="1363" y="56"/>
                  </a:lnTo>
                  <a:lnTo>
                    <a:pt x="1363" y="56"/>
                  </a:lnTo>
                  <a:lnTo>
                    <a:pt x="1361" y="56"/>
                  </a:lnTo>
                  <a:lnTo>
                    <a:pt x="1358" y="56"/>
                  </a:lnTo>
                  <a:lnTo>
                    <a:pt x="1355" y="53"/>
                  </a:lnTo>
                  <a:lnTo>
                    <a:pt x="1353" y="53"/>
                  </a:lnTo>
                  <a:lnTo>
                    <a:pt x="1353" y="51"/>
                  </a:lnTo>
                  <a:lnTo>
                    <a:pt x="1353" y="48"/>
                  </a:lnTo>
                  <a:lnTo>
                    <a:pt x="1353" y="48"/>
                  </a:lnTo>
                  <a:lnTo>
                    <a:pt x="1353" y="48"/>
                  </a:lnTo>
                  <a:lnTo>
                    <a:pt x="1355" y="48"/>
                  </a:lnTo>
                  <a:lnTo>
                    <a:pt x="1355" y="48"/>
                  </a:lnTo>
                  <a:lnTo>
                    <a:pt x="1355" y="48"/>
                  </a:lnTo>
                  <a:lnTo>
                    <a:pt x="1355" y="45"/>
                  </a:lnTo>
                  <a:lnTo>
                    <a:pt x="1355" y="45"/>
                  </a:lnTo>
                  <a:lnTo>
                    <a:pt x="1355" y="45"/>
                  </a:lnTo>
                  <a:lnTo>
                    <a:pt x="1355" y="45"/>
                  </a:lnTo>
                  <a:lnTo>
                    <a:pt x="1358" y="43"/>
                  </a:lnTo>
                  <a:lnTo>
                    <a:pt x="1361" y="40"/>
                  </a:lnTo>
                  <a:lnTo>
                    <a:pt x="1361" y="40"/>
                  </a:lnTo>
                  <a:lnTo>
                    <a:pt x="1358" y="37"/>
                  </a:lnTo>
                  <a:lnTo>
                    <a:pt x="1353" y="37"/>
                  </a:lnTo>
                  <a:lnTo>
                    <a:pt x="1347" y="37"/>
                  </a:lnTo>
                  <a:lnTo>
                    <a:pt x="1347" y="37"/>
                  </a:lnTo>
                  <a:lnTo>
                    <a:pt x="1347" y="37"/>
                  </a:lnTo>
                  <a:lnTo>
                    <a:pt x="1347" y="37"/>
                  </a:lnTo>
                  <a:lnTo>
                    <a:pt x="1350" y="37"/>
                  </a:lnTo>
                  <a:lnTo>
                    <a:pt x="1350" y="40"/>
                  </a:lnTo>
                  <a:lnTo>
                    <a:pt x="1347" y="40"/>
                  </a:lnTo>
                  <a:lnTo>
                    <a:pt x="1347" y="40"/>
                  </a:lnTo>
                  <a:lnTo>
                    <a:pt x="1347" y="40"/>
                  </a:lnTo>
                  <a:lnTo>
                    <a:pt x="1347" y="37"/>
                  </a:lnTo>
                  <a:lnTo>
                    <a:pt x="1347" y="37"/>
                  </a:lnTo>
                  <a:lnTo>
                    <a:pt x="1347" y="37"/>
                  </a:lnTo>
                  <a:lnTo>
                    <a:pt x="1345" y="37"/>
                  </a:lnTo>
                  <a:lnTo>
                    <a:pt x="1345" y="37"/>
                  </a:lnTo>
                  <a:lnTo>
                    <a:pt x="1345" y="37"/>
                  </a:lnTo>
                  <a:lnTo>
                    <a:pt x="1345" y="37"/>
                  </a:lnTo>
                  <a:lnTo>
                    <a:pt x="1345" y="37"/>
                  </a:lnTo>
                  <a:lnTo>
                    <a:pt x="1345" y="37"/>
                  </a:lnTo>
                  <a:lnTo>
                    <a:pt x="1345" y="37"/>
                  </a:lnTo>
                  <a:lnTo>
                    <a:pt x="1345" y="37"/>
                  </a:lnTo>
                  <a:lnTo>
                    <a:pt x="1345" y="37"/>
                  </a:lnTo>
                  <a:lnTo>
                    <a:pt x="1345" y="37"/>
                  </a:lnTo>
                  <a:lnTo>
                    <a:pt x="1342" y="37"/>
                  </a:lnTo>
                  <a:lnTo>
                    <a:pt x="1342" y="35"/>
                  </a:lnTo>
                  <a:lnTo>
                    <a:pt x="1342" y="35"/>
                  </a:lnTo>
                  <a:lnTo>
                    <a:pt x="1342" y="35"/>
                  </a:lnTo>
                  <a:lnTo>
                    <a:pt x="1339" y="35"/>
                  </a:lnTo>
                  <a:lnTo>
                    <a:pt x="1339" y="35"/>
                  </a:lnTo>
                  <a:lnTo>
                    <a:pt x="1339" y="35"/>
                  </a:lnTo>
                  <a:lnTo>
                    <a:pt x="1339" y="35"/>
                  </a:lnTo>
                  <a:lnTo>
                    <a:pt x="1339" y="35"/>
                  </a:lnTo>
                  <a:lnTo>
                    <a:pt x="1339" y="35"/>
                  </a:lnTo>
                  <a:lnTo>
                    <a:pt x="1339" y="35"/>
                  </a:lnTo>
                  <a:lnTo>
                    <a:pt x="1339" y="35"/>
                  </a:lnTo>
                  <a:lnTo>
                    <a:pt x="1339" y="35"/>
                  </a:lnTo>
                  <a:lnTo>
                    <a:pt x="1336" y="35"/>
                  </a:lnTo>
                  <a:lnTo>
                    <a:pt x="1336" y="35"/>
                  </a:lnTo>
                  <a:lnTo>
                    <a:pt x="1334" y="35"/>
                  </a:lnTo>
                  <a:lnTo>
                    <a:pt x="1334" y="35"/>
                  </a:lnTo>
                  <a:lnTo>
                    <a:pt x="1334" y="35"/>
                  </a:lnTo>
                  <a:lnTo>
                    <a:pt x="1331" y="35"/>
                  </a:lnTo>
                  <a:lnTo>
                    <a:pt x="1328" y="37"/>
                  </a:lnTo>
                  <a:lnTo>
                    <a:pt x="1320" y="35"/>
                  </a:lnTo>
                  <a:lnTo>
                    <a:pt x="1320" y="37"/>
                  </a:lnTo>
                  <a:lnTo>
                    <a:pt x="1320" y="37"/>
                  </a:lnTo>
                  <a:lnTo>
                    <a:pt x="1318" y="40"/>
                  </a:lnTo>
                  <a:lnTo>
                    <a:pt x="1318" y="40"/>
                  </a:lnTo>
                  <a:lnTo>
                    <a:pt x="1315" y="43"/>
                  </a:lnTo>
                  <a:lnTo>
                    <a:pt x="1315" y="43"/>
                  </a:lnTo>
                  <a:lnTo>
                    <a:pt x="1312" y="43"/>
                  </a:lnTo>
                  <a:lnTo>
                    <a:pt x="1312" y="43"/>
                  </a:lnTo>
                  <a:lnTo>
                    <a:pt x="1312" y="43"/>
                  </a:lnTo>
                  <a:lnTo>
                    <a:pt x="1312" y="43"/>
                  </a:lnTo>
                  <a:lnTo>
                    <a:pt x="1312" y="43"/>
                  </a:lnTo>
                  <a:lnTo>
                    <a:pt x="1312" y="40"/>
                  </a:lnTo>
                  <a:lnTo>
                    <a:pt x="1312" y="40"/>
                  </a:lnTo>
                  <a:lnTo>
                    <a:pt x="1310" y="40"/>
                  </a:lnTo>
                  <a:lnTo>
                    <a:pt x="1310" y="40"/>
                  </a:lnTo>
                  <a:lnTo>
                    <a:pt x="1307" y="40"/>
                  </a:lnTo>
                  <a:lnTo>
                    <a:pt x="1304" y="40"/>
                  </a:lnTo>
                  <a:lnTo>
                    <a:pt x="1304" y="40"/>
                  </a:lnTo>
                  <a:lnTo>
                    <a:pt x="1304" y="40"/>
                  </a:lnTo>
                  <a:lnTo>
                    <a:pt x="1304" y="40"/>
                  </a:lnTo>
                  <a:lnTo>
                    <a:pt x="1304" y="40"/>
                  </a:lnTo>
                  <a:lnTo>
                    <a:pt x="1304" y="37"/>
                  </a:lnTo>
                  <a:lnTo>
                    <a:pt x="1304" y="37"/>
                  </a:lnTo>
                  <a:lnTo>
                    <a:pt x="1302" y="37"/>
                  </a:lnTo>
                  <a:lnTo>
                    <a:pt x="1299" y="37"/>
                  </a:lnTo>
                  <a:lnTo>
                    <a:pt x="1302" y="35"/>
                  </a:lnTo>
                  <a:lnTo>
                    <a:pt x="1302" y="35"/>
                  </a:lnTo>
                  <a:lnTo>
                    <a:pt x="1304" y="35"/>
                  </a:lnTo>
                  <a:lnTo>
                    <a:pt x="1304" y="35"/>
                  </a:lnTo>
                  <a:lnTo>
                    <a:pt x="1304" y="35"/>
                  </a:lnTo>
                  <a:lnTo>
                    <a:pt x="1304" y="32"/>
                  </a:lnTo>
                  <a:lnTo>
                    <a:pt x="1304" y="32"/>
                  </a:lnTo>
                  <a:lnTo>
                    <a:pt x="1304" y="32"/>
                  </a:lnTo>
                  <a:lnTo>
                    <a:pt x="1304" y="32"/>
                  </a:lnTo>
                  <a:lnTo>
                    <a:pt x="1304" y="32"/>
                  </a:lnTo>
                  <a:lnTo>
                    <a:pt x="1304" y="29"/>
                  </a:lnTo>
                  <a:lnTo>
                    <a:pt x="1304" y="29"/>
                  </a:lnTo>
                  <a:lnTo>
                    <a:pt x="1304" y="29"/>
                  </a:lnTo>
                  <a:lnTo>
                    <a:pt x="1304" y="29"/>
                  </a:lnTo>
                  <a:lnTo>
                    <a:pt x="1304" y="27"/>
                  </a:lnTo>
                  <a:lnTo>
                    <a:pt x="1304" y="27"/>
                  </a:lnTo>
                  <a:lnTo>
                    <a:pt x="1302" y="27"/>
                  </a:lnTo>
                  <a:lnTo>
                    <a:pt x="1302" y="24"/>
                  </a:lnTo>
                  <a:lnTo>
                    <a:pt x="1299" y="21"/>
                  </a:lnTo>
                  <a:lnTo>
                    <a:pt x="1299" y="21"/>
                  </a:lnTo>
                  <a:lnTo>
                    <a:pt x="1299" y="21"/>
                  </a:lnTo>
                  <a:lnTo>
                    <a:pt x="1299" y="24"/>
                  </a:lnTo>
                  <a:lnTo>
                    <a:pt x="1299" y="21"/>
                  </a:lnTo>
                  <a:lnTo>
                    <a:pt x="1299" y="21"/>
                  </a:lnTo>
                  <a:lnTo>
                    <a:pt x="1299" y="21"/>
                  </a:lnTo>
                  <a:lnTo>
                    <a:pt x="1296" y="21"/>
                  </a:lnTo>
                  <a:lnTo>
                    <a:pt x="1296" y="21"/>
                  </a:lnTo>
                  <a:lnTo>
                    <a:pt x="1296" y="21"/>
                  </a:lnTo>
                  <a:lnTo>
                    <a:pt x="1296" y="21"/>
                  </a:lnTo>
                  <a:lnTo>
                    <a:pt x="1296" y="21"/>
                  </a:lnTo>
                  <a:lnTo>
                    <a:pt x="1296" y="24"/>
                  </a:lnTo>
                  <a:lnTo>
                    <a:pt x="1296" y="24"/>
                  </a:lnTo>
                  <a:lnTo>
                    <a:pt x="1296" y="24"/>
                  </a:lnTo>
                  <a:lnTo>
                    <a:pt x="1296" y="27"/>
                  </a:lnTo>
                  <a:lnTo>
                    <a:pt x="1296" y="27"/>
                  </a:lnTo>
                  <a:lnTo>
                    <a:pt x="1294" y="29"/>
                  </a:lnTo>
                  <a:lnTo>
                    <a:pt x="1294" y="27"/>
                  </a:lnTo>
                  <a:lnTo>
                    <a:pt x="1294" y="27"/>
                  </a:lnTo>
                  <a:lnTo>
                    <a:pt x="1294" y="27"/>
                  </a:lnTo>
                  <a:lnTo>
                    <a:pt x="1296" y="24"/>
                  </a:lnTo>
                  <a:lnTo>
                    <a:pt x="1296" y="24"/>
                  </a:lnTo>
                  <a:lnTo>
                    <a:pt x="1294" y="24"/>
                  </a:lnTo>
                  <a:lnTo>
                    <a:pt x="1294" y="21"/>
                  </a:lnTo>
                  <a:lnTo>
                    <a:pt x="1294" y="21"/>
                  </a:lnTo>
                  <a:lnTo>
                    <a:pt x="1294" y="21"/>
                  </a:lnTo>
                  <a:lnTo>
                    <a:pt x="1296" y="21"/>
                  </a:lnTo>
                  <a:lnTo>
                    <a:pt x="1294" y="19"/>
                  </a:lnTo>
                  <a:lnTo>
                    <a:pt x="1294" y="19"/>
                  </a:lnTo>
                  <a:lnTo>
                    <a:pt x="1294" y="19"/>
                  </a:lnTo>
                  <a:lnTo>
                    <a:pt x="1294" y="19"/>
                  </a:lnTo>
                  <a:lnTo>
                    <a:pt x="1294" y="19"/>
                  </a:lnTo>
                  <a:lnTo>
                    <a:pt x="1294" y="21"/>
                  </a:lnTo>
                  <a:lnTo>
                    <a:pt x="1294" y="21"/>
                  </a:lnTo>
                  <a:lnTo>
                    <a:pt x="1294" y="21"/>
                  </a:lnTo>
                  <a:lnTo>
                    <a:pt x="1294" y="24"/>
                  </a:lnTo>
                  <a:lnTo>
                    <a:pt x="1294" y="24"/>
                  </a:lnTo>
                  <a:lnTo>
                    <a:pt x="1291" y="21"/>
                  </a:lnTo>
                  <a:lnTo>
                    <a:pt x="1291" y="21"/>
                  </a:lnTo>
                  <a:lnTo>
                    <a:pt x="1291" y="21"/>
                  </a:lnTo>
                  <a:lnTo>
                    <a:pt x="1291" y="21"/>
                  </a:lnTo>
                  <a:lnTo>
                    <a:pt x="1288" y="24"/>
                  </a:lnTo>
                  <a:lnTo>
                    <a:pt x="1291" y="24"/>
                  </a:lnTo>
                  <a:lnTo>
                    <a:pt x="1291" y="24"/>
                  </a:lnTo>
                  <a:lnTo>
                    <a:pt x="1291" y="27"/>
                  </a:lnTo>
                  <a:lnTo>
                    <a:pt x="1291" y="27"/>
                  </a:lnTo>
                  <a:lnTo>
                    <a:pt x="1291" y="29"/>
                  </a:lnTo>
                  <a:lnTo>
                    <a:pt x="1291" y="29"/>
                  </a:lnTo>
                  <a:lnTo>
                    <a:pt x="1291" y="29"/>
                  </a:lnTo>
                  <a:lnTo>
                    <a:pt x="1291" y="29"/>
                  </a:lnTo>
                  <a:lnTo>
                    <a:pt x="1291" y="27"/>
                  </a:lnTo>
                  <a:lnTo>
                    <a:pt x="1288" y="27"/>
                  </a:lnTo>
                  <a:lnTo>
                    <a:pt x="1288" y="27"/>
                  </a:lnTo>
                  <a:lnTo>
                    <a:pt x="1288" y="27"/>
                  </a:lnTo>
                  <a:lnTo>
                    <a:pt x="1288" y="29"/>
                  </a:lnTo>
                  <a:lnTo>
                    <a:pt x="1288" y="29"/>
                  </a:lnTo>
                  <a:lnTo>
                    <a:pt x="1286" y="29"/>
                  </a:lnTo>
                  <a:lnTo>
                    <a:pt x="1286" y="32"/>
                  </a:lnTo>
                  <a:lnTo>
                    <a:pt x="1283" y="32"/>
                  </a:lnTo>
                  <a:lnTo>
                    <a:pt x="1283" y="32"/>
                  </a:lnTo>
                  <a:lnTo>
                    <a:pt x="1283" y="35"/>
                  </a:lnTo>
                  <a:lnTo>
                    <a:pt x="1283" y="35"/>
                  </a:lnTo>
                  <a:lnTo>
                    <a:pt x="1283" y="37"/>
                  </a:lnTo>
                  <a:lnTo>
                    <a:pt x="1283" y="37"/>
                  </a:lnTo>
                  <a:lnTo>
                    <a:pt x="1283" y="37"/>
                  </a:lnTo>
                  <a:lnTo>
                    <a:pt x="1283" y="40"/>
                  </a:lnTo>
                  <a:lnTo>
                    <a:pt x="1283" y="40"/>
                  </a:lnTo>
                  <a:lnTo>
                    <a:pt x="1280" y="37"/>
                  </a:lnTo>
                  <a:lnTo>
                    <a:pt x="1280" y="37"/>
                  </a:lnTo>
                  <a:lnTo>
                    <a:pt x="1280" y="37"/>
                  </a:lnTo>
                  <a:lnTo>
                    <a:pt x="1280" y="37"/>
                  </a:lnTo>
                  <a:lnTo>
                    <a:pt x="1280" y="40"/>
                  </a:lnTo>
                  <a:lnTo>
                    <a:pt x="1280" y="40"/>
                  </a:lnTo>
                  <a:lnTo>
                    <a:pt x="1280" y="40"/>
                  </a:lnTo>
                  <a:lnTo>
                    <a:pt x="1280" y="40"/>
                  </a:lnTo>
                  <a:lnTo>
                    <a:pt x="1280" y="40"/>
                  </a:lnTo>
                  <a:lnTo>
                    <a:pt x="1280" y="40"/>
                  </a:lnTo>
                  <a:lnTo>
                    <a:pt x="1280" y="40"/>
                  </a:lnTo>
                  <a:lnTo>
                    <a:pt x="1278" y="40"/>
                  </a:lnTo>
                  <a:lnTo>
                    <a:pt x="1278" y="40"/>
                  </a:lnTo>
                  <a:lnTo>
                    <a:pt x="1278" y="40"/>
                  </a:lnTo>
                  <a:lnTo>
                    <a:pt x="1275" y="40"/>
                  </a:lnTo>
                  <a:lnTo>
                    <a:pt x="1275" y="40"/>
                  </a:lnTo>
                  <a:lnTo>
                    <a:pt x="1275" y="40"/>
                  </a:lnTo>
                  <a:lnTo>
                    <a:pt x="1275" y="43"/>
                  </a:lnTo>
                  <a:lnTo>
                    <a:pt x="1275" y="43"/>
                  </a:lnTo>
                  <a:lnTo>
                    <a:pt x="1275" y="43"/>
                  </a:lnTo>
                  <a:lnTo>
                    <a:pt x="1275" y="43"/>
                  </a:lnTo>
                  <a:lnTo>
                    <a:pt x="1275" y="43"/>
                  </a:lnTo>
                  <a:lnTo>
                    <a:pt x="1272" y="45"/>
                  </a:lnTo>
                  <a:lnTo>
                    <a:pt x="1272" y="43"/>
                  </a:lnTo>
                  <a:lnTo>
                    <a:pt x="1272" y="43"/>
                  </a:lnTo>
                  <a:lnTo>
                    <a:pt x="1272" y="43"/>
                  </a:lnTo>
                  <a:lnTo>
                    <a:pt x="1272" y="43"/>
                  </a:lnTo>
                  <a:lnTo>
                    <a:pt x="1272" y="40"/>
                  </a:lnTo>
                  <a:lnTo>
                    <a:pt x="1272" y="40"/>
                  </a:lnTo>
                  <a:lnTo>
                    <a:pt x="1272" y="40"/>
                  </a:lnTo>
                  <a:lnTo>
                    <a:pt x="1275" y="40"/>
                  </a:lnTo>
                  <a:lnTo>
                    <a:pt x="1275" y="37"/>
                  </a:lnTo>
                  <a:lnTo>
                    <a:pt x="1275" y="37"/>
                  </a:lnTo>
                  <a:lnTo>
                    <a:pt x="1275" y="37"/>
                  </a:lnTo>
                  <a:lnTo>
                    <a:pt x="1272" y="37"/>
                  </a:lnTo>
                  <a:lnTo>
                    <a:pt x="1272" y="35"/>
                  </a:lnTo>
                  <a:lnTo>
                    <a:pt x="1272" y="35"/>
                  </a:lnTo>
                  <a:lnTo>
                    <a:pt x="1272" y="35"/>
                  </a:lnTo>
                  <a:lnTo>
                    <a:pt x="1272" y="35"/>
                  </a:lnTo>
                  <a:lnTo>
                    <a:pt x="1270" y="35"/>
                  </a:lnTo>
                  <a:lnTo>
                    <a:pt x="1272" y="35"/>
                  </a:lnTo>
                  <a:lnTo>
                    <a:pt x="1272" y="35"/>
                  </a:lnTo>
                  <a:lnTo>
                    <a:pt x="1272" y="32"/>
                  </a:lnTo>
                  <a:lnTo>
                    <a:pt x="1270" y="35"/>
                  </a:lnTo>
                  <a:lnTo>
                    <a:pt x="1270" y="35"/>
                  </a:lnTo>
                  <a:lnTo>
                    <a:pt x="1270" y="32"/>
                  </a:lnTo>
                  <a:lnTo>
                    <a:pt x="1272" y="32"/>
                  </a:lnTo>
                  <a:lnTo>
                    <a:pt x="1272" y="32"/>
                  </a:lnTo>
                  <a:lnTo>
                    <a:pt x="1272" y="32"/>
                  </a:lnTo>
                  <a:lnTo>
                    <a:pt x="1272" y="32"/>
                  </a:lnTo>
                  <a:lnTo>
                    <a:pt x="1272" y="32"/>
                  </a:lnTo>
                  <a:lnTo>
                    <a:pt x="1270" y="29"/>
                  </a:lnTo>
                  <a:lnTo>
                    <a:pt x="1272" y="29"/>
                  </a:lnTo>
                  <a:lnTo>
                    <a:pt x="1272" y="29"/>
                  </a:lnTo>
                  <a:lnTo>
                    <a:pt x="1278" y="29"/>
                  </a:lnTo>
                  <a:lnTo>
                    <a:pt x="1278" y="29"/>
                  </a:lnTo>
                  <a:lnTo>
                    <a:pt x="1278" y="29"/>
                  </a:lnTo>
                  <a:lnTo>
                    <a:pt x="1278" y="29"/>
                  </a:lnTo>
                  <a:lnTo>
                    <a:pt x="1278" y="29"/>
                  </a:lnTo>
                  <a:lnTo>
                    <a:pt x="1280" y="29"/>
                  </a:lnTo>
                  <a:lnTo>
                    <a:pt x="1280" y="27"/>
                  </a:lnTo>
                  <a:lnTo>
                    <a:pt x="1280" y="27"/>
                  </a:lnTo>
                  <a:lnTo>
                    <a:pt x="1280" y="27"/>
                  </a:lnTo>
                  <a:lnTo>
                    <a:pt x="1280" y="27"/>
                  </a:lnTo>
                  <a:lnTo>
                    <a:pt x="1280" y="27"/>
                  </a:lnTo>
                  <a:lnTo>
                    <a:pt x="1280" y="27"/>
                  </a:lnTo>
                  <a:lnTo>
                    <a:pt x="1280" y="24"/>
                  </a:lnTo>
                  <a:lnTo>
                    <a:pt x="1280" y="24"/>
                  </a:lnTo>
                  <a:lnTo>
                    <a:pt x="1283" y="24"/>
                  </a:lnTo>
                  <a:lnTo>
                    <a:pt x="1283" y="24"/>
                  </a:lnTo>
                  <a:lnTo>
                    <a:pt x="1283" y="21"/>
                  </a:lnTo>
                  <a:lnTo>
                    <a:pt x="1283" y="21"/>
                  </a:lnTo>
                  <a:lnTo>
                    <a:pt x="1283" y="19"/>
                  </a:lnTo>
                  <a:lnTo>
                    <a:pt x="1283" y="19"/>
                  </a:lnTo>
                  <a:lnTo>
                    <a:pt x="1283" y="16"/>
                  </a:lnTo>
                  <a:lnTo>
                    <a:pt x="1278" y="16"/>
                  </a:lnTo>
                  <a:lnTo>
                    <a:pt x="1278" y="13"/>
                  </a:lnTo>
                  <a:lnTo>
                    <a:pt x="1275" y="16"/>
                  </a:lnTo>
                  <a:lnTo>
                    <a:pt x="1275" y="16"/>
                  </a:lnTo>
                  <a:lnTo>
                    <a:pt x="1275" y="16"/>
                  </a:lnTo>
                  <a:lnTo>
                    <a:pt x="1275" y="13"/>
                  </a:lnTo>
                  <a:lnTo>
                    <a:pt x="1275" y="13"/>
                  </a:lnTo>
                  <a:lnTo>
                    <a:pt x="1275" y="13"/>
                  </a:lnTo>
                  <a:lnTo>
                    <a:pt x="1275" y="13"/>
                  </a:lnTo>
                  <a:lnTo>
                    <a:pt x="1275" y="16"/>
                  </a:lnTo>
                  <a:lnTo>
                    <a:pt x="1272" y="16"/>
                  </a:lnTo>
                  <a:lnTo>
                    <a:pt x="1272" y="16"/>
                  </a:lnTo>
                  <a:lnTo>
                    <a:pt x="1272" y="16"/>
                  </a:lnTo>
                  <a:lnTo>
                    <a:pt x="1272" y="16"/>
                  </a:lnTo>
                  <a:lnTo>
                    <a:pt x="1272" y="16"/>
                  </a:lnTo>
                  <a:lnTo>
                    <a:pt x="1272" y="13"/>
                  </a:lnTo>
                  <a:lnTo>
                    <a:pt x="1272" y="13"/>
                  </a:lnTo>
                  <a:lnTo>
                    <a:pt x="1272" y="13"/>
                  </a:lnTo>
                  <a:lnTo>
                    <a:pt x="1272" y="13"/>
                  </a:lnTo>
                  <a:lnTo>
                    <a:pt x="1272" y="13"/>
                  </a:lnTo>
                  <a:lnTo>
                    <a:pt x="1270" y="11"/>
                  </a:lnTo>
                  <a:lnTo>
                    <a:pt x="1270" y="11"/>
                  </a:lnTo>
                  <a:lnTo>
                    <a:pt x="1264" y="11"/>
                  </a:lnTo>
                  <a:lnTo>
                    <a:pt x="1264" y="11"/>
                  </a:lnTo>
                  <a:lnTo>
                    <a:pt x="1264" y="11"/>
                  </a:lnTo>
                  <a:lnTo>
                    <a:pt x="1264" y="8"/>
                  </a:lnTo>
                  <a:lnTo>
                    <a:pt x="1262" y="8"/>
                  </a:lnTo>
                  <a:lnTo>
                    <a:pt x="1262" y="8"/>
                  </a:lnTo>
                  <a:lnTo>
                    <a:pt x="1262" y="5"/>
                  </a:lnTo>
                  <a:lnTo>
                    <a:pt x="1262" y="5"/>
                  </a:lnTo>
                  <a:lnTo>
                    <a:pt x="1262" y="5"/>
                  </a:lnTo>
                  <a:lnTo>
                    <a:pt x="1262" y="5"/>
                  </a:lnTo>
                  <a:lnTo>
                    <a:pt x="1262" y="3"/>
                  </a:lnTo>
                  <a:lnTo>
                    <a:pt x="1264" y="3"/>
                  </a:lnTo>
                  <a:lnTo>
                    <a:pt x="1264" y="3"/>
                  </a:lnTo>
                  <a:lnTo>
                    <a:pt x="1264" y="3"/>
                  </a:lnTo>
                  <a:lnTo>
                    <a:pt x="1267" y="3"/>
                  </a:lnTo>
                  <a:lnTo>
                    <a:pt x="1264" y="3"/>
                  </a:lnTo>
                  <a:lnTo>
                    <a:pt x="1264" y="0"/>
                  </a:lnTo>
                  <a:lnTo>
                    <a:pt x="1264" y="0"/>
                  </a:lnTo>
                  <a:lnTo>
                    <a:pt x="1264" y="0"/>
                  </a:lnTo>
                  <a:lnTo>
                    <a:pt x="1262" y="3"/>
                  </a:lnTo>
                  <a:lnTo>
                    <a:pt x="1262" y="3"/>
                  </a:lnTo>
                  <a:lnTo>
                    <a:pt x="1259" y="5"/>
                  </a:lnTo>
                  <a:lnTo>
                    <a:pt x="1256" y="8"/>
                  </a:lnTo>
                  <a:lnTo>
                    <a:pt x="1251" y="13"/>
                  </a:lnTo>
                  <a:lnTo>
                    <a:pt x="1248" y="16"/>
                  </a:lnTo>
                  <a:lnTo>
                    <a:pt x="1246" y="21"/>
                  </a:lnTo>
                  <a:lnTo>
                    <a:pt x="1238" y="29"/>
                  </a:lnTo>
                  <a:lnTo>
                    <a:pt x="1238" y="29"/>
                  </a:lnTo>
                  <a:lnTo>
                    <a:pt x="1238" y="29"/>
                  </a:lnTo>
                  <a:lnTo>
                    <a:pt x="1238" y="32"/>
                  </a:lnTo>
                  <a:lnTo>
                    <a:pt x="1235" y="32"/>
                  </a:lnTo>
                  <a:lnTo>
                    <a:pt x="1230" y="35"/>
                  </a:lnTo>
                  <a:lnTo>
                    <a:pt x="1227" y="37"/>
                  </a:lnTo>
                  <a:lnTo>
                    <a:pt x="1219" y="37"/>
                  </a:lnTo>
                  <a:lnTo>
                    <a:pt x="1216" y="35"/>
                  </a:lnTo>
                  <a:lnTo>
                    <a:pt x="1216" y="35"/>
                  </a:lnTo>
                  <a:lnTo>
                    <a:pt x="1216" y="37"/>
                  </a:lnTo>
                  <a:lnTo>
                    <a:pt x="1216" y="37"/>
                  </a:lnTo>
                  <a:lnTo>
                    <a:pt x="1219" y="37"/>
                  </a:lnTo>
                  <a:lnTo>
                    <a:pt x="1211" y="40"/>
                  </a:lnTo>
                  <a:lnTo>
                    <a:pt x="1203" y="37"/>
                  </a:lnTo>
                  <a:lnTo>
                    <a:pt x="1203" y="37"/>
                  </a:lnTo>
                  <a:lnTo>
                    <a:pt x="1203" y="37"/>
                  </a:lnTo>
                  <a:lnTo>
                    <a:pt x="1206" y="37"/>
                  </a:lnTo>
                  <a:lnTo>
                    <a:pt x="1206" y="40"/>
                  </a:lnTo>
                  <a:lnTo>
                    <a:pt x="1200" y="40"/>
                  </a:lnTo>
                  <a:lnTo>
                    <a:pt x="1200" y="40"/>
                  </a:lnTo>
                  <a:lnTo>
                    <a:pt x="1198" y="40"/>
                  </a:lnTo>
                  <a:lnTo>
                    <a:pt x="1198" y="40"/>
                  </a:lnTo>
                  <a:lnTo>
                    <a:pt x="1200" y="45"/>
                  </a:lnTo>
                  <a:lnTo>
                    <a:pt x="1198" y="45"/>
                  </a:lnTo>
                  <a:lnTo>
                    <a:pt x="1198" y="43"/>
                  </a:lnTo>
                  <a:lnTo>
                    <a:pt x="1198" y="43"/>
                  </a:lnTo>
                  <a:lnTo>
                    <a:pt x="1198" y="40"/>
                  </a:lnTo>
                  <a:lnTo>
                    <a:pt x="1198" y="40"/>
                  </a:lnTo>
                  <a:lnTo>
                    <a:pt x="1198" y="40"/>
                  </a:lnTo>
                  <a:lnTo>
                    <a:pt x="1198" y="40"/>
                  </a:lnTo>
                  <a:lnTo>
                    <a:pt x="1198" y="40"/>
                  </a:lnTo>
                  <a:lnTo>
                    <a:pt x="1198" y="40"/>
                  </a:lnTo>
                  <a:lnTo>
                    <a:pt x="1195" y="40"/>
                  </a:lnTo>
                  <a:lnTo>
                    <a:pt x="1195" y="40"/>
                  </a:lnTo>
                  <a:lnTo>
                    <a:pt x="1195" y="40"/>
                  </a:lnTo>
                  <a:lnTo>
                    <a:pt x="1195" y="40"/>
                  </a:lnTo>
                  <a:lnTo>
                    <a:pt x="1195" y="37"/>
                  </a:lnTo>
                  <a:lnTo>
                    <a:pt x="1195" y="37"/>
                  </a:lnTo>
                  <a:lnTo>
                    <a:pt x="1198" y="37"/>
                  </a:lnTo>
                  <a:lnTo>
                    <a:pt x="1200" y="37"/>
                  </a:lnTo>
                  <a:lnTo>
                    <a:pt x="1200" y="37"/>
                  </a:lnTo>
                  <a:lnTo>
                    <a:pt x="1200" y="35"/>
                  </a:lnTo>
                  <a:lnTo>
                    <a:pt x="1200" y="35"/>
                  </a:lnTo>
                  <a:lnTo>
                    <a:pt x="1195" y="35"/>
                  </a:lnTo>
                  <a:lnTo>
                    <a:pt x="1198" y="35"/>
                  </a:lnTo>
                  <a:lnTo>
                    <a:pt x="1200" y="32"/>
                  </a:lnTo>
                  <a:lnTo>
                    <a:pt x="1200" y="32"/>
                  </a:lnTo>
                  <a:lnTo>
                    <a:pt x="1198" y="32"/>
                  </a:lnTo>
                  <a:lnTo>
                    <a:pt x="1195" y="35"/>
                  </a:lnTo>
                  <a:lnTo>
                    <a:pt x="1195" y="35"/>
                  </a:lnTo>
                  <a:lnTo>
                    <a:pt x="1192" y="35"/>
                  </a:lnTo>
                  <a:lnTo>
                    <a:pt x="1192" y="35"/>
                  </a:lnTo>
                  <a:lnTo>
                    <a:pt x="1192" y="37"/>
                  </a:lnTo>
                  <a:lnTo>
                    <a:pt x="1190" y="37"/>
                  </a:lnTo>
                  <a:lnTo>
                    <a:pt x="1190" y="37"/>
                  </a:lnTo>
                  <a:lnTo>
                    <a:pt x="1190" y="37"/>
                  </a:lnTo>
                  <a:lnTo>
                    <a:pt x="1190" y="37"/>
                  </a:lnTo>
                  <a:lnTo>
                    <a:pt x="1187" y="40"/>
                  </a:lnTo>
                  <a:lnTo>
                    <a:pt x="1184" y="43"/>
                  </a:lnTo>
                  <a:lnTo>
                    <a:pt x="1184" y="43"/>
                  </a:lnTo>
                  <a:lnTo>
                    <a:pt x="1184" y="43"/>
                  </a:lnTo>
                  <a:lnTo>
                    <a:pt x="1184" y="43"/>
                  </a:lnTo>
                  <a:lnTo>
                    <a:pt x="1184" y="43"/>
                  </a:lnTo>
                  <a:lnTo>
                    <a:pt x="1179" y="45"/>
                  </a:lnTo>
                  <a:lnTo>
                    <a:pt x="1179" y="48"/>
                  </a:lnTo>
                  <a:lnTo>
                    <a:pt x="1179" y="48"/>
                  </a:lnTo>
                  <a:lnTo>
                    <a:pt x="1179" y="48"/>
                  </a:lnTo>
                  <a:lnTo>
                    <a:pt x="1179" y="48"/>
                  </a:lnTo>
                  <a:lnTo>
                    <a:pt x="1179" y="48"/>
                  </a:lnTo>
                  <a:lnTo>
                    <a:pt x="1182" y="48"/>
                  </a:lnTo>
                  <a:lnTo>
                    <a:pt x="1182" y="48"/>
                  </a:lnTo>
                  <a:lnTo>
                    <a:pt x="1184" y="48"/>
                  </a:lnTo>
                  <a:lnTo>
                    <a:pt x="1184" y="51"/>
                  </a:lnTo>
                  <a:lnTo>
                    <a:pt x="1184" y="51"/>
                  </a:lnTo>
                  <a:lnTo>
                    <a:pt x="1184" y="51"/>
                  </a:lnTo>
                  <a:lnTo>
                    <a:pt x="1184" y="51"/>
                  </a:lnTo>
                  <a:lnTo>
                    <a:pt x="1184" y="51"/>
                  </a:lnTo>
                  <a:lnTo>
                    <a:pt x="1184" y="53"/>
                  </a:lnTo>
                  <a:lnTo>
                    <a:pt x="1184" y="53"/>
                  </a:lnTo>
                  <a:lnTo>
                    <a:pt x="1184" y="53"/>
                  </a:lnTo>
                  <a:lnTo>
                    <a:pt x="1184" y="56"/>
                  </a:lnTo>
                  <a:lnTo>
                    <a:pt x="1187" y="56"/>
                  </a:lnTo>
                  <a:lnTo>
                    <a:pt x="1187" y="56"/>
                  </a:lnTo>
                  <a:lnTo>
                    <a:pt x="1187" y="56"/>
                  </a:lnTo>
                  <a:lnTo>
                    <a:pt x="1187" y="56"/>
                  </a:lnTo>
                  <a:lnTo>
                    <a:pt x="1187" y="56"/>
                  </a:lnTo>
                  <a:lnTo>
                    <a:pt x="1187" y="56"/>
                  </a:lnTo>
                  <a:lnTo>
                    <a:pt x="1190" y="56"/>
                  </a:lnTo>
                  <a:lnTo>
                    <a:pt x="1190" y="56"/>
                  </a:lnTo>
                  <a:lnTo>
                    <a:pt x="1190" y="56"/>
                  </a:lnTo>
                  <a:lnTo>
                    <a:pt x="1190" y="56"/>
                  </a:lnTo>
                  <a:lnTo>
                    <a:pt x="1190" y="56"/>
                  </a:lnTo>
                  <a:lnTo>
                    <a:pt x="1190" y="56"/>
                  </a:lnTo>
                  <a:lnTo>
                    <a:pt x="1190" y="56"/>
                  </a:lnTo>
                  <a:lnTo>
                    <a:pt x="1190" y="56"/>
                  </a:lnTo>
                  <a:lnTo>
                    <a:pt x="1192" y="56"/>
                  </a:lnTo>
                  <a:lnTo>
                    <a:pt x="1192" y="56"/>
                  </a:lnTo>
                  <a:lnTo>
                    <a:pt x="1198" y="56"/>
                  </a:lnTo>
                  <a:lnTo>
                    <a:pt x="1195" y="56"/>
                  </a:lnTo>
                  <a:lnTo>
                    <a:pt x="1195" y="56"/>
                  </a:lnTo>
                  <a:lnTo>
                    <a:pt x="1195" y="56"/>
                  </a:lnTo>
                  <a:lnTo>
                    <a:pt x="1192" y="56"/>
                  </a:lnTo>
                  <a:lnTo>
                    <a:pt x="1192" y="56"/>
                  </a:lnTo>
                  <a:lnTo>
                    <a:pt x="1192" y="56"/>
                  </a:lnTo>
                  <a:lnTo>
                    <a:pt x="1192" y="56"/>
                  </a:lnTo>
                  <a:lnTo>
                    <a:pt x="1192" y="56"/>
                  </a:lnTo>
                  <a:lnTo>
                    <a:pt x="1190" y="56"/>
                  </a:lnTo>
                  <a:lnTo>
                    <a:pt x="1190" y="56"/>
                  </a:lnTo>
                  <a:lnTo>
                    <a:pt x="1187" y="59"/>
                  </a:lnTo>
                  <a:lnTo>
                    <a:pt x="1187" y="59"/>
                  </a:lnTo>
                  <a:lnTo>
                    <a:pt x="1187" y="59"/>
                  </a:lnTo>
                  <a:lnTo>
                    <a:pt x="1184" y="56"/>
                  </a:lnTo>
                  <a:lnTo>
                    <a:pt x="1184" y="56"/>
                  </a:lnTo>
                  <a:lnTo>
                    <a:pt x="1184" y="56"/>
                  </a:lnTo>
                  <a:lnTo>
                    <a:pt x="1184" y="59"/>
                  </a:lnTo>
                  <a:lnTo>
                    <a:pt x="1184" y="59"/>
                  </a:lnTo>
                  <a:lnTo>
                    <a:pt x="1182" y="61"/>
                  </a:lnTo>
                  <a:lnTo>
                    <a:pt x="1182" y="61"/>
                  </a:lnTo>
                  <a:lnTo>
                    <a:pt x="1182" y="61"/>
                  </a:lnTo>
                  <a:lnTo>
                    <a:pt x="1182" y="61"/>
                  </a:lnTo>
                  <a:lnTo>
                    <a:pt x="1182" y="64"/>
                  </a:lnTo>
                  <a:lnTo>
                    <a:pt x="1182" y="64"/>
                  </a:lnTo>
                  <a:lnTo>
                    <a:pt x="1182" y="64"/>
                  </a:lnTo>
                  <a:lnTo>
                    <a:pt x="1182" y="67"/>
                  </a:lnTo>
                  <a:lnTo>
                    <a:pt x="1182" y="67"/>
                  </a:lnTo>
                  <a:lnTo>
                    <a:pt x="1182" y="67"/>
                  </a:lnTo>
                  <a:lnTo>
                    <a:pt x="1182" y="67"/>
                  </a:lnTo>
                  <a:lnTo>
                    <a:pt x="1182" y="67"/>
                  </a:lnTo>
                  <a:lnTo>
                    <a:pt x="1182" y="69"/>
                  </a:lnTo>
                  <a:lnTo>
                    <a:pt x="1182" y="69"/>
                  </a:lnTo>
                  <a:lnTo>
                    <a:pt x="1182" y="69"/>
                  </a:lnTo>
                  <a:lnTo>
                    <a:pt x="1182" y="69"/>
                  </a:lnTo>
                  <a:lnTo>
                    <a:pt x="1182" y="72"/>
                  </a:lnTo>
                  <a:lnTo>
                    <a:pt x="1182" y="72"/>
                  </a:lnTo>
                  <a:lnTo>
                    <a:pt x="1182" y="72"/>
                  </a:lnTo>
                  <a:lnTo>
                    <a:pt x="1184" y="75"/>
                  </a:lnTo>
                  <a:lnTo>
                    <a:pt x="1184" y="75"/>
                  </a:lnTo>
                  <a:lnTo>
                    <a:pt x="1184" y="77"/>
                  </a:lnTo>
                  <a:lnTo>
                    <a:pt x="1182" y="75"/>
                  </a:lnTo>
                  <a:lnTo>
                    <a:pt x="1182" y="72"/>
                  </a:lnTo>
                  <a:lnTo>
                    <a:pt x="1182" y="72"/>
                  </a:lnTo>
                  <a:lnTo>
                    <a:pt x="1182" y="69"/>
                  </a:lnTo>
                  <a:lnTo>
                    <a:pt x="1182" y="69"/>
                  </a:lnTo>
                  <a:lnTo>
                    <a:pt x="1182" y="69"/>
                  </a:lnTo>
                  <a:lnTo>
                    <a:pt x="1182" y="69"/>
                  </a:lnTo>
                  <a:lnTo>
                    <a:pt x="1182" y="69"/>
                  </a:lnTo>
                  <a:lnTo>
                    <a:pt x="1182" y="69"/>
                  </a:lnTo>
                  <a:lnTo>
                    <a:pt x="1182" y="69"/>
                  </a:lnTo>
                  <a:lnTo>
                    <a:pt x="1182" y="69"/>
                  </a:lnTo>
                  <a:lnTo>
                    <a:pt x="1182" y="69"/>
                  </a:lnTo>
                  <a:lnTo>
                    <a:pt x="1182" y="67"/>
                  </a:lnTo>
                  <a:lnTo>
                    <a:pt x="1182" y="67"/>
                  </a:lnTo>
                  <a:lnTo>
                    <a:pt x="1182" y="67"/>
                  </a:lnTo>
                  <a:lnTo>
                    <a:pt x="1182" y="67"/>
                  </a:lnTo>
                  <a:lnTo>
                    <a:pt x="1182" y="67"/>
                  </a:lnTo>
                  <a:lnTo>
                    <a:pt x="1182" y="64"/>
                  </a:lnTo>
                  <a:lnTo>
                    <a:pt x="1182" y="64"/>
                  </a:lnTo>
                  <a:lnTo>
                    <a:pt x="1179" y="64"/>
                  </a:lnTo>
                  <a:lnTo>
                    <a:pt x="1179" y="64"/>
                  </a:lnTo>
                  <a:lnTo>
                    <a:pt x="1176" y="67"/>
                  </a:lnTo>
                  <a:lnTo>
                    <a:pt x="1176" y="67"/>
                  </a:lnTo>
                  <a:lnTo>
                    <a:pt x="1176" y="67"/>
                  </a:lnTo>
                  <a:lnTo>
                    <a:pt x="1179" y="64"/>
                  </a:lnTo>
                  <a:lnTo>
                    <a:pt x="1179" y="64"/>
                  </a:lnTo>
                  <a:lnTo>
                    <a:pt x="1179" y="61"/>
                  </a:lnTo>
                  <a:lnTo>
                    <a:pt x="1179" y="61"/>
                  </a:lnTo>
                  <a:lnTo>
                    <a:pt x="1179" y="59"/>
                  </a:lnTo>
                  <a:lnTo>
                    <a:pt x="1182" y="59"/>
                  </a:lnTo>
                  <a:lnTo>
                    <a:pt x="1182" y="59"/>
                  </a:lnTo>
                  <a:lnTo>
                    <a:pt x="1182" y="56"/>
                  </a:lnTo>
                  <a:lnTo>
                    <a:pt x="1182" y="56"/>
                  </a:lnTo>
                  <a:lnTo>
                    <a:pt x="1176" y="59"/>
                  </a:lnTo>
                  <a:lnTo>
                    <a:pt x="1176" y="59"/>
                  </a:lnTo>
                  <a:lnTo>
                    <a:pt x="1176" y="56"/>
                  </a:lnTo>
                  <a:lnTo>
                    <a:pt x="1176" y="56"/>
                  </a:lnTo>
                  <a:lnTo>
                    <a:pt x="1179" y="56"/>
                  </a:lnTo>
                  <a:lnTo>
                    <a:pt x="1179" y="56"/>
                  </a:lnTo>
                  <a:lnTo>
                    <a:pt x="1179" y="53"/>
                  </a:lnTo>
                  <a:lnTo>
                    <a:pt x="1182" y="56"/>
                  </a:lnTo>
                  <a:lnTo>
                    <a:pt x="1182" y="53"/>
                  </a:lnTo>
                  <a:lnTo>
                    <a:pt x="1182" y="53"/>
                  </a:lnTo>
                  <a:lnTo>
                    <a:pt x="1182" y="53"/>
                  </a:lnTo>
                  <a:lnTo>
                    <a:pt x="1182" y="53"/>
                  </a:lnTo>
                  <a:lnTo>
                    <a:pt x="1182" y="53"/>
                  </a:lnTo>
                  <a:lnTo>
                    <a:pt x="1182" y="51"/>
                  </a:lnTo>
                  <a:lnTo>
                    <a:pt x="1182" y="51"/>
                  </a:lnTo>
                  <a:lnTo>
                    <a:pt x="1182" y="51"/>
                  </a:lnTo>
                  <a:lnTo>
                    <a:pt x="1182" y="51"/>
                  </a:lnTo>
                  <a:lnTo>
                    <a:pt x="1179" y="51"/>
                  </a:lnTo>
                  <a:lnTo>
                    <a:pt x="1179" y="51"/>
                  </a:lnTo>
                  <a:lnTo>
                    <a:pt x="1176" y="51"/>
                  </a:lnTo>
                  <a:lnTo>
                    <a:pt x="1176" y="51"/>
                  </a:lnTo>
                  <a:lnTo>
                    <a:pt x="1176" y="51"/>
                  </a:lnTo>
                  <a:lnTo>
                    <a:pt x="1176" y="48"/>
                  </a:lnTo>
                  <a:lnTo>
                    <a:pt x="1176" y="48"/>
                  </a:lnTo>
                  <a:lnTo>
                    <a:pt x="1176" y="48"/>
                  </a:lnTo>
                  <a:lnTo>
                    <a:pt x="1176" y="48"/>
                  </a:lnTo>
                  <a:lnTo>
                    <a:pt x="1176" y="51"/>
                  </a:lnTo>
                  <a:lnTo>
                    <a:pt x="1168" y="56"/>
                  </a:lnTo>
                  <a:lnTo>
                    <a:pt x="1163" y="59"/>
                  </a:lnTo>
                  <a:lnTo>
                    <a:pt x="1160" y="61"/>
                  </a:lnTo>
                  <a:lnTo>
                    <a:pt x="1160" y="61"/>
                  </a:lnTo>
                  <a:lnTo>
                    <a:pt x="1163" y="59"/>
                  </a:lnTo>
                  <a:lnTo>
                    <a:pt x="1166" y="59"/>
                  </a:lnTo>
                  <a:lnTo>
                    <a:pt x="1166" y="59"/>
                  </a:lnTo>
                  <a:lnTo>
                    <a:pt x="1166" y="59"/>
                  </a:lnTo>
                  <a:lnTo>
                    <a:pt x="1160" y="64"/>
                  </a:lnTo>
                  <a:lnTo>
                    <a:pt x="1158" y="64"/>
                  </a:lnTo>
                  <a:lnTo>
                    <a:pt x="1155" y="67"/>
                  </a:lnTo>
                  <a:lnTo>
                    <a:pt x="1155" y="67"/>
                  </a:lnTo>
                  <a:lnTo>
                    <a:pt x="1158" y="67"/>
                  </a:lnTo>
                  <a:lnTo>
                    <a:pt x="1158" y="67"/>
                  </a:lnTo>
                  <a:lnTo>
                    <a:pt x="1155" y="67"/>
                  </a:lnTo>
                  <a:lnTo>
                    <a:pt x="1155" y="67"/>
                  </a:lnTo>
                  <a:lnTo>
                    <a:pt x="1155" y="67"/>
                  </a:lnTo>
                  <a:lnTo>
                    <a:pt x="1155" y="67"/>
                  </a:lnTo>
                  <a:lnTo>
                    <a:pt x="1155" y="67"/>
                  </a:lnTo>
                  <a:lnTo>
                    <a:pt x="1155" y="67"/>
                  </a:lnTo>
                  <a:lnTo>
                    <a:pt x="1150" y="67"/>
                  </a:lnTo>
                  <a:lnTo>
                    <a:pt x="1147" y="69"/>
                  </a:lnTo>
                  <a:lnTo>
                    <a:pt x="1142" y="69"/>
                  </a:lnTo>
                  <a:lnTo>
                    <a:pt x="1142" y="69"/>
                  </a:lnTo>
                  <a:lnTo>
                    <a:pt x="1139" y="69"/>
                  </a:lnTo>
                  <a:lnTo>
                    <a:pt x="1139" y="69"/>
                  </a:lnTo>
                  <a:lnTo>
                    <a:pt x="1139" y="69"/>
                  </a:lnTo>
                  <a:lnTo>
                    <a:pt x="1139" y="69"/>
                  </a:lnTo>
                  <a:lnTo>
                    <a:pt x="1139" y="69"/>
                  </a:lnTo>
                  <a:lnTo>
                    <a:pt x="1139" y="69"/>
                  </a:lnTo>
                  <a:lnTo>
                    <a:pt x="1139" y="69"/>
                  </a:lnTo>
                  <a:lnTo>
                    <a:pt x="1139" y="72"/>
                  </a:lnTo>
                  <a:lnTo>
                    <a:pt x="1139" y="72"/>
                  </a:lnTo>
                  <a:lnTo>
                    <a:pt x="1139" y="72"/>
                  </a:lnTo>
                  <a:lnTo>
                    <a:pt x="1139" y="72"/>
                  </a:lnTo>
                  <a:lnTo>
                    <a:pt x="1139" y="72"/>
                  </a:lnTo>
                  <a:lnTo>
                    <a:pt x="1136" y="72"/>
                  </a:lnTo>
                  <a:lnTo>
                    <a:pt x="1136" y="72"/>
                  </a:lnTo>
                  <a:lnTo>
                    <a:pt x="1136" y="72"/>
                  </a:lnTo>
                  <a:lnTo>
                    <a:pt x="1134" y="75"/>
                  </a:lnTo>
                  <a:lnTo>
                    <a:pt x="1128" y="75"/>
                  </a:lnTo>
                  <a:lnTo>
                    <a:pt x="1128" y="72"/>
                  </a:lnTo>
                  <a:lnTo>
                    <a:pt x="1128" y="72"/>
                  </a:lnTo>
                  <a:lnTo>
                    <a:pt x="1131" y="72"/>
                  </a:lnTo>
                  <a:lnTo>
                    <a:pt x="1131" y="72"/>
                  </a:lnTo>
                  <a:lnTo>
                    <a:pt x="1131" y="72"/>
                  </a:lnTo>
                  <a:lnTo>
                    <a:pt x="1131" y="72"/>
                  </a:lnTo>
                  <a:lnTo>
                    <a:pt x="1134" y="72"/>
                  </a:lnTo>
                  <a:lnTo>
                    <a:pt x="1134" y="72"/>
                  </a:lnTo>
                  <a:lnTo>
                    <a:pt x="1136" y="72"/>
                  </a:lnTo>
                  <a:lnTo>
                    <a:pt x="1136" y="69"/>
                  </a:lnTo>
                  <a:lnTo>
                    <a:pt x="1136" y="69"/>
                  </a:lnTo>
                  <a:lnTo>
                    <a:pt x="1136" y="69"/>
                  </a:lnTo>
                  <a:lnTo>
                    <a:pt x="1136" y="69"/>
                  </a:lnTo>
                  <a:lnTo>
                    <a:pt x="1136" y="69"/>
                  </a:lnTo>
                  <a:lnTo>
                    <a:pt x="1136" y="69"/>
                  </a:lnTo>
                  <a:lnTo>
                    <a:pt x="1134" y="67"/>
                  </a:lnTo>
                  <a:lnTo>
                    <a:pt x="1136" y="67"/>
                  </a:lnTo>
                  <a:lnTo>
                    <a:pt x="1139" y="69"/>
                  </a:lnTo>
                  <a:lnTo>
                    <a:pt x="1139" y="67"/>
                  </a:lnTo>
                  <a:lnTo>
                    <a:pt x="1139" y="67"/>
                  </a:lnTo>
                  <a:lnTo>
                    <a:pt x="1136" y="67"/>
                  </a:lnTo>
                  <a:lnTo>
                    <a:pt x="1136" y="64"/>
                  </a:lnTo>
                  <a:lnTo>
                    <a:pt x="1136" y="64"/>
                  </a:lnTo>
                  <a:lnTo>
                    <a:pt x="1136" y="64"/>
                  </a:lnTo>
                  <a:lnTo>
                    <a:pt x="1136" y="64"/>
                  </a:lnTo>
                  <a:lnTo>
                    <a:pt x="1136" y="64"/>
                  </a:lnTo>
                  <a:lnTo>
                    <a:pt x="1136" y="64"/>
                  </a:lnTo>
                  <a:lnTo>
                    <a:pt x="1136" y="64"/>
                  </a:lnTo>
                  <a:lnTo>
                    <a:pt x="1136" y="64"/>
                  </a:lnTo>
                  <a:lnTo>
                    <a:pt x="1134" y="64"/>
                  </a:lnTo>
                  <a:lnTo>
                    <a:pt x="1134" y="64"/>
                  </a:lnTo>
                  <a:lnTo>
                    <a:pt x="1131" y="67"/>
                  </a:lnTo>
                  <a:lnTo>
                    <a:pt x="1131" y="67"/>
                  </a:lnTo>
                  <a:lnTo>
                    <a:pt x="1131" y="67"/>
                  </a:lnTo>
                  <a:lnTo>
                    <a:pt x="1128" y="69"/>
                  </a:lnTo>
                  <a:lnTo>
                    <a:pt x="1128" y="69"/>
                  </a:lnTo>
                  <a:lnTo>
                    <a:pt x="1128" y="72"/>
                  </a:lnTo>
                  <a:lnTo>
                    <a:pt x="1128" y="72"/>
                  </a:lnTo>
                  <a:lnTo>
                    <a:pt x="1128" y="72"/>
                  </a:lnTo>
                  <a:lnTo>
                    <a:pt x="1126" y="72"/>
                  </a:lnTo>
                  <a:lnTo>
                    <a:pt x="1126" y="72"/>
                  </a:lnTo>
                  <a:lnTo>
                    <a:pt x="1126" y="72"/>
                  </a:lnTo>
                  <a:lnTo>
                    <a:pt x="1126" y="72"/>
                  </a:lnTo>
                  <a:lnTo>
                    <a:pt x="1123" y="75"/>
                  </a:lnTo>
                  <a:lnTo>
                    <a:pt x="1123" y="77"/>
                  </a:lnTo>
                  <a:lnTo>
                    <a:pt x="1123" y="77"/>
                  </a:lnTo>
                  <a:lnTo>
                    <a:pt x="1123" y="77"/>
                  </a:lnTo>
                  <a:lnTo>
                    <a:pt x="1123" y="77"/>
                  </a:lnTo>
                  <a:lnTo>
                    <a:pt x="1123" y="80"/>
                  </a:lnTo>
                  <a:lnTo>
                    <a:pt x="1123" y="80"/>
                  </a:lnTo>
                  <a:lnTo>
                    <a:pt x="1120" y="80"/>
                  </a:lnTo>
                  <a:lnTo>
                    <a:pt x="1120" y="80"/>
                  </a:lnTo>
                  <a:lnTo>
                    <a:pt x="1120" y="80"/>
                  </a:lnTo>
                  <a:lnTo>
                    <a:pt x="1120" y="80"/>
                  </a:lnTo>
                  <a:lnTo>
                    <a:pt x="1118" y="83"/>
                  </a:lnTo>
                  <a:lnTo>
                    <a:pt x="1118" y="85"/>
                  </a:lnTo>
                  <a:lnTo>
                    <a:pt x="1118" y="85"/>
                  </a:lnTo>
                  <a:lnTo>
                    <a:pt x="1115" y="85"/>
                  </a:lnTo>
                  <a:lnTo>
                    <a:pt x="1112" y="88"/>
                  </a:lnTo>
                  <a:lnTo>
                    <a:pt x="1112" y="91"/>
                  </a:lnTo>
                  <a:lnTo>
                    <a:pt x="1112" y="91"/>
                  </a:lnTo>
                  <a:lnTo>
                    <a:pt x="1110" y="91"/>
                  </a:lnTo>
                  <a:lnTo>
                    <a:pt x="1107" y="96"/>
                  </a:lnTo>
                  <a:lnTo>
                    <a:pt x="1104" y="96"/>
                  </a:lnTo>
                  <a:lnTo>
                    <a:pt x="1104" y="96"/>
                  </a:lnTo>
                  <a:lnTo>
                    <a:pt x="1104" y="96"/>
                  </a:lnTo>
                  <a:lnTo>
                    <a:pt x="1104" y="99"/>
                  </a:lnTo>
                  <a:lnTo>
                    <a:pt x="1104" y="99"/>
                  </a:lnTo>
                  <a:lnTo>
                    <a:pt x="1104" y="99"/>
                  </a:lnTo>
                  <a:lnTo>
                    <a:pt x="1104" y="99"/>
                  </a:lnTo>
                  <a:lnTo>
                    <a:pt x="1104" y="99"/>
                  </a:lnTo>
                  <a:lnTo>
                    <a:pt x="1104" y="101"/>
                  </a:lnTo>
                  <a:lnTo>
                    <a:pt x="1104" y="101"/>
                  </a:lnTo>
                  <a:lnTo>
                    <a:pt x="1104" y="101"/>
                  </a:lnTo>
                  <a:lnTo>
                    <a:pt x="1102" y="101"/>
                  </a:lnTo>
                  <a:lnTo>
                    <a:pt x="1102" y="101"/>
                  </a:lnTo>
                  <a:lnTo>
                    <a:pt x="1102" y="104"/>
                  </a:lnTo>
                  <a:lnTo>
                    <a:pt x="1102" y="104"/>
                  </a:lnTo>
                  <a:lnTo>
                    <a:pt x="1102" y="104"/>
                  </a:lnTo>
                  <a:lnTo>
                    <a:pt x="1102" y="107"/>
                  </a:lnTo>
                  <a:lnTo>
                    <a:pt x="1102" y="107"/>
                  </a:lnTo>
                  <a:lnTo>
                    <a:pt x="1102" y="107"/>
                  </a:lnTo>
                  <a:lnTo>
                    <a:pt x="1102" y="107"/>
                  </a:lnTo>
                  <a:lnTo>
                    <a:pt x="1099" y="107"/>
                  </a:lnTo>
                  <a:lnTo>
                    <a:pt x="1099" y="107"/>
                  </a:lnTo>
                  <a:lnTo>
                    <a:pt x="1102" y="107"/>
                  </a:lnTo>
                  <a:lnTo>
                    <a:pt x="1102" y="109"/>
                  </a:lnTo>
                  <a:lnTo>
                    <a:pt x="1102" y="109"/>
                  </a:lnTo>
                  <a:lnTo>
                    <a:pt x="1102" y="109"/>
                  </a:lnTo>
                  <a:lnTo>
                    <a:pt x="1102" y="109"/>
                  </a:lnTo>
                  <a:lnTo>
                    <a:pt x="1102" y="109"/>
                  </a:lnTo>
                  <a:lnTo>
                    <a:pt x="1102" y="112"/>
                  </a:lnTo>
                  <a:lnTo>
                    <a:pt x="1102" y="112"/>
                  </a:lnTo>
                  <a:lnTo>
                    <a:pt x="1099" y="115"/>
                  </a:lnTo>
                  <a:lnTo>
                    <a:pt x="1099" y="115"/>
                  </a:lnTo>
                  <a:lnTo>
                    <a:pt x="1099" y="115"/>
                  </a:lnTo>
                  <a:lnTo>
                    <a:pt x="1099" y="115"/>
                  </a:lnTo>
                  <a:lnTo>
                    <a:pt x="1099" y="117"/>
                  </a:lnTo>
                  <a:lnTo>
                    <a:pt x="1099" y="117"/>
                  </a:lnTo>
                  <a:lnTo>
                    <a:pt x="1099" y="117"/>
                  </a:lnTo>
                  <a:lnTo>
                    <a:pt x="1099" y="117"/>
                  </a:lnTo>
                  <a:lnTo>
                    <a:pt x="1099" y="117"/>
                  </a:lnTo>
                  <a:lnTo>
                    <a:pt x="1099" y="120"/>
                  </a:lnTo>
                  <a:lnTo>
                    <a:pt x="1099" y="120"/>
                  </a:lnTo>
                  <a:lnTo>
                    <a:pt x="1099" y="120"/>
                  </a:lnTo>
                  <a:lnTo>
                    <a:pt x="1096" y="123"/>
                  </a:lnTo>
                  <a:lnTo>
                    <a:pt x="1096" y="123"/>
                  </a:lnTo>
                  <a:lnTo>
                    <a:pt x="1096" y="123"/>
                  </a:lnTo>
                  <a:lnTo>
                    <a:pt x="1094" y="125"/>
                  </a:lnTo>
                  <a:lnTo>
                    <a:pt x="1094" y="128"/>
                  </a:lnTo>
                  <a:lnTo>
                    <a:pt x="1094" y="125"/>
                  </a:lnTo>
                  <a:lnTo>
                    <a:pt x="1094" y="125"/>
                  </a:lnTo>
                  <a:lnTo>
                    <a:pt x="1099" y="120"/>
                  </a:lnTo>
                  <a:lnTo>
                    <a:pt x="1096" y="117"/>
                  </a:lnTo>
                  <a:lnTo>
                    <a:pt x="1096" y="120"/>
                  </a:lnTo>
                  <a:lnTo>
                    <a:pt x="1094" y="125"/>
                  </a:lnTo>
                  <a:lnTo>
                    <a:pt x="1094" y="125"/>
                  </a:lnTo>
                  <a:lnTo>
                    <a:pt x="1083" y="139"/>
                  </a:lnTo>
                  <a:lnTo>
                    <a:pt x="1078" y="141"/>
                  </a:lnTo>
                  <a:lnTo>
                    <a:pt x="1078" y="141"/>
                  </a:lnTo>
                  <a:lnTo>
                    <a:pt x="1075" y="144"/>
                  </a:lnTo>
                  <a:lnTo>
                    <a:pt x="1075" y="144"/>
                  </a:lnTo>
                  <a:lnTo>
                    <a:pt x="1070" y="144"/>
                  </a:lnTo>
                  <a:lnTo>
                    <a:pt x="1070" y="147"/>
                  </a:lnTo>
                  <a:lnTo>
                    <a:pt x="1067" y="147"/>
                  </a:lnTo>
                  <a:lnTo>
                    <a:pt x="1064" y="147"/>
                  </a:lnTo>
                  <a:lnTo>
                    <a:pt x="1054" y="147"/>
                  </a:lnTo>
                  <a:lnTo>
                    <a:pt x="1046" y="147"/>
                  </a:lnTo>
                  <a:lnTo>
                    <a:pt x="1040" y="147"/>
                  </a:lnTo>
                  <a:lnTo>
                    <a:pt x="1032" y="147"/>
                  </a:lnTo>
                  <a:lnTo>
                    <a:pt x="1027" y="144"/>
                  </a:lnTo>
                  <a:lnTo>
                    <a:pt x="1024" y="144"/>
                  </a:lnTo>
                  <a:lnTo>
                    <a:pt x="1022" y="141"/>
                  </a:lnTo>
                  <a:lnTo>
                    <a:pt x="1019" y="141"/>
                  </a:lnTo>
                  <a:lnTo>
                    <a:pt x="1016" y="144"/>
                  </a:lnTo>
                  <a:lnTo>
                    <a:pt x="1016" y="144"/>
                  </a:lnTo>
                  <a:lnTo>
                    <a:pt x="1016" y="147"/>
                  </a:lnTo>
                  <a:lnTo>
                    <a:pt x="1016" y="150"/>
                  </a:lnTo>
                  <a:lnTo>
                    <a:pt x="1016" y="152"/>
                  </a:lnTo>
                  <a:lnTo>
                    <a:pt x="1016" y="152"/>
                  </a:lnTo>
                  <a:lnTo>
                    <a:pt x="1016" y="155"/>
                  </a:lnTo>
                  <a:lnTo>
                    <a:pt x="1016" y="155"/>
                  </a:lnTo>
                  <a:lnTo>
                    <a:pt x="1016" y="155"/>
                  </a:lnTo>
                  <a:lnTo>
                    <a:pt x="1016" y="158"/>
                  </a:lnTo>
                  <a:lnTo>
                    <a:pt x="1016" y="158"/>
                  </a:lnTo>
                  <a:lnTo>
                    <a:pt x="1016" y="158"/>
                  </a:lnTo>
                  <a:lnTo>
                    <a:pt x="1014" y="158"/>
                  </a:lnTo>
                  <a:lnTo>
                    <a:pt x="1016" y="158"/>
                  </a:lnTo>
                  <a:lnTo>
                    <a:pt x="1014" y="160"/>
                  </a:lnTo>
                  <a:lnTo>
                    <a:pt x="1014" y="160"/>
                  </a:lnTo>
                  <a:lnTo>
                    <a:pt x="1014" y="163"/>
                  </a:lnTo>
                  <a:lnTo>
                    <a:pt x="1014" y="163"/>
                  </a:lnTo>
                  <a:lnTo>
                    <a:pt x="1014" y="163"/>
                  </a:lnTo>
                  <a:lnTo>
                    <a:pt x="1014" y="163"/>
                  </a:lnTo>
                  <a:lnTo>
                    <a:pt x="1014" y="166"/>
                  </a:lnTo>
                  <a:lnTo>
                    <a:pt x="1011" y="166"/>
                  </a:lnTo>
                  <a:lnTo>
                    <a:pt x="1011" y="166"/>
                  </a:lnTo>
                  <a:lnTo>
                    <a:pt x="1011" y="168"/>
                  </a:lnTo>
                  <a:lnTo>
                    <a:pt x="1011" y="168"/>
                  </a:lnTo>
                  <a:lnTo>
                    <a:pt x="1011" y="171"/>
                  </a:lnTo>
                  <a:lnTo>
                    <a:pt x="1008" y="171"/>
                  </a:lnTo>
                  <a:lnTo>
                    <a:pt x="1008" y="171"/>
                  </a:lnTo>
                  <a:lnTo>
                    <a:pt x="1008" y="174"/>
                  </a:lnTo>
                  <a:lnTo>
                    <a:pt x="1011" y="174"/>
                  </a:lnTo>
                  <a:lnTo>
                    <a:pt x="1008" y="174"/>
                  </a:lnTo>
                  <a:lnTo>
                    <a:pt x="1008" y="174"/>
                  </a:lnTo>
                  <a:lnTo>
                    <a:pt x="1008" y="174"/>
                  </a:lnTo>
                  <a:lnTo>
                    <a:pt x="1008" y="174"/>
                  </a:lnTo>
                  <a:lnTo>
                    <a:pt x="1008" y="174"/>
                  </a:lnTo>
                  <a:lnTo>
                    <a:pt x="1006" y="174"/>
                  </a:lnTo>
                  <a:lnTo>
                    <a:pt x="1006" y="174"/>
                  </a:lnTo>
                  <a:lnTo>
                    <a:pt x="1003" y="176"/>
                  </a:lnTo>
                  <a:lnTo>
                    <a:pt x="1000" y="176"/>
                  </a:lnTo>
                  <a:lnTo>
                    <a:pt x="998" y="174"/>
                  </a:lnTo>
                  <a:lnTo>
                    <a:pt x="1000" y="174"/>
                  </a:lnTo>
                  <a:lnTo>
                    <a:pt x="1006" y="174"/>
                  </a:lnTo>
                  <a:lnTo>
                    <a:pt x="1006" y="171"/>
                  </a:lnTo>
                  <a:lnTo>
                    <a:pt x="1006" y="171"/>
                  </a:lnTo>
                  <a:lnTo>
                    <a:pt x="1003" y="174"/>
                  </a:lnTo>
                  <a:lnTo>
                    <a:pt x="998" y="174"/>
                  </a:lnTo>
                  <a:lnTo>
                    <a:pt x="998" y="176"/>
                  </a:lnTo>
                  <a:lnTo>
                    <a:pt x="998" y="176"/>
                  </a:lnTo>
                  <a:lnTo>
                    <a:pt x="998" y="176"/>
                  </a:lnTo>
                  <a:lnTo>
                    <a:pt x="1000" y="176"/>
                  </a:lnTo>
                  <a:lnTo>
                    <a:pt x="1008" y="182"/>
                  </a:lnTo>
                  <a:lnTo>
                    <a:pt x="1011" y="184"/>
                  </a:lnTo>
                  <a:lnTo>
                    <a:pt x="1014" y="187"/>
                  </a:lnTo>
                  <a:lnTo>
                    <a:pt x="1014" y="187"/>
                  </a:lnTo>
                  <a:lnTo>
                    <a:pt x="1014" y="187"/>
                  </a:lnTo>
                  <a:lnTo>
                    <a:pt x="1014" y="190"/>
                  </a:lnTo>
                  <a:lnTo>
                    <a:pt x="1014" y="192"/>
                  </a:lnTo>
                  <a:lnTo>
                    <a:pt x="1016" y="192"/>
                  </a:lnTo>
                  <a:lnTo>
                    <a:pt x="1019" y="195"/>
                  </a:lnTo>
                  <a:lnTo>
                    <a:pt x="1024" y="198"/>
                  </a:lnTo>
                  <a:lnTo>
                    <a:pt x="1027" y="200"/>
                  </a:lnTo>
                  <a:lnTo>
                    <a:pt x="1032" y="206"/>
                  </a:lnTo>
                  <a:lnTo>
                    <a:pt x="1035" y="211"/>
                  </a:lnTo>
                  <a:lnTo>
                    <a:pt x="1040" y="216"/>
                  </a:lnTo>
                  <a:lnTo>
                    <a:pt x="1040" y="219"/>
                  </a:lnTo>
                  <a:lnTo>
                    <a:pt x="1043" y="219"/>
                  </a:lnTo>
                  <a:lnTo>
                    <a:pt x="1043" y="222"/>
                  </a:lnTo>
                  <a:lnTo>
                    <a:pt x="1043" y="219"/>
                  </a:lnTo>
                  <a:lnTo>
                    <a:pt x="1043" y="219"/>
                  </a:lnTo>
                  <a:lnTo>
                    <a:pt x="1043" y="219"/>
                  </a:lnTo>
                  <a:lnTo>
                    <a:pt x="1043" y="219"/>
                  </a:lnTo>
                  <a:lnTo>
                    <a:pt x="1043" y="219"/>
                  </a:lnTo>
                  <a:lnTo>
                    <a:pt x="1043" y="219"/>
                  </a:lnTo>
                  <a:lnTo>
                    <a:pt x="1043" y="219"/>
                  </a:lnTo>
                  <a:lnTo>
                    <a:pt x="1046" y="224"/>
                  </a:lnTo>
                  <a:lnTo>
                    <a:pt x="1048" y="224"/>
                  </a:lnTo>
                  <a:lnTo>
                    <a:pt x="1048" y="227"/>
                  </a:lnTo>
                  <a:lnTo>
                    <a:pt x="1056" y="235"/>
                  </a:lnTo>
                  <a:lnTo>
                    <a:pt x="1056" y="240"/>
                  </a:lnTo>
                  <a:lnTo>
                    <a:pt x="1059" y="243"/>
                  </a:lnTo>
                  <a:lnTo>
                    <a:pt x="1062" y="254"/>
                  </a:lnTo>
                  <a:lnTo>
                    <a:pt x="1062" y="256"/>
                  </a:lnTo>
                  <a:lnTo>
                    <a:pt x="1062" y="259"/>
                  </a:lnTo>
                  <a:lnTo>
                    <a:pt x="1062" y="259"/>
                  </a:lnTo>
                  <a:lnTo>
                    <a:pt x="1062" y="264"/>
                  </a:lnTo>
                  <a:lnTo>
                    <a:pt x="1062" y="267"/>
                  </a:lnTo>
                  <a:lnTo>
                    <a:pt x="1062" y="270"/>
                  </a:lnTo>
                  <a:lnTo>
                    <a:pt x="1062" y="270"/>
                  </a:lnTo>
                  <a:lnTo>
                    <a:pt x="1062" y="272"/>
                  </a:lnTo>
                  <a:lnTo>
                    <a:pt x="1070" y="275"/>
                  </a:lnTo>
                  <a:lnTo>
                    <a:pt x="1070" y="275"/>
                  </a:lnTo>
                  <a:lnTo>
                    <a:pt x="1075" y="278"/>
                  </a:lnTo>
                  <a:lnTo>
                    <a:pt x="1078" y="278"/>
                  </a:lnTo>
                  <a:lnTo>
                    <a:pt x="1083" y="280"/>
                  </a:lnTo>
                  <a:lnTo>
                    <a:pt x="1083" y="280"/>
                  </a:lnTo>
                  <a:lnTo>
                    <a:pt x="1083" y="280"/>
                  </a:lnTo>
                  <a:lnTo>
                    <a:pt x="1083" y="280"/>
                  </a:lnTo>
                  <a:lnTo>
                    <a:pt x="1080" y="280"/>
                  </a:lnTo>
                  <a:lnTo>
                    <a:pt x="1080" y="278"/>
                  </a:lnTo>
                  <a:lnTo>
                    <a:pt x="1080" y="278"/>
                  </a:lnTo>
                  <a:lnTo>
                    <a:pt x="1083" y="278"/>
                  </a:lnTo>
                  <a:lnTo>
                    <a:pt x="1086" y="278"/>
                  </a:lnTo>
                  <a:lnTo>
                    <a:pt x="1088" y="280"/>
                  </a:lnTo>
                  <a:lnTo>
                    <a:pt x="1088" y="280"/>
                  </a:lnTo>
                  <a:lnTo>
                    <a:pt x="1088" y="280"/>
                  </a:lnTo>
                  <a:lnTo>
                    <a:pt x="1088" y="280"/>
                  </a:lnTo>
                  <a:lnTo>
                    <a:pt x="1088" y="280"/>
                  </a:lnTo>
                  <a:lnTo>
                    <a:pt x="1088" y="280"/>
                  </a:lnTo>
                  <a:lnTo>
                    <a:pt x="1091" y="280"/>
                  </a:lnTo>
                  <a:lnTo>
                    <a:pt x="1091" y="280"/>
                  </a:lnTo>
                  <a:lnTo>
                    <a:pt x="1094" y="278"/>
                  </a:lnTo>
                  <a:lnTo>
                    <a:pt x="1096" y="275"/>
                  </a:lnTo>
                  <a:lnTo>
                    <a:pt x="1096" y="275"/>
                  </a:lnTo>
                  <a:lnTo>
                    <a:pt x="1096" y="272"/>
                  </a:lnTo>
                  <a:lnTo>
                    <a:pt x="1096" y="272"/>
                  </a:lnTo>
                  <a:lnTo>
                    <a:pt x="1096" y="272"/>
                  </a:lnTo>
                  <a:lnTo>
                    <a:pt x="1096" y="272"/>
                  </a:lnTo>
                  <a:lnTo>
                    <a:pt x="1096" y="272"/>
                  </a:lnTo>
                  <a:lnTo>
                    <a:pt x="1099" y="272"/>
                  </a:lnTo>
                  <a:lnTo>
                    <a:pt x="1099" y="272"/>
                  </a:lnTo>
                  <a:lnTo>
                    <a:pt x="1099" y="272"/>
                  </a:lnTo>
                  <a:lnTo>
                    <a:pt x="1099" y="272"/>
                  </a:lnTo>
                  <a:lnTo>
                    <a:pt x="1096" y="275"/>
                  </a:lnTo>
                  <a:lnTo>
                    <a:pt x="1096" y="278"/>
                  </a:lnTo>
                  <a:lnTo>
                    <a:pt x="1096" y="278"/>
                  </a:lnTo>
                  <a:lnTo>
                    <a:pt x="1096" y="278"/>
                  </a:lnTo>
                  <a:lnTo>
                    <a:pt x="1096" y="280"/>
                  </a:lnTo>
                  <a:lnTo>
                    <a:pt x="1094" y="283"/>
                  </a:lnTo>
                  <a:lnTo>
                    <a:pt x="1094" y="283"/>
                  </a:lnTo>
                  <a:lnTo>
                    <a:pt x="1094" y="283"/>
                  </a:lnTo>
                  <a:lnTo>
                    <a:pt x="1094" y="283"/>
                  </a:lnTo>
                  <a:lnTo>
                    <a:pt x="1096" y="283"/>
                  </a:lnTo>
                  <a:lnTo>
                    <a:pt x="1099" y="283"/>
                  </a:lnTo>
                  <a:lnTo>
                    <a:pt x="1099" y="283"/>
                  </a:lnTo>
                  <a:lnTo>
                    <a:pt x="1099" y="280"/>
                  </a:lnTo>
                  <a:lnTo>
                    <a:pt x="1099" y="280"/>
                  </a:lnTo>
                  <a:lnTo>
                    <a:pt x="1099" y="280"/>
                  </a:lnTo>
                  <a:lnTo>
                    <a:pt x="1099" y="278"/>
                  </a:lnTo>
                  <a:lnTo>
                    <a:pt x="1099" y="278"/>
                  </a:lnTo>
                  <a:lnTo>
                    <a:pt x="1099" y="278"/>
                  </a:lnTo>
                  <a:lnTo>
                    <a:pt x="1099" y="280"/>
                  </a:lnTo>
                  <a:lnTo>
                    <a:pt x="1099" y="280"/>
                  </a:lnTo>
                  <a:lnTo>
                    <a:pt x="1099" y="280"/>
                  </a:lnTo>
                  <a:lnTo>
                    <a:pt x="1099" y="280"/>
                  </a:lnTo>
                  <a:lnTo>
                    <a:pt x="1099" y="283"/>
                  </a:lnTo>
                  <a:lnTo>
                    <a:pt x="1099" y="283"/>
                  </a:lnTo>
                  <a:lnTo>
                    <a:pt x="1107" y="280"/>
                  </a:lnTo>
                  <a:lnTo>
                    <a:pt x="1110" y="280"/>
                  </a:lnTo>
                  <a:lnTo>
                    <a:pt x="1112" y="283"/>
                  </a:lnTo>
                  <a:lnTo>
                    <a:pt x="1112" y="283"/>
                  </a:lnTo>
                  <a:lnTo>
                    <a:pt x="1112" y="283"/>
                  </a:lnTo>
                  <a:lnTo>
                    <a:pt x="1112" y="283"/>
                  </a:lnTo>
                  <a:lnTo>
                    <a:pt x="1112" y="283"/>
                  </a:lnTo>
                  <a:lnTo>
                    <a:pt x="1115" y="283"/>
                  </a:lnTo>
                  <a:lnTo>
                    <a:pt x="1115" y="283"/>
                  </a:lnTo>
                  <a:lnTo>
                    <a:pt x="1115" y="283"/>
                  </a:lnTo>
                  <a:lnTo>
                    <a:pt x="1115" y="283"/>
                  </a:lnTo>
                  <a:lnTo>
                    <a:pt x="1115" y="283"/>
                  </a:lnTo>
                  <a:lnTo>
                    <a:pt x="1115" y="283"/>
                  </a:lnTo>
                  <a:lnTo>
                    <a:pt x="1115" y="286"/>
                  </a:lnTo>
                  <a:lnTo>
                    <a:pt x="1115" y="286"/>
                  </a:lnTo>
                  <a:lnTo>
                    <a:pt x="1118" y="286"/>
                  </a:lnTo>
                  <a:lnTo>
                    <a:pt x="1118" y="286"/>
                  </a:lnTo>
                  <a:lnTo>
                    <a:pt x="1118" y="286"/>
                  </a:lnTo>
                  <a:lnTo>
                    <a:pt x="1118" y="286"/>
                  </a:lnTo>
                  <a:lnTo>
                    <a:pt x="1118" y="288"/>
                  </a:lnTo>
                  <a:lnTo>
                    <a:pt x="1118" y="288"/>
                  </a:lnTo>
                  <a:lnTo>
                    <a:pt x="1118" y="288"/>
                  </a:lnTo>
                  <a:lnTo>
                    <a:pt x="1115" y="288"/>
                  </a:lnTo>
                  <a:lnTo>
                    <a:pt x="1115" y="288"/>
                  </a:lnTo>
                  <a:lnTo>
                    <a:pt x="1112" y="288"/>
                  </a:lnTo>
                  <a:lnTo>
                    <a:pt x="1112" y="288"/>
                  </a:lnTo>
                  <a:lnTo>
                    <a:pt x="1112" y="288"/>
                  </a:lnTo>
                  <a:lnTo>
                    <a:pt x="1112" y="288"/>
                  </a:lnTo>
                  <a:lnTo>
                    <a:pt x="1112" y="288"/>
                  </a:lnTo>
                  <a:lnTo>
                    <a:pt x="1112" y="291"/>
                  </a:lnTo>
                  <a:lnTo>
                    <a:pt x="1110" y="291"/>
                  </a:lnTo>
                  <a:lnTo>
                    <a:pt x="1110" y="291"/>
                  </a:lnTo>
                  <a:lnTo>
                    <a:pt x="1110" y="294"/>
                  </a:lnTo>
                  <a:lnTo>
                    <a:pt x="1110" y="294"/>
                  </a:lnTo>
                  <a:lnTo>
                    <a:pt x="1110" y="294"/>
                  </a:lnTo>
                  <a:lnTo>
                    <a:pt x="1110" y="296"/>
                  </a:lnTo>
                  <a:lnTo>
                    <a:pt x="1110" y="296"/>
                  </a:lnTo>
                  <a:lnTo>
                    <a:pt x="1107" y="296"/>
                  </a:lnTo>
                  <a:lnTo>
                    <a:pt x="1107" y="296"/>
                  </a:lnTo>
                  <a:lnTo>
                    <a:pt x="1107" y="299"/>
                  </a:lnTo>
                  <a:lnTo>
                    <a:pt x="1107" y="299"/>
                  </a:lnTo>
                  <a:lnTo>
                    <a:pt x="1107" y="302"/>
                  </a:lnTo>
                  <a:lnTo>
                    <a:pt x="1107" y="302"/>
                  </a:lnTo>
                  <a:lnTo>
                    <a:pt x="1107" y="302"/>
                  </a:lnTo>
                  <a:lnTo>
                    <a:pt x="1107" y="304"/>
                  </a:lnTo>
                  <a:lnTo>
                    <a:pt x="1112" y="312"/>
                  </a:lnTo>
                  <a:lnTo>
                    <a:pt x="1112" y="312"/>
                  </a:lnTo>
                  <a:lnTo>
                    <a:pt x="1115" y="312"/>
                  </a:lnTo>
                  <a:lnTo>
                    <a:pt x="1115" y="315"/>
                  </a:lnTo>
                  <a:lnTo>
                    <a:pt x="1115" y="315"/>
                  </a:lnTo>
                  <a:lnTo>
                    <a:pt x="1115" y="315"/>
                  </a:lnTo>
                  <a:lnTo>
                    <a:pt x="1115" y="318"/>
                  </a:lnTo>
                  <a:lnTo>
                    <a:pt x="1115" y="318"/>
                  </a:lnTo>
                  <a:lnTo>
                    <a:pt x="1118" y="318"/>
                  </a:lnTo>
                  <a:lnTo>
                    <a:pt x="1118" y="318"/>
                  </a:lnTo>
                  <a:lnTo>
                    <a:pt x="1118" y="318"/>
                  </a:lnTo>
                  <a:lnTo>
                    <a:pt x="1120" y="318"/>
                  </a:lnTo>
                  <a:lnTo>
                    <a:pt x="1123" y="318"/>
                  </a:lnTo>
                  <a:lnTo>
                    <a:pt x="1123" y="315"/>
                  </a:lnTo>
                  <a:lnTo>
                    <a:pt x="1123" y="315"/>
                  </a:lnTo>
                  <a:lnTo>
                    <a:pt x="1123" y="315"/>
                  </a:lnTo>
                  <a:lnTo>
                    <a:pt x="1123" y="315"/>
                  </a:lnTo>
                  <a:lnTo>
                    <a:pt x="1123" y="315"/>
                  </a:lnTo>
                  <a:lnTo>
                    <a:pt x="1123" y="312"/>
                  </a:lnTo>
                  <a:lnTo>
                    <a:pt x="1123" y="312"/>
                  </a:lnTo>
                  <a:lnTo>
                    <a:pt x="1123" y="312"/>
                  </a:lnTo>
                  <a:lnTo>
                    <a:pt x="1123" y="312"/>
                  </a:lnTo>
                  <a:lnTo>
                    <a:pt x="1123" y="312"/>
                  </a:lnTo>
                  <a:lnTo>
                    <a:pt x="1123" y="312"/>
                  </a:lnTo>
                  <a:lnTo>
                    <a:pt x="1126" y="310"/>
                  </a:lnTo>
                  <a:lnTo>
                    <a:pt x="1126" y="310"/>
                  </a:lnTo>
                  <a:lnTo>
                    <a:pt x="1128" y="310"/>
                  </a:lnTo>
                  <a:lnTo>
                    <a:pt x="1134" y="310"/>
                  </a:lnTo>
                  <a:lnTo>
                    <a:pt x="1134" y="310"/>
                  </a:lnTo>
                  <a:lnTo>
                    <a:pt x="1139" y="315"/>
                  </a:lnTo>
                  <a:lnTo>
                    <a:pt x="1139" y="315"/>
                  </a:lnTo>
                  <a:lnTo>
                    <a:pt x="1142" y="315"/>
                  </a:lnTo>
                  <a:lnTo>
                    <a:pt x="1142" y="315"/>
                  </a:lnTo>
                  <a:lnTo>
                    <a:pt x="1142" y="315"/>
                  </a:lnTo>
                  <a:lnTo>
                    <a:pt x="1142" y="315"/>
                  </a:lnTo>
                  <a:lnTo>
                    <a:pt x="1142" y="315"/>
                  </a:lnTo>
                  <a:lnTo>
                    <a:pt x="1144" y="312"/>
                  </a:lnTo>
                  <a:lnTo>
                    <a:pt x="1144" y="312"/>
                  </a:lnTo>
                  <a:lnTo>
                    <a:pt x="1147" y="315"/>
                  </a:lnTo>
                  <a:lnTo>
                    <a:pt x="1147" y="315"/>
                  </a:lnTo>
                  <a:lnTo>
                    <a:pt x="1147" y="312"/>
                  </a:lnTo>
                  <a:lnTo>
                    <a:pt x="1147" y="312"/>
                  </a:lnTo>
                  <a:lnTo>
                    <a:pt x="1150" y="312"/>
                  </a:lnTo>
                  <a:lnTo>
                    <a:pt x="1150" y="312"/>
                  </a:lnTo>
                  <a:lnTo>
                    <a:pt x="1150" y="312"/>
                  </a:lnTo>
                  <a:lnTo>
                    <a:pt x="1150" y="312"/>
                  </a:lnTo>
                  <a:lnTo>
                    <a:pt x="1147" y="315"/>
                  </a:lnTo>
                  <a:lnTo>
                    <a:pt x="1147" y="315"/>
                  </a:lnTo>
                  <a:lnTo>
                    <a:pt x="1147" y="315"/>
                  </a:lnTo>
                  <a:lnTo>
                    <a:pt x="1147" y="315"/>
                  </a:lnTo>
                  <a:lnTo>
                    <a:pt x="1147" y="315"/>
                  </a:lnTo>
                  <a:lnTo>
                    <a:pt x="1150" y="318"/>
                  </a:lnTo>
                  <a:lnTo>
                    <a:pt x="1150" y="320"/>
                  </a:lnTo>
                  <a:lnTo>
                    <a:pt x="1150" y="323"/>
                  </a:lnTo>
                  <a:lnTo>
                    <a:pt x="1150" y="326"/>
                  </a:lnTo>
                  <a:lnTo>
                    <a:pt x="1150" y="329"/>
                  </a:lnTo>
                  <a:lnTo>
                    <a:pt x="1150" y="329"/>
                  </a:lnTo>
                  <a:lnTo>
                    <a:pt x="1150" y="329"/>
                  </a:lnTo>
                  <a:lnTo>
                    <a:pt x="1142" y="329"/>
                  </a:lnTo>
                  <a:lnTo>
                    <a:pt x="1139" y="331"/>
                  </a:lnTo>
                  <a:lnTo>
                    <a:pt x="1136" y="331"/>
                  </a:lnTo>
                  <a:lnTo>
                    <a:pt x="1134" y="331"/>
                  </a:lnTo>
                  <a:lnTo>
                    <a:pt x="1134" y="331"/>
                  </a:lnTo>
                  <a:lnTo>
                    <a:pt x="1128" y="326"/>
                  </a:lnTo>
                  <a:lnTo>
                    <a:pt x="1128" y="323"/>
                  </a:lnTo>
                  <a:lnTo>
                    <a:pt x="1128" y="323"/>
                  </a:lnTo>
                  <a:lnTo>
                    <a:pt x="1126" y="320"/>
                  </a:lnTo>
                  <a:lnTo>
                    <a:pt x="1126" y="320"/>
                  </a:lnTo>
                  <a:lnTo>
                    <a:pt x="1123" y="318"/>
                  </a:lnTo>
                  <a:lnTo>
                    <a:pt x="1123" y="318"/>
                  </a:lnTo>
                  <a:lnTo>
                    <a:pt x="1123" y="318"/>
                  </a:lnTo>
                  <a:lnTo>
                    <a:pt x="1123" y="318"/>
                  </a:lnTo>
                  <a:lnTo>
                    <a:pt x="1120" y="320"/>
                  </a:lnTo>
                  <a:lnTo>
                    <a:pt x="1120" y="320"/>
                  </a:lnTo>
                  <a:lnTo>
                    <a:pt x="1120" y="320"/>
                  </a:lnTo>
                  <a:lnTo>
                    <a:pt x="1120" y="320"/>
                  </a:lnTo>
                  <a:lnTo>
                    <a:pt x="1118" y="320"/>
                  </a:lnTo>
                  <a:lnTo>
                    <a:pt x="1118" y="323"/>
                  </a:lnTo>
                  <a:lnTo>
                    <a:pt x="1112" y="323"/>
                  </a:lnTo>
                  <a:lnTo>
                    <a:pt x="1112" y="323"/>
                  </a:lnTo>
                  <a:lnTo>
                    <a:pt x="1104" y="315"/>
                  </a:lnTo>
                  <a:lnTo>
                    <a:pt x="1104" y="315"/>
                  </a:lnTo>
                  <a:lnTo>
                    <a:pt x="1102" y="310"/>
                  </a:lnTo>
                  <a:lnTo>
                    <a:pt x="1102" y="310"/>
                  </a:lnTo>
                  <a:lnTo>
                    <a:pt x="1102" y="307"/>
                  </a:lnTo>
                  <a:lnTo>
                    <a:pt x="1102" y="307"/>
                  </a:lnTo>
                  <a:lnTo>
                    <a:pt x="1102" y="304"/>
                  </a:lnTo>
                  <a:lnTo>
                    <a:pt x="1102" y="304"/>
                  </a:lnTo>
                  <a:lnTo>
                    <a:pt x="1102" y="302"/>
                  </a:lnTo>
                  <a:lnTo>
                    <a:pt x="1104" y="299"/>
                  </a:lnTo>
                  <a:lnTo>
                    <a:pt x="1104" y="299"/>
                  </a:lnTo>
                  <a:lnTo>
                    <a:pt x="1104" y="299"/>
                  </a:lnTo>
                  <a:lnTo>
                    <a:pt x="1102" y="299"/>
                  </a:lnTo>
                  <a:lnTo>
                    <a:pt x="1102" y="296"/>
                  </a:lnTo>
                  <a:lnTo>
                    <a:pt x="1099" y="294"/>
                  </a:lnTo>
                  <a:lnTo>
                    <a:pt x="1099" y="288"/>
                  </a:lnTo>
                  <a:lnTo>
                    <a:pt x="1096" y="286"/>
                  </a:lnTo>
                  <a:lnTo>
                    <a:pt x="1096" y="286"/>
                  </a:lnTo>
                  <a:lnTo>
                    <a:pt x="1096" y="286"/>
                  </a:lnTo>
                  <a:lnTo>
                    <a:pt x="1096" y="288"/>
                  </a:lnTo>
                  <a:lnTo>
                    <a:pt x="1094" y="288"/>
                  </a:lnTo>
                  <a:lnTo>
                    <a:pt x="1094" y="288"/>
                  </a:lnTo>
                  <a:lnTo>
                    <a:pt x="1094" y="286"/>
                  </a:lnTo>
                  <a:lnTo>
                    <a:pt x="1094" y="286"/>
                  </a:lnTo>
                  <a:lnTo>
                    <a:pt x="1094" y="286"/>
                  </a:lnTo>
                  <a:lnTo>
                    <a:pt x="1094" y="286"/>
                  </a:lnTo>
                  <a:lnTo>
                    <a:pt x="1091" y="286"/>
                  </a:lnTo>
                  <a:lnTo>
                    <a:pt x="1091" y="286"/>
                  </a:lnTo>
                  <a:lnTo>
                    <a:pt x="1091" y="288"/>
                  </a:lnTo>
                  <a:lnTo>
                    <a:pt x="1091" y="288"/>
                  </a:lnTo>
                  <a:lnTo>
                    <a:pt x="1091" y="288"/>
                  </a:lnTo>
                  <a:lnTo>
                    <a:pt x="1091" y="288"/>
                  </a:lnTo>
                  <a:lnTo>
                    <a:pt x="1088" y="288"/>
                  </a:lnTo>
                  <a:lnTo>
                    <a:pt x="1088" y="288"/>
                  </a:lnTo>
                  <a:lnTo>
                    <a:pt x="1088" y="291"/>
                  </a:lnTo>
                  <a:lnTo>
                    <a:pt x="1088" y="291"/>
                  </a:lnTo>
                  <a:lnTo>
                    <a:pt x="1088" y="294"/>
                  </a:lnTo>
                  <a:lnTo>
                    <a:pt x="1088" y="294"/>
                  </a:lnTo>
                  <a:lnTo>
                    <a:pt x="1088" y="294"/>
                  </a:lnTo>
                  <a:lnTo>
                    <a:pt x="1091" y="296"/>
                  </a:lnTo>
                  <a:lnTo>
                    <a:pt x="1091" y="296"/>
                  </a:lnTo>
                  <a:lnTo>
                    <a:pt x="1091" y="296"/>
                  </a:lnTo>
                  <a:lnTo>
                    <a:pt x="1091" y="299"/>
                  </a:lnTo>
                  <a:lnTo>
                    <a:pt x="1091" y="299"/>
                  </a:lnTo>
                  <a:lnTo>
                    <a:pt x="1091" y="299"/>
                  </a:lnTo>
                  <a:lnTo>
                    <a:pt x="1091" y="299"/>
                  </a:lnTo>
                  <a:lnTo>
                    <a:pt x="1091" y="299"/>
                  </a:lnTo>
                  <a:lnTo>
                    <a:pt x="1091" y="299"/>
                  </a:lnTo>
                  <a:lnTo>
                    <a:pt x="1091" y="302"/>
                  </a:lnTo>
                  <a:lnTo>
                    <a:pt x="1096" y="302"/>
                  </a:lnTo>
                  <a:lnTo>
                    <a:pt x="1099" y="304"/>
                  </a:lnTo>
                  <a:lnTo>
                    <a:pt x="1099" y="304"/>
                  </a:lnTo>
                  <a:lnTo>
                    <a:pt x="1102" y="310"/>
                  </a:lnTo>
                  <a:lnTo>
                    <a:pt x="1104" y="315"/>
                  </a:lnTo>
                  <a:lnTo>
                    <a:pt x="1104" y="318"/>
                  </a:lnTo>
                  <a:lnTo>
                    <a:pt x="1104" y="320"/>
                  </a:lnTo>
                  <a:lnTo>
                    <a:pt x="1104" y="320"/>
                  </a:lnTo>
                  <a:lnTo>
                    <a:pt x="1104" y="323"/>
                  </a:lnTo>
                  <a:lnTo>
                    <a:pt x="1104" y="323"/>
                  </a:lnTo>
                  <a:lnTo>
                    <a:pt x="1104" y="323"/>
                  </a:lnTo>
                  <a:lnTo>
                    <a:pt x="1102" y="326"/>
                  </a:lnTo>
                  <a:lnTo>
                    <a:pt x="1102" y="329"/>
                  </a:lnTo>
                  <a:lnTo>
                    <a:pt x="1102" y="329"/>
                  </a:lnTo>
                  <a:lnTo>
                    <a:pt x="1102" y="329"/>
                  </a:lnTo>
                  <a:lnTo>
                    <a:pt x="1102" y="331"/>
                  </a:lnTo>
                  <a:lnTo>
                    <a:pt x="1102" y="331"/>
                  </a:lnTo>
                  <a:lnTo>
                    <a:pt x="1102" y="331"/>
                  </a:lnTo>
                  <a:lnTo>
                    <a:pt x="1102" y="331"/>
                  </a:lnTo>
                  <a:lnTo>
                    <a:pt x="1102" y="334"/>
                  </a:lnTo>
                  <a:lnTo>
                    <a:pt x="1102" y="334"/>
                  </a:lnTo>
                  <a:lnTo>
                    <a:pt x="1102" y="334"/>
                  </a:lnTo>
                  <a:lnTo>
                    <a:pt x="1104" y="334"/>
                  </a:lnTo>
                  <a:lnTo>
                    <a:pt x="1104" y="334"/>
                  </a:lnTo>
                  <a:lnTo>
                    <a:pt x="1104" y="331"/>
                  </a:lnTo>
                  <a:lnTo>
                    <a:pt x="1104" y="331"/>
                  </a:lnTo>
                  <a:lnTo>
                    <a:pt x="1104" y="331"/>
                  </a:lnTo>
                  <a:lnTo>
                    <a:pt x="1104" y="331"/>
                  </a:lnTo>
                  <a:lnTo>
                    <a:pt x="1104" y="331"/>
                  </a:lnTo>
                  <a:lnTo>
                    <a:pt x="1102" y="331"/>
                  </a:lnTo>
                  <a:lnTo>
                    <a:pt x="1102" y="329"/>
                  </a:lnTo>
                  <a:lnTo>
                    <a:pt x="1104" y="329"/>
                  </a:lnTo>
                  <a:lnTo>
                    <a:pt x="1104" y="326"/>
                  </a:lnTo>
                  <a:lnTo>
                    <a:pt x="1107" y="326"/>
                  </a:lnTo>
                  <a:lnTo>
                    <a:pt x="1107" y="326"/>
                  </a:lnTo>
                  <a:lnTo>
                    <a:pt x="1107" y="326"/>
                  </a:lnTo>
                  <a:lnTo>
                    <a:pt x="1107" y="326"/>
                  </a:lnTo>
                  <a:lnTo>
                    <a:pt x="1115" y="326"/>
                  </a:lnTo>
                  <a:lnTo>
                    <a:pt x="1118" y="329"/>
                  </a:lnTo>
                  <a:lnTo>
                    <a:pt x="1118" y="329"/>
                  </a:lnTo>
                  <a:lnTo>
                    <a:pt x="1118" y="329"/>
                  </a:lnTo>
                  <a:lnTo>
                    <a:pt x="1120" y="329"/>
                  </a:lnTo>
                  <a:lnTo>
                    <a:pt x="1120" y="329"/>
                  </a:lnTo>
                  <a:lnTo>
                    <a:pt x="1123" y="331"/>
                  </a:lnTo>
                  <a:lnTo>
                    <a:pt x="1126" y="331"/>
                  </a:lnTo>
                  <a:lnTo>
                    <a:pt x="1126" y="334"/>
                  </a:lnTo>
                  <a:lnTo>
                    <a:pt x="1126" y="334"/>
                  </a:lnTo>
                  <a:lnTo>
                    <a:pt x="1126" y="337"/>
                  </a:lnTo>
                  <a:lnTo>
                    <a:pt x="1126" y="337"/>
                  </a:lnTo>
                  <a:lnTo>
                    <a:pt x="1128" y="339"/>
                  </a:lnTo>
                  <a:lnTo>
                    <a:pt x="1126" y="339"/>
                  </a:lnTo>
                  <a:lnTo>
                    <a:pt x="1126" y="342"/>
                  </a:lnTo>
                  <a:lnTo>
                    <a:pt x="1126" y="342"/>
                  </a:lnTo>
                  <a:lnTo>
                    <a:pt x="1126" y="345"/>
                  </a:lnTo>
                  <a:lnTo>
                    <a:pt x="1126" y="345"/>
                  </a:lnTo>
                  <a:lnTo>
                    <a:pt x="1123" y="345"/>
                  </a:lnTo>
                  <a:lnTo>
                    <a:pt x="1123" y="347"/>
                  </a:lnTo>
                  <a:lnTo>
                    <a:pt x="1123" y="347"/>
                  </a:lnTo>
                  <a:lnTo>
                    <a:pt x="1123" y="347"/>
                  </a:lnTo>
                  <a:lnTo>
                    <a:pt x="1123" y="347"/>
                  </a:lnTo>
                  <a:lnTo>
                    <a:pt x="1120" y="345"/>
                  </a:lnTo>
                  <a:lnTo>
                    <a:pt x="1120" y="345"/>
                  </a:lnTo>
                  <a:lnTo>
                    <a:pt x="1123" y="345"/>
                  </a:lnTo>
                  <a:lnTo>
                    <a:pt x="1123" y="345"/>
                  </a:lnTo>
                  <a:lnTo>
                    <a:pt x="1123" y="345"/>
                  </a:lnTo>
                  <a:lnTo>
                    <a:pt x="1123" y="345"/>
                  </a:lnTo>
                  <a:lnTo>
                    <a:pt x="1123" y="345"/>
                  </a:lnTo>
                  <a:lnTo>
                    <a:pt x="1123" y="345"/>
                  </a:lnTo>
                  <a:lnTo>
                    <a:pt x="1123" y="342"/>
                  </a:lnTo>
                  <a:lnTo>
                    <a:pt x="1123" y="342"/>
                  </a:lnTo>
                  <a:lnTo>
                    <a:pt x="1123" y="342"/>
                  </a:lnTo>
                  <a:lnTo>
                    <a:pt x="1123" y="342"/>
                  </a:lnTo>
                  <a:lnTo>
                    <a:pt x="1123" y="339"/>
                  </a:lnTo>
                  <a:lnTo>
                    <a:pt x="1123" y="339"/>
                  </a:lnTo>
                  <a:lnTo>
                    <a:pt x="1126" y="339"/>
                  </a:lnTo>
                  <a:lnTo>
                    <a:pt x="1126" y="339"/>
                  </a:lnTo>
                  <a:lnTo>
                    <a:pt x="1126" y="339"/>
                  </a:lnTo>
                  <a:lnTo>
                    <a:pt x="1123" y="337"/>
                  </a:lnTo>
                  <a:lnTo>
                    <a:pt x="1123" y="337"/>
                  </a:lnTo>
                  <a:lnTo>
                    <a:pt x="1123" y="339"/>
                  </a:lnTo>
                  <a:lnTo>
                    <a:pt x="1120" y="339"/>
                  </a:lnTo>
                  <a:lnTo>
                    <a:pt x="1118" y="339"/>
                  </a:lnTo>
                  <a:lnTo>
                    <a:pt x="1118" y="339"/>
                  </a:lnTo>
                  <a:lnTo>
                    <a:pt x="1118" y="337"/>
                  </a:lnTo>
                  <a:lnTo>
                    <a:pt x="1118" y="337"/>
                  </a:lnTo>
                  <a:lnTo>
                    <a:pt x="1118" y="334"/>
                  </a:lnTo>
                  <a:lnTo>
                    <a:pt x="1112" y="334"/>
                  </a:lnTo>
                  <a:lnTo>
                    <a:pt x="1112" y="337"/>
                  </a:lnTo>
                  <a:lnTo>
                    <a:pt x="1112" y="337"/>
                  </a:lnTo>
                  <a:lnTo>
                    <a:pt x="1112" y="337"/>
                  </a:lnTo>
                  <a:lnTo>
                    <a:pt x="1112" y="337"/>
                  </a:lnTo>
                  <a:lnTo>
                    <a:pt x="1110" y="337"/>
                  </a:lnTo>
                  <a:lnTo>
                    <a:pt x="1110" y="339"/>
                  </a:lnTo>
                  <a:lnTo>
                    <a:pt x="1110" y="339"/>
                  </a:lnTo>
                  <a:lnTo>
                    <a:pt x="1110" y="339"/>
                  </a:lnTo>
                  <a:lnTo>
                    <a:pt x="1110" y="339"/>
                  </a:lnTo>
                  <a:lnTo>
                    <a:pt x="1110" y="342"/>
                  </a:lnTo>
                  <a:lnTo>
                    <a:pt x="1107" y="342"/>
                  </a:lnTo>
                  <a:lnTo>
                    <a:pt x="1107" y="345"/>
                  </a:lnTo>
                  <a:lnTo>
                    <a:pt x="1104" y="347"/>
                  </a:lnTo>
                  <a:lnTo>
                    <a:pt x="1104" y="347"/>
                  </a:lnTo>
                  <a:lnTo>
                    <a:pt x="1104" y="347"/>
                  </a:lnTo>
                  <a:lnTo>
                    <a:pt x="1107" y="347"/>
                  </a:lnTo>
                  <a:lnTo>
                    <a:pt x="1107" y="347"/>
                  </a:lnTo>
                  <a:lnTo>
                    <a:pt x="1107" y="347"/>
                  </a:lnTo>
                  <a:lnTo>
                    <a:pt x="1104" y="347"/>
                  </a:lnTo>
                  <a:lnTo>
                    <a:pt x="1104" y="347"/>
                  </a:lnTo>
                  <a:lnTo>
                    <a:pt x="1104" y="350"/>
                  </a:lnTo>
                  <a:lnTo>
                    <a:pt x="1104" y="350"/>
                  </a:lnTo>
                  <a:lnTo>
                    <a:pt x="1102" y="350"/>
                  </a:lnTo>
                  <a:lnTo>
                    <a:pt x="1102" y="353"/>
                  </a:lnTo>
                  <a:lnTo>
                    <a:pt x="1104" y="353"/>
                  </a:lnTo>
                  <a:lnTo>
                    <a:pt x="1104" y="353"/>
                  </a:lnTo>
                  <a:lnTo>
                    <a:pt x="1102" y="353"/>
                  </a:lnTo>
                  <a:lnTo>
                    <a:pt x="1102" y="353"/>
                  </a:lnTo>
                  <a:lnTo>
                    <a:pt x="1102" y="353"/>
                  </a:lnTo>
                  <a:lnTo>
                    <a:pt x="1099" y="353"/>
                  </a:lnTo>
                  <a:lnTo>
                    <a:pt x="1099" y="353"/>
                  </a:lnTo>
                  <a:lnTo>
                    <a:pt x="1102" y="353"/>
                  </a:lnTo>
                  <a:lnTo>
                    <a:pt x="1102" y="350"/>
                  </a:lnTo>
                  <a:lnTo>
                    <a:pt x="1102" y="350"/>
                  </a:lnTo>
                  <a:lnTo>
                    <a:pt x="1099" y="350"/>
                  </a:lnTo>
                  <a:lnTo>
                    <a:pt x="1099" y="350"/>
                  </a:lnTo>
                  <a:lnTo>
                    <a:pt x="1099" y="350"/>
                  </a:lnTo>
                  <a:lnTo>
                    <a:pt x="1099" y="350"/>
                  </a:lnTo>
                  <a:lnTo>
                    <a:pt x="1099" y="350"/>
                  </a:lnTo>
                  <a:lnTo>
                    <a:pt x="1102" y="350"/>
                  </a:lnTo>
                  <a:lnTo>
                    <a:pt x="1094" y="347"/>
                  </a:lnTo>
                  <a:lnTo>
                    <a:pt x="1094" y="347"/>
                  </a:lnTo>
                  <a:lnTo>
                    <a:pt x="1091" y="347"/>
                  </a:lnTo>
                  <a:lnTo>
                    <a:pt x="1088" y="347"/>
                  </a:lnTo>
                  <a:lnTo>
                    <a:pt x="1088" y="347"/>
                  </a:lnTo>
                  <a:lnTo>
                    <a:pt x="1088" y="347"/>
                  </a:lnTo>
                  <a:lnTo>
                    <a:pt x="1086" y="347"/>
                  </a:lnTo>
                  <a:lnTo>
                    <a:pt x="1086" y="347"/>
                  </a:lnTo>
                  <a:lnTo>
                    <a:pt x="1086" y="347"/>
                  </a:lnTo>
                  <a:lnTo>
                    <a:pt x="1086" y="347"/>
                  </a:lnTo>
                  <a:lnTo>
                    <a:pt x="1086" y="345"/>
                  </a:lnTo>
                  <a:lnTo>
                    <a:pt x="1086" y="345"/>
                  </a:lnTo>
                  <a:lnTo>
                    <a:pt x="1086" y="345"/>
                  </a:lnTo>
                  <a:lnTo>
                    <a:pt x="1086" y="345"/>
                  </a:lnTo>
                  <a:lnTo>
                    <a:pt x="1086" y="345"/>
                  </a:lnTo>
                  <a:lnTo>
                    <a:pt x="1086" y="345"/>
                  </a:lnTo>
                  <a:lnTo>
                    <a:pt x="1083" y="347"/>
                  </a:lnTo>
                  <a:lnTo>
                    <a:pt x="1080" y="347"/>
                  </a:lnTo>
                  <a:lnTo>
                    <a:pt x="1080" y="347"/>
                  </a:lnTo>
                  <a:lnTo>
                    <a:pt x="1080" y="347"/>
                  </a:lnTo>
                  <a:lnTo>
                    <a:pt x="1080" y="347"/>
                  </a:lnTo>
                  <a:lnTo>
                    <a:pt x="1080" y="347"/>
                  </a:lnTo>
                  <a:lnTo>
                    <a:pt x="1080" y="350"/>
                  </a:lnTo>
                  <a:lnTo>
                    <a:pt x="1080" y="350"/>
                  </a:lnTo>
                  <a:lnTo>
                    <a:pt x="1080" y="350"/>
                  </a:lnTo>
                  <a:lnTo>
                    <a:pt x="1080" y="347"/>
                  </a:lnTo>
                  <a:lnTo>
                    <a:pt x="1080" y="347"/>
                  </a:lnTo>
                  <a:lnTo>
                    <a:pt x="1080" y="347"/>
                  </a:lnTo>
                  <a:lnTo>
                    <a:pt x="1080" y="347"/>
                  </a:lnTo>
                  <a:lnTo>
                    <a:pt x="1080" y="345"/>
                  </a:lnTo>
                  <a:lnTo>
                    <a:pt x="1080" y="345"/>
                  </a:lnTo>
                  <a:lnTo>
                    <a:pt x="1080" y="345"/>
                  </a:lnTo>
                  <a:lnTo>
                    <a:pt x="1078" y="342"/>
                  </a:lnTo>
                  <a:lnTo>
                    <a:pt x="1078" y="342"/>
                  </a:lnTo>
                  <a:lnTo>
                    <a:pt x="1078" y="342"/>
                  </a:lnTo>
                  <a:lnTo>
                    <a:pt x="1075" y="342"/>
                  </a:lnTo>
                  <a:lnTo>
                    <a:pt x="1072" y="342"/>
                  </a:lnTo>
                  <a:lnTo>
                    <a:pt x="1072" y="342"/>
                  </a:lnTo>
                  <a:lnTo>
                    <a:pt x="1072" y="342"/>
                  </a:lnTo>
                  <a:lnTo>
                    <a:pt x="1070" y="342"/>
                  </a:lnTo>
                  <a:lnTo>
                    <a:pt x="1067" y="342"/>
                  </a:lnTo>
                  <a:lnTo>
                    <a:pt x="1064" y="342"/>
                  </a:lnTo>
                  <a:lnTo>
                    <a:pt x="1062" y="342"/>
                  </a:lnTo>
                  <a:lnTo>
                    <a:pt x="1062" y="342"/>
                  </a:lnTo>
                  <a:lnTo>
                    <a:pt x="1062" y="339"/>
                  </a:lnTo>
                  <a:lnTo>
                    <a:pt x="1054" y="339"/>
                  </a:lnTo>
                  <a:lnTo>
                    <a:pt x="1051" y="339"/>
                  </a:lnTo>
                  <a:lnTo>
                    <a:pt x="1048" y="337"/>
                  </a:lnTo>
                  <a:lnTo>
                    <a:pt x="1048" y="337"/>
                  </a:lnTo>
                  <a:lnTo>
                    <a:pt x="1048" y="334"/>
                  </a:lnTo>
                  <a:lnTo>
                    <a:pt x="1048" y="331"/>
                  </a:lnTo>
                  <a:lnTo>
                    <a:pt x="1048" y="331"/>
                  </a:lnTo>
                  <a:lnTo>
                    <a:pt x="1046" y="331"/>
                  </a:lnTo>
                  <a:lnTo>
                    <a:pt x="1046" y="331"/>
                  </a:lnTo>
                  <a:lnTo>
                    <a:pt x="1046" y="331"/>
                  </a:lnTo>
                  <a:lnTo>
                    <a:pt x="1046" y="331"/>
                  </a:lnTo>
                  <a:lnTo>
                    <a:pt x="1046" y="331"/>
                  </a:lnTo>
                  <a:lnTo>
                    <a:pt x="1046" y="331"/>
                  </a:lnTo>
                  <a:lnTo>
                    <a:pt x="1046" y="331"/>
                  </a:lnTo>
                  <a:lnTo>
                    <a:pt x="1043" y="331"/>
                  </a:lnTo>
                  <a:lnTo>
                    <a:pt x="1040" y="331"/>
                  </a:lnTo>
                  <a:lnTo>
                    <a:pt x="1040" y="329"/>
                  </a:lnTo>
                  <a:lnTo>
                    <a:pt x="1043" y="331"/>
                  </a:lnTo>
                  <a:lnTo>
                    <a:pt x="1043" y="329"/>
                  </a:lnTo>
                  <a:lnTo>
                    <a:pt x="1043" y="329"/>
                  </a:lnTo>
                  <a:lnTo>
                    <a:pt x="1043" y="329"/>
                  </a:lnTo>
                  <a:lnTo>
                    <a:pt x="1046" y="329"/>
                  </a:lnTo>
                  <a:lnTo>
                    <a:pt x="1046" y="329"/>
                  </a:lnTo>
                  <a:lnTo>
                    <a:pt x="1048" y="329"/>
                  </a:lnTo>
                  <a:lnTo>
                    <a:pt x="1048" y="326"/>
                  </a:lnTo>
                  <a:lnTo>
                    <a:pt x="1051" y="326"/>
                  </a:lnTo>
                  <a:lnTo>
                    <a:pt x="1048" y="326"/>
                  </a:lnTo>
                  <a:lnTo>
                    <a:pt x="1048" y="323"/>
                  </a:lnTo>
                  <a:lnTo>
                    <a:pt x="1048" y="323"/>
                  </a:lnTo>
                  <a:lnTo>
                    <a:pt x="1051" y="323"/>
                  </a:lnTo>
                  <a:lnTo>
                    <a:pt x="1048" y="323"/>
                  </a:lnTo>
                  <a:lnTo>
                    <a:pt x="1048" y="320"/>
                  </a:lnTo>
                  <a:lnTo>
                    <a:pt x="1051" y="320"/>
                  </a:lnTo>
                  <a:lnTo>
                    <a:pt x="1051" y="320"/>
                  </a:lnTo>
                  <a:lnTo>
                    <a:pt x="1051" y="318"/>
                  </a:lnTo>
                  <a:lnTo>
                    <a:pt x="1051" y="318"/>
                  </a:lnTo>
                  <a:lnTo>
                    <a:pt x="1051" y="318"/>
                  </a:lnTo>
                  <a:lnTo>
                    <a:pt x="1051" y="318"/>
                  </a:lnTo>
                  <a:lnTo>
                    <a:pt x="1051" y="315"/>
                  </a:lnTo>
                  <a:lnTo>
                    <a:pt x="1051" y="315"/>
                  </a:lnTo>
                  <a:lnTo>
                    <a:pt x="1054" y="312"/>
                  </a:lnTo>
                  <a:lnTo>
                    <a:pt x="1054" y="312"/>
                  </a:lnTo>
                  <a:lnTo>
                    <a:pt x="1054" y="312"/>
                  </a:lnTo>
                  <a:lnTo>
                    <a:pt x="1054" y="310"/>
                  </a:lnTo>
                  <a:lnTo>
                    <a:pt x="1054" y="310"/>
                  </a:lnTo>
                  <a:lnTo>
                    <a:pt x="1054" y="307"/>
                  </a:lnTo>
                  <a:lnTo>
                    <a:pt x="1054" y="307"/>
                  </a:lnTo>
                  <a:lnTo>
                    <a:pt x="1051" y="307"/>
                  </a:lnTo>
                  <a:lnTo>
                    <a:pt x="1051" y="307"/>
                  </a:lnTo>
                  <a:lnTo>
                    <a:pt x="1051" y="304"/>
                  </a:lnTo>
                  <a:lnTo>
                    <a:pt x="1051" y="304"/>
                  </a:lnTo>
                  <a:lnTo>
                    <a:pt x="1059" y="307"/>
                  </a:lnTo>
                  <a:lnTo>
                    <a:pt x="1059" y="307"/>
                  </a:lnTo>
                  <a:lnTo>
                    <a:pt x="1056" y="304"/>
                  </a:lnTo>
                  <a:lnTo>
                    <a:pt x="1048" y="304"/>
                  </a:lnTo>
                  <a:lnTo>
                    <a:pt x="1043" y="302"/>
                  </a:lnTo>
                  <a:lnTo>
                    <a:pt x="1035" y="302"/>
                  </a:lnTo>
                  <a:lnTo>
                    <a:pt x="1030" y="304"/>
                  </a:lnTo>
                  <a:lnTo>
                    <a:pt x="1030" y="304"/>
                  </a:lnTo>
                  <a:lnTo>
                    <a:pt x="1024" y="307"/>
                  </a:lnTo>
                  <a:lnTo>
                    <a:pt x="1022" y="310"/>
                  </a:lnTo>
                  <a:lnTo>
                    <a:pt x="1022" y="310"/>
                  </a:lnTo>
                  <a:lnTo>
                    <a:pt x="1022" y="310"/>
                  </a:lnTo>
                  <a:lnTo>
                    <a:pt x="1022" y="310"/>
                  </a:lnTo>
                  <a:lnTo>
                    <a:pt x="1022" y="310"/>
                  </a:lnTo>
                  <a:lnTo>
                    <a:pt x="1022" y="310"/>
                  </a:lnTo>
                  <a:lnTo>
                    <a:pt x="1022" y="310"/>
                  </a:lnTo>
                  <a:lnTo>
                    <a:pt x="1019" y="312"/>
                  </a:lnTo>
                  <a:lnTo>
                    <a:pt x="1019" y="312"/>
                  </a:lnTo>
                  <a:lnTo>
                    <a:pt x="1019" y="312"/>
                  </a:lnTo>
                  <a:lnTo>
                    <a:pt x="1019" y="312"/>
                  </a:lnTo>
                  <a:lnTo>
                    <a:pt x="1019" y="312"/>
                  </a:lnTo>
                  <a:lnTo>
                    <a:pt x="1019" y="310"/>
                  </a:lnTo>
                  <a:lnTo>
                    <a:pt x="1019" y="310"/>
                  </a:lnTo>
                  <a:lnTo>
                    <a:pt x="1019" y="310"/>
                  </a:lnTo>
                  <a:lnTo>
                    <a:pt x="1019" y="310"/>
                  </a:lnTo>
                  <a:lnTo>
                    <a:pt x="1019" y="310"/>
                  </a:lnTo>
                  <a:lnTo>
                    <a:pt x="1019" y="310"/>
                  </a:lnTo>
                  <a:lnTo>
                    <a:pt x="1014" y="310"/>
                  </a:lnTo>
                  <a:lnTo>
                    <a:pt x="1011" y="310"/>
                  </a:lnTo>
                  <a:lnTo>
                    <a:pt x="1011" y="310"/>
                  </a:lnTo>
                  <a:lnTo>
                    <a:pt x="1008" y="310"/>
                  </a:lnTo>
                  <a:lnTo>
                    <a:pt x="998" y="315"/>
                  </a:lnTo>
                  <a:lnTo>
                    <a:pt x="995" y="318"/>
                  </a:lnTo>
                  <a:lnTo>
                    <a:pt x="995" y="318"/>
                  </a:lnTo>
                  <a:lnTo>
                    <a:pt x="995" y="320"/>
                  </a:lnTo>
                  <a:lnTo>
                    <a:pt x="995" y="320"/>
                  </a:lnTo>
                  <a:lnTo>
                    <a:pt x="995" y="320"/>
                  </a:lnTo>
                  <a:lnTo>
                    <a:pt x="998" y="320"/>
                  </a:lnTo>
                  <a:lnTo>
                    <a:pt x="998" y="323"/>
                  </a:lnTo>
                  <a:lnTo>
                    <a:pt x="1000" y="326"/>
                  </a:lnTo>
                  <a:lnTo>
                    <a:pt x="1003" y="326"/>
                  </a:lnTo>
                  <a:lnTo>
                    <a:pt x="1003" y="326"/>
                  </a:lnTo>
                  <a:lnTo>
                    <a:pt x="1003" y="329"/>
                  </a:lnTo>
                  <a:lnTo>
                    <a:pt x="998" y="329"/>
                  </a:lnTo>
                  <a:lnTo>
                    <a:pt x="987" y="326"/>
                  </a:lnTo>
                  <a:lnTo>
                    <a:pt x="987" y="323"/>
                  </a:lnTo>
                  <a:lnTo>
                    <a:pt x="987" y="323"/>
                  </a:lnTo>
                  <a:lnTo>
                    <a:pt x="987" y="323"/>
                  </a:lnTo>
                  <a:lnTo>
                    <a:pt x="987" y="323"/>
                  </a:lnTo>
                  <a:lnTo>
                    <a:pt x="987" y="323"/>
                  </a:lnTo>
                  <a:lnTo>
                    <a:pt x="984" y="323"/>
                  </a:lnTo>
                  <a:lnTo>
                    <a:pt x="982" y="320"/>
                  </a:lnTo>
                  <a:lnTo>
                    <a:pt x="982" y="320"/>
                  </a:lnTo>
                  <a:lnTo>
                    <a:pt x="982" y="323"/>
                  </a:lnTo>
                  <a:lnTo>
                    <a:pt x="979" y="323"/>
                  </a:lnTo>
                  <a:lnTo>
                    <a:pt x="976" y="323"/>
                  </a:lnTo>
                  <a:lnTo>
                    <a:pt x="976" y="323"/>
                  </a:lnTo>
                  <a:lnTo>
                    <a:pt x="968" y="329"/>
                  </a:lnTo>
                  <a:lnTo>
                    <a:pt x="968" y="329"/>
                  </a:lnTo>
                  <a:lnTo>
                    <a:pt x="966" y="331"/>
                  </a:lnTo>
                  <a:lnTo>
                    <a:pt x="966" y="331"/>
                  </a:lnTo>
                  <a:lnTo>
                    <a:pt x="966" y="331"/>
                  </a:lnTo>
                  <a:lnTo>
                    <a:pt x="966" y="331"/>
                  </a:lnTo>
                  <a:lnTo>
                    <a:pt x="966" y="331"/>
                  </a:lnTo>
                  <a:lnTo>
                    <a:pt x="966" y="331"/>
                  </a:lnTo>
                  <a:lnTo>
                    <a:pt x="966" y="331"/>
                  </a:lnTo>
                  <a:lnTo>
                    <a:pt x="966" y="331"/>
                  </a:lnTo>
                  <a:lnTo>
                    <a:pt x="966" y="331"/>
                  </a:lnTo>
                  <a:lnTo>
                    <a:pt x="966" y="331"/>
                  </a:lnTo>
                  <a:lnTo>
                    <a:pt x="966" y="331"/>
                  </a:lnTo>
                  <a:lnTo>
                    <a:pt x="966" y="329"/>
                  </a:lnTo>
                  <a:lnTo>
                    <a:pt x="966" y="331"/>
                  </a:lnTo>
                  <a:lnTo>
                    <a:pt x="963" y="331"/>
                  </a:lnTo>
                  <a:lnTo>
                    <a:pt x="963" y="331"/>
                  </a:lnTo>
                  <a:lnTo>
                    <a:pt x="963" y="331"/>
                  </a:lnTo>
                  <a:lnTo>
                    <a:pt x="963" y="334"/>
                  </a:lnTo>
                  <a:lnTo>
                    <a:pt x="963" y="334"/>
                  </a:lnTo>
                  <a:lnTo>
                    <a:pt x="960" y="337"/>
                  </a:lnTo>
                  <a:lnTo>
                    <a:pt x="958" y="337"/>
                  </a:lnTo>
                  <a:lnTo>
                    <a:pt x="955" y="339"/>
                  </a:lnTo>
                  <a:lnTo>
                    <a:pt x="955" y="339"/>
                  </a:lnTo>
                  <a:lnTo>
                    <a:pt x="955" y="337"/>
                  </a:lnTo>
                  <a:lnTo>
                    <a:pt x="952" y="337"/>
                  </a:lnTo>
                  <a:lnTo>
                    <a:pt x="952" y="337"/>
                  </a:lnTo>
                  <a:lnTo>
                    <a:pt x="952" y="334"/>
                  </a:lnTo>
                  <a:lnTo>
                    <a:pt x="950" y="334"/>
                  </a:lnTo>
                  <a:lnTo>
                    <a:pt x="944" y="339"/>
                  </a:lnTo>
                  <a:lnTo>
                    <a:pt x="944" y="339"/>
                  </a:lnTo>
                  <a:lnTo>
                    <a:pt x="944" y="339"/>
                  </a:lnTo>
                  <a:lnTo>
                    <a:pt x="947" y="339"/>
                  </a:lnTo>
                  <a:lnTo>
                    <a:pt x="947" y="339"/>
                  </a:lnTo>
                  <a:lnTo>
                    <a:pt x="947" y="339"/>
                  </a:lnTo>
                  <a:lnTo>
                    <a:pt x="944" y="339"/>
                  </a:lnTo>
                  <a:lnTo>
                    <a:pt x="944" y="339"/>
                  </a:lnTo>
                  <a:lnTo>
                    <a:pt x="942" y="339"/>
                  </a:lnTo>
                  <a:lnTo>
                    <a:pt x="944" y="342"/>
                  </a:lnTo>
                  <a:lnTo>
                    <a:pt x="944" y="342"/>
                  </a:lnTo>
                  <a:lnTo>
                    <a:pt x="944" y="342"/>
                  </a:lnTo>
                  <a:lnTo>
                    <a:pt x="944" y="345"/>
                  </a:lnTo>
                  <a:lnTo>
                    <a:pt x="944" y="345"/>
                  </a:lnTo>
                  <a:lnTo>
                    <a:pt x="942" y="345"/>
                  </a:lnTo>
                  <a:lnTo>
                    <a:pt x="936" y="345"/>
                  </a:lnTo>
                  <a:lnTo>
                    <a:pt x="934" y="345"/>
                  </a:lnTo>
                  <a:lnTo>
                    <a:pt x="934" y="347"/>
                  </a:lnTo>
                  <a:lnTo>
                    <a:pt x="934" y="347"/>
                  </a:lnTo>
                  <a:lnTo>
                    <a:pt x="931" y="347"/>
                  </a:lnTo>
                  <a:lnTo>
                    <a:pt x="928" y="347"/>
                  </a:lnTo>
                  <a:lnTo>
                    <a:pt x="928" y="347"/>
                  </a:lnTo>
                  <a:lnTo>
                    <a:pt x="928" y="347"/>
                  </a:lnTo>
                  <a:lnTo>
                    <a:pt x="928" y="345"/>
                  </a:lnTo>
                  <a:lnTo>
                    <a:pt x="928" y="345"/>
                  </a:lnTo>
                  <a:lnTo>
                    <a:pt x="931" y="345"/>
                  </a:lnTo>
                  <a:lnTo>
                    <a:pt x="931" y="345"/>
                  </a:lnTo>
                  <a:lnTo>
                    <a:pt x="934" y="342"/>
                  </a:lnTo>
                  <a:lnTo>
                    <a:pt x="934" y="342"/>
                  </a:lnTo>
                  <a:lnTo>
                    <a:pt x="934" y="342"/>
                  </a:lnTo>
                  <a:lnTo>
                    <a:pt x="934" y="342"/>
                  </a:lnTo>
                  <a:lnTo>
                    <a:pt x="936" y="339"/>
                  </a:lnTo>
                  <a:lnTo>
                    <a:pt x="934" y="342"/>
                  </a:lnTo>
                  <a:lnTo>
                    <a:pt x="931" y="342"/>
                  </a:lnTo>
                  <a:lnTo>
                    <a:pt x="928" y="345"/>
                  </a:lnTo>
                  <a:lnTo>
                    <a:pt x="926" y="345"/>
                  </a:lnTo>
                  <a:lnTo>
                    <a:pt x="926" y="345"/>
                  </a:lnTo>
                  <a:lnTo>
                    <a:pt x="926" y="345"/>
                  </a:lnTo>
                  <a:lnTo>
                    <a:pt x="926" y="345"/>
                  </a:lnTo>
                  <a:lnTo>
                    <a:pt x="926" y="345"/>
                  </a:lnTo>
                  <a:lnTo>
                    <a:pt x="926" y="347"/>
                  </a:lnTo>
                  <a:lnTo>
                    <a:pt x="926" y="347"/>
                  </a:lnTo>
                  <a:lnTo>
                    <a:pt x="926" y="347"/>
                  </a:lnTo>
                  <a:lnTo>
                    <a:pt x="926" y="350"/>
                  </a:lnTo>
                  <a:lnTo>
                    <a:pt x="926" y="350"/>
                  </a:lnTo>
                  <a:lnTo>
                    <a:pt x="926" y="350"/>
                  </a:lnTo>
                  <a:lnTo>
                    <a:pt x="926" y="350"/>
                  </a:lnTo>
                  <a:lnTo>
                    <a:pt x="926" y="350"/>
                  </a:lnTo>
                  <a:lnTo>
                    <a:pt x="926" y="353"/>
                  </a:lnTo>
                  <a:lnTo>
                    <a:pt x="926" y="353"/>
                  </a:lnTo>
                  <a:lnTo>
                    <a:pt x="928" y="353"/>
                  </a:lnTo>
                  <a:lnTo>
                    <a:pt x="931" y="353"/>
                  </a:lnTo>
                  <a:lnTo>
                    <a:pt x="936" y="361"/>
                  </a:lnTo>
                  <a:lnTo>
                    <a:pt x="936" y="361"/>
                  </a:lnTo>
                  <a:lnTo>
                    <a:pt x="936" y="361"/>
                  </a:lnTo>
                  <a:lnTo>
                    <a:pt x="939" y="363"/>
                  </a:lnTo>
                  <a:lnTo>
                    <a:pt x="944" y="366"/>
                  </a:lnTo>
                  <a:lnTo>
                    <a:pt x="947" y="369"/>
                  </a:lnTo>
                  <a:lnTo>
                    <a:pt x="958" y="374"/>
                  </a:lnTo>
                  <a:lnTo>
                    <a:pt x="960" y="374"/>
                  </a:lnTo>
                  <a:lnTo>
                    <a:pt x="963" y="377"/>
                  </a:lnTo>
                  <a:lnTo>
                    <a:pt x="960" y="374"/>
                  </a:lnTo>
                  <a:lnTo>
                    <a:pt x="958" y="374"/>
                  </a:lnTo>
                  <a:lnTo>
                    <a:pt x="958" y="374"/>
                  </a:lnTo>
                  <a:lnTo>
                    <a:pt x="955" y="371"/>
                  </a:lnTo>
                  <a:lnTo>
                    <a:pt x="955" y="371"/>
                  </a:lnTo>
                  <a:lnTo>
                    <a:pt x="955" y="371"/>
                  </a:lnTo>
                  <a:lnTo>
                    <a:pt x="963" y="374"/>
                  </a:lnTo>
                  <a:lnTo>
                    <a:pt x="966" y="377"/>
                  </a:lnTo>
                  <a:lnTo>
                    <a:pt x="968" y="377"/>
                  </a:lnTo>
                  <a:lnTo>
                    <a:pt x="968" y="379"/>
                  </a:lnTo>
                  <a:lnTo>
                    <a:pt x="971" y="379"/>
                  </a:lnTo>
                  <a:lnTo>
                    <a:pt x="971" y="379"/>
                  </a:lnTo>
                  <a:lnTo>
                    <a:pt x="974" y="379"/>
                  </a:lnTo>
                  <a:lnTo>
                    <a:pt x="976" y="382"/>
                  </a:lnTo>
                  <a:lnTo>
                    <a:pt x="976" y="382"/>
                  </a:lnTo>
                  <a:lnTo>
                    <a:pt x="979" y="385"/>
                  </a:lnTo>
                  <a:lnTo>
                    <a:pt x="976" y="385"/>
                  </a:lnTo>
                  <a:lnTo>
                    <a:pt x="976" y="385"/>
                  </a:lnTo>
                  <a:lnTo>
                    <a:pt x="976" y="385"/>
                  </a:lnTo>
                  <a:lnTo>
                    <a:pt x="971" y="382"/>
                  </a:lnTo>
                  <a:lnTo>
                    <a:pt x="971" y="382"/>
                  </a:lnTo>
                  <a:lnTo>
                    <a:pt x="971" y="382"/>
                  </a:lnTo>
                  <a:lnTo>
                    <a:pt x="968" y="382"/>
                  </a:lnTo>
                  <a:lnTo>
                    <a:pt x="968" y="382"/>
                  </a:lnTo>
                  <a:lnTo>
                    <a:pt x="968" y="382"/>
                  </a:lnTo>
                  <a:lnTo>
                    <a:pt x="968" y="382"/>
                  </a:lnTo>
                  <a:lnTo>
                    <a:pt x="966" y="382"/>
                  </a:lnTo>
                  <a:lnTo>
                    <a:pt x="966" y="385"/>
                  </a:lnTo>
                  <a:lnTo>
                    <a:pt x="966" y="385"/>
                  </a:lnTo>
                  <a:lnTo>
                    <a:pt x="966" y="387"/>
                  </a:lnTo>
                  <a:lnTo>
                    <a:pt x="966" y="387"/>
                  </a:lnTo>
                  <a:lnTo>
                    <a:pt x="963" y="390"/>
                  </a:lnTo>
                  <a:lnTo>
                    <a:pt x="963" y="390"/>
                  </a:lnTo>
                  <a:lnTo>
                    <a:pt x="963" y="390"/>
                  </a:lnTo>
                  <a:lnTo>
                    <a:pt x="963" y="390"/>
                  </a:lnTo>
                  <a:lnTo>
                    <a:pt x="963" y="390"/>
                  </a:lnTo>
                  <a:lnTo>
                    <a:pt x="963" y="390"/>
                  </a:lnTo>
                  <a:lnTo>
                    <a:pt x="963" y="390"/>
                  </a:lnTo>
                  <a:lnTo>
                    <a:pt x="963" y="390"/>
                  </a:lnTo>
                  <a:lnTo>
                    <a:pt x="960" y="390"/>
                  </a:lnTo>
                  <a:lnTo>
                    <a:pt x="960" y="390"/>
                  </a:lnTo>
                  <a:lnTo>
                    <a:pt x="960" y="390"/>
                  </a:lnTo>
                  <a:lnTo>
                    <a:pt x="958" y="390"/>
                  </a:lnTo>
                  <a:lnTo>
                    <a:pt x="958" y="390"/>
                  </a:lnTo>
                  <a:lnTo>
                    <a:pt x="955" y="387"/>
                  </a:lnTo>
                  <a:lnTo>
                    <a:pt x="952" y="387"/>
                  </a:lnTo>
                  <a:lnTo>
                    <a:pt x="952" y="387"/>
                  </a:lnTo>
                  <a:lnTo>
                    <a:pt x="952" y="387"/>
                  </a:lnTo>
                  <a:lnTo>
                    <a:pt x="952" y="387"/>
                  </a:lnTo>
                  <a:lnTo>
                    <a:pt x="952" y="385"/>
                  </a:lnTo>
                  <a:lnTo>
                    <a:pt x="952" y="382"/>
                  </a:lnTo>
                  <a:lnTo>
                    <a:pt x="952" y="382"/>
                  </a:lnTo>
                  <a:lnTo>
                    <a:pt x="955" y="382"/>
                  </a:lnTo>
                  <a:lnTo>
                    <a:pt x="955" y="379"/>
                  </a:lnTo>
                  <a:lnTo>
                    <a:pt x="955" y="379"/>
                  </a:lnTo>
                  <a:lnTo>
                    <a:pt x="955" y="379"/>
                  </a:lnTo>
                  <a:lnTo>
                    <a:pt x="955" y="379"/>
                  </a:lnTo>
                  <a:lnTo>
                    <a:pt x="955" y="379"/>
                  </a:lnTo>
                  <a:lnTo>
                    <a:pt x="952" y="379"/>
                  </a:lnTo>
                  <a:lnTo>
                    <a:pt x="952" y="382"/>
                  </a:lnTo>
                  <a:lnTo>
                    <a:pt x="952" y="385"/>
                  </a:lnTo>
                  <a:lnTo>
                    <a:pt x="952" y="387"/>
                  </a:lnTo>
                  <a:lnTo>
                    <a:pt x="952" y="390"/>
                  </a:lnTo>
                  <a:lnTo>
                    <a:pt x="955" y="393"/>
                  </a:lnTo>
                  <a:lnTo>
                    <a:pt x="955" y="393"/>
                  </a:lnTo>
                  <a:lnTo>
                    <a:pt x="958" y="395"/>
                  </a:lnTo>
                  <a:lnTo>
                    <a:pt x="958" y="395"/>
                  </a:lnTo>
                  <a:lnTo>
                    <a:pt x="958" y="398"/>
                  </a:lnTo>
                  <a:lnTo>
                    <a:pt x="958" y="398"/>
                  </a:lnTo>
                  <a:lnTo>
                    <a:pt x="958" y="398"/>
                  </a:lnTo>
                  <a:lnTo>
                    <a:pt x="960" y="401"/>
                  </a:lnTo>
                  <a:lnTo>
                    <a:pt x="960" y="403"/>
                  </a:lnTo>
                  <a:lnTo>
                    <a:pt x="963" y="406"/>
                  </a:lnTo>
                  <a:lnTo>
                    <a:pt x="963" y="406"/>
                  </a:lnTo>
                  <a:lnTo>
                    <a:pt x="960" y="403"/>
                  </a:lnTo>
                  <a:lnTo>
                    <a:pt x="960" y="403"/>
                  </a:lnTo>
                  <a:lnTo>
                    <a:pt x="960" y="403"/>
                  </a:lnTo>
                  <a:lnTo>
                    <a:pt x="963" y="403"/>
                  </a:lnTo>
                  <a:lnTo>
                    <a:pt x="963" y="406"/>
                  </a:lnTo>
                  <a:lnTo>
                    <a:pt x="963" y="406"/>
                  </a:lnTo>
                  <a:lnTo>
                    <a:pt x="963" y="406"/>
                  </a:lnTo>
                  <a:lnTo>
                    <a:pt x="963" y="409"/>
                  </a:lnTo>
                  <a:lnTo>
                    <a:pt x="963" y="409"/>
                  </a:lnTo>
                  <a:lnTo>
                    <a:pt x="963" y="411"/>
                  </a:lnTo>
                  <a:lnTo>
                    <a:pt x="963" y="411"/>
                  </a:lnTo>
                  <a:lnTo>
                    <a:pt x="963" y="411"/>
                  </a:lnTo>
                  <a:lnTo>
                    <a:pt x="963" y="411"/>
                  </a:lnTo>
                  <a:lnTo>
                    <a:pt x="963" y="411"/>
                  </a:lnTo>
                  <a:lnTo>
                    <a:pt x="960" y="411"/>
                  </a:lnTo>
                  <a:lnTo>
                    <a:pt x="960" y="411"/>
                  </a:lnTo>
                  <a:lnTo>
                    <a:pt x="960" y="411"/>
                  </a:lnTo>
                  <a:lnTo>
                    <a:pt x="960" y="414"/>
                  </a:lnTo>
                  <a:lnTo>
                    <a:pt x="960" y="414"/>
                  </a:lnTo>
                  <a:lnTo>
                    <a:pt x="960" y="417"/>
                  </a:lnTo>
                  <a:lnTo>
                    <a:pt x="960" y="417"/>
                  </a:lnTo>
                  <a:lnTo>
                    <a:pt x="960" y="419"/>
                  </a:lnTo>
                  <a:lnTo>
                    <a:pt x="960" y="425"/>
                  </a:lnTo>
                  <a:lnTo>
                    <a:pt x="966" y="427"/>
                  </a:lnTo>
                  <a:lnTo>
                    <a:pt x="971" y="430"/>
                  </a:lnTo>
                  <a:lnTo>
                    <a:pt x="974" y="433"/>
                  </a:lnTo>
                  <a:lnTo>
                    <a:pt x="987" y="438"/>
                  </a:lnTo>
                  <a:lnTo>
                    <a:pt x="998" y="443"/>
                  </a:lnTo>
                  <a:lnTo>
                    <a:pt x="1003" y="443"/>
                  </a:lnTo>
                  <a:lnTo>
                    <a:pt x="1006" y="443"/>
                  </a:lnTo>
                  <a:lnTo>
                    <a:pt x="1006" y="443"/>
                  </a:lnTo>
                  <a:lnTo>
                    <a:pt x="1003" y="443"/>
                  </a:lnTo>
                  <a:lnTo>
                    <a:pt x="1003" y="443"/>
                  </a:lnTo>
                  <a:lnTo>
                    <a:pt x="1000" y="443"/>
                  </a:lnTo>
                  <a:lnTo>
                    <a:pt x="1000" y="443"/>
                  </a:lnTo>
                  <a:lnTo>
                    <a:pt x="1000" y="441"/>
                  </a:lnTo>
                  <a:lnTo>
                    <a:pt x="1000" y="441"/>
                  </a:lnTo>
                  <a:lnTo>
                    <a:pt x="1000" y="441"/>
                  </a:lnTo>
                  <a:lnTo>
                    <a:pt x="1000" y="441"/>
                  </a:lnTo>
                  <a:lnTo>
                    <a:pt x="1000" y="441"/>
                  </a:lnTo>
                  <a:lnTo>
                    <a:pt x="1000" y="441"/>
                  </a:lnTo>
                  <a:lnTo>
                    <a:pt x="1000" y="441"/>
                  </a:lnTo>
                  <a:lnTo>
                    <a:pt x="1000" y="438"/>
                  </a:lnTo>
                  <a:lnTo>
                    <a:pt x="1000" y="438"/>
                  </a:lnTo>
                  <a:lnTo>
                    <a:pt x="1000" y="438"/>
                  </a:lnTo>
                  <a:lnTo>
                    <a:pt x="1000" y="438"/>
                  </a:lnTo>
                  <a:lnTo>
                    <a:pt x="1000" y="438"/>
                  </a:lnTo>
                  <a:lnTo>
                    <a:pt x="1003" y="438"/>
                  </a:lnTo>
                  <a:lnTo>
                    <a:pt x="1003" y="441"/>
                  </a:lnTo>
                  <a:lnTo>
                    <a:pt x="1000" y="441"/>
                  </a:lnTo>
                  <a:lnTo>
                    <a:pt x="1003" y="441"/>
                  </a:lnTo>
                  <a:lnTo>
                    <a:pt x="1003" y="441"/>
                  </a:lnTo>
                  <a:lnTo>
                    <a:pt x="1006" y="441"/>
                  </a:lnTo>
                  <a:lnTo>
                    <a:pt x="1008" y="441"/>
                  </a:lnTo>
                  <a:lnTo>
                    <a:pt x="1008" y="441"/>
                  </a:lnTo>
                  <a:lnTo>
                    <a:pt x="1006" y="441"/>
                  </a:lnTo>
                  <a:lnTo>
                    <a:pt x="1006" y="441"/>
                  </a:lnTo>
                  <a:lnTo>
                    <a:pt x="1008" y="441"/>
                  </a:lnTo>
                  <a:lnTo>
                    <a:pt x="1019" y="438"/>
                  </a:lnTo>
                  <a:lnTo>
                    <a:pt x="1022" y="438"/>
                  </a:lnTo>
                  <a:lnTo>
                    <a:pt x="1016" y="438"/>
                  </a:lnTo>
                  <a:lnTo>
                    <a:pt x="1030" y="441"/>
                  </a:lnTo>
                  <a:lnTo>
                    <a:pt x="1035" y="441"/>
                  </a:lnTo>
                  <a:lnTo>
                    <a:pt x="1038" y="441"/>
                  </a:lnTo>
                  <a:lnTo>
                    <a:pt x="1043" y="443"/>
                  </a:lnTo>
                  <a:lnTo>
                    <a:pt x="1046" y="446"/>
                  </a:lnTo>
                  <a:lnTo>
                    <a:pt x="1046" y="446"/>
                  </a:lnTo>
                  <a:lnTo>
                    <a:pt x="1048" y="449"/>
                  </a:lnTo>
                  <a:lnTo>
                    <a:pt x="1048" y="449"/>
                  </a:lnTo>
                  <a:lnTo>
                    <a:pt x="1048" y="449"/>
                  </a:lnTo>
                  <a:lnTo>
                    <a:pt x="1048" y="451"/>
                  </a:lnTo>
                  <a:lnTo>
                    <a:pt x="1051" y="454"/>
                  </a:lnTo>
                  <a:lnTo>
                    <a:pt x="1051" y="454"/>
                  </a:lnTo>
                  <a:lnTo>
                    <a:pt x="1051" y="454"/>
                  </a:lnTo>
                  <a:lnTo>
                    <a:pt x="1054" y="454"/>
                  </a:lnTo>
                  <a:lnTo>
                    <a:pt x="1054" y="451"/>
                  </a:lnTo>
                  <a:lnTo>
                    <a:pt x="1054" y="451"/>
                  </a:lnTo>
                  <a:lnTo>
                    <a:pt x="1056" y="449"/>
                  </a:lnTo>
                  <a:lnTo>
                    <a:pt x="1056" y="449"/>
                  </a:lnTo>
                  <a:lnTo>
                    <a:pt x="1056" y="449"/>
                  </a:lnTo>
                  <a:lnTo>
                    <a:pt x="1056" y="449"/>
                  </a:lnTo>
                  <a:lnTo>
                    <a:pt x="1056" y="446"/>
                  </a:lnTo>
                  <a:lnTo>
                    <a:pt x="1054" y="449"/>
                  </a:lnTo>
                  <a:lnTo>
                    <a:pt x="1054" y="446"/>
                  </a:lnTo>
                  <a:lnTo>
                    <a:pt x="1051" y="446"/>
                  </a:lnTo>
                  <a:lnTo>
                    <a:pt x="1051" y="446"/>
                  </a:lnTo>
                  <a:lnTo>
                    <a:pt x="1051" y="443"/>
                  </a:lnTo>
                  <a:lnTo>
                    <a:pt x="1048" y="443"/>
                  </a:lnTo>
                  <a:lnTo>
                    <a:pt x="1048" y="443"/>
                  </a:lnTo>
                  <a:lnTo>
                    <a:pt x="1046" y="441"/>
                  </a:lnTo>
                  <a:lnTo>
                    <a:pt x="1046" y="441"/>
                  </a:lnTo>
                  <a:lnTo>
                    <a:pt x="1046" y="441"/>
                  </a:lnTo>
                  <a:lnTo>
                    <a:pt x="1048" y="441"/>
                  </a:lnTo>
                  <a:lnTo>
                    <a:pt x="1051" y="438"/>
                  </a:lnTo>
                  <a:lnTo>
                    <a:pt x="1051" y="438"/>
                  </a:lnTo>
                  <a:lnTo>
                    <a:pt x="1054" y="438"/>
                  </a:lnTo>
                  <a:lnTo>
                    <a:pt x="1054" y="441"/>
                  </a:lnTo>
                  <a:lnTo>
                    <a:pt x="1054" y="441"/>
                  </a:lnTo>
                  <a:lnTo>
                    <a:pt x="1056" y="443"/>
                  </a:lnTo>
                  <a:lnTo>
                    <a:pt x="1056" y="443"/>
                  </a:lnTo>
                  <a:lnTo>
                    <a:pt x="1056" y="443"/>
                  </a:lnTo>
                  <a:lnTo>
                    <a:pt x="1056" y="443"/>
                  </a:lnTo>
                  <a:lnTo>
                    <a:pt x="1056" y="446"/>
                  </a:lnTo>
                  <a:lnTo>
                    <a:pt x="1056" y="446"/>
                  </a:lnTo>
                  <a:lnTo>
                    <a:pt x="1059" y="446"/>
                  </a:lnTo>
                  <a:lnTo>
                    <a:pt x="1059" y="446"/>
                  </a:lnTo>
                  <a:lnTo>
                    <a:pt x="1059" y="446"/>
                  </a:lnTo>
                  <a:lnTo>
                    <a:pt x="1059" y="446"/>
                  </a:lnTo>
                  <a:lnTo>
                    <a:pt x="1059" y="446"/>
                  </a:lnTo>
                  <a:lnTo>
                    <a:pt x="1059" y="449"/>
                  </a:lnTo>
                  <a:lnTo>
                    <a:pt x="1062" y="449"/>
                  </a:lnTo>
                  <a:lnTo>
                    <a:pt x="1062" y="449"/>
                  </a:lnTo>
                  <a:lnTo>
                    <a:pt x="1062" y="451"/>
                  </a:lnTo>
                  <a:lnTo>
                    <a:pt x="1062" y="449"/>
                  </a:lnTo>
                  <a:lnTo>
                    <a:pt x="1062" y="451"/>
                  </a:lnTo>
                  <a:lnTo>
                    <a:pt x="1059" y="451"/>
                  </a:lnTo>
                  <a:lnTo>
                    <a:pt x="1062" y="451"/>
                  </a:lnTo>
                  <a:lnTo>
                    <a:pt x="1062" y="454"/>
                  </a:lnTo>
                  <a:lnTo>
                    <a:pt x="1062" y="454"/>
                  </a:lnTo>
                  <a:lnTo>
                    <a:pt x="1062" y="457"/>
                  </a:lnTo>
                  <a:lnTo>
                    <a:pt x="1062" y="457"/>
                  </a:lnTo>
                  <a:lnTo>
                    <a:pt x="1062" y="457"/>
                  </a:lnTo>
                  <a:lnTo>
                    <a:pt x="1062" y="459"/>
                  </a:lnTo>
                  <a:lnTo>
                    <a:pt x="1062" y="459"/>
                  </a:lnTo>
                  <a:lnTo>
                    <a:pt x="1062" y="459"/>
                  </a:lnTo>
                  <a:lnTo>
                    <a:pt x="1062" y="459"/>
                  </a:lnTo>
                  <a:lnTo>
                    <a:pt x="1064" y="459"/>
                  </a:lnTo>
                  <a:lnTo>
                    <a:pt x="1067" y="457"/>
                  </a:lnTo>
                  <a:lnTo>
                    <a:pt x="1067" y="457"/>
                  </a:lnTo>
                  <a:lnTo>
                    <a:pt x="1067" y="457"/>
                  </a:lnTo>
                  <a:lnTo>
                    <a:pt x="1067" y="454"/>
                  </a:lnTo>
                  <a:lnTo>
                    <a:pt x="1067" y="454"/>
                  </a:lnTo>
                  <a:lnTo>
                    <a:pt x="1067" y="454"/>
                  </a:lnTo>
                  <a:lnTo>
                    <a:pt x="1067" y="454"/>
                  </a:lnTo>
                  <a:lnTo>
                    <a:pt x="1067" y="451"/>
                  </a:lnTo>
                  <a:lnTo>
                    <a:pt x="1067" y="451"/>
                  </a:lnTo>
                  <a:lnTo>
                    <a:pt x="1067" y="449"/>
                  </a:lnTo>
                  <a:lnTo>
                    <a:pt x="1070" y="449"/>
                  </a:lnTo>
                  <a:lnTo>
                    <a:pt x="1070" y="449"/>
                  </a:lnTo>
                  <a:lnTo>
                    <a:pt x="1072" y="446"/>
                  </a:lnTo>
                  <a:lnTo>
                    <a:pt x="1078" y="443"/>
                  </a:lnTo>
                  <a:lnTo>
                    <a:pt x="1078" y="443"/>
                  </a:lnTo>
                  <a:lnTo>
                    <a:pt x="1080" y="443"/>
                  </a:lnTo>
                  <a:lnTo>
                    <a:pt x="1080" y="443"/>
                  </a:lnTo>
                  <a:lnTo>
                    <a:pt x="1080" y="441"/>
                  </a:lnTo>
                  <a:lnTo>
                    <a:pt x="1080" y="441"/>
                  </a:lnTo>
                  <a:lnTo>
                    <a:pt x="1083" y="438"/>
                  </a:lnTo>
                  <a:lnTo>
                    <a:pt x="1083" y="438"/>
                  </a:lnTo>
                  <a:lnTo>
                    <a:pt x="1086" y="438"/>
                  </a:lnTo>
                  <a:lnTo>
                    <a:pt x="1086" y="438"/>
                  </a:lnTo>
                  <a:lnTo>
                    <a:pt x="1083" y="438"/>
                  </a:lnTo>
                  <a:lnTo>
                    <a:pt x="1083" y="438"/>
                  </a:lnTo>
                  <a:lnTo>
                    <a:pt x="1086" y="438"/>
                  </a:lnTo>
                  <a:lnTo>
                    <a:pt x="1088" y="438"/>
                  </a:lnTo>
                  <a:lnTo>
                    <a:pt x="1088" y="438"/>
                  </a:lnTo>
                  <a:lnTo>
                    <a:pt x="1091" y="438"/>
                  </a:lnTo>
                  <a:lnTo>
                    <a:pt x="1091" y="438"/>
                  </a:lnTo>
                  <a:lnTo>
                    <a:pt x="1091" y="438"/>
                  </a:lnTo>
                  <a:lnTo>
                    <a:pt x="1091" y="438"/>
                  </a:lnTo>
                  <a:lnTo>
                    <a:pt x="1091" y="438"/>
                  </a:lnTo>
                  <a:lnTo>
                    <a:pt x="1094" y="435"/>
                  </a:lnTo>
                  <a:lnTo>
                    <a:pt x="1094" y="435"/>
                  </a:lnTo>
                  <a:lnTo>
                    <a:pt x="1091" y="435"/>
                  </a:lnTo>
                  <a:lnTo>
                    <a:pt x="1091" y="438"/>
                  </a:lnTo>
                  <a:lnTo>
                    <a:pt x="1091" y="438"/>
                  </a:lnTo>
                  <a:lnTo>
                    <a:pt x="1088" y="438"/>
                  </a:lnTo>
                  <a:lnTo>
                    <a:pt x="1088" y="438"/>
                  </a:lnTo>
                  <a:lnTo>
                    <a:pt x="1091" y="435"/>
                  </a:lnTo>
                  <a:lnTo>
                    <a:pt x="1096" y="433"/>
                  </a:lnTo>
                  <a:lnTo>
                    <a:pt x="1096" y="433"/>
                  </a:lnTo>
                  <a:lnTo>
                    <a:pt x="1094" y="433"/>
                  </a:lnTo>
                  <a:lnTo>
                    <a:pt x="1094" y="433"/>
                  </a:lnTo>
                  <a:lnTo>
                    <a:pt x="1096" y="433"/>
                  </a:lnTo>
                  <a:lnTo>
                    <a:pt x="1096" y="433"/>
                  </a:lnTo>
                  <a:lnTo>
                    <a:pt x="1096" y="435"/>
                  </a:lnTo>
                  <a:lnTo>
                    <a:pt x="1099" y="435"/>
                  </a:lnTo>
                  <a:lnTo>
                    <a:pt x="1099" y="435"/>
                  </a:lnTo>
                  <a:lnTo>
                    <a:pt x="1099" y="438"/>
                  </a:lnTo>
                  <a:lnTo>
                    <a:pt x="1102" y="438"/>
                  </a:lnTo>
                  <a:lnTo>
                    <a:pt x="1102" y="438"/>
                  </a:lnTo>
                  <a:lnTo>
                    <a:pt x="1102" y="435"/>
                  </a:lnTo>
                  <a:lnTo>
                    <a:pt x="1102" y="435"/>
                  </a:lnTo>
                  <a:lnTo>
                    <a:pt x="1102" y="435"/>
                  </a:lnTo>
                  <a:lnTo>
                    <a:pt x="1104" y="435"/>
                  </a:lnTo>
                  <a:lnTo>
                    <a:pt x="1104" y="435"/>
                  </a:lnTo>
                  <a:lnTo>
                    <a:pt x="1104" y="435"/>
                  </a:lnTo>
                  <a:lnTo>
                    <a:pt x="1104" y="435"/>
                  </a:lnTo>
                  <a:lnTo>
                    <a:pt x="1107" y="435"/>
                  </a:lnTo>
                  <a:lnTo>
                    <a:pt x="1107" y="433"/>
                  </a:lnTo>
                  <a:lnTo>
                    <a:pt x="1107" y="433"/>
                  </a:lnTo>
                  <a:lnTo>
                    <a:pt x="1107" y="433"/>
                  </a:lnTo>
                  <a:lnTo>
                    <a:pt x="1107" y="433"/>
                  </a:lnTo>
                  <a:lnTo>
                    <a:pt x="1107" y="433"/>
                  </a:lnTo>
                  <a:lnTo>
                    <a:pt x="1107" y="433"/>
                  </a:lnTo>
                  <a:lnTo>
                    <a:pt x="1107" y="430"/>
                  </a:lnTo>
                  <a:lnTo>
                    <a:pt x="1110" y="430"/>
                  </a:lnTo>
                  <a:lnTo>
                    <a:pt x="1110" y="427"/>
                  </a:lnTo>
                  <a:lnTo>
                    <a:pt x="1112" y="427"/>
                  </a:lnTo>
                  <a:lnTo>
                    <a:pt x="1112" y="427"/>
                  </a:lnTo>
                  <a:lnTo>
                    <a:pt x="1112" y="425"/>
                  </a:lnTo>
                  <a:lnTo>
                    <a:pt x="1115" y="427"/>
                  </a:lnTo>
                  <a:lnTo>
                    <a:pt x="1115" y="427"/>
                  </a:lnTo>
                  <a:lnTo>
                    <a:pt x="1115" y="425"/>
                  </a:lnTo>
                  <a:lnTo>
                    <a:pt x="1115" y="425"/>
                  </a:lnTo>
                  <a:lnTo>
                    <a:pt x="1118" y="425"/>
                  </a:lnTo>
                  <a:lnTo>
                    <a:pt x="1118" y="425"/>
                  </a:lnTo>
                  <a:lnTo>
                    <a:pt x="1118" y="425"/>
                  </a:lnTo>
                  <a:lnTo>
                    <a:pt x="1118" y="427"/>
                  </a:lnTo>
                  <a:lnTo>
                    <a:pt x="1118" y="427"/>
                  </a:lnTo>
                  <a:lnTo>
                    <a:pt x="1118" y="427"/>
                  </a:lnTo>
                  <a:lnTo>
                    <a:pt x="1115" y="427"/>
                  </a:lnTo>
                  <a:lnTo>
                    <a:pt x="1115" y="427"/>
                  </a:lnTo>
                  <a:lnTo>
                    <a:pt x="1115" y="427"/>
                  </a:lnTo>
                  <a:lnTo>
                    <a:pt x="1112" y="427"/>
                  </a:lnTo>
                  <a:lnTo>
                    <a:pt x="1112" y="427"/>
                  </a:lnTo>
                  <a:lnTo>
                    <a:pt x="1115" y="430"/>
                  </a:lnTo>
                  <a:lnTo>
                    <a:pt x="1118" y="433"/>
                  </a:lnTo>
                  <a:lnTo>
                    <a:pt x="1118" y="433"/>
                  </a:lnTo>
                  <a:lnTo>
                    <a:pt x="1120" y="435"/>
                  </a:lnTo>
                  <a:lnTo>
                    <a:pt x="1120" y="435"/>
                  </a:lnTo>
                  <a:lnTo>
                    <a:pt x="1120" y="435"/>
                  </a:lnTo>
                  <a:lnTo>
                    <a:pt x="1120" y="438"/>
                  </a:lnTo>
                  <a:lnTo>
                    <a:pt x="1120" y="441"/>
                  </a:lnTo>
                  <a:lnTo>
                    <a:pt x="1123" y="441"/>
                  </a:lnTo>
                  <a:lnTo>
                    <a:pt x="1123" y="441"/>
                  </a:lnTo>
                  <a:lnTo>
                    <a:pt x="1123" y="441"/>
                  </a:lnTo>
                  <a:lnTo>
                    <a:pt x="1123" y="443"/>
                  </a:lnTo>
                  <a:lnTo>
                    <a:pt x="1123" y="443"/>
                  </a:lnTo>
                  <a:lnTo>
                    <a:pt x="1120" y="446"/>
                  </a:lnTo>
                  <a:lnTo>
                    <a:pt x="1120" y="449"/>
                  </a:lnTo>
                  <a:lnTo>
                    <a:pt x="1118" y="451"/>
                  </a:lnTo>
                  <a:lnTo>
                    <a:pt x="1118" y="451"/>
                  </a:lnTo>
                  <a:lnTo>
                    <a:pt x="1118" y="451"/>
                  </a:lnTo>
                  <a:lnTo>
                    <a:pt x="1115" y="451"/>
                  </a:lnTo>
                  <a:lnTo>
                    <a:pt x="1115" y="451"/>
                  </a:lnTo>
                  <a:lnTo>
                    <a:pt x="1112" y="451"/>
                  </a:lnTo>
                  <a:lnTo>
                    <a:pt x="1112" y="454"/>
                  </a:lnTo>
                  <a:lnTo>
                    <a:pt x="1115" y="454"/>
                  </a:lnTo>
                  <a:lnTo>
                    <a:pt x="1112" y="454"/>
                  </a:lnTo>
                  <a:lnTo>
                    <a:pt x="1112" y="457"/>
                  </a:lnTo>
                  <a:lnTo>
                    <a:pt x="1104" y="454"/>
                  </a:lnTo>
                  <a:lnTo>
                    <a:pt x="1104" y="451"/>
                  </a:lnTo>
                  <a:lnTo>
                    <a:pt x="1104" y="451"/>
                  </a:lnTo>
                  <a:lnTo>
                    <a:pt x="1102" y="451"/>
                  </a:lnTo>
                  <a:lnTo>
                    <a:pt x="1102" y="451"/>
                  </a:lnTo>
                  <a:lnTo>
                    <a:pt x="1102" y="454"/>
                  </a:lnTo>
                  <a:lnTo>
                    <a:pt x="1102" y="454"/>
                  </a:lnTo>
                  <a:lnTo>
                    <a:pt x="1102" y="454"/>
                  </a:lnTo>
                  <a:lnTo>
                    <a:pt x="1102" y="454"/>
                  </a:lnTo>
                  <a:lnTo>
                    <a:pt x="1102" y="457"/>
                  </a:lnTo>
                  <a:lnTo>
                    <a:pt x="1099" y="457"/>
                  </a:lnTo>
                  <a:lnTo>
                    <a:pt x="1099" y="457"/>
                  </a:lnTo>
                  <a:lnTo>
                    <a:pt x="1099" y="457"/>
                  </a:lnTo>
                  <a:lnTo>
                    <a:pt x="1099" y="459"/>
                  </a:lnTo>
                  <a:lnTo>
                    <a:pt x="1099" y="459"/>
                  </a:lnTo>
                  <a:lnTo>
                    <a:pt x="1099" y="462"/>
                  </a:lnTo>
                  <a:lnTo>
                    <a:pt x="1099" y="462"/>
                  </a:lnTo>
                  <a:lnTo>
                    <a:pt x="1099" y="462"/>
                  </a:lnTo>
                  <a:lnTo>
                    <a:pt x="1099" y="462"/>
                  </a:lnTo>
                  <a:lnTo>
                    <a:pt x="1099" y="459"/>
                  </a:lnTo>
                  <a:lnTo>
                    <a:pt x="1099" y="459"/>
                  </a:lnTo>
                  <a:lnTo>
                    <a:pt x="1102" y="459"/>
                  </a:lnTo>
                  <a:lnTo>
                    <a:pt x="1102" y="459"/>
                  </a:lnTo>
                  <a:lnTo>
                    <a:pt x="1104" y="459"/>
                  </a:lnTo>
                  <a:lnTo>
                    <a:pt x="1110" y="462"/>
                  </a:lnTo>
                  <a:lnTo>
                    <a:pt x="1110" y="462"/>
                  </a:lnTo>
                  <a:lnTo>
                    <a:pt x="1107" y="462"/>
                  </a:lnTo>
                  <a:lnTo>
                    <a:pt x="1107" y="462"/>
                  </a:lnTo>
                  <a:lnTo>
                    <a:pt x="1107" y="462"/>
                  </a:lnTo>
                  <a:lnTo>
                    <a:pt x="1107" y="462"/>
                  </a:lnTo>
                  <a:lnTo>
                    <a:pt x="1107" y="462"/>
                  </a:lnTo>
                  <a:lnTo>
                    <a:pt x="1110" y="462"/>
                  </a:lnTo>
                  <a:lnTo>
                    <a:pt x="1107" y="465"/>
                  </a:lnTo>
                  <a:lnTo>
                    <a:pt x="1107" y="465"/>
                  </a:lnTo>
                  <a:lnTo>
                    <a:pt x="1107" y="465"/>
                  </a:lnTo>
                  <a:lnTo>
                    <a:pt x="1107" y="465"/>
                  </a:lnTo>
                  <a:lnTo>
                    <a:pt x="1110" y="465"/>
                  </a:lnTo>
                  <a:lnTo>
                    <a:pt x="1110" y="467"/>
                  </a:lnTo>
                  <a:lnTo>
                    <a:pt x="1110" y="470"/>
                  </a:lnTo>
                  <a:lnTo>
                    <a:pt x="1112" y="470"/>
                  </a:lnTo>
                  <a:lnTo>
                    <a:pt x="1112" y="473"/>
                  </a:lnTo>
                  <a:lnTo>
                    <a:pt x="1112" y="473"/>
                  </a:lnTo>
                  <a:lnTo>
                    <a:pt x="1115" y="475"/>
                  </a:lnTo>
                  <a:lnTo>
                    <a:pt x="1112" y="483"/>
                  </a:lnTo>
                  <a:lnTo>
                    <a:pt x="1112" y="486"/>
                  </a:lnTo>
                  <a:lnTo>
                    <a:pt x="1115" y="497"/>
                  </a:lnTo>
                  <a:lnTo>
                    <a:pt x="1118" y="502"/>
                  </a:lnTo>
                  <a:lnTo>
                    <a:pt x="1115" y="508"/>
                  </a:lnTo>
                  <a:lnTo>
                    <a:pt x="1115" y="510"/>
                  </a:lnTo>
                  <a:lnTo>
                    <a:pt x="1112" y="510"/>
                  </a:lnTo>
                  <a:lnTo>
                    <a:pt x="1112" y="510"/>
                  </a:lnTo>
                  <a:lnTo>
                    <a:pt x="1110" y="516"/>
                  </a:lnTo>
                  <a:lnTo>
                    <a:pt x="1110" y="516"/>
                  </a:lnTo>
                  <a:lnTo>
                    <a:pt x="1107" y="516"/>
                  </a:lnTo>
                  <a:lnTo>
                    <a:pt x="1107" y="516"/>
                  </a:lnTo>
                  <a:lnTo>
                    <a:pt x="1107" y="518"/>
                  </a:lnTo>
                  <a:lnTo>
                    <a:pt x="1107" y="518"/>
                  </a:lnTo>
                  <a:lnTo>
                    <a:pt x="1102" y="524"/>
                  </a:lnTo>
                  <a:lnTo>
                    <a:pt x="1096" y="524"/>
                  </a:lnTo>
                  <a:lnTo>
                    <a:pt x="1096" y="524"/>
                  </a:lnTo>
                  <a:lnTo>
                    <a:pt x="1094" y="524"/>
                  </a:lnTo>
                  <a:lnTo>
                    <a:pt x="1094" y="524"/>
                  </a:lnTo>
                  <a:lnTo>
                    <a:pt x="1094" y="524"/>
                  </a:lnTo>
                  <a:lnTo>
                    <a:pt x="1094" y="524"/>
                  </a:lnTo>
                  <a:lnTo>
                    <a:pt x="1094" y="524"/>
                  </a:lnTo>
                  <a:lnTo>
                    <a:pt x="1094" y="524"/>
                  </a:lnTo>
                  <a:lnTo>
                    <a:pt x="1091" y="524"/>
                  </a:lnTo>
                  <a:lnTo>
                    <a:pt x="1091" y="524"/>
                  </a:lnTo>
                  <a:lnTo>
                    <a:pt x="1091" y="524"/>
                  </a:lnTo>
                  <a:lnTo>
                    <a:pt x="1088" y="524"/>
                  </a:lnTo>
                  <a:lnTo>
                    <a:pt x="1088" y="524"/>
                  </a:lnTo>
                  <a:lnTo>
                    <a:pt x="1088" y="524"/>
                  </a:lnTo>
                  <a:lnTo>
                    <a:pt x="1072" y="524"/>
                  </a:lnTo>
                  <a:lnTo>
                    <a:pt x="1072" y="524"/>
                  </a:lnTo>
                  <a:lnTo>
                    <a:pt x="1072" y="524"/>
                  </a:lnTo>
                  <a:lnTo>
                    <a:pt x="1075" y="524"/>
                  </a:lnTo>
                  <a:lnTo>
                    <a:pt x="1075" y="524"/>
                  </a:lnTo>
                  <a:lnTo>
                    <a:pt x="1075" y="524"/>
                  </a:lnTo>
                  <a:lnTo>
                    <a:pt x="1075" y="521"/>
                  </a:lnTo>
                  <a:lnTo>
                    <a:pt x="1075" y="521"/>
                  </a:lnTo>
                  <a:lnTo>
                    <a:pt x="1078" y="521"/>
                  </a:lnTo>
                  <a:lnTo>
                    <a:pt x="1078" y="521"/>
                  </a:lnTo>
                  <a:lnTo>
                    <a:pt x="1075" y="521"/>
                  </a:lnTo>
                  <a:lnTo>
                    <a:pt x="1075" y="521"/>
                  </a:lnTo>
                  <a:lnTo>
                    <a:pt x="1075" y="518"/>
                  </a:lnTo>
                  <a:lnTo>
                    <a:pt x="1075" y="518"/>
                  </a:lnTo>
                  <a:lnTo>
                    <a:pt x="1072" y="518"/>
                  </a:lnTo>
                  <a:lnTo>
                    <a:pt x="1072" y="518"/>
                  </a:lnTo>
                  <a:lnTo>
                    <a:pt x="1072" y="518"/>
                  </a:lnTo>
                  <a:lnTo>
                    <a:pt x="1070" y="516"/>
                  </a:lnTo>
                  <a:lnTo>
                    <a:pt x="1070" y="516"/>
                  </a:lnTo>
                  <a:lnTo>
                    <a:pt x="1070" y="516"/>
                  </a:lnTo>
                  <a:lnTo>
                    <a:pt x="1070" y="516"/>
                  </a:lnTo>
                  <a:lnTo>
                    <a:pt x="1067" y="516"/>
                  </a:lnTo>
                  <a:lnTo>
                    <a:pt x="1070" y="518"/>
                  </a:lnTo>
                  <a:lnTo>
                    <a:pt x="1070" y="521"/>
                  </a:lnTo>
                  <a:lnTo>
                    <a:pt x="1067" y="521"/>
                  </a:lnTo>
                  <a:lnTo>
                    <a:pt x="1067" y="521"/>
                  </a:lnTo>
                  <a:lnTo>
                    <a:pt x="1067" y="521"/>
                  </a:lnTo>
                  <a:lnTo>
                    <a:pt x="1067" y="524"/>
                  </a:lnTo>
                  <a:lnTo>
                    <a:pt x="1064" y="524"/>
                  </a:lnTo>
                  <a:lnTo>
                    <a:pt x="1064" y="524"/>
                  </a:lnTo>
                  <a:lnTo>
                    <a:pt x="1064" y="526"/>
                  </a:lnTo>
                  <a:lnTo>
                    <a:pt x="1056" y="534"/>
                  </a:lnTo>
                  <a:lnTo>
                    <a:pt x="1054" y="537"/>
                  </a:lnTo>
                  <a:lnTo>
                    <a:pt x="1051" y="537"/>
                  </a:lnTo>
                  <a:lnTo>
                    <a:pt x="1051" y="537"/>
                  </a:lnTo>
                  <a:lnTo>
                    <a:pt x="1048" y="537"/>
                  </a:lnTo>
                  <a:lnTo>
                    <a:pt x="1048" y="537"/>
                  </a:lnTo>
                  <a:lnTo>
                    <a:pt x="1048" y="540"/>
                  </a:lnTo>
                  <a:lnTo>
                    <a:pt x="1048" y="540"/>
                  </a:lnTo>
                  <a:lnTo>
                    <a:pt x="1048" y="540"/>
                  </a:lnTo>
                  <a:lnTo>
                    <a:pt x="1048" y="542"/>
                  </a:lnTo>
                  <a:lnTo>
                    <a:pt x="1046" y="542"/>
                  </a:lnTo>
                  <a:lnTo>
                    <a:pt x="1046" y="542"/>
                  </a:lnTo>
                  <a:lnTo>
                    <a:pt x="1046" y="542"/>
                  </a:lnTo>
                  <a:lnTo>
                    <a:pt x="1043" y="542"/>
                  </a:lnTo>
                  <a:lnTo>
                    <a:pt x="1043" y="545"/>
                  </a:lnTo>
                  <a:lnTo>
                    <a:pt x="1043" y="545"/>
                  </a:lnTo>
                  <a:lnTo>
                    <a:pt x="1040" y="545"/>
                  </a:lnTo>
                  <a:lnTo>
                    <a:pt x="1040" y="545"/>
                  </a:lnTo>
                  <a:lnTo>
                    <a:pt x="1035" y="545"/>
                  </a:lnTo>
                  <a:lnTo>
                    <a:pt x="1032" y="548"/>
                  </a:lnTo>
                  <a:lnTo>
                    <a:pt x="1032" y="545"/>
                  </a:lnTo>
                  <a:lnTo>
                    <a:pt x="1032" y="545"/>
                  </a:lnTo>
                  <a:lnTo>
                    <a:pt x="1030" y="542"/>
                  </a:lnTo>
                  <a:lnTo>
                    <a:pt x="1030" y="542"/>
                  </a:lnTo>
                  <a:lnTo>
                    <a:pt x="1027" y="540"/>
                  </a:lnTo>
                  <a:lnTo>
                    <a:pt x="1027" y="540"/>
                  </a:lnTo>
                  <a:lnTo>
                    <a:pt x="1024" y="542"/>
                  </a:lnTo>
                  <a:lnTo>
                    <a:pt x="1024" y="545"/>
                  </a:lnTo>
                  <a:lnTo>
                    <a:pt x="1019" y="545"/>
                  </a:lnTo>
                  <a:lnTo>
                    <a:pt x="1019" y="548"/>
                  </a:lnTo>
                  <a:lnTo>
                    <a:pt x="1019" y="545"/>
                  </a:lnTo>
                  <a:lnTo>
                    <a:pt x="1024" y="542"/>
                  </a:lnTo>
                  <a:lnTo>
                    <a:pt x="1024" y="542"/>
                  </a:lnTo>
                  <a:lnTo>
                    <a:pt x="1024" y="540"/>
                  </a:lnTo>
                  <a:lnTo>
                    <a:pt x="1027" y="540"/>
                  </a:lnTo>
                  <a:lnTo>
                    <a:pt x="1027" y="540"/>
                  </a:lnTo>
                  <a:lnTo>
                    <a:pt x="1027" y="540"/>
                  </a:lnTo>
                  <a:lnTo>
                    <a:pt x="1027" y="540"/>
                  </a:lnTo>
                  <a:lnTo>
                    <a:pt x="1024" y="540"/>
                  </a:lnTo>
                  <a:lnTo>
                    <a:pt x="1024" y="540"/>
                  </a:lnTo>
                  <a:lnTo>
                    <a:pt x="1024" y="540"/>
                  </a:lnTo>
                  <a:lnTo>
                    <a:pt x="1024" y="540"/>
                  </a:lnTo>
                  <a:lnTo>
                    <a:pt x="1024" y="537"/>
                  </a:lnTo>
                  <a:lnTo>
                    <a:pt x="1024" y="537"/>
                  </a:lnTo>
                  <a:lnTo>
                    <a:pt x="1024" y="537"/>
                  </a:lnTo>
                  <a:lnTo>
                    <a:pt x="1024" y="534"/>
                  </a:lnTo>
                  <a:lnTo>
                    <a:pt x="1024" y="534"/>
                  </a:lnTo>
                  <a:lnTo>
                    <a:pt x="1024" y="534"/>
                  </a:lnTo>
                  <a:lnTo>
                    <a:pt x="1022" y="534"/>
                  </a:lnTo>
                  <a:lnTo>
                    <a:pt x="1022" y="534"/>
                  </a:lnTo>
                  <a:lnTo>
                    <a:pt x="1022" y="532"/>
                  </a:lnTo>
                  <a:lnTo>
                    <a:pt x="1022" y="532"/>
                  </a:lnTo>
                  <a:lnTo>
                    <a:pt x="1022" y="532"/>
                  </a:lnTo>
                  <a:lnTo>
                    <a:pt x="1022" y="532"/>
                  </a:lnTo>
                  <a:lnTo>
                    <a:pt x="1019" y="532"/>
                  </a:lnTo>
                  <a:lnTo>
                    <a:pt x="1016" y="529"/>
                  </a:lnTo>
                  <a:lnTo>
                    <a:pt x="1011" y="526"/>
                  </a:lnTo>
                  <a:lnTo>
                    <a:pt x="1003" y="529"/>
                  </a:lnTo>
                  <a:lnTo>
                    <a:pt x="1003" y="529"/>
                  </a:lnTo>
                  <a:lnTo>
                    <a:pt x="1000" y="532"/>
                  </a:lnTo>
                  <a:lnTo>
                    <a:pt x="1000" y="532"/>
                  </a:lnTo>
                  <a:lnTo>
                    <a:pt x="998" y="532"/>
                  </a:lnTo>
                  <a:lnTo>
                    <a:pt x="998" y="534"/>
                  </a:lnTo>
                  <a:lnTo>
                    <a:pt x="995" y="534"/>
                  </a:lnTo>
                  <a:lnTo>
                    <a:pt x="998" y="534"/>
                  </a:lnTo>
                  <a:lnTo>
                    <a:pt x="998" y="534"/>
                  </a:lnTo>
                  <a:lnTo>
                    <a:pt x="998" y="537"/>
                  </a:lnTo>
                  <a:lnTo>
                    <a:pt x="998" y="537"/>
                  </a:lnTo>
                  <a:lnTo>
                    <a:pt x="1003" y="540"/>
                  </a:lnTo>
                  <a:lnTo>
                    <a:pt x="1003" y="540"/>
                  </a:lnTo>
                  <a:lnTo>
                    <a:pt x="1003" y="542"/>
                  </a:lnTo>
                  <a:lnTo>
                    <a:pt x="1003" y="542"/>
                  </a:lnTo>
                  <a:lnTo>
                    <a:pt x="1003" y="542"/>
                  </a:lnTo>
                  <a:lnTo>
                    <a:pt x="1003" y="542"/>
                  </a:lnTo>
                  <a:lnTo>
                    <a:pt x="1003" y="542"/>
                  </a:lnTo>
                  <a:lnTo>
                    <a:pt x="1000" y="542"/>
                  </a:lnTo>
                  <a:lnTo>
                    <a:pt x="1000" y="542"/>
                  </a:lnTo>
                  <a:lnTo>
                    <a:pt x="1000" y="542"/>
                  </a:lnTo>
                  <a:lnTo>
                    <a:pt x="1000" y="542"/>
                  </a:lnTo>
                  <a:lnTo>
                    <a:pt x="1000" y="542"/>
                  </a:lnTo>
                  <a:lnTo>
                    <a:pt x="1000" y="542"/>
                  </a:lnTo>
                  <a:lnTo>
                    <a:pt x="998" y="542"/>
                  </a:lnTo>
                  <a:lnTo>
                    <a:pt x="998" y="542"/>
                  </a:lnTo>
                  <a:lnTo>
                    <a:pt x="998" y="542"/>
                  </a:lnTo>
                  <a:lnTo>
                    <a:pt x="998" y="542"/>
                  </a:lnTo>
                  <a:lnTo>
                    <a:pt x="998" y="542"/>
                  </a:lnTo>
                  <a:lnTo>
                    <a:pt x="998" y="542"/>
                  </a:lnTo>
                  <a:lnTo>
                    <a:pt x="998" y="542"/>
                  </a:lnTo>
                  <a:lnTo>
                    <a:pt x="998" y="540"/>
                  </a:lnTo>
                  <a:lnTo>
                    <a:pt x="992" y="540"/>
                  </a:lnTo>
                  <a:lnTo>
                    <a:pt x="992" y="540"/>
                  </a:lnTo>
                  <a:lnTo>
                    <a:pt x="990" y="542"/>
                  </a:lnTo>
                  <a:lnTo>
                    <a:pt x="990" y="542"/>
                  </a:lnTo>
                  <a:lnTo>
                    <a:pt x="987" y="548"/>
                  </a:lnTo>
                  <a:lnTo>
                    <a:pt x="987" y="548"/>
                  </a:lnTo>
                  <a:lnTo>
                    <a:pt x="984" y="550"/>
                  </a:lnTo>
                  <a:lnTo>
                    <a:pt x="984" y="550"/>
                  </a:lnTo>
                  <a:lnTo>
                    <a:pt x="984" y="550"/>
                  </a:lnTo>
                  <a:lnTo>
                    <a:pt x="984" y="550"/>
                  </a:lnTo>
                  <a:lnTo>
                    <a:pt x="984" y="550"/>
                  </a:lnTo>
                  <a:lnTo>
                    <a:pt x="984" y="553"/>
                  </a:lnTo>
                  <a:lnTo>
                    <a:pt x="984" y="553"/>
                  </a:lnTo>
                  <a:lnTo>
                    <a:pt x="984" y="556"/>
                  </a:lnTo>
                  <a:lnTo>
                    <a:pt x="987" y="556"/>
                  </a:lnTo>
                  <a:lnTo>
                    <a:pt x="987" y="556"/>
                  </a:lnTo>
                  <a:lnTo>
                    <a:pt x="987" y="556"/>
                  </a:lnTo>
                  <a:lnTo>
                    <a:pt x="984" y="556"/>
                  </a:lnTo>
                  <a:lnTo>
                    <a:pt x="984" y="556"/>
                  </a:lnTo>
                  <a:lnTo>
                    <a:pt x="984" y="556"/>
                  </a:lnTo>
                  <a:lnTo>
                    <a:pt x="984" y="556"/>
                  </a:lnTo>
                  <a:lnTo>
                    <a:pt x="984" y="556"/>
                  </a:lnTo>
                  <a:lnTo>
                    <a:pt x="984" y="556"/>
                  </a:lnTo>
                  <a:lnTo>
                    <a:pt x="984" y="556"/>
                  </a:lnTo>
                  <a:lnTo>
                    <a:pt x="984" y="556"/>
                  </a:lnTo>
                  <a:lnTo>
                    <a:pt x="984" y="558"/>
                  </a:lnTo>
                  <a:lnTo>
                    <a:pt x="984" y="558"/>
                  </a:lnTo>
                  <a:lnTo>
                    <a:pt x="984" y="558"/>
                  </a:lnTo>
                  <a:lnTo>
                    <a:pt x="984" y="558"/>
                  </a:lnTo>
                  <a:lnTo>
                    <a:pt x="984" y="558"/>
                  </a:lnTo>
                  <a:lnTo>
                    <a:pt x="984" y="558"/>
                  </a:lnTo>
                  <a:lnTo>
                    <a:pt x="982" y="558"/>
                  </a:lnTo>
                  <a:lnTo>
                    <a:pt x="984" y="561"/>
                  </a:lnTo>
                  <a:lnTo>
                    <a:pt x="984" y="561"/>
                  </a:lnTo>
                  <a:lnTo>
                    <a:pt x="984" y="564"/>
                  </a:lnTo>
                  <a:lnTo>
                    <a:pt x="984" y="564"/>
                  </a:lnTo>
                  <a:lnTo>
                    <a:pt x="984" y="566"/>
                  </a:lnTo>
                  <a:lnTo>
                    <a:pt x="984" y="566"/>
                  </a:lnTo>
                  <a:lnTo>
                    <a:pt x="987" y="566"/>
                  </a:lnTo>
                  <a:lnTo>
                    <a:pt x="990" y="564"/>
                  </a:lnTo>
                  <a:lnTo>
                    <a:pt x="990" y="564"/>
                  </a:lnTo>
                  <a:lnTo>
                    <a:pt x="992" y="561"/>
                  </a:lnTo>
                  <a:lnTo>
                    <a:pt x="992" y="561"/>
                  </a:lnTo>
                  <a:lnTo>
                    <a:pt x="995" y="561"/>
                  </a:lnTo>
                  <a:lnTo>
                    <a:pt x="995" y="561"/>
                  </a:lnTo>
                  <a:lnTo>
                    <a:pt x="987" y="569"/>
                  </a:lnTo>
                  <a:lnTo>
                    <a:pt x="984" y="569"/>
                  </a:lnTo>
                  <a:lnTo>
                    <a:pt x="984" y="569"/>
                  </a:lnTo>
                  <a:lnTo>
                    <a:pt x="982" y="569"/>
                  </a:lnTo>
                  <a:lnTo>
                    <a:pt x="982" y="569"/>
                  </a:lnTo>
                  <a:lnTo>
                    <a:pt x="982" y="572"/>
                  </a:lnTo>
                  <a:lnTo>
                    <a:pt x="982" y="572"/>
                  </a:lnTo>
                  <a:lnTo>
                    <a:pt x="982" y="572"/>
                  </a:lnTo>
                  <a:lnTo>
                    <a:pt x="982" y="572"/>
                  </a:lnTo>
                  <a:lnTo>
                    <a:pt x="982" y="572"/>
                  </a:lnTo>
                  <a:lnTo>
                    <a:pt x="984" y="572"/>
                  </a:lnTo>
                  <a:lnTo>
                    <a:pt x="984" y="574"/>
                  </a:lnTo>
                  <a:lnTo>
                    <a:pt x="982" y="574"/>
                  </a:lnTo>
                  <a:lnTo>
                    <a:pt x="982" y="577"/>
                  </a:lnTo>
                  <a:lnTo>
                    <a:pt x="982" y="577"/>
                  </a:lnTo>
                  <a:lnTo>
                    <a:pt x="984" y="577"/>
                  </a:lnTo>
                  <a:lnTo>
                    <a:pt x="984" y="577"/>
                  </a:lnTo>
                  <a:lnTo>
                    <a:pt x="984" y="577"/>
                  </a:lnTo>
                  <a:lnTo>
                    <a:pt x="987" y="577"/>
                  </a:lnTo>
                  <a:lnTo>
                    <a:pt x="987" y="577"/>
                  </a:lnTo>
                  <a:lnTo>
                    <a:pt x="987" y="574"/>
                  </a:lnTo>
                  <a:lnTo>
                    <a:pt x="987" y="574"/>
                  </a:lnTo>
                  <a:lnTo>
                    <a:pt x="987" y="574"/>
                  </a:lnTo>
                  <a:lnTo>
                    <a:pt x="987" y="577"/>
                  </a:lnTo>
                  <a:lnTo>
                    <a:pt x="987" y="577"/>
                  </a:lnTo>
                  <a:lnTo>
                    <a:pt x="987" y="580"/>
                  </a:lnTo>
                  <a:lnTo>
                    <a:pt x="987" y="580"/>
                  </a:lnTo>
                  <a:lnTo>
                    <a:pt x="990" y="580"/>
                  </a:lnTo>
                  <a:lnTo>
                    <a:pt x="990" y="580"/>
                  </a:lnTo>
                  <a:lnTo>
                    <a:pt x="990" y="582"/>
                  </a:lnTo>
                  <a:lnTo>
                    <a:pt x="987" y="582"/>
                  </a:lnTo>
                  <a:lnTo>
                    <a:pt x="987" y="582"/>
                  </a:lnTo>
                  <a:lnTo>
                    <a:pt x="987" y="582"/>
                  </a:lnTo>
                  <a:lnTo>
                    <a:pt x="987" y="582"/>
                  </a:lnTo>
                  <a:lnTo>
                    <a:pt x="984" y="582"/>
                  </a:lnTo>
                  <a:lnTo>
                    <a:pt x="984" y="585"/>
                  </a:lnTo>
                  <a:lnTo>
                    <a:pt x="984" y="585"/>
                  </a:lnTo>
                  <a:lnTo>
                    <a:pt x="984" y="582"/>
                  </a:lnTo>
                  <a:lnTo>
                    <a:pt x="984" y="582"/>
                  </a:lnTo>
                  <a:lnTo>
                    <a:pt x="987" y="582"/>
                  </a:lnTo>
                  <a:lnTo>
                    <a:pt x="987" y="582"/>
                  </a:lnTo>
                  <a:lnTo>
                    <a:pt x="987" y="580"/>
                  </a:lnTo>
                  <a:lnTo>
                    <a:pt x="987" y="580"/>
                  </a:lnTo>
                  <a:lnTo>
                    <a:pt x="984" y="580"/>
                  </a:lnTo>
                  <a:lnTo>
                    <a:pt x="984" y="580"/>
                  </a:lnTo>
                  <a:lnTo>
                    <a:pt x="984" y="580"/>
                  </a:lnTo>
                  <a:lnTo>
                    <a:pt x="984" y="577"/>
                  </a:lnTo>
                  <a:lnTo>
                    <a:pt x="982" y="577"/>
                  </a:lnTo>
                  <a:lnTo>
                    <a:pt x="982" y="577"/>
                  </a:lnTo>
                  <a:lnTo>
                    <a:pt x="982" y="574"/>
                  </a:lnTo>
                  <a:lnTo>
                    <a:pt x="982" y="574"/>
                  </a:lnTo>
                  <a:lnTo>
                    <a:pt x="982" y="574"/>
                  </a:lnTo>
                  <a:lnTo>
                    <a:pt x="982" y="574"/>
                  </a:lnTo>
                  <a:lnTo>
                    <a:pt x="982" y="574"/>
                  </a:lnTo>
                  <a:lnTo>
                    <a:pt x="982" y="572"/>
                  </a:lnTo>
                  <a:lnTo>
                    <a:pt x="982" y="572"/>
                  </a:lnTo>
                  <a:lnTo>
                    <a:pt x="979" y="572"/>
                  </a:lnTo>
                  <a:lnTo>
                    <a:pt x="976" y="572"/>
                  </a:lnTo>
                  <a:lnTo>
                    <a:pt x="976" y="572"/>
                  </a:lnTo>
                  <a:lnTo>
                    <a:pt x="974" y="572"/>
                  </a:lnTo>
                  <a:lnTo>
                    <a:pt x="974" y="572"/>
                  </a:lnTo>
                  <a:lnTo>
                    <a:pt x="971" y="574"/>
                  </a:lnTo>
                  <a:lnTo>
                    <a:pt x="968" y="577"/>
                  </a:lnTo>
                  <a:lnTo>
                    <a:pt x="966" y="577"/>
                  </a:lnTo>
                  <a:lnTo>
                    <a:pt x="966" y="580"/>
                  </a:lnTo>
                  <a:lnTo>
                    <a:pt x="966" y="580"/>
                  </a:lnTo>
                  <a:lnTo>
                    <a:pt x="966" y="582"/>
                  </a:lnTo>
                  <a:lnTo>
                    <a:pt x="960" y="585"/>
                  </a:lnTo>
                  <a:lnTo>
                    <a:pt x="955" y="593"/>
                  </a:lnTo>
                  <a:lnTo>
                    <a:pt x="952" y="593"/>
                  </a:lnTo>
                  <a:lnTo>
                    <a:pt x="952" y="596"/>
                  </a:lnTo>
                  <a:lnTo>
                    <a:pt x="950" y="596"/>
                  </a:lnTo>
                  <a:lnTo>
                    <a:pt x="950" y="596"/>
                  </a:lnTo>
                  <a:lnTo>
                    <a:pt x="950" y="596"/>
                  </a:lnTo>
                  <a:lnTo>
                    <a:pt x="950" y="598"/>
                  </a:lnTo>
                  <a:lnTo>
                    <a:pt x="950" y="598"/>
                  </a:lnTo>
                  <a:lnTo>
                    <a:pt x="950" y="598"/>
                  </a:lnTo>
                  <a:lnTo>
                    <a:pt x="947" y="601"/>
                  </a:lnTo>
                  <a:lnTo>
                    <a:pt x="947" y="604"/>
                  </a:lnTo>
                  <a:lnTo>
                    <a:pt x="947" y="604"/>
                  </a:lnTo>
                  <a:lnTo>
                    <a:pt x="947" y="606"/>
                  </a:lnTo>
                  <a:lnTo>
                    <a:pt x="947" y="609"/>
                  </a:lnTo>
                  <a:lnTo>
                    <a:pt x="950" y="609"/>
                  </a:lnTo>
                  <a:lnTo>
                    <a:pt x="950" y="612"/>
                  </a:lnTo>
                  <a:lnTo>
                    <a:pt x="950" y="614"/>
                  </a:lnTo>
                  <a:lnTo>
                    <a:pt x="950" y="614"/>
                  </a:lnTo>
                  <a:lnTo>
                    <a:pt x="950" y="614"/>
                  </a:lnTo>
                  <a:lnTo>
                    <a:pt x="947" y="614"/>
                  </a:lnTo>
                  <a:lnTo>
                    <a:pt x="947" y="614"/>
                  </a:lnTo>
                  <a:lnTo>
                    <a:pt x="944" y="614"/>
                  </a:lnTo>
                  <a:lnTo>
                    <a:pt x="944" y="614"/>
                  </a:lnTo>
                  <a:lnTo>
                    <a:pt x="944" y="614"/>
                  </a:lnTo>
                  <a:lnTo>
                    <a:pt x="942" y="614"/>
                  </a:lnTo>
                  <a:lnTo>
                    <a:pt x="942" y="614"/>
                  </a:lnTo>
                  <a:lnTo>
                    <a:pt x="939" y="614"/>
                  </a:lnTo>
                  <a:lnTo>
                    <a:pt x="934" y="614"/>
                  </a:lnTo>
                  <a:lnTo>
                    <a:pt x="934" y="617"/>
                  </a:lnTo>
                  <a:lnTo>
                    <a:pt x="936" y="617"/>
                  </a:lnTo>
                  <a:lnTo>
                    <a:pt x="936" y="620"/>
                  </a:lnTo>
                  <a:lnTo>
                    <a:pt x="936" y="620"/>
                  </a:lnTo>
                  <a:lnTo>
                    <a:pt x="936" y="622"/>
                  </a:lnTo>
                  <a:lnTo>
                    <a:pt x="939" y="622"/>
                  </a:lnTo>
                  <a:lnTo>
                    <a:pt x="939" y="622"/>
                  </a:lnTo>
                  <a:lnTo>
                    <a:pt x="939" y="622"/>
                  </a:lnTo>
                  <a:lnTo>
                    <a:pt x="939" y="622"/>
                  </a:lnTo>
                  <a:lnTo>
                    <a:pt x="939" y="622"/>
                  </a:lnTo>
                  <a:lnTo>
                    <a:pt x="942" y="622"/>
                  </a:lnTo>
                  <a:lnTo>
                    <a:pt x="942" y="625"/>
                  </a:lnTo>
                  <a:lnTo>
                    <a:pt x="942" y="625"/>
                  </a:lnTo>
                  <a:lnTo>
                    <a:pt x="942" y="625"/>
                  </a:lnTo>
                  <a:lnTo>
                    <a:pt x="944" y="625"/>
                  </a:lnTo>
                  <a:lnTo>
                    <a:pt x="942" y="625"/>
                  </a:lnTo>
                  <a:lnTo>
                    <a:pt x="934" y="625"/>
                  </a:lnTo>
                  <a:lnTo>
                    <a:pt x="934" y="625"/>
                  </a:lnTo>
                  <a:lnTo>
                    <a:pt x="934" y="625"/>
                  </a:lnTo>
                  <a:lnTo>
                    <a:pt x="931" y="625"/>
                  </a:lnTo>
                  <a:lnTo>
                    <a:pt x="931" y="625"/>
                  </a:lnTo>
                  <a:lnTo>
                    <a:pt x="931" y="625"/>
                  </a:lnTo>
                  <a:lnTo>
                    <a:pt x="931" y="625"/>
                  </a:lnTo>
                  <a:lnTo>
                    <a:pt x="931" y="625"/>
                  </a:lnTo>
                  <a:lnTo>
                    <a:pt x="931" y="620"/>
                  </a:lnTo>
                  <a:lnTo>
                    <a:pt x="931" y="620"/>
                  </a:lnTo>
                  <a:lnTo>
                    <a:pt x="931" y="622"/>
                  </a:lnTo>
                  <a:lnTo>
                    <a:pt x="931" y="622"/>
                  </a:lnTo>
                  <a:lnTo>
                    <a:pt x="931" y="625"/>
                  </a:lnTo>
                  <a:lnTo>
                    <a:pt x="928" y="628"/>
                  </a:lnTo>
                  <a:lnTo>
                    <a:pt x="928" y="628"/>
                  </a:lnTo>
                  <a:lnTo>
                    <a:pt x="928" y="628"/>
                  </a:lnTo>
                  <a:lnTo>
                    <a:pt x="928" y="628"/>
                  </a:lnTo>
                  <a:lnTo>
                    <a:pt x="928" y="628"/>
                  </a:lnTo>
                  <a:lnTo>
                    <a:pt x="928" y="633"/>
                  </a:lnTo>
                  <a:lnTo>
                    <a:pt x="931" y="636"/>
                  </a:lnTo>
                  <a:lnTo>
                    <a:pt x="931" y="636"/>
                  </a:lnTo>
                  <a:lnTo>
                    <a:pt x="931" y="636"/>
                  </a:lnTo>
                  <a:lnTo>
                    <a:pt x="931" y="636"/>
                  </a:lnTo>
                  <a:lnTo>
                    <a:pt x="931" y="633"/>
                  </a:lnTo>
                  <a:lnTo>
                    <a:pt x="931" y="633"/>
                  </a:lnTo>
                  <a:lnTo>
                    <a:pt x="934" y="633"/>
                  </a:lnTo>
                  <a:lnTo>
                    <a:pt x="936" y="633"/>
                  </a:lnTo>
                  <a:lnTo>
                    <a:pt x="936" y="633"/>
                  </a:lnTo>
                  <a:lnTo>
                    <a:pt x="939" y="633"/>
                  </a:lnTo>
                  <a:lnTo>
                    <a:pt x="939" y="633"/>
                  </a:lnTo>
                  <a:lnTo>
                    <a:pt x="939" y="633"/>
                  </a:lnTo>
                  <a:lnTo>
                    <a:pt x="939" y="636"/>
                  </a:lnTo>
                  <a:lnTo>
                    <a:pt x="942" y="636"/>
                  </a:lnTo>
                  <a:lnTo>
                    <a:pt x="942" y="638"/>
                  </a:lnTo>
                  <a:lnTo>
                    <a:pt x="942" y="638"/>
                  </a:lnTo>
                  <a:lnTo>
                    <a:pt x="942" y="638"/>
                  </a:lnTo>
                  <a:lnTo>
                    <a:pt x="942" y="638"/>
                  </a:lnTo>
                  <a:lnTo>
                    <a:pt x="939" y="641"/>
                  </a:lnTo>
                  <a:lnTo>
                    <a:pt x="939" y="641"/>
                  </a:lnTo>
                  <a:lnTo>
                    <a:pt x="939" y="641"/>
                  </a:lnTo>
                  <a:lnTo>
                    <a:pt x="939" y="641"/>
                  </a:lnTo>
                  <a:lnTo>
                    <a:pt x="936" y="641"/>
                  </a:lnTo>
                  <a:lnTo>
                    <a:pt x="936" y="641"/>
                  </a:lnTo>
                  <a:lnTo>
                    <a:pt x="934" y="644"/>
                  </a:lnTo>
                  <a:lnTo>
                    <a:pt x="936" y="646"/>
                  </a:lnTo>
                  <a:lnTo>
                    <a:pt x="936" y="649"/>
                  </a:lnTo>
                  <a:lnTo>
                    <a:pt x="936" y="649"/>
                  </a:lnTo>
                  <a:lnTo>
                    <a:pt x="942" y="652"/>
                  </a:lnTo>
                  <a:lnTo>
                    <a:pt x="942" y="652"/>
                  </a:lnTo>
                  <a:lnTo>
                    <a:pt x="944" y="652"/>
                  </a:lnTo>
                  <a:lnTo>
                    <a:pt x="942" y="652"/>
                  </a:lnTo>
                  <a:lnTo>
                    <a:pt x="942" y="654"/>
                  </a:lnTo>
                  <a:lnTo>
                    <a:pt x="942" y="654"/>
                  </a:lnTo>
                  <a:lnTo>
                    <a:pt x="944" y="654"/>
                  </a:lnTo>
                  <a:lnTo>
                    <a:pt x="942" y="654"/>
                  </a:lnTo>
                  <a:lnTo>
                    <a:pt x="942" y="654"/>
                  </a:lnTo>
                  <a:lnTo>
                    <a:pt x="942" y="654"/>
                  </a:lnTo>
                  <a:lnTo>
                    <a:pt x="942" y="657"/>
                  </a:lnTo>
                  <a:lnTo>
                    <a:pt x="942" y="657"/>
                  </a:lnTo>
                  <a:lnTo>
                    <a:pt x="942" y="657"/>
                  </a:lnTo>
                  <a:lnTo>
                    <a:pt x="942" y="657"/>
                  </a:lnTo>
                  <a:lnTo>
                    <a:pt x="942" y="657"/>
                  </a:lnTo>
                  <a:lnTo>
                    <a:pt x="942" y="660"/>
                  </a:lnTo>
                  <a:lnTo>
                    <a:pt x="942" y="660"/>
                  </a:lnTo>
                  <a:lnTo>
                    <a:pt x="942" y="660"/>
                  </a:lnTo>
                  <a:lnTo>
                    <a:pt x="942" y="660"/>
                  </a:lnTo>
                  <a:lnTo>
                    <a:pt x="942" y="660"/>
                  </a:lnTo>
                  <a:lnTo>
                    <a:pt x="942" y="662"/>
                  </a:lnTo>
                  <a:lnTo>
                    <a:pt x="942" y="662"/>
                  </a:lnTo>
                  <a:lnTo>
                    <a:pt x="942" y="665"/>
                  </a:lnTo>
                  <a:lnTo>
                    <a:pt x="944" y="665"/>
                  </a:lnTo>
                  <a:lnTo>
                    <a:pt x="944" y="665"/>
                  </a:lnTo>
                  <a:lnTo>
                    <a:pt x="947" y="668"/>
                  </a:lnTo>
                  <a:lnTo>
                    <a:pt x="947" y="668"/>
                  </a:lnTo>
                  <a:lnTo>
                    <a:pt x="950" y="668"/>
                  </a:lnTo>
                  <a:lnTo>
                    <a:pt x="950" y="668"/>
                  </a:lnTo>
                  <a:lnTo>
                    <a:pt x="950" y="665"/>
                  </a:lnTo>
                  <a:lnTo>
                    <a:pt x="950" y="665"/>
                  </a:lnTo>
                  <a:lnTo>
                    <a:pt x="950" y="665"/>
                  </a:lnTo>
                  <a:lnTo>
                    <a:pt x="950" y="662"/>
                  </a:lnTo>
                  <a:lnTo>
                    <a:pt x="950" y="662"/>
                  </a:lnTo>
                  <a:lnTo>
                    <a:pt x="950" y="660"/>
                  </a:lnTo>
                  <a:lnTo>
                    <a:pt x="950" y="657"/>
                  </a:lnTo>
                  <a:lnTo>
                    <a:pt x="952" y="657"/>
                  </a:lnTo>
                  <a:lnTo>
                    <a:pt x="952" y="657"/>
                  </a:lnTo>
                  <a:lnTo>
                    <a:pt x="955" y="654"/>
                  </a:lnTo>
                  <a:lnTo>
                    <a:pt x="955" y="654"/>
                  </a:lnTo>
                  <a:lnTo>
                    <a:pt x="955" y="654"/>
                  </a:lnTo>
                  <a:lnTo>
                    <a:pt x="955" y="654"/>
                  </a:lnTo>
                  <a:lnTo>
                    <a:pt x="955" y="654"/>
                  </a:lnTo>
                  <a:lnTo>
                    <a:pt x="955" y="652"/>
                  </a:lnTo>
                  <a:lnTo>
                    <a:pt x="955" y="652"/>
                  </a:lnTo>
                  <a:lnTo>
                    <a:pt x="955" y="652"/>
                  </a:lnTo>
                  <a:lnTo>
                    <a:pt x="955" y="652"/>
                  </a:lnTo>
                  <a:lnTo>
                    <a:pt x="955" y="652"/>
                  </a:lnTo>
                  <a:lnTo>
                    <a:pt x="955" y="652"/>
                  </a:lnTo>
                  <a:lnTo>
                    <a:pt x="955" y="649"/>
                  </a:lnTo>
                  <a:lnTo>
                    <a:pt x="955" y="649"/>
                  </a:lnTo>
                  <a:lnTo>
                    <a:pt x="955" y="649"/>
                  </a:lnTo>
                  <a:lnTo>
                    <a:pt x="955" y="649"/>
                  </a:lnTo>
                  <a:lnTo>
                    <a:pt x="958" y="649"/>
                  </a:lnTo>
                  <a:lnTo>
                    <a:pt x="958" y="649"/>
                  </a:lnTo>
                  <a:lnTo>
                    <a:pt x="958" y="649"/>
                  </a:lnTo>
                  <a:lnTo>
                    <a:pt x="958" y="646"/>
                  </a:lnTo>
                  <a:lnTo>
                    <a:pt x="958" y="646"/>
                  </a:lnTo>
                  <a:lnTo>
                    <a:pt x="960" y="646"/>
                  </a:lnTo>
                  <a:lnTo>
                    <a:pt x="960" y="644"/>
                  </a:lnTo>
                  <a:lnTo>
                    <a:pt x="960" y="646"/>
                  </a:lnTo>
                  <a:lnTo>
                    <a:pt x="960" y="646"/>
                  </a:lnTo>
                  <a:lnTo>
                    <a:pt x="960" y="646"/>
                  </a:lnTo>
                  <a:lnTo>
                    <a:pt x="963" y="646"/>
                  </a:lnTo>
                  <a:lnTo>
                    <a:pt x="963" y="646"/>
                  </a:lnTo>
                  <a:lnTo>
                    <a:pt x="963" y="644"/>
                  </a:lnTo>
                  <a:lnTo>
                    <a:pt x="963" y="644"/>
                  </a:lnTo>
                  <a:lnTo>
                    <a:pt x="963" y="644"/>
                  </a:lnTo>
                  <a:lnTo>
                    <a:pt x="963" y="644"/>
                  </a:lnTo>
                  <a:lnTo>
                    <a:pt x="963" y="644"/>
                  </a:lnTo>
                  <a:lnTo>
                    <a:pt x="963" y="644"/>
                  </a:lnTo>
                  <a:lnTo>
                    <a:pt x="963" y="644"/>
                  </a:lnTo>
                  <a:lnTo>
                    <a:pt x="963" y="644"/>
                  </a:lnTo>
                  <a:lnTo>
                    <a:pt x="963" y="644"/>
                  </a:lnTo>
                  <a:lnTo>
                    <a:pt x="963" y="644"/>
                  </a:lnTo>
                  <a:lnTo>
                    <a:pt x="966" y="641"/>
                  </a:lnTo>
                  <a:lnTo>
                    <a:pt x="966" y="641"/>
                  </a:lnTo>
                  <a:lnTo>
                    <a:pt x="966" y="641"/>
                  </a:lnTo>
                  <a:lnTo>
                    <a:pt x="966" y="641"/>
                  </a:lnTo>
                  <a:lnTo>
                    <a:pt x="966" y="641"/>
                  </a:lnTo>
                  <a:lnTo>
                    <a:pt x="968" y="641"/>
                  </a:lnTo>
                  <a:lnTo>
                    <a:pt x="968" y="641"/>
                  </a:lnTo>
                  <a:lnTo>
                    <a:pt x="971" y="638"/>
                  </a:lnTo>
                  <a:lnTo>
                    <a:pt x="974" y="636"/>
                  </a:lnTo>
                  <a:lnTo>
                    <a:pt x="974" y="636"/>
                  </a:lnTo>
                  <a:lnTo>
                    <a:pt x="974" y="636"/>
                  </a:lnTo>
                  <a:lnTo>
                    <a:pt x="974" y="636"/>
                  </a:lnTo>
                  <a:lnTo>
                    <a:pt x="974" y="636"/>
                  </a:lnTo>
                  <a:lnTo>
                    <a:pt x="974" y="636"/>
                  </a:lnTo>
                  <a:lnTo>
                    <a:pt x="974" y="636"/>
                  </a:lnTo>
                  <a:lnTo>
                    <a:pt x="974" y="636"/>
                  </a:lnTo>
                  <a:lnTo>
                    <a:pt x="974" y="633"/>
                  </a:lnTo>
                  <a:lnTo>
                    <a:pt x="974" y="633"/>
                  </a:lnTo>
                  <a:lnTo>
                    <a:pt x="974" y="633"/>
                  </a:lnTo>
                  <a:lnTo>
                    <a:pt x="976" y="636"/>
                  </a:lnTo>
                  <a:lnTo>
                    <a:pt x="976" y="636"/>
                  </a:lnTo>
                  <a:lnTo>
                    <a:pt x="976" y="636"/>
                  </a:lnTo>
                  <a:lnTo>
                    <a:pt x="974" y="636"/>
                  </a:lnTo>
                  <a:lnTo>
                    <a:pt x="974" y="638"/>
                  </a:lnTo>
                  <a:lnTo>
                    <a:pt x="974" y="638"/>
                  </a:lnTo>
                  <a:lnTo>
                    <a:pt x="974" y="641"/>
                  </a:lnTo>
                  <a:lnTo>
                    <a:pt x="974" y="641"/>
                  </a:lnTo>
                  <a:lnTo>
                    <a:pt x="971" y="641"/>
                  </a:lnTo>
                  <a:lnTo>
                    <a:pt x="971" y="641"/>
                  </a:lnTo>
                  <a:lnTo>
                    <a:pt x="971" y="641"/>
                  </a:lnTo>
                  <a:lnTo>
                    <a:pt x="971" y="641"/>
                  </a:lnTo>
                  <a:lnTo>
                    <a:pt x="971" y="641"/>
                  </a:lnTo>
                  <a:lnTo>
                    <a:pt x="971" y="641"/>
                  </a:lnTo>
                  <a:lnTo>
                    <a:pt x="971" y="644"/>
                  </a:lnTo>
                  <a:lnTo>
                    <a:pt x="968" y="641"/>
                  </a:lnTo>
                  <a:lnTo>
                    <a:pt x="966" y="641"/>
                  </a:lnTo>
                  <a:lnTo>
                    <a:pt x="966" y="644"/>
                  </a:lnTo>
                  <a:lnTo>
                    <a:pt x="966" y="644"/>
                  </a:lnTo>
                  <a:lnTo>
                    <a:pt x="966" y="644"/>
                  </a:lnTo>
                  <a:lnTo>
                    <a:pt x="966" y="644"/>
                  </a:lnTo>
                  <a:lnTo>
                    <a:pt x="966" y="644"/>
                  </a:lnTo>
                  <a:lnTo>
                    <a:pt x="963" y="644"/>
                  </a:lnTo>
                  <a:lnTo>
                    <a:pt x="963" y="644"/>
                  </a:lnTo>
                  <a:lnTo>
                    <a:pt x="963" y="646"/>
                  </a:lnTo>
                  <a:lnTo>
                    <a:pt x="963" y="646"/>
                  </a:lnTo>
                  <a:lnTo>
                    <a:pt x="960" y="646"/>
                  </a:lnTo>
                  <a:lnTo>
                    <a:pt x="958" y="646"/>
                  </a:lnTo>
                  <a:lnTo>
                    <a:pt x="958" y="649"/>
                  </a:lnTo>
                  <a:lnTo>
                    <a:pt x="958" y="649"/>
                  </a:lnTo>
                  <a:lnTo>
                    <a:pt x="958" y="649"/>
                  </a:lnTo>
                  <a:lnTo>
                    <a:pt x="958" y="649"/>
                  </a:lnTo>
                  <a:lnTo>
                    <a:pt x="958" y="652"/>
                  </a:lnTo>
                  <a:lnTo>
                    <a:pt x="958" y="652"/>
                  </a:lnTo>
                  <a:lnTo>
                    <a:pt x="955" y="652"/>
                  </a:lnTo>
                  <a:lnTo>
                    <a:pt x="955" y="652"/>
                  </a:lnTo>
                  <a:lnTo>
                    <a:pt x="958" y="652"/>
                  </a:lnTo>
                  <a:lnTo>
                    <a:pt x="958" y="652"/>
                  </a:lnTo>
                  <a:lnTo>
                    <a:pt x="958" y="654"/>
                  </a:lnTo>
                  <a:lnTo>
                    <a:pt x="958" y="654"/>
                  </a:lnTo>
                  <a:lnTo>
                    <a:pt x="955" y="654"/>
                  </a:lnTo>
                  <a:lnTo>
                    <a:pt x="955" y="657"/>
                  </a:lnTo>
                  <a:lnTo>
                    <a:pt x="955" y="657"/>
                  </a:lnTo>
                  <a:lnTo>
                    <a:pt x="955" y="657"/>
                  </a:lnTo>
                  <a:lnTo>
                    <a:pt x="952" y="657"/>
                  </a:lnTo>
                  <a:lnTo>
                    <a:pt x="952" y="657"/>
                  </a:lnTo>
                  <a:lnTo>
                    <a:pt x="950" y="660"/>
                  </a:lnTo>
                  <a:lnTo>
                    <a:pt x="950" y="660"/>
                  </a:lnTo>
                  <a:lnTo>
                    <a:pt x="950" y="660"/>
                  </a:lnTo>
                  <a:lnTo>
                    <a:pt x="955" y="665"/>
                  </a:lnTo>
                  <a:lnTo>
                    <a:pt x="958" y="662"/>
                  </a:lnTo>
                  <a:lnTo>
                    <a:pt x="958" y="662"/>
                  </a:lnTo>
                  <a:lnTo>
                    <a:pt x="958" y="662"/>
                  </a:lnTo>
                  <a:lnTo>
                    <a:pt x="958" y="662"/>
                  </a:lnTo>
                  <a:lnTo>
                    <a:pt x="958" y="662"/>
                  </a:lnTo>
                  <a:lnTo>
                    <a:pt x="958" y="660"/>
                  </a:lnTo>
                  <a:lnTo>
                    <a:pt x="958" y="660"/>
                  </a:lnTo>
                  <a:lnTo>
                    <a:pt x="958" y="660"/>
                  </a:lnTo>
                  <a:lnTo>
                    <a:pt x="960" y="660"/>
                  </a:lnTo>
                  <a:lnTo>
                    <a:pt x="958" y="660"/>
                  </a:lnTo>
                  <a:lnTo>
                    <a:pt x="958" y="660"/>
                  </a:lnTo>
                  <a:lnTo>
                    <a:pt x="958" y="657"/>
                  </a:lnTo>
                  <a:lnTo>
                    <a:pt x="958" y="657"/>
                  </a:lnTo>
                  <a:lnTo>
                    <a:pt x="960" y="660"/>
                  </a:lnTo>
                  <a:lnTo>
                    <a:pt x="958" y="660"/>
                  </a:lnTo>
                  <a:lnTo>
                    <a:pt x="958" y="662"/>
                  </a:lnTo>
                  <a:lnTo>
                    <a:pt x="958" y="665"/>
                  </a:lnTo>
                  <a:lnTo>
                    <a:pt x="958" y="665"/>
                  </a:lnTo>
                  <a:lnTo>
                    <a:pt x="955" y="665"/>
                  </a:lnTo>
                  <a:lnTo>
                    <a:pt x="955" y="665"/>
                  </a:lnTo>
                  <a:lnTo>
                    <a:pt x="955" y="665"/>
                  </a:lnTo>
                  <a:lnTo>
                    <a:pt x="958" y="668"/>
                  </a:lnTo>
                  <a:lnTo>
                    <a:pt x="958" y="668"/>
                  </a:lnTo>
                  <a:lnTo>
                    <a:pt x="958" y="668"/>
                  </a:lnTo>
                  <a:lnTo>
                    <a:pt x="958" y="670"/>
                  </a:lnTo>
                  <a:lnTo>
                    <a:pt x="958" y="670"/>
                  </a:lnTo>
                  <a:lnTo>
                    <a:pt x="960" y="670"/>
                  </a:lnTo>
                  <a:lnTo>
                    <a:pt x="960" y="670"/>
                  </a:lnTo>
                  <a:lnTo>
                    <a:pt x="960" y="670"/>
                  </a:lnTo>
                  <a:lnTo>
                    <a:pt x="960" y="668"/>
                  </a:lnTo>
                  <a:lnTo>
                    <a:pt x="960" y="668"/>
                  </a:lnTo>
                  <a:lnTo>
                    <a:pt x="963" y="668"/>
                  </a:lnTo>
                  <a:lnTo>
                    <a:pt x="966" y="668"/>
                  </a:lnTo>
                  <a:lnTo>
                    <a:pt x="968" y="668"/>
                  </a:lnTo>
                  <a:lnTo>
                    <a:pt x="968" y="668"/>
                  </a:lnTo>
                  <a:lnTo>
                    <a:pt x="968" y="668"/>
                  </a:lnTo>
                  <a:lnTo>
                    <a:pt x="968" y="670"/>
                  </a:lnTo>
                  <a:lnTo>
                    <a:pt x="966" y="670"/>
                  </a:lnTo>
                  <a:lnTo>
                    <a:pt x="966" y="670"/>
                  </a:lnTo>
                  <a:lnTo>
                    <a:pt x="966" y="670"/>
                  </a:lnTo>
                  <a:lnTo>
                    <a:pt x="966" y="670"/>
                  </a:lnTo>
                  <a:lnTo>
                    <a:pt x="963" y="670"/>
                  </a:lnTo>
                  <a:lnTo>
                    <a:pt x="963" y="670"/>
                  </a:lnTo>
                  <a:lnTo>
                    <a:pt x="963" y="670"/>
                  </a:lnTo>
                  <a:lnTo>
                    <a:pt x="963" y="670"/>
                  </a:lnTo>
                  <a:lnTo>
                    <a:pt x="960" y="673"/>
                  </a:lnTo>
                  <a:lnTo>
                    <a:pt x="960" y="673"/>
                  </a:lnTo>
                  <a:lnTo>
                    <a:pt x="958" y="673"/>
                  </a:lnTo>
                  <a:lnTo>
                    <a:pt x="955" y="673"/>
                  </a:lnTo>
                  <a:lnTo>
                    <a:pt x="952" y="676"/>
                  </a:lnTo>
                  <a:lnTo>
                    <a:pt x="952" y="679"/>
                  </a:lnTo>
                  <a:lnTo>
                    <a:pt x="955" y="679"/>
                  </a:lnTo>
                  <a:lnTo>
                    <a:pt x="955" y="681"/>
                  </a:lnTo>
                  <a:lnTo>
                    <a:pt x="958" y="681"/>
                  </a:lnTo>
                  <a:lnTo>
                    <a:pt x="958" y="681"/>
                  </a:lnTo>
                  <a:lnTo>
                    <a:pt x="960" y="679"/>
                  </a:lnTo>
                  <a:lnTo>
                    <a:pt x="960" y="679"/>
                  </a:lnTo>
                  <a:lnTo>
                    <a:pt x="963" y="679"/>
                  </a:lnTo>
                  <a:lnTo>
                    <a:pt x="963" y="679"/>
                  </a:lnTo>
                  <a:lnTo>
                    <a:pt x="963" y="679"/>
                  </a:lnTo>
                  <a:lnTo>
                    <a:pt x="963" y="681"/>
                  </a:lnTo>
                  <a:lnTo>
                    <a:pt x="966" y="681"/>
                  </a:lnTo>
                  <a:lnTo>
                    <a:pt x="966" y="684"/>
                  </a:lnTo>
                  <a:lnTo>
                    <a:pt x="966" y="684"/>
                  </a:lnTo>
                  <a:lnTo>
                    <a:pt x="966" y="681"/>
                  </a:lnTo>
                  <a:lnTo>
                    <a:pt x="968" y="681"/>
                  </a:lnTo>
                  <a:lnTo>
                    <a:pt x="968" y="681"/>
                  </a:lnTo>
                  <a:lnTo>
                    <a:pt x="968" y="681"/>
                  </a:lnTo>
                  <a:lnTo>
                    <a:pt x="971" y="681"/>
                  </a:lnTo>
                  <a:lnTo>
                    <a:pt x="971" y="681"/>
                  </a:lnTo>
                  <a:lnTo>
                    <a:pt x="971" y="684"/>
                  </a:lnTo>
                  <a:lnTo>
                    <a:pt x="971" y="684"/>
                  </a:lnTo>
                  <a:lnTo>
                    <a:pt x="971" y="687"/>
                  </a:lnTo>
                  <a:lnTo>
                    <a:pt x="971" y="687"/>
                  </a:lnTo>
                  <a:lnTo>
                    <a:pt x="971" y="687"/>
                  </a:lnTo>
                  <a:lnTo>
                    <a:pt x="971" y="687"/>
                  </a:lnTo>
                  <a:lnTo>
                    <a:pt x="979" y="687"/>
                  </a:lnTo>
                  <a:lnTo>
                    <a:pt x="987" y="689"/>
                  </a:lnTo>
                  <a:lnTo>
                    <a:pt x="990" y="689"/>
                  </a:lnTo>
                  <a:lnTo>
                    <a:pt x="992" y="689"/>
                  </a:lnTo>
                  <a:lnTo>
                    <a:pt x="995" y="689"/>
                  </a:lnTo>
                  <a:lnTo>
                    <a:pt x="995" y="687"/>
                  </a:lnTo>
                  <a:lnTo>
                    <a:pt x="995" y="687"/>
                  </a:lnTo>
                  <a:lnTo>
                    <a:pt x="995" y="687"/>
                  </a:lnTo>
                  <a:lnTo>
                    <a:pt x="995" y="687"/>
                  </a:lnTo>
                  <a:lnTo>
                    <a:pt x="995" y="687"/>
                  </a:lnTo>
                  <a:lnTo>
                    <a:pt x="995" y="684"/>
                  </a:lnTo>
                  <a:lnTo>
                    <a:pt x="998" y="684"/>
                  </a:lnTo>
                  <a:lnTo>
                    <a:pt x="998" y="684"/>
                  </a:lnTo>
                  <a:lnTo>
                    <a:pt x="998" y="684"/>
                  </a:lnTo>
                  <a:lnTo>
                    <a:pt x="998" y="684"/>
                  </a:lnTo>
                  <a:lnTo>
                    <a:pt x="1000" y="684"/>
                  </a:lnTo>
                  <a:lnTo>
                    <a:pt x="1003" y="681"/>
                  </a:lnTo>
                  <a:lnTo>
                    <a:pt x="1003" y="681"/>
                  </a:lnTo>
                  <a:lnTo>
                    <a:pt x="1003" y="684"/>
                  </a:lnTo>
                  <a:lnTo>
                    <a:pt x="1000" y="684"/>
                  </a:lnTo>
                  <a:lnTo>
                    <a:pt x="1000" y="684"/>
                  </a:lnTo>
                  <a:lnTo>
                    <a:pt x="1000" y="684"/>
                  </a:lnTo>
                  <a:lnTo>
                    <a:pt x="1000" y="684"/>
                  </a:lnTo>
                  <a:lnTo>
                    <a:pt x="1000" y="687"/>
                  </a:lnTo>
                  <a:lnTo>
                    <a:pt x="1006" y="687"/>
                  </a:lnTo>
                  <a:lnTo>
                    <a:pt x="1006" y="689"/>
                  </a:lnTo>
                  <a:lnTo>
                    <a:pt x="1006" y="689"/>
                  </a:lnTo>
                  <a:lnTo>
                    <a:pt x="1006" y="689"/>
                  </a:lnTo>
                  <a:lnTo>
                    <a:pt x="1006" y="689"/>
                  </a:lnTo>
                  <a:lnTo>
                    <a:pt x="1000" y="692"/>
                  </a:lnTo>
                  <a:lnTo>
                    <a:pt x="1000" y="689"/>
                  </a:lnTo>
                  <a:lnTo>
                    <a:pt x="998" y="689"/>
                  </a:lnTo>
                  <a:lnTo>
                    <a:pt x="998" y="689"/>
                  </a:lnTo>
                  <a:lnTo>
                    <a:pt x="995" y="689"/>
                  </a:lnTo>
                  <a:lnTo>
                    <a:pt x="992" y="689"/>
                  </a:lnTo>
                  <a:lnTo>
                    <a:pt x="992" y="692"/>
                  </a:lnTo>
                  <a:lnTo>
                    <a:pt x="995" y="692"/>
                  </a:lnTo>
                  <a:lnTo>
                    <a:pt x="1006" y="695"/>
                  </a:lnTo>
                  <a:lnTo>
                    <a:pt x="1008" y="700"/>
                  </a:lnTo>
                  <a:lnTo>
                    <a:pt x="1008" y="700"/>
                  </a:lnTo>
                  <a:lnTo>
                    <a:pt x="1008" y="700"/>
                  </a:lnTo>
                  <a:lnTo>
                    <a:pt x="1006" y="700"/>
                  </a:lnTo>
                  <a:lnTo>
                    <a:pt x="1008" y="700"/>
                  </a:lnTo>
                  <a:lnTo>
                    <a:pt x="1008" y="703"/>
                  </a:lnTo>
                  <a:lnTo>
                    <a:pt x="1008" y="703"/>
                  </a:lnTo>
                  <a:lnTo>
                    <a:pt x="1006" y="705"/>
                  </a:lnTo>
                  <a:lnTo>
                    <a:pt x="1000" y="708"/>
                  </a:lnTo>
                  <a:lnTo>
                    <a:pt x="998" y="711"/>
                  </a:lnTo>
                  <a:lnTo>
                    <a:pt x="998" y="711"/>
                  </a:lnTo>
                  <a:lnTo>
                    <a:pt x="995" y="711"/>
                  </a:lnTo>
                  <a:lnTo>
                    <a:pt x="995" y="711"/>
                  </a:lnTo>
                  <a:lnTo>
                    <a:pt x="995" y="708"/>
                  </a:lnTo>
                  <a:lnTo>
                    <a:pt x="995" y="708"/>
                  </a:lnTo>
                  <a:lnTo>
                    <a:pt x="992" y="708"/>
                  </a:lnTo>
                  <a:lnTo>
                    <a:pt x="995" y="705"/>
                  </a:lnTo>
                  <a:lnTo>
                    <a:pt x="995" y="705"/>
                  </a:lnTo>
                  <a:lnTo>
                    <a:pt x="995" y="705"/>
                  </a:lnTo>
                  <a:lnTo>
                    <a:pt x="995" y="703"/>
                  </a:lnTo>
                  <a:lnTo>
                    <a:pt x="995" y="703"/>
                  </a:lnTo>
                  <a:lnTo>
                    <a:pt x="995" y="703"/>
                  </a:lnTo>
                  <a:lnTo>
                    <a:pt x="995" y="700"/>
                  </a:lnTo>
                  <a:lnTo>
                    <a:pt x="995" y="700"/>
                  </a:lnTo>
                  <a:lnTo>
                    <a:pt x="995" y="697"/>
                  </a:lnTo>
                  <a:lnTo>
                    <a:pt x="995" y="697"/>
                  </a:lnTo>
                  <a:lnTo>
                    <a:pt x="995" y="697"/>
                  </a:lnTo>
                  <a:lnTo>
                    <a:pt x="992" y="695"/>
                  </a:lnTo>
                  <a:lnTo>
                    <a:pt x="992" y="695"/>
                  </a:lnTo>
                  <a:lnTo>
                    <a:pt x="990" y="695"/>
                  </a:lnTo>
                  <a:lnTo>
                    <a:pt x="990" y="697"/>
                  </a:lnTo>
                  <a:lnTo>
                    <a:pt x="987" y="697"/>
                  </a:lnTo>
                  <a:lnTo>
                    <a:pt x="987" y="697"/>
                  </a:lnTo>
                  <a:lnTo>
                    <a:pt x="987" y="700"/>
                  </a:lnTo>
                  <a:lnTo>
                    <a:pt x="984" y="700"/>
                  </a:lnTo>
                  <a:lnTo>
                    <a:pt x="984" y="703"/>
                  </a:lnTo>
                  <a:lnTo>
                    <a:pt x="984" y="703"/>
                  </a:lnTo>
                  <a:lnTo>
                    <a:pt x="982" y="703"/>
                  </a:lnTo>
                  <a:lnTo>
                    <a:pt x="979" y="703"/>
                  </a:lnTo>
                  <a:lnTo>
                    <a:pt x="979" y="703"/>
                  </a:lnTo>
                  <a:lnTo>
                    <a:pt x="979" y="703"/>
                  </a:lnTo>
                  <a:lnTo>
                    <a:pt x="976" y="705"/>
                  </a:lnTo>
                  <a:lnTo>
                    <a:pt x="974" y="708"/>
                  </a:lnTo>
                  <a:lnTo>
                    <a:pt x="974" y="708"/>
                  </a:lnTo>
                  <a:lnTo>
                    <a:pt x="974" y="708"/>
                  </a:lnTo>
                  <a:lnTo>
                    <a:pt x="974" y="708"/>
                  </a:lnTo>
                  <a:lnTo>
                    <a:pt x="974" y="705"/>
                  </a:lnTo>
                  <a:lnTo>
                    <a:pt x="974" y="705"/>
                  </a:lnTo>
                  <a:lnTo>
                    <a:pt x="974" y="705"/>
                  </a:lnTo>
                  <a:lnTo>
                    <a:pt x="976" y="705"/>
                  </a:lnTo>
                  <a:lnTo>
                    <a:pt x="976" y="705"/>
                  </a:lnTo>
                  <a:lnTo>
                    <a:pt x="976" y="705"/>
                  </a:lnTo>
                  <a:lnTo>
                    <a:pt x="976" y="705"/>
                  </a:lnTo>
                  <a:lnTo>
                    <a:pt x="976" y="705"/>
                  </a:lnTo>
                  <a:lnTo>
                    <a:pt x="976" y="705"/>
                  </a:lnTo>
                  <a:lnTo>
                    <a:pt x="976" y="705"/>
                  </a:lnTo>
                  <a:lnTo>
                    <a:pt x="976" y="703"/>
                  </a:lnTo>
                  <a:lnTo>
                    <a:pt x="976" y="703"/>
                  </a:lnTo>
                  <a:lnTo>
                    <a:pt x="976" y="703"/>
                  </a:lnTo>
                  <a:lnTo>
                    <a:pt x="976" y="703"/>
                  </a:lnTo>
                  <a:lnTo>
                    <a:pt x="979" y="703"/>
                  </a:lnTo>
                  <a:lnTo>
                    <a:pt x="979" y="703"/>
                  </a:lnTo>
                  <a:lnTo>
                    <a:pt x="979" y="703"/>
                  </a:lnTo>
                  <a:lnTo>
                    <a:pt x="982" y="700"/>
                  </a:lnTo>
                  <a:lnTo>
                    <a:pt x="982" y="700"/>
                  </a:lnTo>
                  <a:lnTo>
                    <a:pt x="982" y="697"/>
                  </a:lnTo>
                  <a:lnTo>
                    <a:pt x="982" y="697"/>
                  </a:lnTo>
                  <a:lnTo>
                    <a:pt x="982" y="697"/>
                  </a:lnTo>
                  <a:lnTo>
                    <a:pt x="982" y="697"/>
                  </a:lnTo>
                  <a:lnTo>
                    <a:pt x="982" y="697"/>
                  </a:lnTo>
                  <a:lnTo>
                    <a:pt x="982" y="697"/>
                  </a:lnTo>
                  <a:lnTo>
                    <a:pt x="982" y="695"/>
                  </a:lnTo>
                  <a:lnTo>
                    <a:pt x="982" y="695"/>
                  </a:lnTo>
                  <a:lnTo>
                    <a:pt x="982" y="695"/>
                  </a:lnTo>
                  <a:lnTo>
                    <a:pt x="982" y="692"/>
                  </a:lnTo>
                  <a:lnTo>
                    <a:pt x="982" y="692"/>
                  </a:lnTo>
                  <a:lnTo>
                    <a:pt x="979" y="692"/>
                  </a:lnTo>
                  <a:lnTo>
                    <a:pt x="979" y="692"/>
                  </a:lnTo>
                  <a:lnTo>
                    <a:pt x="979" y="692"/>
                  </a:lnTo>
                  <a:lnTo>
                    <a:pt x="976" y="692"/>
                  </a:lnTo>
                  <a:lnTo>
                    <a:pt x="976" y="692"/>
                  </a:lnTo>
                  <a:lnTo>
                    <a:pt x="976" y="689"/>
                  </a:lnTo>
                  <a:lnTo>
                    <a:pt x="971" y="689"/>
                  </a:lnTo>
                  <a:lnTo>
                    <a:pt x="968" y="689"/>
                  </a:lnTo>
                  <a:lnTo>
                    <a:pt x="968" y="687"/>
                  </a:lnTo>
                  <a:lnTo>
                    <a:pt x="968" y="687"/>
                  </a:lnTo>
                  <a:lnTo>
                    <a:pt x="971" y="684"/>
                  </a:lnTo>
                  <a:lnTo>
                    <a:pt x="971" y="684"/>
                  </a:lnTo>
                  <a:lnTo>
                    <a:pt x="968" y="681"/>
                  </a:lnTo>
                  <a:lnTo>
                    <a:pt x="968" y="681"/>
                  </a:lnTo>
                  <a:lnTo>
                    <a:pt x="966" y="684"/>
                  </a:lnTo>
                  <a:lnTo>
                    <a:pt x="966" y="684"/>
                  </a:lnTo>
                  <a:lnTo>
                    <a:pt x="963" y="684"/>
                  </a:lnTo>
                  <a:lnTo>
                    <a:pt x="963" y="684"/>
                  </a:lnTo>
                  <a:lnTo>
                    <a:pt x="963" y="684"/>
                  </a:lnTo>
                  <a:lnTo>
                    <a:pt x="963" y="684"/>
                  </a:lnTo>
                  <a:lnTo>
                    <a:pt x="963" y="684"/>
                  </a:lnTo>
                  <a:lnTo>
                    <a:pt x="963" y="681"/>
                  </a:lnTo>
                  <a:lnTo>
                    <a:pt x="960" y="681"/>
                  </a:lnTo>
                  <a:lnTo>
                    <a:pt x="960" y="679"/>
                  </a:lnTo>
                  <a:lnTo>
                    <a:pt x="960" y="681"/>
                  </a:lnTo>
                  <a:lnTo>
                    <a:pt x="960" y="684"/>
                  </a:lnTo>
                  <a:lnTo>
                    <a:pt x="960" y="684"/>
                  </a:lnTo>
                  <a:lnTo>
                    <a:pt x="963" y="687"/>
                  </a:lnTo>
                  <a:lnTo>
                    <a:pt x="960" y="687"/>
                  </a:lnTo>
                  <a:lnTo>
                    <a:pt x="958" y="689"/>
                  </a:lnTo>
                  <a:lnTo>
                    <a:pt x="958" y="689"/>
                  </a:lnTo>
                  <a:lnTo>
                    <a:pt x="958" y="689"/>
                  </a:lnTo>
                  <a:lnTo>
                    <a:pt x="958" y="689"/>
                  </a:lnTo>
                  <a:lnTo>
                    <a:pt x="958" y="689"/>
                  </a:lnTo>
                  <a:lnTo>
                    <a:pt x="955" y="689"/>
                  </a:lnTo>
                  <a:lnTo>
                    <a:pt x="958" y="692"/>
                  </a:lnTo>
                  <a:lnTo>
                    <a:pt x="958" y="695"/>
                  </a:lnTo>
                  <a:lnTo>
                    <a:pt x="958" y="695"/>
                  </a:lnTo>
                  <a:lnTo>
                    <a:pt x="955" y="695"/>
                  </a:lnTo>
                  <a:lnTo>
                    <a:pt x="952" y="697"/>
                  </a:lnTo>
                  <a:lnTo>
                    <a:pt x="952" y="697"/>
                  </a:lnTo>
                  <a:lnTo>
                    <a:pt x="950" y="697"/>
                  </a:lnTo>
                  <a:lnTo>
                    <a:pt x="950" y="700"/>
                  </a:lnTo>
                  <a:lnTo>
                    <a:pt x="947" y="700"/>
                  </a:lnTo>
                  <a:lnTo>
                    <a:pt x="947" y="700"/>
                  </a:lnTo>
                  <a:lnTo>
                    <a:pt x="947" y="700"/>
                  </a:lnTo>
                  <a:lnTo>
                    <a:pt x="947" y="700"/>
                  </a:lnTo>
                  <a:lnTo>
                    <a:pt x="944" y="703"/>
                  </a:lnTo>
                  <a:lnTo>
                    <a:pt x="944" y="703"/>
                  </a:lnTo>
                  <a:lnTo>
                    <a:pt x="944" y="700"/>
                  </a:lnTo>
                  <a:lnTo>
                    <a:pt x="942" y="700"/>
                  </a:lnTo>
                  <a:lnTo>
                    <a:pt x="942" y="703"/>
                  </a:lnTo>
                  <a:lnTo>
                    <a:pt x="942" y="703"/>
                  </a:lnTo>
                  <a:lnTo>
                    <a:pt x="942" y="705"/>
                  </a:lnTo>
                  <a:lnTo>
                    <a:pt x="942" y="705"/>
                  </a:lnTo>
                  <a:lnTo>
                    <a:pt x="947" y="708"/>
                  </a:lnTo>
                  <a:lnTo>
                    <a:pt x="947" y="708"/>
                  </a:lnTo>
                  <a:lnTo>
                    <a:pt x="950" y="708"/>
                  </a:lnTo>
                  <a:lnTo>
                    <a:pt x="950" y="705"/>
                  </a:lnTo>
                  <a:lnTo>
                    <a:pt x="955" y="705"/>
                  </a:lnTo>
                  <a:lnTo>
                    <a:pt x="955" y="705"/>
                  </a:lnTo>
                  <a:lnTo>
                    <a:pt x="955" y="708"/>
                  </a:lnTo>
                  <a:lnTo>
                    <a:pt x="955" y="708"/>
                  </a:lnTo>
                  <a:lnTo>
                    <a:pt x="955" y="708"/>
                  </a:lnTo>
                  <a:lnTo>
                    <a:pt x="955" y="708"/>
                  </a:lnTo>
                  <a:lnTo>
                    <a:pt x="955" y="708"/>
                  </a:lnTo>
                  <a:lnTo>
                    <a:pt x="952" y="708"/>
                  </a:lnTo>
                  <a:lnTo>
                    <a:pt x="952" y="711"/>
                  </a:lnTo>
                  <a:lnTo>
                    <a:pt x="952" y="711"/>
                  </a:lnTo>
                  <a:lnTo>
                    <a:pt x="952" y="711"/>
                  </a:lnTo>
                  <a:lnTo>
                    <a:pt x="952" y="711"/>
                  </a:lnTo>
                  <a:lnTo>
                    <a:pt x="952" y="711"/>
                  </a:lnTo>
                  <a:lnTo>
                    <a:pt x="950" y="711"/>
                  </a:lnTo>
                  <a:lnTo>
                    <a:pt x="950" y="711"/>
                  </a:lnTo>
                  <a:lnTo>
                    <a:pt x="950" y="713"/>
                  </a:lnTo>
                  <a:lnTo>
                    <a:pt x="950" y="713"/>
                  </a:lnTo>
                  <a:lnTo>
                    <a:pt x="950" y="716"/>
                  </a:lnTo>
                  <a:lnTo>
                    <a:pt x="952" y="716"/>
                  </a:lnTo>
                  <a:lnTo>
                    <a:pt x="952" y="719"/>
                  </a:lnTo>
                  <a:lnTo>
                    <a:pt x="952" y="719"/>
                  </a:lnTo>
                  <a:lnTo>
                    <a:pt x="958" y="724"/>
                  </a:lnTo>
                  <a:lnTo>
                    <a:pt x="960" y="724"/>
                  </a:lnTo>
                  <a:lnTo>
                    <a:pt x="960" y="724"/>
                  </a:lnTo>
                  <a:lnTo>
                    <a:pt x="960" y="724"/>
                  </a:lnTo>
                  <a:lnTo>
                    <a:pt x="963" y="721"/>
                  </a:lnTo>
                  <a:lnTo>
                    <a:pt x="963" y="724"/>
                  </a:lnTo>
                  <a:lnTo>
                    <a:pt x="963" y="724"/>
                  </a:lnTo>
                  <a:lnTo>
                    <a:pt x="963" y="724"/>
                  </a:lnTo>
                  <a:lnTo>
                    <a:pt x="963" y="724"/>
                  </a:lnTo>
                  <a:lnTo>
                    <a:pt x="963" y="727"/>
                  </a:lnTo>
                  <a:lnTo>
                    <a:pt x="963" y="727"/>
                  </a:lnTo>
                  <a:lnTo>
                    <a:pt x="963" y="727"/>
                  </a:lnTo>
                  <a:lnTo>
                    <a:pt x="963" y="729"/>
                  </a:lnTo>
                  <a:lnTo>
                    <a:pt x="966" y="729"/>
                  </a:lnTo>
                  <a:lnTo>
                    <a:pt x="966" y="732"/>
                  </a:lnTo>
                  <a:lnTo>
                    <a:pt x="968" y="732"/>
                  </a:lnTo>
                  <a:lnTo>
                    <a:pt x="968" y="732"/>
                  </a:lnTo>
                  <a:lnTo>
                    <a:pt x="968" y="735"/>
                  </a:lnTo>
                  <a:lnTo>
                    <a:pt x="968" y="735"/>
                  </a:lnTo>
                  <a:lnTo>
                    <a:pt x="968" y="735"/>
                  </a:lnTo>
                  <a:lnTo>
                    <a:pt x="968" y="735"/>
                  </a:lnTo>
                  <a:lnTo>
                    <a:pt x="968" y="737"/>
                  </a:lnTo>
                  <a:lnTo>
                    <a:pt x="968" y="737"/>
                  </a:lnTo>
                  <a:lnTo>
                    <a:pt x="968" y="737"/>
                  </a:lnTo>
                  <a:lnTo>
                    <a:pt x="968" y="740"/>
                  </a:lnTo>
                  <a:lnTo>
                    <a:pt x="968" y="740"/>
                  </a:lnTo>
                  <a:lnTo>
                    <a:pt x="971" y="740"/>
                  </a:lnTo>
                  <a:lnTo>
                    <a:pt x="971" y="743"/>
                  </a:lnTo>
                  <a:lnTo>
                    <a:pt x="976" y="745"/>
                  </a:lnTo>
                  <a:lnTo>
                    <a:pt x="976" y="745"/>
                  </a:lnTo>
                  <a:lnTo>
                    <a:pt x="979" y="748"/>
                  </a:lnTo>
                  <a:lnTo>
                    <a:pt x="976" y="748"/>
                  </a:lnTo>
                  <a:lnTo>
                    <a:pt x="976" y="748"/>
                  </a:lnTo>
                  <a:lnTo>
                    <a:pt x="976" y="748"/>
                  </a:lnTo>
                  <a:lnTo>
                    <a:pt x="979" y="748"/>
                  </a:lnTo>
                  <a:lnTo>
                    <a:pt x="979" y="748"/>
                  </a:lnTo>
                  <a:lnTo>
                    <a:pt x="979" y="748"/>
                  </a:lnTo>
                  <a:lnTo>
                    <a:pt x="979" y="748"/>
                  </a:lnTo>
                  <a:lnTo>
                    <a:pt x="976" y="748"/>
                  </a:lnTo>
                  <a:lnTo>
                    <a:pt x="974" y="751"/>
                  </a:lnTo>
                  <a:lnTo>
                    <a:pt x="974" y="753"/>
                  </a:lnTo>
                  <a:lnTo>
                    <a:pt x="974" y="753"/>
                  </a:lnTo>
                  <a:lnTo>
                    <a:pt x="976" y="756"/>
                  </a:lnTo>
                  <a:lnTo>
                    <a:pt x="976" y="759"/>
                  </a:lnTo>
                  <a:lnTo>
                    <a:pt x="976" y="759"/>
                  </a:lnTo>
                  <a:lnTo>
                    <a:pt x="984" y="761"/>
                  </a:lnTo>
                  <a:lnTo>
                    <a:pt x="992" y="764"/>
                  </a:lnTo>
                  <a:lnTo>
                    <a:pt x="1003" y="761"/>
                  </a:lnTo>
                  <a:lnTo>
                    <a:pt x="1011" y="761"/>
                  </a:lnTo>
                  <a:lnTo>
                    <a:pt x="1022" y="756"/>
                  </a:lnTo>
                  <a:lnTo>
                    <a:pt x="1024" y="756"/>
                  </a:lnTo>
                  <a:lnTo>
                    <a:pt x="1024" y="753"/>
                  </a:lnTo>
                  <a:lnTo>
                    <a:pt x="1024" y="753"/>
                  </a:lnTo>
                  <a:lnTo>
                    <a:pt x="1027" y="756"/>
                  </a:lnTo>
                  <a:lnTo>
                    <a:pt x="1030" y="756"/>
                  </a:lnTo>
                  <a:lnTo>
                    <a:pt x="1032" y="756"/>
                  </a:lnTo>
                  <a:lnTo>
                    <a:pt x="1032" y="753"/>
                  </a:lnTo>
                  <a:lnTo>
                    <a:pt x="1032" y="753"/>
                  </a:lnTo>
                  <a:lnTo>
                    <a:pt x="1032" y="753"/>
                  </a:lnTo>
                  <a:lnTo>
                    <a:pt x="1032" y="751"/>
                  </a:lnTo>
                  <a:lnTo>
                    <a:pt x="1032" y="751"/>
                  </a:lnTo>
                  <a:lnTo>
                    <a:pt x="1032" y="748"/>
                  </a:lnTo>
                  <a:lnTo>
                    <a:pt x="1032" y="748"/>
                  </a:lnTo>
                  <a:lnTo>
                    <a:pt x="1032" y="748"/>
                  </a:lnTo>
                  <a:lnTo>
                    <a:pt x="1032" y="745"/>
                  </a:lnTo>
                  <a:lnTo>
                    <a:pt x="1035" y="745"/>
                  </a:lnTo>
                  <a:lnTo>
                    <a:pt x="1035" y="743"/>
                  </a:lnTo>
                  <a:lnTo>
                    <a:pt x="1035" y="743"/>
                  </a:lnTo>
                  <a:lnTo>
                    <a:pt x="1035" y="740"/>
                  </a:lnTo>
                  <a:lnTo>
                    <a:pt x="1032" y="737"/>
                  </a:lnTo>
                  <a:lnTo>
                    <a:pt x="1030" y="737"/>
                  </a:lnTo>
                  <a:lnTo>
                    <a:pt x="1027" y="735"/>
                  </a:lnTo>
                  <a:lnTo>
                    <a:pt x="1032" y="737"/>
                  </a:lnTo>
                  <a:lnTo>
                    <a:pt x="1032" y="737"/>
                  </a:lnTo>
                  <a:lnTo>
                    <a:pt x="1032" y="737"/>
                  </a:lnTo>
                  <a:lnTo>
                    <a:pt x="1032" y="735"/>
                  </a:lnTo>
                  <a:lnTo>
                    <a:pt x="1032" y="735"/>
                  </a:lnTo>
                  <a:lnTo>
                    <a:pt x="1032" y="735"/>
                  </a:lnTo>
                  <a:lnTo>
                    <a:pt x="1032" y="735"/>
                  </a:lnTo>
                  <a:lnTo>
                    <a:pt x="1032" y="735"/>
                  </a:lnTo>
                  <a:lnTo>
                    <a:pt x="1032" y="732"/>
                  </a:lnTo>
                  <a:lnTo>
                    <a:pt x="1032" y="732"/>
                  </a:lnTo>
                  <a:lnTo>
                    <a:pt x="1032" y="732"/>
                  </a:lnTo>
                  <a:lnTo>
                    <a:pt x="1032" y="732"/>
                  </a:lnTo>
                  <a:lnTo>
                    <a:pt x="1032" y="732"/>
                  </a:lnTo>
                  <a:lnTo>
                    <a:pt x="1032" y="732"/>
                  </a:lnTo>
                  <a:lnTo>
                    <a:pt x="1032" y="732"/>
                  </a:lnTo>
                  <a:lnTo>
                    <a:pt x="1032" y="732"/>
                  </a:lnTo>
                  <a:lnTo>
                    <a:pt x="1032" y="732"/>
                  </a:lnTo>
                  <a:lnTo>
                    <a:pt x="1032" y="732"/>
                  </a:lnTo>
                  <a:lnTo>
                    <a:pt x="1032" y="732"/>
                  </a:lnTo>
                  <a:lnTo>
                    <a:pt x="1032" y="732"/>
                  </a:lnTo>
                  <a:lnTo>
                    <a:pt x="1035" y="732"/>
                  </a:lnTo>
                  <a:lnTo>
                    <a:pt x="1035" y="732"/>
                  </a:lnTo>
                  <a:lnTo>
                    <a:pt x="1035" y="729"/>
                  </a:lnTo>
                  <a:lnTo>
                    <a:pt x="1035" y="729"/>
                  </a:lnTo>
                  <a:lnTo>
                    <a:pt x="1035" y="729"/>
                  </a:lnTo>
                  <a:lnTo>
                    <a:pt x="1038" y="729"/>
                  </a:lnTo>
                  <a:lnTo>
                    <a:pt x="1038" y="729"/>
                  </a:lnTo>
                  <a:lnTo>
                    <a:pt x="1038" y="729"/>
                  </a:lnTo>
                  <a:lnTo>
                    <a:pt x="1038" y="729"/>
                  </a:lnTo>
                  <a:lnTo>
                    <a:pt x="1038" y="729"/>
                  </a:lnTo>
                  <a:lnTo>
                    <a:pt x="1038" y="727"/>
                  </a:lnTo>
                  <a:lnTo>
                    <a:pt x="1038" y="727"/>
                  </a:lnTo>
                  <a:lnTo>
                    <a:pt x="1038" y="727"/>
                  </a:lnTo>
                  <a:lnTo>
                    <a:pt x="1038" y="727"/>
                  </a:lnTo>
                  <a:lnTo>
                    <a:pt x="1040" y="727"/>
                  </a:lnTo>
                  <a:lnTo>
                    <a:pt x="1040" y="727"/>
                  </a:lnTo>
                  <a:lnTo>
                    <a:pt x="1040" y="724"/>
                  </a:lnTo>
                  <a:lnTo>
                    <a:pt x="1040" y="724"/>
                  </a:lnTo>
                  <a:lnTo>
                    <a:pt x="1040" y="724"/>
                  </a:lnTo>
                  <a:lnTo>
                    <a:pt x="1040" y="724"/>
                  </a:lnTo>
                  <a:lnTo>
                    <a:pt x="1043" y="719"/>
                  </a:lnTo>
                  <a:lnTo>
                    <a:pt x="1043" y="719"/>
                  </a:lnTo>
                  <a:lnTo>
                    <a:pt x="1043" y="719"/>
                  </a:lnTo>
                  <a:lnTo>
                    <a:pt x="1043" y="716"/>
                  </a:lnTo>
                  <a:lnTo>
                    <a:pt x="1046" y="716"/>
                  </a:lnTo>
                  <a:lnTo>
                    <a:pt x="1046" y="713"/>
                  </a:lnTo>
                  <a:lnTo>
                    <a:pt x="1046" y="713"/>
                  </a:lnTo>
                  <a:lnTo>
                    <a:pt x="1046" y="713"/>
                  </a:lnTo>
                  <a:lnTo>
                    <a:pt x="1048" y="713"/>
                  </a:lnTo>
                  <a:lnTo>
                    <a:pt x="1051" y="713"/>
                  </a:lnTo>
                  <a:lnTo>
                    <a:pt x="1051" y="711"/>
                  </a:lnTo>
                  <a:lnTo>
                    <a:pt x="1051" y="711"/>
                  </a:lnTo>
                  <a:lnTo>
                    <a:pt x="1051" y="711"/>
                  </a:lnTo>
                  <a:lnTo>
                    <a:pt x="1051" y="708"/>
                  </a:lnTo>
                  <a:lnTo>
                    <a:pt x="1048" y="708"/>
                  </a:lnTo>
                  <a:lnTo>
                    <a:pt x="1051" y="708"/>
                  </a:lnTo>
                  <a:lnTo>
                    <a:pt x="1051" y="708"/>
                  </a:lnTo>
                  <a:lnTo>
                    <a:pt x="1051" y="711"/>
                  </a:lnTo>
                  <a:lnTo>
                    <a:pt x="1051" y="711"/>
                  </a:lnTo>
                  <a:lnTo>
                    <a:pt x="1051" y="711"/>
                  </a:lnTo>
                  <a:lnTo>
                    <a:pt x="1056" y="711"/>
                  </a:lnTo>
                  <a:lnTo>
                    <a:pt x="1056" y="708"/>
                  </a:lnTo>
                  <a:lnTo>
                    <a:pt x="1056" y="708"/>
                  </a:lnTo>
                  <a:lnTo>
                    <a:pt x="1059" y="711"/>
                  </a:lnTo>
                  <a:lnTo>
                    <a:pt x="1056" y="711"/>
                  </a:lnTo>
                  <a:lnTo>
                    <a:pt x="1056" y="711"/>
                  </a:lnTo>
                  <a:lnTo>
                    <a:pt x="1056" y="711"/>
                  </a:lnTo>
                  <a:lnTo>
                    <a:pt x="1056" y="711"/>
                  </a:lnTo>
                  <a:lnTo>
                    <a:pt x="1056" y="713"/>
                  </a:lnTo>
                  <a:lnTo>
                    <a:pt x="1051" y="713"/>
                  </a:lnTo>
                  <a:lnTo>
                    <a:pt x="1051" y="713"/>
                  </a:lnTo>
                  <a:lnTo>
                    <a:pt x="1051" y="713"/>
                  </a:lnTo>
                  <a:lnTo>
                    <a:pt x="1048" y="716"/>
                  </a:lnTo>
                  <a:lnTo>
                    <a:pt x="1046" y="716"/>
                  </a:lnTo>
                  <a:lnTo>
                    <a:pt x="1046" y="716"/>
                  </a:lnTo>
                  <a:lnTo>
                    <a:pt x="1046" y="716"/>
                  </a:lnTo>
                  <a:lnTo>
                    <a:pt x="1046" y="719"/>
                  </a:lnTo>
                  <a:lnTo>
                    <a:pt x="1046" y="719"/>
                  </a:lnTo>
                  <a:lnTo>
                    <a:pt x="1046" y="719"/>
                  </a:lnTo>
                  <a:lnTo>
                    <a:pt x="1046" y="719"/>
                  </a:lnTo>
                  <a:lnTo>
                    <a:pt x="1046" y="721"/>
                  </a:lnTo>
                  <a:lnTo>
                    <a:pt x="1046" y="721"/>
                  </a:lnTo>
                  <a:lnTo>
                    <a:pt x="1046" y="721"/>
                  </a:lnTo>
                  <a:lnTo>
                    <a:pt x="1043" y="724"/>
                  </a:lnTo>
                  <a:lnTo>
                    <a:pt x="1043" y="724"/>
                  </a:lnTo>
                  <a:lnTo>
                    <a:pt x="1043" y="724"/>
                  </a:lnTo>
                  <a:lnTo>
                    <a:pt x="1043" y="727"/>
                  </a:lnTo>
                  <a:lnTo>
                    <a:pt x="1040" y="729"/>
                  </a:lnTo>
                  <a:lnTo>
                    <a:pt x="1038" y="732"/>
                  </a:lnTo>
                  <a:lnTo>
                    <a:pt x="1038" y="732"/>
                  </a:lnTo>
                  <a:lnTo>
                    <a:pt x="1035" y="735"/>
                  </a:lnTo>
                  <a:lnTo>
                    <a:pt x="1035" y="735"/>
                  </a:lnTo>
                  <a:lnTo>
                    <a:pt x="1038" y="737"/>
                  </a:lnTo>
                  <a:lnTo>
                    <a:pt x="1038" y="737"/>
                  </a:lnTo>
                  <a:lnTo>
                    <a:pt x="1038" y="740"/>
                  </a:lnTo>
                  <a:lnTo>
                    <a:pt x="1040" y="740"/>
                  </a:lnTo>
                  <a:lnTo>
                    <a:pt x="1040" y="740"/>
                  </a:lnTo>
                  <a:lnTo>
                    <a:pt x="1040" y="740"/>
                  </a:lnTo>
                  <a:lnTo>
                    <a:pt x="1038" y="743"/>
                  </a:lnTo>
                  <a:lnTo>
                    <a:pt x="1038" y="743"/>
                  </a:lnTo>
                  <a:lnTo>
                    <a:pt x="1038" y="743"/>
                  </a:lnTo>
                  <a:lnTo>
                    <a:pt x="1038" y="743"/>
                  </a:lnTo>
                  <a:lnTo>
                    <a:pt x="1038" y="743"/>
                  </a:lnTo>
                  <a:lnTo>
                    <a:pt x="1038" y="743"/>
                  </a:lnTo>
                  <a:lnTo>
                    <a:pt x="1038" y="745"/>
                  </a:lnTo>
                  <a:lnTo>
                    <a:pt x="1038" y="745"/>
                  </a:lnTo>
                  <a:lnTo>
                    <a:pt x="1038" y="745"/>
                  </a:lnTo>
                  <a:lnTo>
                    <a:pt x="1040" y="745"/>
                  </a:lnTo>
                  <a:lnTo>
                    <a:pt x="1040" y="745"/>
                  </a:lnTo>
                  <a:lnTo>
                    <a:pt x="1040" y="745"/>
                  </a:lnTo>
                  <a:lnTo>
                    <a:pt x="1040" y="745"/>
                  </a:lnTo>
                  <a:lnTo>
                    <a:pt x="1040" y="745"/>
                  </a:lnTo>
                  <a:lnTo>
                    <a:pt x="1040" y="745"/>
                  </a:lnTo>
                  <a:lnTo>
                    <a:pt x="1040" y="745"/>
                  </a:lnTo>
                  <a:lnTo>
                    <a:pt x="1040" y="743"/>
                  </a:lnTo>
                  <a:lnTo>
                    <a:pt x="1040" y="743"/>
                  </a:lnTo>
                  <a:lnTo>
                    <a:pt x="1040" y="743"/>
                  </a:lnTo>
                  <a:lnTo>
                    <a:pt x="1040" y="743"/>
                  </a:lnTo>
                  <a:lnTo>
                    <a:pt x="1040" y="743"/>
                  </a:lnTo>
                  <a:lnTo>
                    <a:pt x="1040" y="743"/>
                  </a:lnTo>
                  <a:lnTo>
                    <a:pt x="1040" y="743"/>
                  </a:lnTo>
                  <a:lnTo>
                    <a:pt x="1040" y="740"/>
                  </a:lnTo>
                  <a:lnTo>
                    <a:pt x="1040" y="743"/>
                  </a:lnTo>
                  <a:lnTo>
                    <a:pt x="1040" y="740"/>
                  </a:lnTo>
                  <a:lnTo>
                    <a:pt x="1040" y="740"/>
                  </a:lnTo>
                  <a:lnTo>
                    <a:pt x="1040" y="740"/>
                  </a:lnTo>
                  <a:lnTo>
                    <a:pt x="1040" y="740"/>
                  </a:lnTo>
                  <a:lnTo>
                    <a:pt x="1040" y="740"/>
                  </a:lnTo>
                  <a:lnTo>
                    <a:pt x="1040" y="740"/>
                  </a:lnTo>
                  <a:lnTo>
                    <a:pt x="1043" y="740"/>
                  </a:lnTo>
                  <a:lnTo>
                    <a:pt x="1040" y="740"/>
                  </a:lnTo>
                  <a:lnTo>
                    <a:pt x="1043" y="740"/>
                  </a:lnTo>
                  <a:lnTo>
                    <a:pt x="1043" y="740"/>
                  </a:lnTo>
                  <a:lnTo>
                    <a:pt x="1046" y="740"/>
                  </a:lnTo>
                  <a:lnTo>
                    <a:pt x="1043" y="740"/>
                  </a:lnTo>
                  <a:lnTo>
                    <a:pt x="1043" y="740"/>
                  </a:lnTo>
                  <a:lnTo>
                    <a:pt x="1043" y="740"/>
                  </a:lnTo>
                  <a:lnTo>
                    <a:pt x="1043" y="740"/>
                  </a:lnTo>
                  <a:lnTo>
                    <a:pt x="1046" y="740"/>
                  </a:lnTo>
                  <a:lnTo>
                    <a:pt x="1046" y="740"/>
                  </a:lnTo>
                  <a:lnTo>
                    <a:pt x="1046" y="740"/>
                  </a:lnTo>
                  <a:lnTo>
                    <a:pt x="1046" y="740"/>
                  </a:lnTo>
                  <a:lnTo>
                    <a:pt x="1046" y="740"/>
                  </a:lnTo>
                  <a:lnTo>
                    <a:pt x="1046" y="740"/>
                  </a:lnTo>
                  <a:lnTo>
                    <a:pt x="1046" y="743"/>
                  </a:lnTo>
                  <a:lnTo>
                    <a:pt x="1043" y="743"/>
                  </a:lnTo>
                  <a:lnTo>
                    <a:pt x="1043" y="743"/>
                  </a:lnTo>
                  <a:lnTo>
                    <a:pt x="1043" y="743"/>
                  </a:lnTo>
                  <a:lnTo>
                    <a:pt x="1043" y="745"/>
                  </a:lnTo>
                  <a:lnTo>
                    <a:pt x="1043" y="745"/>
                  </a:lnTo>
                  <a:lnTo>
                    <a:pt x="1043" y="745"/>
                  </a:lnTo>
                  <a:lnTo>
                    <a:pt x="1043" y="745"/>
                  </a:lnTo>
                  <a:lnTo>
                    <a:pt x="1043" y="748"/>
                  </a:lnTo>
                  <a:lnTo>
                    <a:pt x="1043" y="748"/>
                  </a:lnTo>
                  <a:lnTo>
                    <a:pt x="1043" y="748"/>
                  </a:lnTo>
                  <a:lnTo>
                    <a:pt x="1043" y="748"/>
                  </a:lnTo>
                  <a:lnTo>
                    <a:pt x="1040" y="751"/>
                  </a:lnTo>
                  <a:lnTo>
                    <a:pt x="1040" y="751"/>
                  </a:lnTo>
                  <a:lnTo>
                    <a:pt x="1043" y="753"/>
                  </a:lnTo>
                  <a:lnTo>
                    <a:pt x="1043" y="756"/>
                  </a:lnTo>
                  <a:lnTo>
                    <a:pt x="1043" y="756"/>
                  </a:lnTo>
                  <a:lnTo>
                    <a:pt x="1043" y="759"/>
                  </a:lnTo>
                  <a:lnTo>
                    <a:pt x="1046" y="759"/>
                  </a:lnTo>
                  <a:lnTo>
                    <a:pt x="1046" y="759"/>
                  </a:lnTo>
                  <a:lnTo>
                    <a:pt x="1046" y="761"/>
                  </a:lnTo>
                  <a:lnTo>
                    <a:pt x="1046" y="764"/>
                  </a:lnTo>
                  <a:lnTo>
                    <a:pt x="1046" y="764"/>
                  </a:lnTo>
                  <a:lnTo>
                    <a:pt x="1048" y="769"/>
                  </a:lnTo>
                  <a:lnTo>
                    <a:pt x="1048" y="777"/>
                  </a:lnTo>
                  <a:lnTo>
                    <a:pt x="1051" y="777"/>
                  </a:lnTo>
                  <a:lnTo>
                    <a:pt x="1051" y="777"/>
                  </a:lnTo>
                  <a:lnTo>
                    <a:pt x="1051" y="777"/>
                  </a:lnTo>
                  <a:lnTo>
                    <a:pt x="1051" y="780"/>
                  </a:lnTo>
                  <a:lnTo>
                    <a:pt x="1051" y="780"/>
                  </a:lnTo>
                  <a:lnTo>
                    <a:pt x="1051" y="780"/>
                  </a:lnTo>
                  <a:lnTo>
                    <a:pt x="1051" y="783"/>
                  </a:lnTo>
                  <a:lnTo>
                    <a:pt x="1054" y="791"/>
                  </a:lnTo>
                  <a:lnTo>
                    <a:pt x="1054" y="791"/>
                  </a:lnTo>
                  <a:lnTo>
                    <a:pt x="1054" y="793"/>
                  </a:lnTo>
                  <a:lnTo>
                    <a:pt x="1054" y="793"/>
                  </a:lnTo>
                  <a:lnTo>
                    <a:pt x="1054" y="793"/>
                  </a:lnTo>
                  <a:lnTo>
                    <a:pt x="1054" y="793"/>
                  </a:lnTo>
                  <a:lnTo>
                    <a:pt x="1051" y="793"/>
                  </a:lnTo>
                  <a:lnTo>
                    <a:pt x="1051" y="793"/>
                  </a:lnTo>
                  <a:lnTo>
                    <a:pt x="1051" y="796"/>
                  </a:lnTo>
                  <a:lnTo>
                    <a:pt x="1048" y="796"/>
                  </a:lnTo>
                  <a:lnTo>
                    <a:pt x="1048" y="796"/>
                  </a:lnTo>
                  <a:lnTo>
                    <a:pt x="1048" y="796"/>
                  </a:lnTo>
                  <a:lnTo>
                    <a:pt x="1048" y="796"/>
                  </a:lnTo>
                  <a:lnTo>
                    <a:pt x="1048" y="799"/>
                  </a:lnTo>
                  <a:lnTo>
                    <a:pt x="1046" y="799"/>
                  </a:lnTo>
                  <a:lnTo>
                    <a:pt x="1046" y="799"/>
                  </a:lnTo>
                  <a:lnTo>
                    <a:pt x="1046" y="799"/>
                  </a:lnTo>
                  <a:lnTo>
                    <a:pt x="1046" y="801"/>
                  </a:lnTo>
                  <a:lnTo>
                    <a:pt x="1046" y="801"/>
                  </a:lnTo>
                  <a:lnTo>
                    <a:pt x="1046" y="801"/>
                  </a:lnTo>
                  <a:lnTo>
                    <a:pt x="1046" y="804"/>
                  </a:lnTo>
                  <a:lnTo>
                    <a:pt x="1043" y="804"/>
                  </a:lnTo>
                  <a:lnTo>
                    <a:pt x="1043" y="807"/>
                  </a:lnTo>
                  <a:lnTo>
                    <a:pt x="1043" y="807"/>
                  </a:lnTo>
                  <a:lnTo>
                    <a:pt x="1043" y="809"/>
                  </a:lnTo>
                  <a:lnTo>
                    <a:pt x="1040" y="807"/>
                  </a:lnTo>
                  <a:lnTo>
                    <a:pt x="1040" y="807"/>
                  </a:lnTo>
                  <a:lnTo>
                    <a:pt x="1043" y="804"/>
                  </a:lnTo>
                  <a:lnTo>
                    <a:pt x="1043" y="804"/>
                  </a:lnTo>
                  <a:lnTo>
                    <a:pt x="1043" y="804"/>
                  </a:lnTo>
                  <a:lnTo>
                    <a:pt x="1043" y="804"/>
                  </a:lnTo>
                  <a:lnTo>
                    <a:pt x="1040" y="807"/>
                  </a:lnTo>
                  <a:lnTo>
                    <a:pt x="1040" y="807"/>
                  </a:lnTo>
                  <a:lnTo>
                    <a:pt x="1040" y="809"/>
                  </a:lnTo>
                  <a:lnTo>
                    <a:pt x="1043" y="815"/>
                  </a:lnTo>
                  <a:lnTo>
                    <a:pt x="1043" y="817"/>
                  </a:lnTo>
                  <a:lnTo>
                    <a:pt x="1046" y="820"/>
                  </a:lnTo>
                  <a:lnTo>
                    <a:pt x="1046" y="820"/>
                  </a:lnTo>
                  <a:lnTo>
                    <a:pt x="1046" y="820"/>
                  </a:lnTo>
                  <a:lnTo>
                    <a:pt x="1046" y="820"/>
                  </a:lnTo>
                  <a:lnTo>
                    <a:pt x="1046" y="817"/>
                  </a:lnTo>
                  <a:lnTo>
                    <a:pt x="1046" y="817"/>
                  </a:lnTo>
                  <a:lnTo>
                    <a:pt x="1048" y="817"/>
                  </a:lnTo>
                  <a:lnTo>
                    <a:pt x="1051" y="817"/>
                  </a:lnTo>
                  <a:lnTo>
                    <a:pt x="1054" y="817"/>
                  </a:lnTo>
                  <a:lnTo>
                    <a:pt x="1054" y="817"/>
                  </a:lnTo>
                  <a:lnTo>
                    <a:pt x="1054" y="817"/>
                  </a:lnTo>
                  <a:lnTo>
                    <a:pt x="1054" y="817"/>
                  </a:lnTo>
                  <a:lnTo>
                    <a:pt x="1054" y="817"/>
                  </a:lnTo>
                  <a:lnTo>
                    <a:pt x="1054" y="817"/>
                  </a:lnTo>
                  <a:lnTo>
                    <a:pt x="1056" y="817"/>
                  </a:lnTo>
                  <a:lnTo>
                    <a:pt x="1056" y="817"/>
                  </a:lnTo>
                  <a:lnTo>
                    <a:pt x="1056" y="817"/>
                  </a:lnTo>
                  <a:lnTo>
                    <a:pt x="1056" y="817"/>
                  </a:lnTo>
                  <a:lnTo>
                    <a:pt x="1056" y="820"/>
                  </a:lnTo>
                  <a:lnTo>
                    <a:pt x="1056" y="820"/>
                  </a:lnTo>
                  <a:lnTo>
                    <a:pt x="1056" y="820"/>
                  </a:lnTo>
                  <a:lnTo>
                    <a:pt x="1056" y="820"/>
                  </a:lnTo>
                  <a:lnTo>
                    <a:pt x="1056" y="820"/>
                  </a:lnTo>
                  <a:lnTo>
                    <a:pt x="1054" y="820"/>
                  </a:lnTo>
                  <a:lnTo>
                    <a:pt x="1054" y="820"/>
                  </a:lnTo>
                  <a:lnTo>
                    <a:pt x="1051" y="823"/>
                  </a:lnTo>
                  <a:lnTo>
                    <a:pt x="1051" y="823"/>
                  </a:lnTo>
                  <a:lnTo>
                    <a:pt x="1051" y="823"/>
                  </a:lnTo>
                  <a:lnTo>
                    <a:pt x="1048" y="823"/>
                  </a:lnTo>
                  <a:lnTo>
                    <a:pt x="1048" y="823"/>
                  </a:lnTo>
                  <a:lnTo>
                    <a:pt x="1048" y="823"/>
                  </a:lnTo>
                  <a:lnTo>
                    <a:pt x="1048" y="823"/>
                  </a:lnTo>
                  <a:lnTo>
                    <a:pt x="1048" y="823"/>
                  </a:lnTo>
                  <a:lnTo>
                    <a:pt x="1048" y="823"/>
                  </a:lnTo>
                  <a:lnTo>
                    <a:pt x="1048" y="823"/>
                  </a:lnTo>
                  <a:lnTo>
                    <a:pt x="1048" y="823"/>
                  </a:lnTo>
                  <a:lnTo>
                    <a:pt x="1048" y="823"/>
                  </a:lnTo>
                  <a:lnTo>
                    <a:pt x="1048" y="823"/>
                  </a:lnTo>
                  <a:lnTo>
                    <a:pt x="1046" y="823"/>
                  </a:lnTo>
                  <a:lnTo>
                    <a:pt x="1046" y="823"/>
                  </a:lnTo>
                  <a:lnTo>
                    <a:pt x="1046" y="823"/>
                  </a:lnTo>
                  <a:lnTo>
                    <a:pt x="1046" y="823"/>
                  </a:lnTo>
                  <a:lnTo>
                    <a:pt x="1046" y="823"/>
                  </a:lnTo>
                  <a:lnTo>
                    <a:pt x="1046" y="823"/>
                  </a:lnTo>
                  <a:lnTo>
                    <a:pt x="1046" y="825"/>
                  </a:lnTo>
                  <a:lnTo>
                    <a:pt x="1046" y="825"/>
                  </a:lnTo>
                  <a:lnTo>
                    <a:pt x="1048" y="825"/>
                  </a:lnTo>
                  <a:lnTo>
                    <a:pt x="1048" y="825"/>
                  </a:lnTo>
                  <a:lnTo>
                    <a:pt x="1048" y="828"/>
                  </a:lnTo>
                  <a:lnTo>
                    <a:pt x="1048" y="828"/>
                  </a:lnTo>
                  <a:lnTo>
                    <a:pt x="1046" y="833"/>
                  </a:lnTo>
                  <a:lnTo>
                    <a:pt x="1046" y="833"/>
                  </a:lnTo>
                  <a:lnTo>
                    <a:pt x="1048" y="836"/>
                  </a:lnTo>
                  <a:lnTo>
                    <a:pt x="1048" y="836"/>
                  </a:lnTo>
                  <a:lnTo>
                    <a:pt x="1048" y="836"/>
                  </a:lnTo>
                  <a:lnTo>
                    <a:pt x="1048" y="836"/>
                  </a:lnTo>
                  <a:lnTo>
                    <a:pt x="1048" y="839"/>
                  </a:lnTo>
                  <a:lnTo>
                    <a:pt x="1048" y="839"/>
                  </a:lnTo>
                  <a:lnTo>
                    <a:pt x="1046" y="839"/>
                  </a:lnTo>
                  <a:lnTo>
                    <a:pt x="1048" y="839"/>
                  </a:lnTo>
                  <a:lnTo>
                    <a:pt x="1048" y="839"/>
                  </a:lnTo>
                  <a:lnTo>
                    <a:pt x="1048" y="836"/>
                  </a:lnTo>
                  <a:lnTo>
                    <a:pt x="1051" y="836"/>
                  </a:lnTo>
                  <a:lnTo>
                    <a:pt x="1051" y="839"/>
                  </a:lnTo>
                  <a:lnTo>
                    <a:pt x="1048" y="841"/>
                  </a:lnTo>
                  <a:lnTo>
                    <a:pt x="1048" y="841"/>
                  </a:lnTo>
                  <a:lnTo>
                    <a:pt x="1048" y="841"/>
                  </a:lnTo>
                  <a:lnTo>
                    <a:pt x="1046" y="841"/>
                  </a:lnTo>
                  <a:lnTo>
                    <a:pt x="1046" y="841"/>
                  </a:lnTo>
                  <a:lnTo>
                    <a:pt x="1046" y="841"/>
                  </a:lnTo>
                  <a:lnTo>
                    <a:pt x="1046" y="844"/>
                  </a:lnTo>
                  <a:lnTo>
                    <a:pt x="1043" y="844"/>
                  </a:lnTo>
                  <a:lnTo>
                    <a:pt x="1043" y="844"/>
                  </a:lnTo>
                  <a:lnTo>
                    <a:pt x="1043" y="847"/>
                  </a:lnTo>
                  <a:lnTo>
                    <a:pt x="1043" y="847"/>
                  </a:lnTo>
                  <a:lnTo>
                    <a:pt x="1043" y="849"/>
                  </a:lnTo>
                  <a:lnTo>
                    <a:pt x="1040" y="849"/>
                  </a:lnTo>
                  <a:lnTo>
                    <a:pt x="1040" y="849"/>
                  </a:lnTo>
                  <a:lnTo>
                    <a:pt x="1040" y="847"/>
                  </a:lnTo>
                  <a:lnTo>
                    <a:pt x="1040" y="847"/>
                  </a:lnTo>
                  <a:lnTo>
                    <a:pt x="1040" y="847"/>
                  </a:lnTo>
                  <a:lnTo>
                    <a:pt x="1040" y="847"/>
                  </a:lnTo>
                  <a:lnTo>
                    <a:pt x="1040" y="847"/>
                  </a:lnTo>
                  <a:lnTo>
                    <a:pt x="1040" y="847"/>
                  </a:lnTo>
                  <a:lnTo>
                    <a:pt x="1040" y="847"/>
                  </a:lnTo>
                  <a:lnTo>
                    <a:pt x="1040" y="847"/>
                  </a:lnTo>
                  <a:lnTo>
                    <a:pt x="1038" y="847"/>
                  </a:lnTo>
                  <a:lnTo>
                    <a:pt x="1038" y="847"/>
                  </a:lnTo>
                  <a:lnTo>
                    <a:pt x="1038" y="847"/>
                  </a:lnTo>
                  <a:lnTo>
                    <a:pt x="1035" y="847"/>
                  </a:lnTo>
                  <a:lnTo>
                    <a:pt x="1035" y="847"/>
                  </a:lnTo>
                  <a:lnTo>
                    <a:pt x="1032" y="847"/>
                  </a:lnTo>
                  <a:lnTo>
                    <a:pt x="1032" y="849"/>
                  </a:lnTo>
                  <a:lnTo>
                    <a:pt x="1035" y="849"/>
                  </a:lnTo>
                  <a:lnTo>
                    <a:pt x="1043" y="849"/>
                  </a:lnTo>
                  <a:lnTo>
                    <a:pt x="1046" y="849"/>
                  </a:lnTo>
                  <a:lnTo>
                    <a:pt x="1046" y="852"/>
                  </a:lnTo>
                  <a:lnTo>
                    <a:pt x="1046" y="852"/>
                  </a:lnTo>
                  <a:lnTo>
                    <a:pt x="1046" y="852"/>
                  </a:lnTo>
                  <a:lnTo>
                    <a:pt x="1046" y="849"/>
                  </a:lnTo>
                  <a:lnTo>
                    <a:pt x="1046" y="849"/>
                  </a:lnTo>
                  <a:lnTo>
                    <a:pt x="1046" y="849"/>
                  </a:lnTo>
                  <a:lnTo>
                    <a:pt x="1046" y="849"/>
                  </a:lnTo>
                  <a:lnTo>
                    <a:pt x="1046" y="849"/>
                  </a:lnTo>
                  <a:lnTo>
                    <a:pt x="1048" y="849"/>
                  </a:lnTo>
                  <a:lnTo>
                    <a:pt x="1048" y="852"/>
                  </a:lnTo>
                  <a:lnTo>
                    <a:pt x="1048" y="852"/>
                  </a:lnTo>
                  <a:lnTo>
                    <a:pt x="1046" y="855"/>
                  </a:lnTo>
                  <a:lnTo>
                    <a:pt x="1046" y="855"/>
                  </a:lnTo>
                  <a:lnTo>
                    <a:pt x="1046" y="855"/>
                  </a:lnTo>
                  <a:lnTo>
                    <a:pt x="1048" y="855"/>
                  </a:lnTo>
                  <a:lnTo>
                    <a:pt x="1048" y="855"/>
                  </a:lnTo>
                  <a:lnTo>
                    <a:pt x="1048" y="855"/>
                  </a:lnTo>
                  <a:lnTo>
                    <a:pt x="1048" y="855"/>
                  </a:lnTo>
                  <a:lnTo>
                    <a:pt x="1048" y="852"/>
                  </a:lnTo>
                  <a:lnTo>
                    <a:pt x="1051" y="852"/>
                  </a:lnTo>
                  <a:lnTo>
                    <a:pt x="1051" y="852"/>
                  </a:lnTo>
                  <a:lnTo>
                    <a:pt x="1051" y="852"/>
                  </a:lnTo>
                  <a:lnTo>
                    <a:pt x="1051" y="852"/>
                  </a:lnTo>
                  <a:lnTo>
                    <a:pt x="1054" y="852"/>
                  </a:lnTo>
                  <a:lnTo>
                    <a:pt x="1054" y="852"/>
                  </a:lnTo>
                  <a:lnTo>
                    <a:pt x="1054" y="852"/>
                  </a:lnTo>
                  <a:lnTo>
                    <a:pt x="1054" y="849"/>
                  </a:lnTo>
                  <a:lnTo>
                    <a:pt x="1059" y="849"/>
                  </a:lnTo>
                  <a:lnTo>
                    <a:pt x="1062" y="849"/>
                  </a:lnTo>
                  <a:lnTo>
                    <a:pt x="1062" y="849"/>
                  </a:lnTo>
                  <a:lnTo>
                    <a:pt x="1062" y="849"/>
                  </a:lnTo>
                  <a:lnTo>
                    <a:pt x="1059" y="849"/>
                  </a:lnTo>
                  <a:lnTo>
                    <a:pt x="1059" y="849"/>
                  </a:lnTo>
                  <a:lnTo>
                    <a:pt x="1059" y="847"/>
                  </a:lnTo>
                  <a:lnTo>
                    <a:pt x="1059" y="847"/>
                  </a:lnTo>
                  <a:lnTo>
                    <a:pt x="1062" y="847"/>
                  </a:lnTo>
                  <a:lnTo>
                    <a:pt x="1062" y="844"/>
                  </a:lnTo>
                  <a:lnTo>
                    <a:pt x="1064" y="841"/>
                  </a:lnTo>
                  <a:lnTo>
                    <a:pt x="1064" y="841"/>
                  </a:lnTo>
                  <a:lnTo>
                    <a:pt x="1067" y="841"/>
                  </a:lnTo>
                  <a:lnTo>
                    <a:pt x="1064" y="841"/>
                  </a:lnTo>
                  <a:lnTo>
                    <a:pt x="1062" y="841"/>
                  </a:lnTo>
                  <a:lnTo>
                    <a:pt x="1062" y="841"/>
                  </a:lnTo>
                  <a:lnTo>
                    <a:pt x="1064" y="841"/>
                  </a:lnTo>
                  <a:lnTo>
                    <a:pt x="1064" y="839"/>
                  </a:lnTo>
                  <a:lnTo>
                    <a:pt x="1064" y="839"/>
                  </a:lnTo>
                  <a:lnTo>
                    <a:pt x="1064" y="839"/>
                  </a:lnTo>
                  <a:lnTo>
                    <a:pt x="1064" y="839"/>
                  </a:lnTo>
                  <a:lnTo>
                    <a:pt x="1064" y="839"/>
                  </a:lnTo>
                  <a:lnTo>
                    <a:pt x="1064" y="841"/>
                  </a:lnTo>
                  <a:lnTo>
                    <a:pt x="1064" y="841"/>
                  </a:lnTo>
                  <a:lnTo>
                    <a:pt x="1067" y="841"/>
                  </a:lnTo>
                  <a:lnTo>
                    <a:pt x="1067" y="841"/>
                  </a:lnTo>
                  <a:lnTo>
                    <a:pt x="1067" y="841"/>
                  </a:lnTo>
                  <a:lnTo>
                    <a:pt x="1070" y="841"/>
                  </a:lnTo>
                  <a:lnTo>
                    <a:pt x="1072" y="839"/>
                  </a:lnTo>
                  <a:lnTo>
                    <a:pt x="1072" y="839"/>
                  </a:lnTo>
                  <a:lnTo>
                    <a:pt x="1075" y="839"/>
                  </a:lnTo>
                  <a:lnTo>
                    <a:pt x="1075" y="836"/>
                  </a:lnTo>
                  <a:lnTo>
                    <a:pt x="1075" y="836"/>
                  </a:lnTo>
                  <a:lnTo>
                    <a:pt x="1078" y="836"/>
                  </a:lnTo>
                  <a:lnTo>
                    <a:pt x="1078" y="836"/>
                  </a:lnTo>
                  <a:lnTo>
                    <a:pt x="1080" y="836"/>
                  </a:lnTo>
                  <a:lnTo>
                    <a:pt x="1080" y="839"/>
                  </a:lnTo>
                  <a:lnTo>
                    <a:pt x="1080" y="839"/>
                  </a:lnTo>
                  <a:lnTo>
                    <a:pt x="1080" y="839"/>
                  </a:lnTo>
                  <a:lnTo>
                    <a:pt x="1080" y="841"/>
                  </a:lnTo>
                  <a:lnTo>
                    <a:pt x="1083" y="836"/>
                  </a:lnTo>
                  <a:lnTo>
                    <a:pt x="1086" y="833"/>
                  </a:lnTo>
                  <a:lnTo>
                    <a:pt x="1096" y="825"/>
                  </a:lnTo>
                  <a:lnTo>
                    <a:pt x="1096" y="825"/>
                  </a:lnTo>
                  <a:lnTo>
                    <a:pt x="1099" y="825"/>
                  </a:lnTo>
                  <a:lnTo>
                    <a:pt x="1099" y="825"/>
                  </a:lnTo>
                  <a:lnTo>
                    <a:pt x="1099" y="828"/>
                  </a:lnTo>
                  <a:lnTo>
                    <a:pt x="1099" y="828"/>
                  </a:lnTo>
                  <a:lnTo>
                    <a:pt x="1099" y="828"/>
                  </a:lnTo>
                  <a:lnTo>
                    <a:pt x="1099" y="828"/>
                  </a:lnTo>
                  <a:lnTo>
                    <a:pt x="1099" y="828"/>
                  </a:lnTo>
                  <a:lnTo>
                    <a:pt x="1099" y="828"/>
                  </a:lnTo>
                  <a:lnTo>
                    <a:pt x="1099" y="831"/>
                  </a:lnTo>
                  <a:lnTo>
                    <a:pt x="1102" y="831"/>
                  </a:lnTo>
                  <a:lnTo>
                    <a:pt x="1102" y="831"/>
                  </a:lnTo>
                  <a:lnTo>
                    <a:pt x="1102" y="831"/>
                  </a:lnTo>
                  <a:lnTo>
                    <a:pt x="1102" y="831"/>
                  </a:lnTo>
                  <a:lnTo>
                    <a:pt x="1102" y="831"/>
                  </a:lnTo>
                  <a:lnTo>
                    <a:pt x="1102" y="831"/>
                  </a:lnTo>
                  <a:lnTo>
                    <a:pt x="1099" y="831"/>
                  </a:lnTo>
                  <a:lnTo>
                    <a:pt x="1099" y="831"/>
                  </a:lnTo>
                  <a:lnTo>
                    <a:pt x="1099" y="833"/>
                  </a:lnTo>
                  <a:lnTo>
                    <a:pt x="1099" y="833"/>
                  </a:lnTo>
                  <a:lnTo>
                    <a:pt x="1099" y="833"/>
                  </a:lnTo>
                  <a:lnTo>
                    <a:pt x="1099" y="833"/>
                  </a:lnTo>
                  <a:lnTo>
                    <a:pt x="1099" y="833"/>
                  </a:lnTo>
                  <a:lnTo>
                    <a:pt x="1099" y="833"/>
                  </a:lnTo>
                  <a:lnTo>
                    <a:pt x="1102" y="833"/>
                  </a:lnTo>
                  <a:lnTo>
                    <a:pt x="1102" y="836"/>
                  </a:lnTo>
                  <a:lnTo>
                    <a:pt x="1102" y="836"/>
                  </a:lnTo>
                  <a:lnTo>
                    <a:pt x="1102" y="836"/>
                  </a:lnTo>
                  <a:lnTo>
                    <a:pt x="1102" y="836"/>
                  </a:lnTo>
                  <a:lnTo>
                    <a:pt x="1104" y="836"/>
                  </a:lnTo>
                  <a:lnTo>
                    <a:pt x="1104" y="839"/>
                  </a:lnTo>
                  <a:lnTo>
                    <a:pt x="1104" y="839"/>
                  </a:lnTo>
                  <a:lnTo>
                    <a:pt x="1104" y="839"/>
                  </a:lnTo>
                  <a:lnTo>
                    <a:pt x="1104" y="841"/>
                  </a:lnTo>
                  <a:lnTo>
                    <a:pt x="1104" y="841"/>
                  </a:lnTo>
                  <a:lnTo>
                    <a:pt x="1104" y="841"/>
                  </a:lnTo>
                  <a:lnTo>
                    <a:pt x="1104" y="839"/>
                  </a:lnTo>
                  <a:lnTo>
                    <a:pt x="1104" y="839"/>
                  </a:lnTo>
                  <a:lnTo>
                    <a:pt x="1107" y="839"/>
                  </a:lnTo>
                  <a:lnTo>
                    <a:pt x="1107" y="839"/>
                  </a:lnTo>
                  <a:lnTo>
                    <a:pt x="1107" y="839"/>
                  </a:lnTo>
                  <a:lnTo>
                    <a:pt x="1107" y="839"/>
                  </a:lnTo>
                  <a:lnTo>
                    <a:pt x="1110" y="839"/>
                  </a:lnTo>
                  <a:lnTo>
                    <a:pt x="1110" y="841"/>
                  </a:lnTo>
                  <a:lnTo>
                    <a:pt x="1110" y="841"/>
                  </a:lnTo>
                  <a:lnTo>
                    <a:pt x="1110" y="841"/>
                  </a:lnTo>
                  <a:lnTo>
                    <a:pt x="1110" y="841"/>
                  </a:lnTo>
                  <a:lnTo>
                    <a:pt x="1110" y="844"/>
                  </a:lnTo>
                  <a:lnTo>
                    <a:pt x="1110" y="844"/>
                  </a:lnTo>
                  <a:lnTo>
                    <a:pt x="1110" y="847"/>
                  </a:lnTo>
                  <a:lnTo>
                    <a:pt x="1112" y="847"/>
                  </a:lnTo>
                  <a:lnTo>
                    <a:pt x="1112" y="847"/>
                  </a:lnTo>
                  <a:lnTo>
                    <a:pt x="1112" y="847"/>
                  </a:lnTo>
                  <a:lnTo>
                    <a:pt x="1115" y="847"/>
                  </a:lnTo>
                  <a:lnTo>
                    <a:pt x="1115" y="847"/>
                  </a:lnTo>
                  <a:lnTo>
                    <a:pt x="1115" y="844"/>
                  </a:lnTo>
                  <a:lnTo>
                    <a:pt x="1115" y="844"/>
                  </a:lnTo>
                  <a:lnTo>
                    <a:pt x="1115" y="844"/>
                  </a:lnTo>
                  <a:lnTo>
                    <a:pt x="1115" y="844"/>
                  </a:lnTo>
                  <a:lnTo>
                    <a:pt x="1115" y="844"/>
                  </a:lnTo>
                  <a:lnTo>
                    <a:pt x="1115" y="841"/>
                  </a:lnTo>
                  <a:lnTo>
                    <a:pt x="1115" y="841"/>
                  </a:lnTo>
                  <a:lnTo>
                    <a:pt x="1115" y="841"/>
                  </a:lnTo>
                  <a:lnTo>
                    <a:pt x="1118" y="841"/>
                  </a:lnTo>
                  <a:lnTo>
                    <a:pt x="1118" y="841"/>
                  </a:lnTo>
                  <a:lnTo>
                    <a:pt x="1118" y="841"/>
                  </a:lnTo>
                  <a:lnTo>
                    <a:pt x="1118" y="841"/>
                  </a:lnTo>
                  <a:lnTo>
                    <a:pt x="1118" y="841"/>
                  </a:lnTo>
                  <a:lnTo>
                    <a:pt x="1118" y="839"/>
                  </a:lnTo>
                  <a:lnTo>
                    <a:pt x="1118" y="839"/>
                  </a:lnTo>
                  <a:lnTo>
                    <a:pt x="1118" y="839"/>
                  </a:lnTo>
                  <a:lnTo>
                    <a:pt x="1118" y="836"/>
                  </a:lnTo>
                  <a:lnTo>
                    <a:pt x="1118" y="836"/>
                  </a:lnTo>
                  <a:lnTo>
                    <a:pt x="1123" y="836"/>
                  </a:lnTo>
                  <a:lnTo>
                    <a:pt x="1123" y="836"/>
                  </a:lnTo>
                  <a:lnTo>
                    <a:pt x="1123" y="836"/>
                  </a:lnTo>
                  <a:lnTo>
                    <a:pt x="1123" y="836"/>
                  </a:lnTo>
                  <a:lnTo>
                    <a:pt x="1123" y="839"/>
                  </a:lnTo>
                  <a:lnTo>
                    <a:pt x="1123" y="841"/>
                  </a:lnTo>
                  <a:lnTo>
                    <a:pt x="1120" y="841"/>
                  </a:lnTo>
                  <a:lnTo>
                    <a:pt x="1120" y="844"/>
                  </a:lnTo>
                  <a:lnTo>
                    <a:pt x="1120" y="844"/>
                  </a:lnTo>
                  <a:lnTo>
                    <a:pt x="1123" y="844"/>
                  </a:lnTo>
                  <a:lnTo>
                    <a:pt x="1123" y="844"/>
                  </a:lnTo>
                  <a:lnTo>
                    <a:pt x="1126" y="844"/>
                  </a:lnTo>
                  <a:lnTo>
                    <a:pt x="1126" y="844"/>
                  </a:lnTo>
                  <a:lnTo>
                    <a:pt x="1126" y="844"/>
                  </a:lnTo>
                  <a:lnTo>
                    <a:pt x="1126" y="844"/>
                  </a:lnTo>
                  <a:lnTo>
                    <a:pt x="1126" y="847"/>
                  </a:lnTo>
                  <a:lnTo>
                    <a:pt x="1128" y="849"/>
                  </a:lnTo>
                  <a:lnTo>
                    <a:pt x="1134" y="855"/>
                  </a:lnTo>
                  <a:lnTo>
                    <a:pt x="1136" y="863"/>
                  </a:lnTo>
                  <a:lnTo>
                    <a:pt x="1136" y="866"/>
                  </a:lnTo>
                  <a:lnTo>
                    <a:pt x="1139" y="868"/>
                  </a:lnTo>
                  <a:lnTo>
                    <a:pt x="1139" y="868"/>
                  </a:lnTo>
                  <a:lnTo>
                    <a:pt x="1139" y="871"/>
                  </a:lnTo>
                  <a:lnTo>
                    <a:pt x="1139" y="871"/>
                  </a:lnTo>
                  <a:lnTo>
                    <a:pt x="1139" y="871"/>
                  </a:lnTo>
                  <a:lnTo>
                    <a:pt x="1142" y="871"/>
                  </a:lnTo>
                  <a:lnTo>
                    <a:pt x="1142" y="871"/>
                  </a:lnTo>
                  <a:lnTo>
                    <a:pt x="1139" y="874"/>
                  </a:lnTo>
                  <a:lnTo>
                    <a:pt x="1139" y="874"/>
                  </a:lnTo>
                  <a:lnTo>
                    <a:pt x="1139" y="871"/>
                  </a:lnTo>
                  <a:lnTo>
                    <a:pt x="1139" y="874"/>
                  </a:lnTo>
                  <a:lnTo>
                    <a:pt x="1142" y="874"/>
                  </a:lnTo>
                  <a:lnTo>
                    <a:pt x="1147" y="876"/>
                  </a:lnTo>
                  <a:lnTo>
                    <a:pt x="1147" y="876"/>
                  </a:lnTo>
                  <a:lnTo>
                    <a:pt x="1150" y="874"/>
                  </a:lnTo>
                  <a:lnTo>
                    <a:pt x="1147" y="874"/>
                  </a:lnTo>
                  <a:lnTo>
                    <a:pt x="1147" y="874"/>
                  </a:lnTo>
                  <a:lnTo>
                    <a:pt x="1150" y="874"/>
                  </a:lnTo>
                  <a:lnTo>
                    <a:pt x="1150" y="874"/>
                  </a:lnTo>
                  <a:lnTo>
                    <a:pt x="1150" y="874"/>
                  </a:lnTo>
                  <a:lnTo>
                    <a:pt x="1152" y="871"/>
                  </a:lnTo>
                  <a:lnTo>
                    <a:pt x="1152" y="871"/>
                  </a:lnTo>
                  <a:lnTo>
                    <a:pt x="1152" y="871"/>
                  </a:lnTo>
                  <a:lnTo>
                    <a:pt x="1152" y="868"/>
                  </a:lnTo>
                  <a:lnTo>
                    <a:pt x="1152" y="868"/>
                  </a:lnTo>
                  <a:lnTo>
                    <a:pt x="1152" y="868"/>
                  </a:lnTo>
                  <a:lnTo>
                    <a:pt x="1150" y="868"/>
                  </a:lnTo>
                  <a:lnTo>
                    <a:pt x="1150" y="868"/>
                  </a:lnTo>
                  <a:lnTo>
                    <a:pt x="1150" y="868"/>
                  </a:lnTo>
                  <a:lnTo>
                    <a:pt x="1150" y="866"/>
                  </a:lnTo>
                  <a:lnTo>
                    <a:pt x="1150" y="866"/>
                  </a:lnTo>
                  <a:lnTo>
                    <a:pt x="1150" y="866"/>
                  </a:lnTo>
                  <a:lnTo>
                    <a:pt x="1150" y="866"/>
                  </a:lnTo>
                  <a:lnTo>
                    <a:pt x="1150" y="866"/>
                  </a:lnTo>
                  <a:lnTo>
                    <a:pt x="1147" y="855"/>
                  </a:lnTo>
                  <a:lnTo>
                    <a:pt x="1147" y="852"/>
                  </a:lnTo>
                  <a:lnTo>
                    <a:pt x="1147" y="852"/>
                  </a:lnTo>
                  <a:lnTo>
                    <a:pt x="1147" y="849"/>
                  </a:lnTo>
                  <a:lnTo>
                    <a:pt x="1147" y="849"/>
                  </a:lnTo>
                  <a:lnTo>
                    <a:pt x="1147" y="849"/>
                  </a:lnTo>
                  <a:lnTo>
                    <a:pt x="1150" y="849"/>
                  </a:lnTo>
                  <a:lnTo>
                    <a:pt x="1147" y="849"/>
                  </a:lnTo>
                  <a:lnTo>
                    <a:pt x="1147" y="847"/>
                  </a:lnTo>
                  <a:lnTo>
                    <a:pt x="1150" y="847"/>
                  </a:lnTo>
                  <a:lnTo>
                    <a:pt x="1150" y="847"/>
                  </a:lnTo>
                  <a:lnTo>
                    <a:pt x="1150" y="847"/>
                  </a:lnTo>
                  <a:lnTo>
                    <a:pt x="1150" y="849"/>
                  </a:lnTo>
                  <a:lnTo>
                    <a:pt x="1150" y="849"/>
                  </a:lnTo>
                  <a:lnTo>
                    <a:pt x="1150" y="849"/>
                  </a:lnTo>
                  <a:lnTo>
                    <a:pt x="1147" y="849"/>
                  </a:lnTo>
                  <a:lnTo>
                    <a:pt x="1147" y="852"/>
                  </a:lnTo>
                  <a:lnTo>
                    <a:pt x="1147" y="852"/>
                  </a:lnTo>
                  <a:lnTo>
                    <a:pt x="1147" y="852"/>
                  </a:lnTo>
                  <a:lnTo>
                    <a:pt x="1147" y="852"/>
                  </a:lnTo>
                  <a:lnTo>
                    <a:pt x="1147" y="852"/>
                  </a:lnTo>
                  <a:lnTo>
                    <a:pt x="1147" y="852"/>
                  </a:lnTo>
                  <a:lnTo>
                    <a:pt x="1150" y="852"/>
                  </a:lnTo>
                  <a:lnTo>
                    <a:pt x="1150" y="852"/>
                  </a:lnTo>
                  <a:lnTo>
                    <a:pt x="1150" y="852"/>
                  </a:lnTo>
                  <a:lnTo>
                    <a:pt x="1150" y="852"/>
                  </a:lnTo>
                  <a:lnTo>
                    <a:pt x="1150" y="849"/>
                  </a:lnTo>
                  <a:lnTo>
                    <a:pt x="1152" y="849"/>
                  </a:lnTo>
                  <a:lnTo>
                    <a:pt x="1152" y="849"/>
                  </a:lnTo>
                  <a:lnTo>
                    <a:pt x="1150" y="847"/>
                  </a:lnTo>
                  <a:lnTo>
                    <a:pt x="1152" y="841"/>
                  </a:lnTo>
                  <a:lnTo>
                    <a:pt x="1152" y="841"/>
                  </a:lnTo>
                  <a:lnTo>
                    <a:pt x="1152" y="836"/>
                  </a:lnTo>
                  <a:lnTo>
                    <a:pt x="1150" y="836"/>
                  </a:lnTo>
                  <a:lnTo>
                    <a:pt x="1152" y="836"/>
                  </a:lnTo>
                  <a:lnTo>
                    <a:pt x="1152" y="836"/>
                  </a:lnTo>
                  <a:lnTo>
                    <a:pt x="1152" y="836"/>
                  </a:lnTo>
                  <a:lnTo>
                    <a:pt x="1152" y="839"/>
                  </a:lnTo>
                  <a:lnTo>
                    <a:pt x="1152" y="839"/>
                  </a:lnTo>
                  <a:lnTo>
                    <a:pt x="1152" y="839"/>
                  </a:lnTo>
                  <a:lnTo>
                    <a:pt x="1155" y="839"/>
                  </a:lnTo>
                  <a:lnTo>
                    <a:pt x="1152" y="841"/>
                  </a:lnTo>
                  <a:lnTo>
                    <a:pt x="1152" y="841"/>
                  </a:lnTo>
                  <a:lnTo>
                    <a:pt x="1152" y="841"/>
                  </a:lnTo>
                  <a:lnTo>
                    <a:pt x="1152" y="844"/>
                  </a:lnTo>
                  <a:lnTo>
                    <a:pt x="1152" y="844"/>
                  </a:lnTo>
                  <a:lnTo>
                    <a:pt x="1155" y="844"/>
                  </a:lnTo>
                  <a:lnTo>
                    <a:pt x="1155" y="841"/>
                  </a:lnTo>
                  <a:lnTo>
                    <a:pt x="1158" y="841"/>
                  </a:lnTo>
                  <a:lnTo>
                    <a:pt x="1158" y="839"/>
                  </a:lnTo>
                  <a:lnTo>
                    <a:pt x="1160" y="839"/>
                  </a:lnTo>
                  <a:lnTo>
                    <a:pt x="1160" y="836"/>
                  </a:lnTo>
                  <a:lnTo>
                    <a:pt x="1160" y="836"/>
                  </a:lnTo>
                  <a:lnTo>
                    <a:pt x="1160" y="836"/>
                  </a:lnTo>
                  <a:lnTo>
                    <a:pt x="1160" y="836"/>
                  </a:lnTo>
                  <a:lnTo>
                    <a:pt x="1160" y="836"/>
                  </a:lnTo>
                  <a:lnTo>
                    <a:pt x="1160" y="833"/>
                  </a:lnTo>
                  <a:lnTo>
                    <a:pt x="1160" y="833"/>
                  </a:lnTo>
                  <a:lnTo>
                    <a:pt x="1160" y="833"/>
                  </a:lnTo>
                  <a:lnTo>
                    <a:pt x="1160" y="833"/>
                  </a:lnTo>
                  <a:lnTo>
                    <a:pt x="1163" y="833"/>
                  </a:lnTo>
                  <a:lnTo>
                    <a:pt x="1163" y="833"/>
                  </a:lnTo>
                  <a:lnTo>
                    <a:pt x="1163" y="831"/>
                  </a:lnTo>
                  <a:lnTo>
                    <a:pt x="1163" y="828"/>
                  </a:lnTo>
                  <a:lnTo>
                    <a:pt x="1163" y="825"/>
                  </a:lnTo>
                  <a:lnTo>
                    <a:pt x="1160" y="825"/>
                  </a:lnTo>
                  <a:lnTo>
                    <a:pt x="1160" y="825"/>
                  </a:lnTo>
                  <a:lnTo>
                    <a:pt x="1160" y="825"/>
                  </a:lnTo>
                  <a:lnTo>
                    <a:pt x="1160" y="823"/>
                  </a:lnTo>
                  <a:lnTo>
                    <a:pt x="1160" y="825"/>
                  </a:lnTo>
                  <a:lnTo>
                    <a:pt x="1160" y="825"/>
                  </a:lnTo>
                  <a:lnTo>
                    <a:pt x="1163" y="825"/>
                  </a:lnTo>
                  <a:lnTo>
                    <a:pt x="1163" y="825"/>
                  </a:lnTo>
                  <a:lnTo>
                    <a:pt x="1163" y="825"/>
                  </a:lnTo>
                  <a:lnTo>
                    <a:pt x="1163" y="825"/>
                  </a:lnTo>
                  <a:lnTo>
                    <a:pt x="1163" y="825"/>
                  </a:lnTo>
                  <a:lnTo>
                    <a:pt x="1163" y="828"/>
                  </a:lnTo>
                  <a:lnTo>
                    <a:pt x="1163" y="828"/>
                  </a:lnTo>
                  <a:lnTo>
                    <a:pt x="1163" y="828"/>
                  </a:lnTo>
                  <a:lnTo>
                    <a:pt x="1166" y="831"/>
                  </a:lnTo>
                  <a:lnTo>
                    <a:pt x="1166" y="831"/>
                  </a:lnTo>
                  <a:lnTo>
                    <a:pt x="1168" y="831"/>
                  </a:lnTo>
                  <a:lnTo>
                    <a:pt x="1171" y="833"/>
                  </a:lnTo>
                  <a:lnTo>
                    <a:pt x="1174" y="833"/>
                  </a:lnTo>
                  <a:lnTo>
                    <a:pt x="1176" y="836"/>
                  </a:lnTo>
                  <a:lnTo>
                    <a:pt x="1176" y="839"/>
                  </a:lnTo>
                  <a:lnTo>
                    <a:pt x="1179" y="841"/>
                  </a:lnTo>
                  <a:lnTo>
                    <a:pt x="1176" y="841"/>
                  </a:lnTo>
                  <a:lnTo>
                    <a:pt x="1176" y="844"/>
                  </a:lnTo>
                  <a:lnTo>
                    <a:pt x="1179" y="844"/>
                  </a:lnTo>
                  <a:lnTo>
                    <a:pt x="1179" y="844"/>
                  </a:lnTo>
                  <a:lnTo>
                    <a:pt x="1179" y="844"/>
                  </a:lnTo>
                  <a:lnTo>
                    <a:pt x="1179" y="844"/>
                  </a:lnTo>
                  <a:lnTo>
                    <a:pt x="1179" y="844"/>
                  </a:lnTo>
                  <a:lnTo>
                    <a:pt x="1179" y="844"/>
                  </a:lnTo>
                  <a:lnTo>
                    <a:pt x="1179" y="844"/>
                  </a:lnTo>
                  <a:lnTo>
                    <a:pt x="1179" y="844"/>
                  </a:lnTo>
                  <a:lnTo>
                    <a:pt x="1176" y="844"/>
                  </a:lnTo>
                  <a:lnTo>
                    <a:pt x="1176" y="844"/>
                  </a:lnTo>
                  <a:lnTo>
                    <a:pt x="1176" y="844"/>
                  </a:lnTo>
                  <a:lnTo>
                    <a:pt x="1176" y="841"/>
                  </a:lnTo>
                  <a:lnTo>
                    <a:pt x="1176" y="841"/>
                  </a:lnTo>
                  <a:lnTo>
                    <a:pt x="1176" y="839"/>
                  </a:lnTo>
                  <a:lnTo>
                    <a:pt x="1176" y="839"/>
                  </a:lnTo>
                  <a:lnTo>
                    <a:pt x="1174" y="836"/>
                  </a:lnTo>
                  <a:lnTo>
                    <a:pt x="1174" y="836"/>
                  </a:lnTo>
                  <a:lnTo>
                    <a:pt x="1166" y="833"/>
                  </a:lnTo>
                  <a:lnTo>
                    <a:pt x="1166" y="833"/>
                  </a:lnTo>
                  <a:lnTo>
                    <a:pt x="1166" y="833"/>
                  </a:lnTo>
                  <a:lnTo>
                    <a:pt x="1163" y="833"/>
                  </a:lnTo>
                  <a:lnTo>
                    <a:pt x="1163" y="836"/>
                  </a:lnTo>
                  <a:lnTo>
                    <a:pt x="1163" y="836"/>
                  </a:lnTo>
                  <a:lnTo>
                    <a:pt x="1163" y="836"/>
                  </a:lnTo>
                  <a:lnTo>
                    <a:pt x="1163" y="836"/>
                  </a:lnTo>
                  <a:lnTo>
                    <a:pt x="1163" y="836"/>
                  </a:lnTo>
                  <a:lnTo>
                    <a:pt x="1163" y="836"/>
                  </a:lnTo>
                  <a:lnTo>
                    <a:pt x="1163" y="836"/>
                  </a:lnTo>
                  <a:lnTo>
                    <a:pt x="1163" y="836"/>
                  </a:lnTo>
                  <a:lnTo>
                    <a:pt x="1163" y="836"/>
                  </a:lnTo>
                  <a:lnTo>
                    <a:pt x="1163" y="836"/>
                  </a:lnTo>
                  <a:lnTo>
                    <a:pt x="1163" y="836"/>
                  </a:lnTo>
                  <a:lnTo>
                    <a:pt x="1166" y="839"/>
                  </a:lnTo>
                  <a:lnTo>
                    <a:pt x="1163" y="839"/>
                  </a:lnTo>
                  <a:lnTo>
                    <a:pt x="1163" y="839"/>
                  </a:lnTo>
                  <a:lnTo>
                    <a:pt x="1163" y="841"/>
                  </a:lnTo>
                  <a:lnTo>
                    <a:pt x="1163" y="841"/>
                  </a:lnTo>
                  <a:lnTo>
                    <a:pt x="1160" y="844"/>
                  </a:lnTo>
                  <a:lnTo>
                    <a:pt x="1160" y="844"/>
                  </a:lnTo>
                  <a:lnTo>
                    <a:pt x="1160" y="844"/>
                  </a:lnTo>
                  <a:lnTo>
                    <a:pt x="1160" y="844"/>
                  </a:lnTo>
                  <a:lnTo>
                    <a:pt x="1160" y="847"/>
                  </a:lnTo>
                  <a:lnTo>
                    <a:pt x="1160" y="847"/>
                  </a:lnTo>
                  <a:lnTo>
                    <a:pt x="1158" y="847"/>
                  </a:lnTo>
                  <a:lnTo>
                    <a:pt x="1158" y="847"/>
                  </a:lnTo>
                  <a:lnTo>
                    <a:pt x="1160" y="849"/>
                  </a:lnTo>
                  <a:lnTo>
                    <a:pt x="1160" y="849"/>
                  </a:lnTo>
                  <a:lnTo>
                    <a:pt x="1163" y="852"/>
                  </a:lnTo>
                  <a:lnTo>
                    <a:pt x="1166" y="852"/>
                  </a:lnTo>
                  <a:lnTo>
                    <a:pt x="1166" y="852"/>
                  </a:lnTo>
                  <a:lnTo>
                    <a:pt x="1166" y="855"/>
                  </a:lnTo>
                  <a:lnTo>
                    <a:pt x="1166" y="858"/>
                  </a:lnTo>
                  <a:lnTo>
                    <a:pt x="1166" y="858"/>
                  </a:lnTo>
                  <a:lnTo>
                    <a:pt x="1166" y="860"/>
                  </a:lnTo>
                  <a:lnTo>
                    <a:pt x="1168" y="863"/>
                  </a:lnTo>
                  <a:lnTo>
                    <a:pt x="1171" y="863"/>
                  </a:lnTo>
                  <a:lnTo>
                    <a:pt x="1174" y="863"/>
                  </a:lnTo>
                  <a:lnTo>
                    <a:pt x="1179" y="860"/>
                  </a:lnTo>
                  <a:lnTo>
                    <a:pt x="1184" y="858"/>
                  </a:lnTo>
                  <a:lnTo>
                    <a:pt x="1192" y="855"/>
                  </a:lnTo>
                  <a:lnTo>
                    <a:pt x="1195" y="852"/>
                  </a:lnTo>
                  <a:lnTo>
                    <a:pt x="1198" y="852"/>
                  </a:lnTo>
                  <a:lnTo>
                    <a:pt x="1198" y="852"/>
                  </a:lnTo>
                  <a:lnTo>
                    <a:pt x="1200" y="852"/>
                  </a:lnTo>
                  <a:lnTo>
                    <a:pt x="1200" y="849"/>
                  </a:lnTo>
                  <a:lnTo>
                    <a:pt x="1200" y="849"/>
                  </a:lnTo>
                  <a:lnTo>
                    <a:pt x="1200" y="849"/>
                  </a:lnTo>
                  <a:lnTo>
                    <a:pt x="1206" y="849"/>
                  </a:lnTo>
                  <a:lnTo>
                    <a:pt x="1208" y="847"/>
                  </a:lnTo>
                  <a:lnTo>
                    <a:pt x="1211" y="847"/>
                  </a:lnTo>
                  <a:lnTo>
                    <a:pt x="1211" y="844"/>
                  </a:lnTo>
                  <a:lnTo>
                    <a:pt x="1211" y="844"/>
                  </a:lnTo>
                  <a:lnTo>
                    <a:pt x="1214" y="841"/>
                  </a:lnTo>
                  <a:lnTo>
                    <a:pt x="1214" y="841"/>
                  </a:lnTo>
                  <a:lnTo>
                    <a:pt x="1214" y="839"/>
                  </a:lnTo>
                  <a:lnTo>
                    <a:pt x="1216" y="839"/>
                  </a:lnTo>
                  <a:lnTo>
                    <a:pt x="1216" y="839"/>
                  </a:lnTo>
                  <a:lnTo>
                    <a:pt x="1219" y="839"/>
                  </a:lnTo>
                  <a:lnTo>
                    <a:pt x="1219" y="836"/>
                  </a:lnTo>
                  <a:lnTo>
                    <a:pt x="1219" y="836"/>
                  </a:lnTo>
                  <a:lnTo>
                    <a:pt x="1219" y="836"/>
                  </a:lnTo>
                  <a:lnTo>
                    <a:pt x="1219" y="833"/>
                  </a:lnTo>
                  <a:lnTo>
                    <a:pt x="1219" y="833"/>
                  </a:lnTo>
                  <a:lnTo>
                    <a:pt x="1219" y="831"/>
                  </a:lnTo>
                  <a:lnTo>
                    <a:pt x="1219" y="831"/>
                  </a:lnTo>
                  <a:lnTo>
                    <a:pt x="1219" y="831"/>
                  </a:lnTo>
                  <a:lnTo>
                    <a:pt x="1222" y="828"/>
                  </a:lnTo>
                  <a:lnTo>
                    <a:pt x="1222" y="831"/>
                  </a:lnTo>
                  <a:lnTo>
                    <a:pt x="1222" y="831"/>
                  </a:lnTo>
                  <a:lnTo>
                    <a:pt x="1219" y="831"/>
                  </a:lnTo>
                  <a:lnTo>
                    <a:pt x="1219" y="833"/>
                  </a:lnTo>
                  <a:lnTo>
                    <a:pt x="1219" y="839"/>
                  </a:lnTo>
                  <a:lnTo>
                    <a:pt x="1219" y="839"/>
                  </a:lnTo>
                  <a:lnTo>
                    <a:pt x="1219" y="839"/>
                  </a:lnTo>
                  <a:lnTo>
                    <a:pt x="1216" y="841"/>
                  </a:lnTo>
                  <a:lnTo>
                    <a:pt x="1216" y="841"/>
                  </a:lnTo>
                  <a:lnTo>
                    <a:pt x="1214" y="841"/>
                  </a:lnTo>
                  <a:lnTo>
                    <a:pt x="1214" y="841"/>
                  </a:lnTo>
                  <a:lnTo>
                    <a:pt x="1214" y="844"/>
                  </a:lnTo>
                  <a:lnTo>
                    <a:pt x="1214" y="844"/>
                  </a:lnTo>
                  <a:lnTo>
                    <a:pt x="1214" y="844"/>
                  </a:lnTo>
                  <a:lnTo>
                    <a:pt x="1214" y="844"/>
                  </a:lnTo>
                  <a:lnTo>
                    <a:pt x="1214" y="847"/>
                  </a:lnTo>
                  <a:lnTo>
                    <a:pt x="1214" y="847"/>
                  </a:lnTo>
                  <a:lnTo>
                    <a:pt x="1214" y="847"/>
                  </a:lnTo>
                  <a:lnTo>
                    <a:pt x="1214" y="847"/>
                  </a:lnTo>
                  <a:lnTo>
                    <a:pt x="1214" y="849"/>
                  </a:lnTo>
                  <a:lnTo>
                    <a:pt x="1211" y="855"/>
                  </a:lnTo>
                  <a:lnTo>
                    <a:pt x="1211" y="855"/>
                  </a:lnTo>
                  <a:lnTo>
                    <a:pt x="1211" y="858"/>
                  </a:lnTo>
                  <a:lnTo>
                    <a:pt x="1214" y="858"/>
                  </a:lnTo>
                  <a:lnTo>
                    <a:pt x="1214" y="858"/>
                  </a:lnTo>
                  <a:lnTo>
                    <a:pt x="1216" y="858"/>
                  </a:lnTo>
                  <a:lnTo>
                    <a:pt x="1216" y="858"/>
                  </a:lnTo>
                  <a:lnTo>
                    <a:pt x="1214" y="858"/>
                  </a:lnTo>
                  <a:lnTo>
                    <a:pt x="1214" y="858"/>
                  </a:lnTo>
                  <a:lnTo>
                    <a:pt x="1211" y="858"/>
                  </a:lnTo>
                  <a:lnTo>
                    <a:pt x="1208" y="860"/>
                  </a:lnTo>
                  <a:lnTo>
                    <a:pt x="1208" y="860"/>
                  </a:lnTo>
                  <a:lnTo>
                    <a:pt x="1203" y="863"/>
                  </a:lnTo>
                  <a:lnTo>
                    <a:pt x="1200" y="868"/>
                  </a:lnTo>
                  <a:lnTo>
                    <a:pt x="1200" y="871"/>
                  </a:lnTo>
                  <a:lnTo>
                    <a:pt x="1198" y="871"/>
                  </a:lnTo>
                  <a:lnTo>
                    <a:pt x="1198" y="871"/>
                  </a:lnTo>
                  <a:lnTo>
                    <a:pt x="1195" y="874"/>
                  </a:lnTo>
                  <a:lnTo>
                    <a:pt x="1192" y="882"/>
                  </a:lnTo>
                  <a:lnTo>
                    <a:pt x="1192" y="884"/>
                  </a:lnTo>
                  <a:lnTo>
                    <a:pt x="1192" y="887"/>
                  </a:lnTo>
                  <a:lnTo>
                    <a:pt x="1192" y="887"/>
                  </a:lnTo>
                  <a:lnTo>
                    <a:pt x="1192" y="890"/>
                  </a:lnTo>
                  <a:lnTo>
                    <a:pt x="1195" y="890"/>
                  </a:lnTo>
                  <a:lnTo>
                    <a:pt x="1195" y="892"/>
                  </a:lnTo>
                  <a:lnTo>
                    <a:pt x="1195" y="890"/>
                  </a:lnTo>
                  <a:lnTo>
                    <a:pt x="1198" y="890"/>
                  </a:lnTo>
                  <a:lnTo>
                    <a:pt x="1200" y="890"/>
                  </a:lnTo>
                  <a:lnTo>
                    <a:pt x="1206" y="892"/>
                  </a:lnTo>
                  <a:lnTo>
                    <a:pt x="1206" y="892"/>
                  </a:lnTo>
                  <a:lnTo>
                    <a:pt x="1206" y="895"/>
                  </a:lnTo>
                  <a:lnTo>
                    <a:pt x="1206" y="895"/>
                  </a:lnTo>
                  <a:lnTo>
                    <a:pt x="1206" y="895"/>
                  </a:lnTo>
                  <a:lnTo>
                    <a:pt x="1206" y="895"/>
                  </a:lnTo>
                  <a:lnTo>
                    <a:pt x="1206" y="892"/>
                  </a:lnTo>
                  <a:lnTo>
                    <a:pt x="1206" y="892"/>
                  </a:lnTo>
                  <a:lnTo>
                    <a:pt x="1200" y="892"/>
                  </a:lnTo>
                  <a:lnTo>
                    <a:pt x="1198" y="892"/>
                  </a:lnTo>
                  <a:lnTo>
                    <a:pt x="1198" y="892"/>
                  </a:lnTo>
                  <a:lnTo>
                    <a:pt x="1198" y="892"/>
                  </a:lnTo>
                  <a:lnTo>
                    <a:pt x="1195" y="895"/>
                  </a:lnTo>
                  <a:lnTo>
                    <a:pt x="1195" y="895"/>
                  </a:lnTo>
                  <a:lnTo>
                    <a:pt x="1195" y="895"/>
                  </a:lnTo>
                  <a:lnTo>
                    <a:pt x="1192" y="895"/>
                  </a:lnTo>
                  <a:lnTo>
                    <a:pt x="1192" y="895"/>
                  </a:lnTo>
                  <a:lnTo>
                    <a:pt x="1192" y="895"/>
                  </a:lnTo>
                  <a:lnTo>
                    <a:pt x="1190" y="895"/>
                  </a:lnTo>
                  <a:lnTo>
                    <a:pt x="1190" y="898"/>
                  </a:lnTo>
                  <a:lnTo>
                    <a:pt x="1190" y="898"/>
                  </a:lnTo>
                  <a:lnTo>
                    <a:pt x="1190" y="900"/>
                  </a:lnTo>
                  <a:lnTo>
                    <a:pt x="1190" y="903"/>
                  </a:lnTo>
                  <a:lnTo>
                    <a:pt x="1190" y="908"/>
                  </a:lnTo>
                  <a:lnTo>
                    <a:pt x="1187" y="911"/>
                  </a:lnTo>
                  <a:lnTo>
                    <a:pt x="1187" y="914"/>
                  </a:lnTo>
                  <a:lnTo>
                    <a:pt x="1187" y="919"/>
                  </a:lnTo>
                  <a:lnTo>
                    <a:pt x="1184" y="922"/>
                  </a:lnTo>
                  <a:lnTo>
                    <a:pt x="1184" y="924"/>
                  </a:lnTo>
                  <a:lnTo>
                    <a:pt x="1184" y="924"/>
                  </a:lnTo>
                  <a:lnTo>
                    <a:pt x="1184" y="927"/>
                  </a:lnTo>
                  <a:lnTo>
                    <a:pt x="1184" y="927"/>
                  </a:lnTo>
                  <a:lnTo>
                    <a:pt x="1184" y="930"/>
                  </a:lnTo>
                  <a:lnTo>
                    <a:pt x="1184" y="930"/>
                  </a:lnTo>
                  <a:lnTo>
                    <a:pt x="1184" y="930"/>
                  </a:lnTo>
                  <a:lnTo>
                    <a:pt x="1184" y="932"/>
                  </a:lnTo>
                  <a:lnTo>
                    <a:pt x="1187" y="932"/>
                  </a:lnTo>
                  <a:lnTo>
                    <a:pt x="1187" y="932"/>
                  </a:lnTo>
                  <a:lnTo>
                    <a:pt x="1187" y="930"/>
                  </a:lnTo>
                  <a:lnTo>
                    <a:pt x="1187" y="930"/>
                  </a:lnTo>
                  <a:lnTo>
                    <a:pt x="1187" y="930"/>
                  </a:lnTo>
                  <a:lnTo>
                    <a:pt x="1187" y="930"/>
                  </a:lnTo>
                  <a:lnTo>
                    <a:pt x="1187" y="930"/>
                  </a:lnTo>
                  <a:lnTo>
                    <a:pt x="1187" y="930"/>
                  </a:lnTo>
                  <a:lnTo>
                    <a:pt x="1187" y="930"/>
                  </a:lnTo>
                  <a:lnTo>
                    <a:pt x="1187" y="932"/>
                  </a:lnTo>
                  <a:lnTo>
                    <a:pt x="1187" y="932"/>
                  </a:lnTo>
                  <a:lnTo>
                    <a:pt x="1187" y="932"/>
                  </a:lnTo>
                  <a:lnTo>
                    <a:pt x="1187" y="932"/>
                  </a:lnTo>
                  <a:lnTo>
                    <a:pt x="1187" y="932"/>
                  </a:lnTo>
                  <a:lnTo>
                    <a:pt x="1190" y="935"/>
                  </a:lnTo>
                  <a:lnTo>
                    <a:pt x="1190" y="935"/>
                  </a:lnTo>
                  <a:lnTo>
                    <a:pt x="1187" y="938"/>
                  </a:lnTo>
                  <a:lnTo>
                    <a:pt x="1187" y="940"/>
                  </a:lnTo>
                  <a:lnTo>
                    <a:pt x="1187" y="940"/>
                  </a:lnTo>
                  <a:lnTo>
                    <a:pt x="1190" y="940"/>
                  </a:lnTo>
                  <a:lnTo>
                    <a:pt x="1190" y="940"/>
                  </a:lnTo>
                  <a:lnTo>
                    <a:pt x="1190" y="940"/>
                  </a:lnTo>
                  <a:lnTo>
                    <a:pt x="1190" y="940"/>
                  </a:lnTo>
                  <a:lnTo>
                    <a:pt x="1190" y="940"/>
                  </a:lnTo>
                  <a:lnTo>
                    <a:pt x="1190" y="940"/>
                  </a:lnTo>
                  <a:lnTo>
                    <a:pt x="1195" y="940"/>
                  </a:lnTo>
                  <a:lnTo>
                    <a:pt x="1195" y="940"/>
                  </a:lnTo>
                  <a:lnTo>
                    <a:pt x="1192" y="938"/>
                  </a:lnTo>
                  <a:lnTo>
                    <a:pt x="1192" y="938"/>
                  </a:lnTo>
                  <a:lnTo>
                    <a:pt x="1195" y="935"/>
                  </a:lnTo>
                  <a:lnTo>
                    <a:pt x="1195" y="935"/>
                  </a:lnTo>
                  <a:lnTo>
                    <a:pt x="1195" y="935"/>
                  </a:lnTo>
                  <a:lnTo>
                    <a:pt x="1195" y="935"/>
                  </a:lnTo>
                  <a:lnTo>
                    <a:pt x="1195" y="938"/>
                  </a:lnTo>
                  <a:lnTo>
                    <a:pt x="1195" y="938"/>
                  </a:lnTo>
                  <a:lnTo>
                    <a:pt x="1195" y="938"/>
                  </a:lnTo>
                  <a:lnTo>
                    <a:pt x="1195" y="938"/>
                  </a:lnTo>
                  <a:lnTo>
                    <a:pt x="1195" y="940"/>
                  </a:lnTo>
                  <a:lnTo>
                    <a:pt x="1195" y="940"/>
                  </a:lnTo>
                  <a:lnTo>
                    <a:pt x="1195" y="940"/>
                  </a:lnTo>
                  <a:lnTo>
                    <a:pt x="1195" y="940"/>
                  </a:lnTo>
                  <a:lnTo>
                    <a:pt x="1192" y="940"/>
                  </a:lnTo>
                  <a:lnTo>
                    <a:pt x="1192" y="940"/>
                  </a:lnTo>
                  <a:lnTo>
                    <a:pt x="1190" y="943"/>
                  </a:lnTo>
                  <a:lnTo>
                    <a:pt x="1190" y="943"/>
                  </a:lnTo>
                  <a:lnTo>
                    <a:pt x="1190" y="940"/>
                  </a:lnTo>
                  <a:lnTo>
                    <a:pt x="1184" y="940"/>
                  </a:lnTo>
                  <a:lnTo>
                    <a:pt x="1184" y="940"/>
                  </a:lnTo>
                  <a:lnTo>
                    <a:pt x="1187" y="940"/>
                  </a:lnTo>
                  <a:lnTo>
                    <a:pt x="1184" y="938"/>
                  </a:lnTo>
                  <a:lnTo>
                    <a:pt x="1184" y="935"/>
                  </a:lnTo>
                  <a:lnTo>
                    <a:pt x="1184" y="935"/>
                  </a:lnTo>
                  <a:lnTo>
                    <a:pt x="1184" y="935"/>
                  </a:lnTo>
                  <a:lnTo>
                    <a:pt x="1184" y="935"/>
                  </a:lnTo>
                  <a:lnTo>
                    <a:pt x="1184" y="935"/>
                  </a:lnTo>
                  <a:lnTo>
                    <a:pt x="1182" y="935"/>
                  </a:lnTo>
                  <a:lnTo>
                    <a:pt x="1182" y="935"/>
                  </a:lnTo>
                  <a:lnTo>
                    <a:pt x="1179" y="938"/>
                  </a:lnTo>
                  <a:lnTo>
                    <a:pt x="1176" y="940"/>
                  </a:lnTo>
                  <a:lnTo>
                    <a:pt x="1174" y="940"/>
                  </a:lnTo>
                  <a:lnTo>
                    <a:pt x="1174" y="943"/>
                  </a:lnTo>
                  <a:lnTo>
                    <a:pt x="1171" y="943"/>
                  </a:lnTo>
                  <a:lnTo>
                    <a:pt x="1171" y="946"/>
                  </a:lnTo>
                  <a:lnTo>
                    <a:pt x="1168" y="946"/>
                  </a:lnTo>
                  <a:lnTo>
                    <a:pt x="1168" y="946"/>
                  </a:lnTo>
                  <a:lnTo>
                    <a:pt x="1171" y="946"/>
                  </a:lnTo>
                  <a:lnTo>
                    <a:pt x="1171" y="946"/>
                  </a:lnTo>
                  <a:lnTo>
                    <a:pt x="1171" y="948"/>
                  </a:lnTo>
                  <a:lnTo>
                    <a:pt x="1166" y="948"/>
                  </a:lnTo>
                  <a:lnTo>
                    <a:pt x="1163" y="951"/>
                  </a:lnTo>
                  <a:lnTo>
                    <a:pt x="1160" y="951"/>
                  </a:lnTo>
                  <a:lnTo>
                    <a:pt x="1160" y="951"/>
                  </a:lnTo>
                  <a:lnTo>
                    <a:pt x="1150" y="964"/>
                  </a:lnTo>
                  <a:lnTo>
                    <a:pt x="1147" y="967"/>
                  </a:lnTo>
                  <a:lnTo>
                    <a:pt x="1147" y="970"/>
                  </a:lnTo>
                  <a:lnTo>
                    <a:pt x="1147" y="970"/>
                  </a:lnTo>
                  <a:lnTo>
                    <a:pt x="1144" y="972"/>
                  </a:lnTo>
                  <a:lnTo>
                    <a:pt x="1144" y="972"/>
                  </a:lnTo>
                  <a:lnTo>
                    <a:pt x="1144" y="975"/>
                  </a:lnTo>
                  <a:lnTo>
                    <a:pt x="1144" y="978"/>
                  </a:lnTo>
                  <a:lnTo>
                    <a:pt x="1144" y="980"/>
                  </a:lnTo>
                  <a:lnTo>
                    <a:pt x="1147" y="983"/>
                  </a:lnTo>
                  <a:lnTo>
                    <a:pt x="1147" y="983"/>
                  </a:lnTo>
                  <a:lnTo>
                    <a:pt x="1147" y="983"/>
                  </a:lnTo>
                  <a:lnTo>
                    <a:pt x="1147" y="983"/>
                  </a:lnTo>
                  <a:lnTo>
                    <a:pt x="1147" y="988"/>
                  </a:lnTo>
                  <a:lnTo>
                    <a:pt x="1147" y="986"/>
                  </a:lnTo>
                  <a:lnTo>
                    <a:pt x="1144" y="986"/>
                  </a:lnTo>
                  <a:lnTo>
                    <a:pt x="1144" y="986"/>
                  </a:lnTo>
                  <a:lnTo>
                    <a:pt x="1144" y="986"/>
                  </a:lnTo>
                  <a:lnTo>
                    <a:pt x="1142" y="986"/>
                  </a:lnTo>
                  <a:lnTo>
                    <a:pt x="1142" y="986"/>
                  </a:lnTo>
                  <a:lnTo>
                    <a:pt x="1142" y="986"/>
                  </a:lnTo>
                  <a:lnTo>
                    <a:pt x="1139" y="986"/>
                  </a:lnTo>
                  <a:lnTo>
                    <a:pt x="1139" y="986"/>
                  </a:lnTo>
                  <a:lnTo>
                    <a:pt x="1139" y="983"/>
                  </a:lnTo>
                  <a:lnTo>
                    <a:pt x="1136" y="983"/>
                  </a:lnTo>
                  <a:lnTo>
                    <a:pt x="1136" y="980"/>
                  </a:lnTo>
                  <a:lnTo>
                    <a:pt x="1136" y="980"/>
                  </a:lnTo>
                  <a:lnTo>
                    <a:pt x="1134" y="983"/>
                  </a:lnTo>
                  <a:lnTo>
                    <a:pt x="1134" y="983"/>
                  </a:lnTo>
                  <a:lnTo>
                    <a:pt x="1134" y="986"/>
                  </a:lnTo>
                  <a:lnTo>
                    <a:pt x="1134" y="986"/>
                  </a:lnTo>
                  <a:lnTo>
                    <a:pt x="1134" y="986"/>
                  </a:lnTo>
                  <a:lnTo>
                    <a:pt x="1134" y="983"/>
                  </a:lnTo>
                  <a:lnTo>
                    <a:pt x="1131" y="983"/>
                  </a:lnTo>
                  <a:lnTo>
                    <a:pt x="1134" y="983"/>
                  </a:lnTo>
                  <a:lnTo>
                    <a:pt x="1134" y="983"/>
                  </a:lnTo>
                  <a:lnTo>
                    <a:pt x="1136" y="980"/>
                  </a:lnTo>
                  <a:lnTo>
                    <a:pt x="1139" y="978"/>
                  </a:lnTo>
                  <a:lnTo>
                    <a:pt x="1139" y="978"/>
                  </a:lnTo>
                  <a:lnTo>
                    <a:pt x="1139" y="978"/>
                  </a:lnTo>
                  <a:lnTo>
                    <a:pt x="1136" y="980"/>
                  </a:lnTo>
                  <a:lnTo>
                    <a:pt x="1134" y="980"/>
                  </a:lnTo>
                  <a:lnTo>
                    <a:pt x="1131" y="983"/>
                  </a:lnTo>
                  <a:lnTo>
                    <a:pt x="1131" y="986"/>
                  </a:lnTo>
                  <a:lnTo>
                    <a:pt x="1126" y="986"/>
                  </a:lnTo>
                  <a:lnTo>
                    <a:pt x="1126" y="986"/>
                  </a:lnTo>
                  <a:lnTo>
                    <a:pt x="1123" y="988"/>
                  </a:lnTo>
                  <a:lnTo>
                    <a:pt x="1123" y="988"/>
                  </a:lnTo>
                  <a:lnTo>
                    <a:pt x="1123" y="988"/>
                  </a:lnTo>
                  <a:lnTo>
                    <a:pt x="1126" y="991"/>
                  </a:lnTo>
                  <a:lnTo>
                    <a:pt x="1126" y="991"/>
                  </a:lnTo>
                  <a:lnTo>
                    <a:pt x="1123" y="991"/>
                  </a:lnTo>
                  <a:lnTo>
                    <a:pt x="1123" y="991"/>
                  </a:lnTo>
                  <a:lnTo>
                    <a:pt x="1120" y="991"/>
                  </a:lnTo>
                  <a:lnTo>
                    <a:pt x="1120" y="991"/>
                  </a:lnTo>
                  <a:lnTo>
                    <a:pt x="1115" y="994"/>
                  </a:lnTo>
                  <a:lnTo>
                    <a:pt x="1115" y="994"/>
                  </a:lnTo>
                  <a:lnTo>
                    <a:pt x="1112" y="994"/>
                  </a:lnTo>
                  <a:lnTo>
                    <a:pt x="1112" y="994"/>
                  </a:lnTo>
                  <a:lnTo>
                    <a:pt x="1112" y="994"/>
                  </a:lnTo>
                  <a:lnTo>
                    <a:pt x="1115" y="994"/>
                  </a:lnTo>
                  <a:lnTo>
                    <a:pt x="1104" y="996"/>
                  </a:lnTo>
                  <a:lnTo>
                    <a:pt x="1102" y="999"/>
                  </a:lnTo>
                  <a:lnTo>
                    <a:pt x="1096" y="1002"/>
                  </a:lnTo>
                  <a:lnTo>
                    <a:pt x="1094" y="1004"/>
                  </a:lnTo>
                  <a:lnTo>
                    <a:pt x="1086" y="1007"/>
                  </a:lnTo>
                  <a:lnTo>
                    <a:pt x="1086" y="1010"/>
                  </a:lnTo>
                  <a:lnTo>
                    <a:pt x="1080" y="1015"/>
                  </a:lnTo>
                  <a:lnTo>
                    <a:pt x="1078" y="1018"/>
                  </a:lnTo>
                  <a:lnTo>
                    <a:pt x="1078" y="1018"/>
                  </a:lnTo>
                  <a:lnTo>
                    <a:pt x="1078" y="1020"/>
                  </a:lnTo>
                  <a:lnTo>
                    <a:pt x="1075" y="1020"/>
                  </a:lnTo>
                  <a:lnTo>
                    <a:pt x="1075" y="1020"/>
                  </a:lnTo>
                  <a:lnTo>
                    <a:pt x="1075" y="1023"/>
                  </a:lnTo>
                  <a:lnTo>
                    <a:pt x="1075" y="1026"/>
                  </a:lnTo>
                  <a:lnTo>
                    <a:pt x="1075" y="1026"/>
                  </a:lnTo>
                  <a:lnTo>
                    <a:pt x="1072" y="1028"/>
                  </a:lnTo>
                  <a:lnTo>
                    <a:pt x="1072" y="1031"/>
                  </a:lnTo>
                  <a:lnTo>
                    <a:pt x="1070" y="1031"/>
                  </a:lnTo>
                  <a:lnTo>
                    <a:pt x="1070" y="1034"/>
                  </a:lnTo>
                  <a:lnTo>
                    <a:pt x="1070" y="1034"/>
                  </a:lnTo>
                  <a:lnTo>
                    <a:pt x="1070" y="1034"/>
                  </a:lnTo>
                  <a:lnTo>
                    <a:pt x="1072" y="1034"/>
                  </a:lnTo>
                  <a:lnTo>
                    <a:pt x="1072" y="1034"/>
                  </a:lnTo>
                  <a:lnTo>
                    <a:pt x="1070" y="1037"/>
                  </a:lnTo>
                  <a:lnTo>
                    <a:pt x="1070" y="1037"/>
                  </a:lnTo>
                  <a:lnTo>
                    <a:pt x="1070" y="1037"/>
                  </a:lnTo>
                  <a:lnTo>
                    <a:pt x="1070" y="1037"/>
                  </a:lnTo>
                  <a:lnTo>
                    <a:pt x="1070" y="1037"/>
                  </a:lnTo>
                  <a:lnTo>
                    <a:pt x="1072" y="1037"/>
                  </a:lnTo>
                  <a:lnTo>
                    <a:pt x="1078" y="1042"/>
                  </a:lnTo>
                  <a:lnTo>
                    <a:pt x="1080" y="1045"/>
                  </a:lnTo>
                  <a:lnTo>
                    <a:pt x="1080" y="1045"/>
                  </a:lnTo>
                  <a:lnTo>
                    <a:pt x="1080" y="1045"/>
                  </a:lnTo>
                  <a:lnTo>
                    <a:pt x="1078" y="1045"/>
                  </a:lnTo>
                  <a:lnTo>
                    <a:pt x="1078" y="1047"/>
                  </a:lnTo>
                  <a:lnTo>
                    <a:pt x="1080" y="1047"/>
                  </a:lnTo>
                  <a:lnTo>
                    <a:pt x="1080" y="1047"/>
                  </a:lnTo>
                  <a:lnTo>
                    <a:pt x="1080" y="1050"/>
                  </a:lnTo>
                  <a:lnTo>
                    <a:pt x="1080" y="1050"/>
                  </a:lnTo>
                  <a:lnTo>
                    <a:pt x="1080" y="1050"/>
                  </a:lnTo>
                  <a:lnTo>
                    <a:pt x="1078" y="1050"/>
                  </a:lnTo>
                  <a:lnTo>
                    <a:pt x="1075" y="1047"/>
                  </a:lnTo>
                  <a:lnTo>
                    <a:pt x="1075" y="1047"/>
                  </a:lnTo>
                  <a:lnTo>
                    <a:pt x="1075" y="1047"/>
                  </a:lnTo>
                  <a:lnTo>
                    <a:pt x="1075" y="1047"/>
                  </a:lnTo>
                  <a:lnTo>
                    <a:pt x="1075" y="1047"/>
                  </a:lnTo>
                  <a:lnTo>
                    <a:pt x="1075" y="1047"/>
                  </a:lnTo>
                  <a:lnTo>
                    <a:pt x="1072" y="1047"/>
                  </a:lnTo>
                  <a:lnTo>
                    <a:pt x="1072" y="1047"/>
                  </a:lnTo>
                  <a:lnTo>
                    <a:pt x="1072" y="1047"/>
                  </a:lnTo>
                  <a:lnTo>
                    <a:pt x="1072" y="1045"/>
                  </a:lnTo>
                  <a:lnTo>
                    <a:pt x="1072" y="1045"/>
                  </a:lnTo>
                  <a:lnTo>
                    <a:pt x="1072" y="1045"/>
                  </a:lnTo>
                  <a:lnTo>
                    <a:pt x="1072" y="1042"/>
                  </a:lnTo>
                  <a:lnTo>
                    <a:pt x="1072" y="1042"/>
                  </a:lnTo>
                  <a:lnTo>
                    <a:pt x="1064" y="1042"/>
                  </a:lnTo>
                  <a:lnTo>
                    <a:pt x="1064" y="1042"/>
                  </a:lnTo>
                  <a:lnTo>
                    <a:pt x="1062" y="1039"/>
                  </a:lnTo>
                  <a:lnTo>
                    <a:pt x="1062" y="1039"/>
                  </a:lnTo>
                  <a:lnTo>
                    <a:pt x="1062" y="1039"/>
                  </a:lnTo>
                  <a:lnTo>
                    <a:pt x="1062" y="1039"/>
                  </a:lnTo>
                  <a:lnTo>
                    <a:pt x="1062" y="1039"/>
                  </a:lnTo>
                  <a:lnTo>
                    <a:pt x="1062" y="1039"/>
                  </a:lnTo>
                  <a:lnTo>
                    <a:pt x="1062" y="1039"/>
                  </a:lnTo>
                  <a:lnTo>
                    <a:pt x="1062" y="1039"/>
                  </a:lnTo>
                  <a:lnTo>
                    <a:pt x="1062" y="1042"/>
                  </a:lnTo>
                  <a:lnTo>
                    <a:pt x="1062" y="1042"/>
                  </a:lnTo>
                  <a:lnTo>
                    <a:pt x="1062" y="1045"/>
                  </a:lnTo>
                  <a:lnTo>
                    <a:pt x="1062" y="1047"/>
                  </a:lnTo>
                  <a:lnTo>
                    <a:pt x="1062" y="1047"/>
                  </a:lnTo>
                  <a:lnTo>
                    <a:pt x="1064" y="1047"/>
                  </a:lnTo>
                  <a:lnTo>
                    <a:pt x="1064" y="1050"/>
                  </a:lnTo>
                  <a:lnTo>
                    <a:pt x="1064" y="1050"/>
                  </a:lnTo>
                  <a:lnTo>
                    <a:pt x="1064" y="1050"/>
                  </a:lnTo>
                  <a:lnTo>
                    <a:pt x="1064" y="1050"/>
                  </a:lnTo>
                  <a:lnTo>
                    <a:pt x="1064" y="1050"/>
                  </a:lnTo>
                  <a:lnTo>
                    <a:pt x="1064" y="1050"/>
                  </a:lnTo>
                  <a:lnTo>
                    <a:pt x="1064" y="1053"/>
                  </a:lnTo>
                  <a:lnTo>
                    <a:pt x="1064" y="1053"/>
                  </a:lnTo>
                  <a:lnTo>
                    <a:pt x="1064" y="1053"/>
                  </a:lnTo>
                  <a:lnTo>
                    <a:pt x="1064" y="1053"/>
                  </a:lnTo>
                  <a:lnTo>
                    <a:pt x="1062" y="1050"/>
                  </a:lnTo>
                  <a:lnTo>
                    <a:pt x="1062" y="1050"/>
                  </a:lnTo>
                  <a:lnTo>
                    <a:pt x="1062" y="1047"/>
                  </a:lnTo>
                  <a:lnTo>
                    <a:pt x="1062" y="1050"/>
                  </a:lnTo>
                  <a:lnTo>
                    <a:pt x="1059" y="1050"/>
                  </a:lnTo>
                  <a:lnTo>
                    <a:pt x="1059" y="1050"/>
                  </a:lnTo>
                  <a:lnTo>
                    <a:pt x="1056" y="1045"/>
                  </a:lnTo>
                  <a:lnTo>
                    <a:pt x="1056" y="1045"/>
                  </a:lnTo>
                  <a:lnTo>
                    <a:pt x="1054" y="1042"/>
                  </a:lnTo>
                  <a:lnTo>
                    <a:pt x="1054" y="1042"/>
                  </a:lnTo>
                  <a:lnTo>
                    <a:pt x="1054" y="1042"/>
                  </a:lnTo>
                  <a:lnTo>
                    <a:pt x="1056" y="1039"/>
                  </a:lnTo>
                  <a:lnTo>
                    <a:pt x="1054" y="1039"/>
                  </a:lnTo>
                  <a:lnTo>
                    <a:pt x="1054" y="1039"/>
                  </a:lnTo>
                  <a:lnTo>
                    <a:pt x="1054" y="1039"/>
                  </a:lnTo>
                  <a:lnTo>
                    <a:pt x="1054" y="1039"/>
                  </a:lnTo>
                  <a:lnTo>
                    <a:pt x="1054" y="1039"/>
                  </a:lnTo>
                  <a:lnTo>
                    <a:pt x="1051" y="1039"/>
                  </a:lnTo>
                  <a:lnTo>
                    <a:pt x="1051" y="1037"/>
                  </a:lnTo>
                  <a:lnTo>
                    <a:pt x="1054" y="1037"/>
                  </a:lnTo>
                  <a:lnTo>
                    <a:pt x="1054" y="1037"/>
                  </a:lnTo>
                  <a:lnTo>
                    <a:pt x="1056" y="1037"/>
                  </a:lnTo>
                  <a:lnTo>
                    <a:pt x="1056" y="1037"/>
                  </a:lnTo>
                  <a:lnTo>
                    <a:pt x="1059" y="1037"/>
                  </a:lnTo>
                  <a:lnTo>
                    <a:pt x="1059" y="1037"/>
                  </a:lnTo>
                  <a:lnTo>
                    <a:pt x="1059" y="1034"/>
                  </a:lnTo>
                  <a:lnTo>
                    <a:pt x="1059" y="1031"/>
                  </a:lnTo>
                  <a:lnTo>
                    <a:pt x="1056" y="1031"/>
                  </a:lnTo>
                  <a:lnTo>
                    <a:pt x="1056" y="1031"/>
                  </a:lnTo>
                  <a:lnTo>
                    <a:pt x="1056" y="1034"/>
                  </a:lnTo>
                  <a:lnTo>
                    <a:pt x="1054" y="1034"/>
                  </a:lnTo>
                  <a:lnTo>
                    <a:pt x="1051" y="1034"/>
                  </a:lnTo>
                  <a:lnTo>
                    <a:pt x="1051" y="1034"/>
                  </a:lnTo>
                  <a:lnTo>
                    <a:pt x="1051" y="1034"/>
                  </a:lnTo>
                  <a:lnTo>
                    <a:pt x="1048" y="1034"/>
                  </a:lnTo>
                  <a:lnTo>
                    <a:pt x="1048" y="1034"/>
                  </a:lnTo>
                  <a:lnTo>
                    <a:pt x="1048" y="1034"/>
                  </a:lnTo>
                  <a:lnTo>
                    <a:pt x="1048" y="1034"/>
                  </a:lnTo>
                  <a:lnTo>
                    <a:pt x="1046" y="1034"/>
                  </a:lnTo>
                  <a:lnTo>
                    <a:pt x="1040" y="1034"/>
                  </a:lnTo>
                  <a:lnTo>
                    <a:pt x="1043" y="1031"/>
                  </a:lnTo>
                  <a:lnTo>
                    <a:pt x="1043" y="1031"/>
                  </a:lnTo>
                  <a:lnTo>
                    <a:pt x="1046" y="1031"/>
                  </a:lnTo>
                  <a:lnTo>
                    <a:pt x="1048" y="1028"/>
                  </a:lnTo>
                  <a:lnTo>
                    <a:pt x="1040" y="1031"/>
                  </a:lnTo>
                  <a:lnTo>
                    <a:pt x="1040" y="1031"/>
                  </a:lnTo>
                  <a:lnTo>
                    <a:pt x="1038" y="1031"/>
                  </a:lnTo>
                  <a:lnTo>
                    <a:pt x="1035" y="1031"/>
                  </a:lnTo>
                  <a:lnTo>
                    <a:pt x="1032" y="1034"/>
                  </a:lnTo>
                  <a:lnTo>
                    <a:pt x="1030" y="1034"/>
                  </a:lnTo>
                  <a:lnTo>
                    <a:pt x="1027" y="1034"/>
                  </a:lnTo>
                  <a:lnTo>
                    <a:pt x="1024" y="1034"/>
                  </a:lnTo>
                  <a:lnTo>
                    <a:pt x="1022" y="1034"/>
                  </a:lnTo>
                  <a:lnTo>
                    <a:pt x="1022" y="1037"/>
                  </a:lnTo>
                  <a:lnTo>
                    <a:pt x="1019" y="1039"/>
                  </a:lnTo>
                  <a:lnTo>
                    <a:pt x="1019" y="1039"/>
                  </a:lnTo>
                  <a:lnTo>
                    <a:pt x="1014" y="1042"/>
                  </a:lnTo>
                  <a:lnTo>
                    <a:pt x="1011" y="1042"/>
                  </a:lnTo>
                  <a:lnTo>
                    <a:pt x="1011" y="1042"/>
                  </a:lnTo>
                  <a:lnTo>
                    <a:pt x="1008" y="1045"/>
                  </a:lnTo>
                  <a:lnTo>
                    <a:pt x="1008" y="1045"/>
                  </a:lnTo>
                  <a:lnTo>
                    <a:pt x="1006" y="1047"/>
                  </a:lnTo>
                  <a:lnTo>
                    <a:pt x="990" y="1061"/>
                  </a:lnTo>
                  <a:lnTo>
                    <a:pt x="990" y="1061"/>
                  </a:lnTo>
                  <a:lnTo>
                    <a:pt x="990" y="1061"/>
                  </a:lnTo>
                  <a:lnTo>
                    <a:pt x="990" y="1063"/>
                  </a:lnTo>
                  <a:lnTo>
                    <a:pt x="987" y="1063"/>
                  </a:lnTo>
                  <a:lnTo>
                    <a:pt x="990" y="1063"/>
                  </a:lnTo>
                  <a:lnTo>
                    <a:pt x="990" y="1063"/>
                  </a:lnTo>
                  <a:lnTo>
                    <a:pt x="990" y="1061"/>
                  </a:lnTo>
                  <a:lnTo>
                    <a:pt x="992" y="1061"/>
                  </a:lnTo>
                  <a:lnTo>
                    <a:pt x="992" y="1063"/>
                  </a:lnTo>
                  <a:lnTo>
                    <a:pt x="992" y="1063"/>
                  </a:lnTo>
                  <a:lnTo>
                    <a:pt x="992" y="1063"/>
                  </a:lnTo>
                  <a:lnTo>
                    <a:pt x="992" y="1066"/>
                  </a:lnTo>
                  <a:lnTo>
                    <a:pt x="992" y="1066"/>
                  </a:lnTo>
                  <a:lnTo>
                    <a:pt x="992" y="1066"/>
                  </a:lnTo>
                  <a:lnTo>
                    <a:pt x="992" y="1066"/>
                  </a:lnTo>
                  <a:lnTo>
                    <a:pt x="992" y="1066"/>
                  </a:lnTo>
                  <a:lnTo>
                    <a:pt x="992" y="1066"/>
                  </a:lnTo>
                  <a:lnTo>
                    <a:pt x="992" y="1066"/>
                  </a:lnTo>
                  <a:lnTo>
                    <a:pt x="992" y="1066"/>
                  </a:lnTo>
                  <a:lnTo>
                    <a:pt x="992" y="1066"/>
                  </a:lnTo>
                  <a:lnTo>
                    <a:pt x="990" y="1069"/>
                  </a:lnTo>
                  <a:lnTo>
                    <a:pt x="990" y="1069"/>
                  </a:lnTo>
                  <a:lnTo>
                    <a:pt x="990" y="1069"/>
                  </a:lnTo>
                  <a:lnTo>
                    <a:pt x="990" y="1069"/>
                  </a:lnTo>
                  <a:lnTo>
                    <a:pt x="987" y="1069"/>
                  </a:lnTo>
                  <a:lnTo>
                    <a:pt x="987" y="1066"/>
                  </a:lnTo>
                  <a:lnTo>
                    <a:pt x="987" y="1066"/>
                  </a:lnTo>
                  <a:lnTo>
                    <a:pt x="987" y="1066"/>
                  </a:lnTo>
                  <a:lnTo>
                    <a:pt x="984" y="1069"/>
                  </a:lnTo>
                  <a:lnTo>
                    <a:pt x="982" y="1069"/>
                  </a:lnTo>
                  <a:lnTo>
                    <a:pt x="979" y="1071"/>
                  </a:lnTo>
                  <a:lnTo>
                    <a:pt x="979" y="1071"/>
                  </a:lnTo>
                  <a:lnTo>
                    <a:pt x="976" y="1071"/>
                  </a:lnTo>
                  <a:lnTo>
                    <a:pt x="976" y="1074"/>
                  </a:lnTo>
                  <a:lnTo>
                    <a:pt x="976" y="1074"/>
                  </a:lnTo>
                  <a:lnTo>
                    <a:pt x="979" y="1074"/>
                  </a:lnTo>
                  <a:lnTo>
                    <a:pt x="976" y="1077"/>
                  </a:lnTo>
                  <a:lnTo>
                    <a:pt x="976" y="1077"/>
                  </a:lnTo>
                  <a:lnTo>
                    <a:pt x="974" y="1079"/>
                  </a:lnTo>
                  <a:lnTo>
                    <a:pt x="971" y="1079"/>
                  </a:lnTo>
                  <a:lnTo>
                    <a:pt x="971" y="1077"/>
                  </a:lnTo>
                  <a:lnTo>
                    <a:pt x="971" y="1077"/>
                  </a:lnTo>
                  <a:lnTo>
                    <a:pt x="971" y="1077"/>
                  </a:lnTo>
                  <a:lnTo>
                    <a:pt x="971" y="1077"/>
                  </a:lnTo>
                  <a:lnTo>
                    <a:pt x="971" y="1077"/>
                  </a:lnTo>
                  <a:lnTo>
                    <a:pt x="968" y="1077"/>
                  </a:lnTo>
                  <a:lnTo>
                    <a:pt x="968" y="1077"/>
                  </a:lnTo>
                  <a:lnTo>
                    <a:pt x="968" y="1077"/>
                  </a:lnTo>
                  <a:lnTo>
                    <a:pt x="968" y="1074"/>
                  </a:lnTo>
                  <a:lnTo>
                    <a:pt x="971" y="1074"/>
                  </a:lnTo>
                  <a:lnTo>
                    <a:pt x="971" y="1074"/>
                  </a:lnTo>
                  <a:lnTo>
                    <a:pt x="971" y="1074"/>
                  </a:lnTo>
                  <a:lnTo>
                    <a:pt x="971" y="1071"/>
                  </a:lnTo>
                  <a:lnTo>
                    <a:pt x="966" y="1077"/>
                  </a:lnTo>
                  <a:lnTo>
                    <a:pt x="958" y="1079"/>
                  </a:lnTo>
                  <a:lnTo>
                    <a:pt x="958" y="1079"/>
                  </a:lnTo>
                  <a:lnTo>
                    <a:pt x="958" y="1079"/>
                  </a:lnTo>
                  <a:lnTo>
                    <a:pt x="958" y="1079"/>
                  </a:lnTo>
                  <a:lnTo>
                    <a:pt x="958" y="1079"/>
                  </a:lnTo>
                  <a:lnTo>
                    <a:pt x="958" y="1079"/>
                  </a:lnTo>
                  <a:lnTo>
                    <a:pt x="958" y="1082"/>
                  </a:lnTo>
                  <a:lnTo>
                    <a:pt x="958" y="1082"/>
                  </a:lnTo>
                  <a:lnTo>
                    <a:pt x="958" y="1082"/>
                  </a:lnTo>
                  <a:lnTo>
                    <a:pt x="958" y="1085"/>
                  </a:lnTo>
                  <a:lnTo>
                    <a:pt x="958" y="1087"/>
                  </a:lnTo>
                  <a:lnTo>
                    <a:pt x="958" y="1087"/>
                  </a:lnTo>
                  <a:lnTo>
                    <a:pt x="960" y="1090"/>
                  </a:lnTo>
                  <a:lnTo>
                    <a:pt x="960" y="1090"/>
                  </a:lnTo>
                  <a:lnTo>
                    <a:pt x="958" y="1093"/>
                  </a:lnTo>
                  <a:lnTo>
                    <a:pt x="958" y="1090"/>
                  </a:lnTo>
                  <a:lnTo>
                    <a:pt x="958" y="1090"/>
                  </a:lnTo>
                  <a:lnTo>
                    <a:pt x="955" y="1090"/>
                  </a:lnTo>
                  <a:lnTo>
                    <a:pt x="955" y="1093"/>
                  </a:lnTo>
                  <a:lnTo>
                    <a:pt x="958" y="1093"/>
                  </a:lnTo>
                  <a:lnTo>
                    <a:pt x="958" y="1093"/>
                  </a:lnTo>
                  <a:lnTo>
                    <a:pt x="958" y="1093"/>
                  </a:lnTo>
                  <a:lnTo>
                    <a:pt x="958" y="1093"/>
                  </a:lnTo>
                  <a:lnTo>
                    <a:pt x="958" y="1093"/>
                  </a:lnTo>
                  <a:lnTo>
                    <a:pt x="955" y="1093"/>
                  </a:lnTo>
                  <a:lnTo>
                    <a:pt x="955" y="1095"/>
                  </a:lnTo>
                  <a:lnTo>
                    <a:pt x="955" y="1095"/>
                  </a:lnTo>
                  <a:lnTo>
                    <a:pt x="955" y="1095"/>
                  </a:lnTo>
                  <a:lnTo>
                    <a:pt x="955" y="1095"/>
                  </a:lnTo>
                  <a:lnTo>
                    <a:pt x="952" y="1095"/>
                  </a:lnTo>
                  <a:lnTo>
                    <a:pt x="952" y="1098"/>
                  </a:lnTo>
                  <a:lnTo>
                    <a:pt x="955" y="1098"/>
                  </a:lnTo>
                  <a:lnTo>
                    <a:pt x="955" y="1101"/>
                  </a:lnTo>
                  <a:lnTo>
                    <a:pt x="955" y="1101"/>
                  </a:lnTo>
                  <a:lnTo>
                    <a:pt x="955" y="1101"/>
                  </a:lnTo>
                  <a:lnTo>
                    <a:pt x="958" y="1098"/>
                  </a:lnTo>
                  <a:lnTo>
                    <a:pt x="958" y="1098"/>
                  </a:lnTo>
                  <a:lnTo>
                    <a:pt x="960" y="1098"/>
                  </a:lnTo>
                  <a:lnTo>
                    <a:pt x="960" y="1098"/>
                  </a:lnTo>
                  <a:lnTo>
                    <a:pt x="963" y="1095"/>
                  </a:lnTo>
                  <a:lnTo>
                    <a:pt x="963" y="1095"/>
                  </a:lnTo>
                  <a:lnTo>
                    <a:pt x="966" y="1093"/>
                  </a:lnTo>
                  <a:lnTo>
                    <a:pt x="968" y="1093"/>
                  </a:lnTo>
                  <a:lnTo>
                    <a:pt x="968" y="1093"/>
                  </a:lnTo>
                  <a:lnTo>
                    <a:pt x="966" y="1090"/>
                  </a:lnTo>
                  <a:lnTo>
                    <a:pt x="966" y="1090"/>
                  </a:lnTo>
                  <a:lnTo>
                    <a:pt x="966" y="1090"/>
                  </a:lnTo>
                  <a:lnTo>
                    <a:pt x="963" y="1087"/>
                  </a:lnTo>
                  <a:lnTo>
                    <a:pt x="963" y="1087"/>
                  </a:lnTo>
                  <a:lnTo>
                    <a:pt x="960" y="1085"/>
                  </a:lnTo>
                  <a:lnTo>
                    <a:pt x="963" y="1082"/>
                  </a:lnTo>
                  <a:lnTo>
                    <a:pt x="963" y="1082"/>
                  </a:lnTo>
                  <a:lnTo>
                    <a:pt x="960" y="1082"/>
                  </a:lnTo>
                  <a:lnTo>
                    <a:pt x="960" y="1082"/>
                  </a:lnTo>
                  <a:lnTo>
                    <a:pt x="960" y="1082"/>
                  </a:lnTo>
                  <a:lnTo>
                    <a:pt x="963" y="1082"/>
                  </a:lnTo>
                  <a:lnTo>
                    <a:pt x="963" y="1082"/>
                  </a:lnTo>
                  <a:lnTo>
                    <a:pt x="963" y="1082"/>
                  </a:lnTo>
                  <a:lnTo>
                    <a:pt x="963" y="1082"/>
                  </a:lnTo>
                  <a:lnTo>
                    <a:pt x="963" y="1082"/>
                  </a:lnTo>
                  <a:lnTo>
                    <a:pt x="963" y="1079"/>
                  </a:lnTo>
                  <a:lnTo>
                    <a:pt x="963" y="1079"/>
                  </a:lnTo>
                  <a:lnTo>
                    <a:pt x="963" y="1079"/>
                  </a:lnTo>
                  <a:lnTo>
                    <a:pt x="966" y="1079"/>
                  </a:lnTo>
                  <a:lnTo>
                    <a:pt x="966" y="1079"/>
                  </a:lnTo>
                  <a:lnTo>
                    <a:pt x="966" y="1079"/>
                  </a:lnTo>
                  <a:lnTo>
                    <a:pt x="966" y="1082"/>
                  </a:lnTo>
                  <a:lnTo>
                    <a:pt x="966" y="1082"/>
                  </a:lnTo>
                  <a:lnTo>
                    <a:pt x="963" y="1082"/>
                  </a:lnTo>
                  <a:lnTo>
                    <a:pt x="966" y="1082"/>
                  </a:lnTo>
                  <a:lnTo>
                    <a:pt x="966" y="1082"/>
                  </a:lnTo>
                  <a:lnTo>
                    <a:pt x="966" y="1082"/>
                  </a:lnTo>
                  <a:lnTo>
                    <a:pt x="966" y="1082"/>
                  </a:lnTo>
                  <a:lnTo>
                    <a:pt x="968" y="1082"/>
                  </a:lnTo>
                  <a:lnTo>
                    <a:pt x="968" y="1082"/>
                  </a:lnTo>
                  <a:lnTo>
                    <a:pt x="968" y="1082"/>
                  </a:lnTo>
                  <a:lnTo>
                    <a:pt x="968" y="1085"/>
                  </a:lnTo>
                  <a:lnTo>
                    <a:pt x="971" y="1085"/>
                  </a:lnTo>
                  <a:lnTo>
                    <a:pt x="971" y="1087"/>
                  </a:lnTo>
                  <a:lnTo>
                    <a:pt x="971" y="1087"/>
                  </a:lnTo>
                  <a:lnTo>
                    <a:pt x="974" y="1087"/>
                  </a:lnTo>
                  <a:lnTo>
                    <a:pt x="974" y="1087"/>
                  </a:lnTo>
                  <a:lnTo>
                    <a:pt x="971" y="1087"/>
                  </a:lnTo>
                  <a:lnTo>
                    <a:pt x="971" y="1090"/>
                  </a:lnTo>
                  <a:lnTo>
                    <a:pt x="971" y="1090"/>
                  </a:lnTo>
                  <a:lnTo>
                    <a:pt x="971" y="1090"/>
                  </a:lnTo>
                  <a:lnTo>
                    <a:pt x="971" y="1093"/>
                  </a:lnTo>
                  <a:lnTo>
                    <a:pt x="971" y="1093"/>
                  </a:lnTo>
                  <a:lnTo>
                    <a:pt x="971" y="1093"/>
                  </a:lnTo>
                  <a:lnTo>
                    <a:pt x="974" y="1093"/>
                  </a:lnTo>
                  <a:lnTo>
                    <a:pt x="974" y="1095"/>
                  </a:lnTo>
                  <a:lnTo>
                    <a:pt x="976" y="1095"/>
                  </a:lnTo>
                  <a:lnTo>
                    <a:pt x="979" y="1095"/>
                  </a:lnTo>
                  <a:lnTo>
                    <a:pt x="979" y="1095"/>
                  </a:lnTo>
                  <a:lnTo>
                    <a:pt x="979" y="1093"/>
                  </a:lnTo>
                  <a:lnTo>
                    <a:pt x="979" y="1093"/>
                  </a:lnTo>
                  <a:lnTo>
                    <a:pt x="979" y="1093"/>
                  </a:lnTo>
                  <a:lnTo>
                    <a:pt x="979" y="1093"/>
                  </a:lnTo>
                  <a:lnTo>
                    <a:pt x="979" y="1093"/>
                  </a:lnTo>
                  <a:lnTo>
                    <a:pt x="982" y="1090"/>
                  </a:lnTo>
                  <a:lnTo>
                    <a:pt x="982" y="1090"/>
                  </a:lnTo>
                  <a:lnTo>
                    <a:pt x="982" y="1087"/>
                  </a:lnTo>
                  <a:lnTo>
                    <a:pt x="982" y="1087"/>
                  </a:lnTo>
                  <a:lnTo>
                    <a:pt x="984" y="1087"/>
                  </a:lnTo>
                  <a:lnTo>
                    <a:pt x="984" y="1087"/>
                  </a:lnTo>
                  <a:lnTo>
                    <a:pt x="984" y="1090"/>
                  </a:lnTo>
                  <a:lnTo>
                    <a:pt x="984" y="1090"/>
                  </a:lnTo>
                  <a:lnTo>
                    <a:pt x="984" y="1090"/>
                  </a:lnTo>
                  <a:lnTo>
                    <a:pt x="982" y="1090"/>
                  </a:lnTo>
                  <a:lnTo>
                    <a:pt x="984" y="1090"/>
                  </a:lnTo>
                  <a:lnTo>
                    <a:pt x="984" y="1093"/>
                  </a:lnTo>
                  <a:lnTo>
                    <a:pt x="984" y="1093"/>
                  </a:lnTo>
                  <a:lnTo>
                    <a:pt x="987" y="1095"/>
                  </a:lnTo>
                  <a:lnTo>
                    <a:pt x="984" y="1087"/>
                  </a:lnTo>
                  <a:lnTo>
                    <a:pt x="984" y="1085"/>
                  </a:lnTo>
                  <a:lnTo>
                    <a:pt x="984" y="1087"/>
                  </a:lnTo>
                  <a:lnTo>
                    <a:pt x="984" y="1087"/>
                  </a:lnTo>
                  <a:lnTo>
                    <a:pt x="984" y="1085"/>
                  </a:lnTo>
                  <a:lnTo>
                    <a:pt x="984" y="1085"/>
                  </a:lnTo>
                  <a:lnTo>
                    <a:pt x="984" y="1082"/>
                  </a:lnTo>
                  <a:lnTo>
                    <a:pt x="984" y="1082"/>
                  </a:lnTo>
                  <a:lnTo>
                    <a:pt x="984" y="1082"/>
                  </a:lnTo>
                  <a:lnTo>
                    <a:pt x="984" y="1082"/>
                  </a:lnTo>
                  <a:lnTo>
                    <a:pt x="984" y="1082"/>
                  </a:lnTo>
                  <a:lnTo>
                    <a:pt x="984" y="1082"/>
                  </a:lnTo>
                  <a:lnTo>
                    <a:pt x="984" y="1082"/>
                  </a:lnTo>
                  <a:lnTo>
                    <a:pt x="984" y="1082"/>
                  </a:lnTo>
                  <a:lnTo>
                    <a:pt x="987" y="1082"/>
                  </a:lnTo>
                  <a:lnTo>
                    <a:pt x="987" y="1082"/>
                  </a:lnTo>
                  <a:lnTo>
                    <a:pt x="987" y="1082"/>
                  </a:lnTo>
                  <a:lnTo>
                    <a:pt x="987" y="1082"/>
                  </a:lnTo>
                  <a:lnTo>
                    <a:pt x="987" y="1079"/>
                  </a:lnTo>
                  <a:lnTo>
                    <a:pt x="984" y="1079"/>
                  </a:lnTo>
                  <a:lnTo>
                    <a:pt x="984" y="1079"/>
                  </a:lnTo>
                  <a:lnTo>
                    <a:pt x="982" y="1077"/>
                  </a:lnTo>
                  <a:lnTo>
                    <a:pt x="982" y="1077"/>
                  </a:lnTo>
                  <a:lnTo>
                    <a:pt x="982" y="1074"/>
                  </a:lnTo>
                  <a:lnTo>
                    <a:pt x="984" y="1074"/>
                  </a:lnTo>
                  <a:lnTo>
                    <a:pt x="984" y="1071"/>
                  </a:lnTo>
                  <a:lnTo>
                    <a:pt x="984" y="1071"/>
                  </a:lnTo>
                  <a:lnTo>
                    <a:pt x="987" y="1071"/>
                  </a:lnTo>
                  <a:lnTo>
                    <a:pt x="987" y="1071"/>
                  </a:lnTo>
                  <a:lnTo>
                    <a:pt x="987" y="1071"/>
                  </a:lnTo>
                  <a:lnTo>
                    <a:pt x="990" y="1071"/>
                  </a:lnTo>
                  <a:lnTo>
                    <a:pt x="990" y="1071"/>
                  </a:lnTo>
                  <a:lnTo>
                    <a:pt x="987" y="1074"/>
                  </a:lnTo>
                  <a:lnTo>
                    <a:pt x="990" y="1074"/>
                  </a:lnTo>
                  <a:lnTo>
                    <a:pt x="990" y="1074"/>
                  </a:lnTo>
                  <a:lnTo>
                    <a:pt x="990" y="1079"/>
                  </a:lnTo>
                  <a:lnTo>
                    <a:pt x="992" y="1079"/>
                  </a:lnTo>
                  <a:lnTo>
                    <a:pt x="992" y="1082"/>
                  </a:lnTo>
                  <a:lnTo>
                    <a:pt x="992" y="1085"/>
                  </a:lnTo>
                  <a:lnTo>
                    <a:pt x="995" y="1085"/>
                  </a:lnTo>
                  <a:lnTo>
                    <a:pt x="995" y="1085"/>
                  </a:lnTo>
                  <a:lnTo>
                    <a:pt x="992" y="1085"/>
                  </a:lnTo>
                  <a:lnTo>
                    <a:pt x="992" y="1085"/>
                  </a:lnTo>
                  <a:lnTo>
                    <a:pt x="990" y="1085"/>
                  </a:lnTo>
                  <a:lnTo>
                    <a:pt x="990" y="1085"/>
                  </a:lnTo>
                  <a:lnTo>
                    <a:pt x="990" y="1085"/>
                  </a:lnTo>
                  <a:lnTo>
                    <a:pt x="990" y="1087"/>
                  </a:lnTo>
                  <a:lnTo>
                    <a:pt x="990" y="1087"/>
                  </a:lnTo>
                  <a:lnTo>
                    <a:pt x="990" y="1087"/>
                  </a:lnTo>
                  <a:lnTo>
                    <a:pt x="992" y="1090"/>
                  </a:lnTo>
                  <a:lnTo>
                    <a:pt x="992" y="1090"/>
                  </a:lnTo>
                  <a:lnTo>
                    <a:pt x="995" y="1090"/>
                  </a:lnTo>
                  <a:lnTo>
                    <a:pt x="995" y="1090"/>
                  </a:lnTo>
                  <a:lnTo>
                    <a:pt x="995" y="1090"/>
                  </a:lnTo>
                  <a:lnTo>
                    <a:pt x="995" y="1087"/>
                  </a:lnTo>
                  <a:lnTo>
                    <a:pt x="998" y="1087"/>
                  </a:lnTo>
                  <a:lnTo>
                    <a:pt x="998" y="1090"/>
                  </a:lnTo>
                  <a:lnTo>
                    <a:pt x="998" y="1090"/>
                  </a:lnTo>
                  <a:lnTo>
                    <a:pt x="998" y="1090"/>
                  </a:lnTo>
                  <a:lnTo>
                    <a:pt x="998" y="1093"/>
                  </a:lnTo>
                  <a:lnTo>
                    <a:pt x="998" y="1093"/>
                  </a:lnTo>
                  <a:lnTo>
                    <a:pt x="998" y="1090"/>
                  </a:lnTo>
                  <a:lnTo>
                    <a:pt x="1000" y="1090"/>
                  </a:lnTo>
                  <a:lnTo>
                    <a:pt x="1000" y="1090"/>
                  </a:lnTo>
                  <a:lnTo>
                    <a:pt x="1000" y="1090"/>
                  </a:lnTo>
                  <a:lnTo>
                    <a:pt x="1000" y="1087"/>
                  </a:lnTo>
                  <a:lnTo>
                    <a:pt x="1000" y="1085"/>
                  </a:lnTo>
                  <a:lnTo>
                    <a:pt x="1003" y="1085"/>
                  </a:lnTo>
                  <a:lnTo>
                    <a:pt x="1006" y="1082"/>
                  </a:lnTo>
                  <a:lnTo>
                    <a:pt x="1006" y="1082"/>
                  </a:lnTo>
                  <a:lnTo>
                    <a:pt x="1006" y="1085"/>
                  </a:lnTo>
                  <a:lnTo>
                    <a:pt x="1006" y="1085"/>
                  </a:lnTo>
                  <a:lnTo>
                    <a:pt x="1006" y="1085"/>
                  </a:lnTo>
                  <a:lnTo>
                    <a:pt x="1006" y="1085"/>
                  </a:lnTo>
                  <a:lnTo>
                    <a:pt x="1006" y="1085"/>
                  </a:lnTo>
                  <a:lnTo>
                    <a:pt x="1003" y="1085"/>
                  </a:lnTo>
                  <a:lnTo>
                    <a:pt x="1003" y="1087"/>
                  </a:lnTo>
                  <a:lnTo>
                    <a:pt x="1006" y="1087"/>
                  </a:lnTo>
                  <a:lnTo>
                    <a:pt x="1006" y="1087"/>
                  </a:lnTo>
                  <a:lnTo>
                    <a:pt x="1006" y="1087"/>
                  </a:lnTo>
                  <a:lnTo>
                    <a:pt x="1008" y="1087"/>
                  </a:lnTo>
                  <a:lnTo>
                    <a:pt x="1008" y="1087"/>
                  </a:lnTo>
                  <a:lnTo>
                    <a:pt x="1011" y="1087"/>
                  </a:lnTo>
                  <a:lnTo>
                    <a:pt x="1011" y="1085"/>
                  </a:lnTo>
                  <a:lnTo>
                    <a:pt x="1011" y="1085"/>
                  </a:lnTo>
                  <a:lnTo>
                    <a:pt x="1011" y="1085"/>
                  </a:lnTo>
                  <a:lnTo>
                    <a:pt x="1011" y="1085"/>
                  </a:lnTo>
                  <a:lnTo>
                    <a:pt x="1011" y="1085"/>
                  </a:lnTo>
                  <a:lnTo>
                    <a:pt x="1008" y="1082"/>
                  </a:lnTo>
                  <a:lnTo>
                    <a:pt x="1008" y="1082"/>
                  </a:lnTo>
                  <a:lnTo>
                    <a:pt x="1008" y="1079"/>
                  </a:lnTo>
                  <a:lnTo>
                    <a:pt x="1008" y="1079"/>
                  </a:lnTo>
                  <a:lnTo>
                    <a:pt x="1008" y="1079"/>
                  </a:lnTo>
                  <a:lnTo>
                    <a:pt x="1008" y="1077"/>
                  </a:lnTo>
                  <a:lnTo>
                    <a:pt x="1011" y="1079"/>
                  </a:lnTo>
                  <a:lnTo>
                    <a:pt x="1011" y="1079"/>
                  </a:lnTo>
                  <a:lnTo>
                    <a:pt x="1014" y="1079"/>
                  </a:lnTo>
                  <a:lnTo>
                    <a:pt x="1014" y="1079"/>
                  </a:lnTo>
                  <a:lnTo>
                    <a:pt x="1011" y="1079"/>
                  </a:lnTo>
                  <a:lnTo>
                    <a:pt x="1011" y="1079"/>
                  </a:lnTo>
                  <a:lnTo>
                    <a:pt x="1011" y="1079"/>
                  </a:lnTo>
                  <a:lnTo>
                    <a:pt x="1014" y="1079"/>
                  </a:lnTo>
                  <a:lnTo>
                    <a:pt x="1014" y="1079"/>
                  </a:lnTo>
                  <a:lnTo>
                    <a:pt x="1014" y="1079"/>
                  </a:lnTo>
                  <a:lnTo>
                    <a:pt x="1014" y="1079"/>
                  </a:lnTo>
                  <a:lnTo>
                    <a:pt x="1014" y="1079"/>
                  </a:lnTo>
                  <a:lnTo>
                    <a:pt x="1014" y="1079"/>
                  </a:lnTo>
                  <a:lnTo>
                    <a:pt x="1016" y="1077"/>
                  </a:lnTo>
                  <a:lnTo>
                    <a:pt x="1016" y="1074"/>
                  </a:lnTo>
                  <a:lnTo>
                    <a:pt x="1019" y="1074"/>
                  </a:lnTo>
                  <a:lnTo>
                    <a:pt x="1022" y="1069"/>
                  </a:lnTo>
                  <a:lnTo>
                    <a:pt x="1022" y="1069"/>
                  </a:lnTo>
                  <a:lnTo>
                    <a:pt x="1022" y="1069"/>
                  </a:lnTo>
                  <a:lnTo>
                    <a:pt x="1022" y="1066"/>
                  </a:lnTo>
                  <a:lnTo>
                    <a:pt x="1022" y="1066"/>
                  </a:lnTo>
                  <a:lnTo>
                    <a:pt x="1024" y="1063"/>
                  </a:lnTo>
                  <a:lnTo>
                    <a:pt x="1024" y="1063"/>
                  </a:lnTo>
                  <a:lnTo>
                    <a:pt x="1024" y="1063"/>
                  </a:lnTo>
                  <a:lnTo>
                    <a:pt x="1024" y="1063"/>
                  </a:lnTo>
                  <a:lnTo>
                    <a:pt x="1024" y="1061"/>
                  </a:lnTo>
                  <a:lnTo>
                    <a:pt x="1024" y="1061"/>
                  </a:lnTo>
                  <a:lnTo>
                    <a:pt x="1024" y="1061"/>
                  </a:lnTo>
                  <a:lnTo>
                    <a:pt x="1027" y="1058"/>
                  </a:lnTo>
                  <a:lnTo>
                    <a:pt x="1027" y="1055"/>
                  </a:lnTo>
                  <a:lnTo>
                    <a:pt x="1027" y="1055"/>
                  </a:lnTo>
                  <a:lnTo>
                    <a:pt x="1027" y="1055"/>
                  </a:lnTo>
                  <a:lnTo>
                    <a:pt x="1027" y="1055"/>
                  </a:lnTo>
                  <a:lnTo>
                    <a:pt x="1027" y="1055"/>
                  </a:lnTo>
                  <a:lnTo>
                    <a:pt x="1035" y="1053"/>
                  </a:lnTo>
                  <a:lnTo>
                    <a:pt x="1035" y="1055"/>
                  </a:lnTo>
                  <a:lnTo>
                    <a:pt x="1038" y="1055"/>
                  </a:lnTo>
                  <a:lnTo>
                    <a:pt x="1038" y="1058"/>
                  </a:lnTo>
                  <a:lnTo>
                    <a:pt x="1040" y="1058"/>
                  </a:lnTo>
                  <a:lnTo>
                    <a:pt x="1040" y="1058"/>
                  </a:lnTo>
                  <a:lnTo>
                    <a:pt x="1040" y="1058"/>
                  </a:lnTo>
                  <a:lnTo>
                    <a:pt x="1040" y="1061"/>
                  </a:lnTo>
                  <a:lnTo>
                    <a:pt x="1040" y="1061"/>
                  </a:lnTo>
                  <a:lnTo>
                    <a:pt x="1046" y="1061"/>
                  </a:lnTo>
                  <a:lnTo>
                    <a:pt x="1046" y="1061"/>
                  </a:lnTo>
                  <a:lnTo>
                    <a:pt x="1046" y="1063"/>
                  </a:lnTo>
                  <a:lnTo>
                    <a:pt x="1043" y="1063"/>
                  </a:lnTo>
                  <a:lnTo>
                    <a:pt x="1040" y="1061"/>
                  </a:lnTo>
                  <a:lnTo>
                    <a:pt x="1038" y="1061"/>
                  </a:lnTo>
                  <a:lnTo>
                    <a:pt x="1038" y="1058"/>
                  </a:lnTo>
                  <a:lnTo>
                    <a:pt x="1038" y="1058"/>
                  </a:lnTo>
                  <a:lnTo>
                    <a:pt x="1035" y="1058"/>
                  </a:lnTo>
                  <a:lnTo>
                    <a:pt x="1035" y="1061"/>
                  </a:lnTo>
                  <a:lnTo>
                    <a:pt x="1032" y="1061"/>
                  </a:lnTo>
                  <a:lnTo>
                    <a:pt x="1032" y="1063"/>
                  </a:lnTo>
                  <a:lnTo>
                    <a:pt x="1032" y="1063"/>
                  </a:lnTo>
                  <a:lnTo>
                    <a:pt x="1032" y="1063"/>
                  </a:lnTo>
                  <a:lnTo>
                    <a:pt x="1032" y="1066"/>
                  </a:lnTo>
                  <a:lnTo>
                    <a:pt x="1032" y="1069"/>
                  </a:lnTo>
                  <a:lnTo>
                    <a:pt x="1030" y="1071"/>
                  </a:lnTo>
                  <a:lnTo>
                    <a:pt x="1030" y="1071"/>
                  </a:lnTo>
                  <a:lnTo>
                    <a:pt x="1030" y="1071"/>
                  </a:lnTo>
                  <a:lnTo>
                    <a:pt x="1030" y="1071"/>
                  </a:lnTo>
                  <a:lnTo>
                    <a:pt x="1035" y="1071"/>
                  </a:lnTo>
                  <a:lnTo>
                    <a:pt x="1038" y="1071"/>
                  </a:lnTo>
                  <a:lnTo>
                    <a:pt x="1038" y="1074"/>
                  </a:lnTo>
                  <a:lnTo>
                    <a:pt x="1038" y="1074"/>
                  </a:lnTo>
                  <a:lnTo>
                    <a:pt x="1038" y="1074"/>
                  </a:lnTo>
                  <a:lnTo>
                    <a:pt x="1046" y="1071"/>
                  </a:lnTo>
                  <a:lnTo>
                    <a:pt x="1048" y="1069"/>
                  </a:lnTo>
                  <a:lnTo>
                    <a:pt x="1051" y="1069"/>
                  </a:lnTo>
                  <a:lnTo>
                    <a:pt x="1051" y="1066"/>
                  </a:lnTo>
                  <a:lnTo>
                    <a:pt x="1054" y="1063"/>
                  </a:lnTo>
                  <a:lnTo>
                    <a:pt x="1056" y="1063"/>
                  </a:lnTo>
                  <a:lnTo>
                    <a:pt x="1056" y="1063"/>
                  </a:lnTo>
                  <a:lnTo>
                    <a:pt x="1056" y="1066"/>
                  </a:lnTo>
                  <a:lnTo>
                    <a:pt x="1056" y="1066"/>
                  </a:lnTo>
                  <a:lnTo>
                    <a:pt x="1056" y="1066"/>
                  </a:lnTo>
                  <a:lnTo>
                    <a:pt x="1056" y="1069"/>
                  </a:lnTo>
                  <a:lnTo>
                    <a:pt x="1056" y="1069"/>
                  </a:lnTo>
                  <a:lnTo>
                    <a:pt x="1056" y="1069"/>
                  </a:lnTo>
                  <a:lnTo>
                    <a:pt x="1056" y="1069"/>
                  </a:lnTo>
                  <a:lnTo>
                    <a:pt x="1056" y="1069"/>
                  </a:lnTo>
                  <a:lnTo>
                    <a:pt x="1059" y="1069"/>
                  </a:lnTo>
                  <a:lnTo>
                    <a:pt x="1062" y="1069"/>
                  </a:lnTo>
                  <a:lnTo>
                    <a:pt x="1062" y="1069"/>
                  </a:lnTo>
                  <a:lnTo>
                    <a:pt x="1064" y="1066"/>
                  </a:lnTo>
                  <a:lnTo>
                    <a:pt x="1062" y="1066"/>
                  </a:lnTo>
                  <a:lnTo>
                    <a:pt x="1062" y="1063"/>
                  </a:lnTo>
                  <a:lnTo>
                    <a:pt x="1062" y="1063"/>
                  </a:lnTo>
                  <a:lnTo>
                    <a:pt x="1059" y="1063"/>
                  </a:lnTo>
                  <a:lnTo>
                    <a:pt x="1059" y="1063"/>
                  </a:lnTo>
                  <a:lnTo>
                    <a:pt x="1062" y="1063"/>
                  </a:lnTo>
                  <a:lnTo>
                    <a:pt x="1062" y="1063"/>
                  </a:lnTo>
                  <a:lnTo>
                    <a:pt x="1064" y="1063"/>
                  </a:lnTo>
                  <a:lnTo>
                    <a:pt x="1064" y="1061"/>
                  </a:lnTo>
                  <a:lnTo>
                    <a:pt x="1064" y="1061"/>
                  </a:lnTo>
                  <a:lnTo>
                    <a:pt x="1067" y="1058"/>
                  </a:lnTo>
                  <a:lnTo>
                    <a:pt x="1067" y="1058"/>
                  </a:lnTo>
                  <a:lnTo>
                    <a:pt x="1067" y="1061"/>
                  </a:lnTo>
                  <a:lnTo>
                    <a:pt x="1067" y="1063"/>
                  </a:lnTo>
                  <a:lnTo>
                    <a:pt x="1067" y="1063"/>
                  </a:lnTo>
                  <a:lnTo>
                    <a:pt x="1067" y="1069"/>
                  </a:lnTo>
                  <a:lnTo>
                    <a:pt x="1067" y="1069"/>
                  </a:lnTo>
                  <a:lnTo>
                    <a:pt x="1070" y="1069"/>
                  </a:lnTo>
                  <a:lnTo>
                    <a:pt x="1070" y="1066"/>
                  </a:lnTo>
                  <a:lnTo>
                    <a:pt x="1070" y="1066"/>
                  </a:lnTo>
                  <a:lnTo>
                    <a:pt x="1070" y="1066"/>
                  </a:lnTo>
                  <a:lnTo>
                    <a:pt x="1070" y="1066"/>
                  </a:lnTo>
                  <a:lnTo>
                    <a:pt x="1072" y="1063"/>
                  </a:lnTo>
                  <a:lnTo>
                    <a:pt x="1072" y="1063"/>
                  </a:lnTo>
                  <a:lnTo>
                    <a:pt x="1072" y="1063"/>
                  </a:lnTo>
                  <a:lnTo>
                    <a:pt x="1072" y="1063"/>
                  </a:lnTo>
                  <a:lnTo>
                    <a:pt x="1072" y="1061"/>
                  </a:lnTo>
                  <a:lnTo>
                    <a:pt x="1072" y="1061"/>
                  </a:lnTo>
                  <a:lnTo>
                    <a:pt x="1075" y="1061"/>
                  </a:lnTo>
                  <a:lnTo>
                    <a:pt x="1075" y="1061"/>
                  </a:lnTo>
                  <a:lnTo>
                    <a:pt x="1075" y="1061"/>
                  </a:lnTo>
                  <a:lnTo>
                    <a:pt x="1072" y="1058"/>
                  </a:lnTo>
                  <a:lnTo>
                    <a:pt x="1072" y="1058"/>
                  </a:lnTo>
                  <a:lnTo>
                    <a:pt x="1072" y="1058"/>
                  </a:lnTo>
                  <a:lnTo>
                    <a:pt x="1075" y="1058"/>
                  </a:lnTo>
                  <a:lnTo>
                    <a:pt x="1075" y="1058"/>
                  </a:lnTo>
                  <a:lnTo>
                    <a:pt x="1080" y="1058"/>
                  </a:lnTo>
                  <a:lnTo>
                    <a:pt x="1080" y="1058"/>
                  </a:lnTo>
                  <a:lnTo>
                    <a:pt x="1080" y="1058"/>
                  </a:lnTo>
                  <a:lnTo>
                    <a:pt x="1083" y="1058"/>
                  </a:lnTo>
                  <a:lnTo>
                    <a:pt x="1086" y="1055"/>
                  </a:lnTo>
                  <a:lnTo>
                    <a:pt x="1083" y="1055"/>
                  </a:lnTo>
                  <a:lnTo>
                    <a:pt x="1083" y="1053"/>
                  </a:lnTo>
                  <a:lnTo>
                    <a:pt x="1083" y="1053"/>
                  </a:lnTo>
                  <a:lnTo>
                    <a:pt x="1086" y="1053"/>
                  </a:lnTo>
                  <a:lnTo>
                    <a:pt x="1086" y="1053"/>
                  </a:lnTo>
                  <a:lnTo>
                    <a:pt x="1086" y="1053"/>
                  </a:lnTo>
                  <a:lnTo>
                    <a:pt x="1086" y="1053"/>
                  </a:lnTo>
                  <a:lnTo>
                    <a:pt x="1086" y="1055"/>
                  </a:lnTo>
                  <a:lnTo>
                    <a:pt x="1086" y="1055"/>
                  </a:lnTo>
                  <a:lnTo>
                    <a:pt x="1088" y="1055"/>
                  </a:lnTo>
                  <a:lnTo>
                    <a:pt x="1086" y="1053"/>
                  </a:lnTo>
                  <a:lnTo>
                    <a:pt x="1086" y="1053"/>
                  </a:lnTo>
                  <a:lnTo>
                    <a:pt x="1086" y="1053"/>
                  </a:lnTo>
                  <a:lnTo>
                    <a:pt x="1086" y="1053"/>
                  </a:lnTo>
                  <a:lnTo>
                    <a:pt x="1088" y="1053"/>
                  </a:lnTo>
                  <a:lnTo>
                    <a:pt x="1088" y="1053"/>
                  </a:lnTo>
                  <a:lnTo>
                    <a:pt x="1088" y="1053"/>
                  </a:lnTo>
                  <a:lnTo>
                    <a:pt x="1088" y="1050"/>
                  </a:lnTo>
                  <a:lnTo>
                    <a:pt x="1088" y="1050"/>
                  </a:lnTo>
                  <a:lnTo>
                    <a:pt x="1088" y="1050"/>
                  </a:lnTo>
                  <a:lnTo>
                    <a:pt x="1088" y="1047"/>
                  </a:lnTo>
                  <a:lnTo>
                    <a:pt x="1088" y="1047"/>
                  </a:lnTo>
                  <a:lnTo>
                    <a:pt x="1088" y="1050"/>
                  </a:lnTo>
                  <a:lnTo>
                    <a:pt x="1091" y="1050"/>
                  </a:lnTo>
                  <a:lnTo>
                    <a:pt x="1091" y="1050"/>
                  </a:lnTo>
                  <a:lnTo>
                    <a:pt x="1091" y="1050"/>
                  </a:lnTo>
                  <a:lnTo>
                    <a:pt x="1091" y="1050"/>
                  </a:lnTo>
                  <a:lnTo>
                    <a:pt x="1091" y="1047"/>
                  </a:lnTo>
                  <a:lnTo>
                    <a:pt x="1091" y="1047"/>
                  </a:lnTo>
                  <a:lnTo>
                    <a:pt x="1091" y="1047"/>
                  </a:lnTo>
                  <a:lnTo>
                    <a:pt x="1091" y="1047"/>
                  </a:lnTo>
                  <a:lnTo>
                    <a:pt x="1091" y="1047"/>
                  </a:lnTo>
                  <a:lnTo>
                    <a:pt x="1094" y="1050"/>
                  </a:lnTo>
                  <a:lnTo>
                    <a:pt x="1094" y="1050"/>
                  </a:lnTo>
                  <a:lnTo>
                    <a:pt x="1096" y="1050"/>
                  </a:lnTo>
                  <a:lnTo>
                    <a:pt x="1096" y="1050"/>
                  </a:lnTo>
                  <a:lnTo>
                    <a:pt x="1096" y="1047"/>
                  </a:lnTo>
                  <a:lnTo>
                    <a:pt x="1096" y="1047"/>
                  </a:lnTo>
                  <a:lnTo>
                    <a:pt x="1096" y="1047"/>
                  </a:lnTo>
                  <a:lnTo>
                    <a:pt x="1096" y="1045"/>
                  </a:lnTo>
                  <a:lnTo>
                    <a:pt x="1096" y="1045"/>
                  </a:lnTo>
                  <a:lnTo>
                    <a:pt x="1102" y="1047"/>
                  </a:lnTo>
                  <a:lnTo>
                    <a:pt x="1104" y="1047"/>
                  </a:lnTo>
                  <a:lnTo>
                    <a:pt x="1104" y="1047"/>
                  </a:lnTo>
                  <a:lnTo>
                    <a:pt x="1104" y="1050"/>
                  </a:lnTo>
                  <a:lnTo>
                    <a:pt x="1104" y="1050"/>
                  </a:lnTo>
                  <a:lnTo>
                    <a:pt x="1104" y="1050"/>
                  </a:lnTo>
                  <a:lnTo>
                    <a:pt x="1102" y="1053"/>
                  </a:lnTo>
                  <a:lnTo>
                    <a:pt x="1102" y="1053"/>
                  </a:lnTo>
                  <a:lnTo>
                    <a:pt x="1102" y="1053"/>
                  </a:lnTo>
                  <a:lnTo>
                    <a:pt x="1102" y="1053"/>
                  </a:lnTo>
                  <a:lnTo>
                    <a:pt x="1102" y="1053"/>
                  </a:lnTo>
                  <a:lnTo>
                    <a:pt x="1102" y="1055"/>
                  </a:lnTo>
                  <a:lnTo>
                    <a:pt x="1104" y="1055"/>
                  </a:lnTo>
                  <a:lnTo>
                    <a:pt x="1104" y="1055"/>
                  </a:lnTo>
                  <a:lnTo>
                    <a:pt x="1102" y="1058"/>
                  </a:lnTo>
                  <a:lnTo>
                    <a:pt x="1102" y="1058"/>
                  </a:lnTo>
                  <a:lnTo>
                    <a:pt x="1102" y="1058"/>
                  </a:lnTo>
                  <a:lnTo>
                    <a:pt x="1102" y="1061"/>
                  </a:lnTo>
                  <a:lnTo>
                    <a:pt x="1104" y="1061"/>
                  </a:lnTo>
                  <a:lnTo>
                    <a:pt x="1104" y="1061"/>
                  </a:lnTo>
                  <a:lnTo>
                    <a:pt x="1104" y="1061"/>
                  </a:lnTo>
                  <a:lnTo>
                    <a:pt x="1104" y="1061"/>
                  </a:lnTo>
                  <a:lnTo>
                    <a:pt x="1104" y="1061"/>
                  </a:lnTo>
                  <a:lnTo>
                    <a:pt x="1102" y="1061"/>
                  </a:lnTo>
                  <a:lnTo>
                    <a:pt x="1102" y="1063"/>
                  </a:lnTo>
                  <a:lnTo>
                    <a:pt x="1102" y="1063"/>
                  </a:lnTo>
                  <a:lnTo>
                    <a:pt x="1102" y="1061"/>
                  </a:lnTo>
                  <a:lnTo>
                    <a:pt x="1099" y="1061"/>
                  </a:lnTo>
                  <a:lnTo>
                    <a:pt x="1099" y="1061"/>
                  </a:lnTo>
                  <a:lnTo>
                    <a:pt x="1099" y="1063"/>
                  </a:lnTo>
                  <a:lnTo>
                    <a:pt x="1099" y="1063"/>
                  </a:lnTo>
                  <a:lnTo>
                    <a:pt x="1102" y="1063"/>
                  </a:lnTo>
                  <a:lnTo>
                    <a:pt x="1099" y="1063"/>
                  </a:lnTo>
                  <a:lnTo>
                    <a:pt x="1099" y="1063"/>
                  </a:lnTo>
                  <a:lnTo>
                    <a:pt x="1099" y="1066"/>
                  </a:lnTo>
                  <a:lnTo>
                    <a:pt x="1099" y="1066"/>
                  </a:lnTo>
                  <a:lnTo>
                    <a:pt x="1104" y="1063"/>
                  </a:lnTo>
                  <a:lnTo>
                    <a:pt x="1104" y="1063"/>
                  </a:lnTo>
                  <a:lnTo>
                    <a:pt x="1104" y="1063"/>
                  </a:lnTo>
                  <a:lnTo>
                    <a:pt x="1104" y="1061"/>
                  </a:lnTo>
                  <a:lnTo>
                    <a:pt x="1104" y="1061"/>
                  </a:lnTo>
                  <a:lnTo>
                    <a:pt x="1104" y="1061"/>
                  </a:lnTo>
                  <a:lnTo>
                    <a:pt x="1107" y="1061"/>
                  </a:lnTo>
                  <a:lnTo>
                    <a:pt x="1107" y="1061"/>
                  </a:lnTo>
                  <a:lnTo>
                    <a:pt x="1107" y="1061"/>
                  </a:lnTo>
                  <a:lnTo>
                    <a:pt x="1107" y="1061"/>
                  </a:lnTo>
                  <a:lnTo>
                    <a:pt x="1107" y="1061"/>
                  </a:lnTo>
                  <a:lnTo>
                    <a:pt x="1107" y="1058"/>
                  </a:lnTo>
                  <a:lnTo>
                    <a:pt x="1107" y="1058"/>
                  </a:lnTo>
                  <a:lnTo>
                    <a:pt x="1107" y="1058"/>
                  </a:lnTo>
                  <a:lnTo>
                    <a:pt x="1107" y="1058"/>
                  </a:lnTo>
                  <a:lnTo>
                    <a:pt x="1107" y="1055"/>
                  </a:lnTo>
                  <a:lnTo>
                    <a:pt x="1107" y="1055"/>
                  </a:lnTo>
                  <a:lnTo>
                    <a:pt x="1107" y="1055"/>
                  </a:lnTo>
                  <a:lnTo>
                    <a:pt x="1110" y="1053"/>
                  </a:lnTo>
                  <a:lnTo>
                    <a:pt x="1110" y="1053"/>
                  </a:lnTo>
                  <a:lnTo>
                    <a:pt x="1110" y="1053"/>
                  </a:lnTo>
                  <a:lnTo>
                    <a:pt x="1110" y="1053"/>
                  </a:lnTo>
                  <a:lnTo>
                    <a:pt x="1110" y="1053"/>
                  </a:lnTo>
                  <a:lnTo>
                    <a:pt x="1110" y="1053"/>
                  </a:lnTo>
                  <a:lnTo>
                    <a:pt x="1110" y="1053"/>
                  </a:lnTo>
                  <a:lnTo>
                    <a:pt x="1110" y="1050"/>
                  </a:lnTo>
                  <a:lnTo>
                    <a:pt x="1110" y="1050"/>
                  </a:lnTo>
                  <a:lnTo>
                    <a:pt x="1110" y="1050"/>
                  </a:lnTo>
                  <a:lnTo>
                    <a:pt x="1110" y="1047"/>
                  </a:lnTo>
                  <a:lnTo>
                    <a:pt x="1110" y="1047"/>
                  </a:lnTo>
                  <a:lnTo>
                    <a:pt x="1107" y="1045"/>
                  </a:lnTo>
                  <a:lnTo>
                    <a:pt x="1107" y="1045"/>
                  </a:lnTo>
                  <a:lnTo>
                    <a:pt x="1107" y="1045"/>
                  </a:lnTo>
                  <a:lnTo>
                    <a:pt x="1110" y="1045"/>
                  </a:lnTo>
                  <a:lnTo>
                    <a:pt x="1110" y="1045"/>
                  </a:lnTo>
                  <a:lnTo>
                    <a:pt x="1112" y="1045"/>
                  </a:lnTo>
                  <a:lnTo>
                    <a:pt x="1110" y="1045"/>
                  </a:lnTo>
                  <a:lnTo>
                    <a:pt x="1110" y="1045"/>
                  </a:lnTo>
                  <a:lnTo>
                    <a:pt x="1110" y="1047"/>
                  </a:lnTo>
                  <a:lnTo>
                    <a:pt x="1110" y="1047"/>
                  </a:lnTo>
                  <a:lnTo>
                    <a:pt x="1110" y="1050"/>
                  </a:lnTo>
                  <a:lnTo>
                    <a:pt x="1110" y="1050"/>
                  </a:lnTo>
                  <a:lnTo>
                    <a:pt x="1112" y="1050"/>
                  </a:lnTo>
                  <a:lnTo>
                    <a:pt x="1112" y="1050"/>
                  </a:lnTo>
                  <a:lnTo>
                    <a:pt x="1112" y="1050"/>
                  </a:lnTo>
                  <a:lnTo>
                    <a:pt x="1112" y="1047"/>
                  </a:lnTo>
                  <a:lnTo>
                    <a:pt x="1112" y="1047"/>
                  </a:lnTo>
                  <a:lnTo>
                    <a:pt x="1115" y="1045"/>
                  </a:lnTo>
                  <a:lnTo>
                    <a:pt x="1115" y="1045"/>
                  </a:lnTo>
                  <a:lnTo>
                    <a:pt x="1115" y="1045"/>
                  </a:lnTo>
                  <a:lnTo>
                    <a:pt x="1118" y="1047"/>
                  </a:lnTo>
                  <a:lnTo>
                    <a:pt x="1118" y="1045"/>
                  </a:lnTo>
                  <a:lnTo>
                    <a:pt x="1118" y="1045"/>
                  </a:lnTo>
                  <a:lnTo>
                    <a:pt x="1120" y="1045"/>
                  </a:lnTo>
                  <a:lnTo>
                    <a:pt x="1123" y="1045"/>
                  </a:lnTo>
                  <a:lnTo>
                    <a:pt x="1123" y="1045"/>
                  </a:lnTo>
                  <a:lnTo>
                    <a:pt x="1123" y="1045"/>
                  </a:lnTo>
                  <a:lnTo>
                    <a:pt x="1123" y="1042"/>
                  </a:lnTo>
                  <a:lnTo>
                    <a:pt x="1126" y="1042"/>
                  </a:lnTo>
                  <a:lnTo>
                    <a:pt x="1126" y="1042"/>
                  </a:lnTo>
                  <a:lnTo>
                    <a:pt x="1126" y="1042"/>
                  </a:lnTo>
                  <a:lnTo>
                    <a:pt x="1126" y="1042"/>
                  </a:lnTo>
                  <a:lnTo>
                    <a:pt x="1128" y="1045"/>
                  </a:lnTo>
                  <a:lnTo>
                    <a:pt x="1128" y="1045"/>
                  </a:lnTo>
                  <a:lnTo>
                    <a:pt x="1128" y="1045"/>
                  </a:lnTo>
                  <a:lnTo>
                    <a:pt x="1128" y="1045"/>
                  </a:lnTo>
                  <a:lnTo>
                    <a:pt x="1128" y="1045"/>
                  </a:lnTo>
                  <a:lnTo>
                    <a:pt x="1128" y="1045"/>
                  </a:lnTo>
                  <a:lnTo>
                    <a:pt x="1128" y="1045"/>
                  </a:lnTo>
                  <a:lnTo>
                    <a:pt x="1128" y="1045"/>
                  </a:lnTo>
                  <a:lnTo>
                    <a:pt x="1128" y="1045"/>
                  </a:lnTo>
                  <a:lnTo>
                    <a:pt x="1128" y="1045"/>
                  </a:lnTo>
                  <a:lnTo>
                    <a:pt x="1128" y="1045"/>
                  </a:lnTo>
                  <a:lnTo>
                    <a:pt x="1128" y="1042"/>
                  </a:lnTo>
                  <a:lnTo>
                    <a:pt x="1128" y="1042"/>
                  </a:lnTo>
                  <a:lnTo>
                    <a:pt x="1128" y="1042"/>
                  </a:lnTo>
                  <a:lnTo>
                    <a:pt x="1131" y="1042"/>
                  </a:lnTo>
                  <a:lnTo>
                    <a:pt x="1131" y="1042"/>
                  </a:lnTo>
                  <a:lnTo>
                    <a:pt x="1131" y="1042"/>
                  </a:lnTo>
                  <a:lnTo>
                    <a:pt x="1131" y="1045"/>
                  </a:lnTo>
                  <a:lnTo>
                    <a:pt x="1131" y="1045"/>
                  </a:lnTo>
                  <a:lnTo>
                    <a:pt x="1134" y="1039"/>
                  </a:lnTo>
                  <a:lnTo>
                    <a:pt x="1134" y="1037"/>
                  </a:lnTo>
                  <a:lnTo>
                    <a:pt x="1136" y="1037"/>
                  </a:lnTo>
                  <a:lnTo>
                    <a:pt x="1136" y="1039"/>
                  </a:lnTo>
                  <a:lnTo>
                    <a:pt x="1136" y="1039"/>
                  </a:lnTo>
                  <a:lnTo>
                    <a:pt x="1136" y="1039"/>
                  </a:lnTo>
                  <a:lnTo>
                    <a:pt x="1136" y="1039"/>
                  </a:lnTo>
                  <a:lnTo>
                    <a:pt x="1136" y="1039"/>
                  </a:lnTo>
                  <a:lnTo>
                    <a:pt x="1136" y="1037"/>
                  </a:lnTo>
                  <a:lnTo>
                    <a:pt x="1139" y="1039"/>
                  </a:lnTo>
                  <a:lnTo>
                    <a:pt x="1139" y="1039"/>
                  </a:lnTo>
                  <a:lnTo>
                    <a:pt x="1139" y="1039"/>
                  </a:lnTo>
                  <a:lnTo>
                    <a:pt x="1139" y="1039"/>
                  </a:lnTo>
                  <a:lnTo>
                    <a:pt x="1139" y="1039"/>
                  </a:lnTo>
                  <a:lnTo>
                    <a:pt x="1139" y="1039"/>
                  </a:lnTo>
                  <a:lnTo>
                    <a:pt x="1139" y="1042"/>
                  </a:lnTo>
                  <a:lnTo>
                    <a:pt x="1139" y="1042"/>
                  </a:lnTo>
                  <a:lnTo>
                    <a:pt x="1139" y="1042"/>
                  </a:lnTo>
                  <a:lnTo>
                    <a:pt x="1139" y="1042"/>
                  </a:lnTo>
                  <a:lnTo>
                    <a:pt x="1139" y="1042"/>
                  </a:lnTo>
                  <a:lnTo>
                    <a:pt x="1142" y="1042"/>
                  </a:lnTo>
                  <a:lnTo>
                    <a:pt x="1142" y="1042"/>
                  </a:lnTo>
                  <a:lnTo>
                    <a:pt x="1142" y="1042"/>
                  </a:lnTo>
                  <a:lnTo>
                    <a:pt x="1142" y="1039"/>
                  </a:lnTo>
                  <a:lnTo>
                    <a:pt x="1142" y="1039"/>
                  </a:lnTo>
                  <a:lnTo>
                    <a:pt x="1142" y="1039"/>
                  </a:lnTo>
                  <a:lnTo>
                    <a:pt x="1142" y="1039"/>
                  </a:lnTo>
                  <a:lnTo>
                    <a:pt x="1142" y="1039"/>
                  </a:lnTo>
                  <a:lnTo>
                    <a:pt x="1142" y="1037"/>
                  </a:lnTo>
                  <a:lnTo>
                    <a:pt x="1142" y="1037"/>
                  </a:lnTo>
                  <a:lnTo>
                    <a:pt x="1142" y="1037"/>
                  </a:lnTo>
                  <a:lnTo>
                    <a:pt x="1142" y="1037"/>
                  </a:lnTo>
                  <a:lnTo>
                    <a:pt x="1139" y="1037"/>
                  </a:lnTo>
                  <a:lnTo>
                    <a:pt x="1139" y="1037"/>
                  </a:lnTo>
                  <a:lnTo>
                    <a:pt x="1142" y="1034"/>
                  </a:lnTo>
                  <a:lnTo>
                    <a:pt x="1142" y="1034"/>
                  </a:lnTo>
                  <a:lnTo>
                    <a:pt x="1142" y="1034"/>
                  </a:lnTo>
                  <a:lnTo>
                    <a:pt x="1142" y="1031"/>
                  </a:lnTo>
                  <a:lnTo>
                    <a:pt x="1142" y="1031"/>
                  </a:lnTo>
                  <a:lnTo>
                    <a:pt x="1142" y="1031"/>
                  </a:lnTo>
                  <a:lnTo>
                    <a:pt x="1142" y="1031"/>
                  </a:lnTo>
                  <a:lnTo>
                    <a:pt x="1142" y="1028"/>
                  </a:lnTo>
                  <a:lnTo>
                    <a:pt x="1142" y="1028"/>
                  </a:lnTo>
                  <a:lnTo>
                    <a:pt x="1142" y="1028"/>
                  </a:lnTo>
                  <a:lnTo>
                    <a:pt x="1142" y="1028"/>
                  </a:lnTo>
                  <a:lnTo>
                    <a:pt x="1142" y="1031"/>
                  </a:lnTo>
                  <a:lnTo>
                    <a:pt x="1142" y="1031"/>
                  </a:lnTo>
                  <a:lnTo>
                    <a:pt x="1144" y="1031"/>
                  </a:lnTo>
                  <a:lnTo>
                    <a:pt x="1144" y="1031"/>
                  </a:lnTo>
                  <a:lnTo>
                    <a:pt x="1144" y="1028"/>
                  </a:lnTo>
                  <a:lnTo>
                    <a:pt x="1147" y="1028"/>
                  </a:lnTo>
                  <a:lnTo>
                    <a:pt x="1144" y="1026"/>
                  </a:lnTo>
                  <a:lnTo>
                    <a:pt x="1144" y="1026"/>
                  </a:lnTo>
                  <a:lnTo>
                    <a:pt x="1144" y="1026"/>
                  </a:lnTo>
                  <a:lnTo>
                    <a:pt x="1147" y="1026"/>
                  </a:lnTo>
                  <a:lnTo>
                    <a:pt x="1150" y="1026"/>
                  </a:lnTo>
                  <a:lnTo>
                    <a:pt x="1150" y="1026"/>
                  </a:lnTo>
                  <a:lnTo>
                    <a:pt x="1150" y="1026"/>
                  </a:lnTo>
                  <a:lnTo>
                    <a:pt x="1150" y="1028"/>
                  </a:lnTo>
                  <a:lnTo>
                    <a:pt x="1150" y="1028"/>
                  </a:lnTo>
                  <a:lnTo>
                    <a:pt x="1150" y="1028"/>
                  </a:lnTo>
                  <a:lnTo>
                    <a:pt x="1150" y="1028"/>
                  </a:lnTo>
                  <a:lnTo>
                    <a:pt x="1150" y="1028"/>
                  </a:lnTo>
                  <a:lnTo>
                    <a:pt x="1147" y="1028"/>
                  </a:lnTo>
                  <a:lnTo>
                    <a:pt x="1147" y="1028"/>
                  </a:lnTo>
                  <a:lnTo>
                    <a:pt x="1147" y="1028"/>
                  </a:lnTo>
                  <a:lnTo>
                    <a:pt x="1147" y="1028"/>
                  </a:lnTo>
                  <a:lnTo>
                    <a:pt x="1147" y="1028"/>
                  </a:lnTo>
                  <a:lnTo>
                    <a:pt x="1147" y="1028"/>
                  </a:lnTo>
                  <a:lnTo>
                    <a:pt x="1147" y="1031"/>
                  </a:lnTo>
                  <a:lnTo>
                    <a:pt x="1147" y="1031"/>
                  </a:lnTo>
                  <a:lnTo>
                    <a:pt x="1144" y="1031"/>
                  </a:lnTo>
                  <a:lnTo>
                    <a:pt x="1144" y="1031"/>
                  </a:lnTo>
                  <a:lnTo>
                    <a:pt x="1144" y="1034"/>
                  </a:lnTo>
                  <a:lnTo>
                    <a:pt x="1144" y="1034"/>
                  </a:lnTo>
                  <a:lnTo>
                    <a:pt x="1144" y="1034"/>
                  </a:lnTo>
                  <a:lnTo>
                    <a:pt x="1144" y="1034"/>
                  </a:lnTo>
                  <a:lnTo>
                    <a:pt x="1144" y="1037"/>
                  </a:lnTo>
                  <a:lnTo>
                    <a:pt x="1144" y="1037"/>
                  </a:lnTo>
                  <a:lnTo>
                    <a:pt x="1144" y="1037"/>
                  </a:lnTo>
                  <a:lnTo>
                    <a:pt x="1147" y="1037"/>
                  </a:lnTo>
                  <a:lnTo>
                    <a:pt x="1147" y="1037"/>
                  </a:lnTo>
                  <a:lnTo>
                    <a:pt x="1147" y="1037"/>
                  </a:lnTo>
                  <a:lnTo>
                    <a:pt x="1144" y="1037"/>
                  </a:lnTo>
                  <a:lnTo>
                    <a:pt x="1147" y="1039"/>
                  </a:lnTo>
                  <a:lnTo>
                    <a:pt x="1147" y="1039"/>
                  </a:lnTo>
                  <a:lnTo>
                    <a:pt x="1147" y="1039"/>
                  </a:lnTo>
                  <a:lnTo>
                    <a:pt x="1147" y="1039"/>
                  </a:lnTo>
                  <a:lnTo>
                    <a:pt x="1147" y="1039"/>
                  </a:lnTo>
                  <a:lnTo>
                    <a:pt x="1147" y="1037"/>
                  </a:lnTo>
                  <a:lnTo>
                    <a:pt x="1147" y="1037"/>
                  </a:lnTo>
                  <a:lnTo>
                    <a:pt x="1150" y="1037"/>
                  </a:lnTo>
                  <a:lnTo>
                    <a:pt x="1150" y="1037"/>
                  </a:lnTo>
                  <a:lnTo>
                    <a:pt x="1150" y="1039"/>
                  </a:lnTo>
                  <a:lnTo>
                    <a:pt x="1150" y="1039"/>
                  </a:lnTo>
                  <a:lnTo>
                    <a:pt x="1150" y="1039"/>
                  </a:lnTo>
                  <a:lnTo>
                    <a:pt x="1152" y="1039"/>
                  </a:lnTo>
                  <a:lnTo>
                    <a:pt x="1150" y="1037"/>
                  </a:lnTo>
                  <a:lnTo>
                    <a:pt x="1150" y="1037"/>
                  </a:lnTo>
                  <a:lnTo>
                    <a:pt x="1150" y="1037"/>
                  </a:lnTo>
                  <a:lnTo>
                    <a:pt x="1150" y="1037"/>
                  </a:lnTo>
                  <a:lnTo>
                    <a:pt x="1150" y="1037"/>
                  </a:lnTo>
                  <a:lnTo>
                    <a:pt x="1150" y="1037"/>
                  </a:lnTo>
                  <a:lnTo>
                    <a:pt x="1150" y="1037"/>
                  </a:lnTo>
                  <a:lnTo>
                    <a:pt x="1150" y="1037"/>
                  </a:lnTo>
                  <a:lnTo>
                    <a:pt x="1150" y="1034"/>
                  </a:lnTo>
                  <a:lnTo>
                    <a:pt x="1150" y="1034"/>
                  </a:lnTo>
                  <a:lnTo>
                    <a:pt x="1150" y="1031"/>
                  </a:lnTo>
                  <a:lnTo>
                    <a:pt x="1150" y="1031"/>
                  </a:lnTo>
                  <a:lnTo>
                    <a:pt x="1150" y="1031"/>
                  </a:lnTo>
                  <a:lnTo>
                    <a:pt x="1150" y="1031"/>
                  </a:lnTo>
                  <a:lnTo>
                    <a:pt x="1150" y="1034"/>
                  </a:lnTo>
                  <a:lnTo>
                    <a:pt x="1150" y="1034"/>
                  </a:lnTo>
                  <a:lnTo>
                    <a:pt x="1152" y="1034"/>
                  </a:lnTo>
                  <a:lnTo>
                    <a:pt x="1152" y="1034"/>
                  </a:lnTo>
                  <a:lnTo>
                    <a:pt x="1152" y="1034"/>
                  </a:lnTo>
                  <a:lnTo>
                    <a:pt x="1152" y="1031"/>
                  </a:lnTo>
                  <a:lnTo>
                    <a:pt x="1152" y="1031"/>
                  </a:lnTo>
                  <a:lnTo>
                    <a:pt x="1152" y="1031"/>
                  </a:lnTo>
                  <a:lnTo>
                    <a:pt x="1152" y="1031"/>
                  </a:lnTo>
                  <a:lnTo>
                    <a:pt x="1152" y="1028"/>
                  </a:lnTo>
                  <a:lnTo>
                    <a:pt x="1152" y="1028"/>
                  </a:lnTo>
                  <a:lnTo>
                    <a:pt x="1152" y="1028"/>
                  </a:lnTo>
                  <a:lnTo>
                    <a:pt x="1152" y="1028"/>
                  </a:lnTo>
                  <a:lnTo>
                    <a:pt x="1152" y="1028"/>
                  </a:lnTo>
                  <a:lnTo>
                    <a:pt x="1152" y="1028"/>
                  </a:lnTo>
                  <a:lnTo>
                    <a:pt x="1152" y="1031"/>
                  </a:lnTo>
                  <a:lnTo>
                    <a:pt x="1155" y="1031"/>
                  </a:lnTo>
                  <a:lnTo>
                    <a:pt x="1155" y="1028"/>
                  </a:lnTo>
                  <a:lnTo>
                    <a:pt x="1155" y="1028"/>
                  </a:lnTo>
                  <a:lnTo>
                    <a:pt x="1158" y="1028"/>
                  </a:lnTo>
                  <a:lnTo>
                    <a:pt x="1158" y="1028"/>
                  </a:lnTo>
                  <a:lnTo>
                    <a:pt x="1158" y="1028"/>
                  </a:lnTo>
                  <a:lnTo>
                    <a:pt x="1158" y="1028"/>
                  </a:lnTo>
                  <a:lnTo>
                    <a:pt x="1158" y="1028"/>
                  </a:lnTo>
                  <a:lnTo>
                    <a:pt x="1160" y="1028"/>
                  </a:lnTo>
                  <a:lnTo>
                    <a:pt x="1160" y="1028"/>
                  </a:lnTo>
                  <a:lnTo>
                    <a:pt x="1160" y="1028"/>
                  </a:lnTo>
                  <a:lnTo>
                    <a:pt x="1160" y="1026"/>
                  </a:lnTo>
                  <a:lnTo>
                    <a:pt x="1160" y="1026"/>
                  </a:lnTo>
                  <a:lnTo>
                    <a:pt x="1160" y="1026"/>
                  </a:lnTo>
                  <a:lnTo>
                    <a:pt x="1163" y="1026"/>
                  </a:lnTo>
                  <a:lnTo>
                    <a:pt x="1163" y="1026"/>
                  </a:lnTo>
                  <a:lnTo>
                    <a:pt x="1163" y="1026"/>
                  </a:lnTo>
                  <a:lnTo>
                    <a:pt x="1163" y="1023"/>
                  </a:lnTo>
                  <a:lnTo>
                    <a:pt x="1163" y="1023"/>
                  </a:lnTo>
                  <a:lnTo>
                    <a:pt x="1160" y="1023"/>
                  </a:lnTo>
                  <a:lnTo>
                    <a:pt x="1160" y="1026"/>
                  </a:lnTo>
                  <a:lnTo>
                    <a:pt x="1158" y="1026"/>
                  </a:lnTo>
                  <a:lnTo>
                    <a:pt x="1158" y="1028"/>
                  </a:lnTo>
                  <a:lnTo>
                    <a:pt x="1155" y="1028"/>
                  </a:lnTo>
                  <a:lnTo>
                    <a:pt x="1155" y="1028"/>
                  </a:lnTo>
                  <a:lnTo>
                    <a:pt x="1155" y="1026"/>
                  </a:lnTo>
                  <a:lnTo>
                    <a:pt x="1155" y="1026"/>
                  </a:lnTo>
                  <a:lnTo>
                    <a:pt x="1155" y="1026"/>
                  </a:lnTo>
                  <a:lnTo>
                    <a:pt x="1152" y="1026"/>
                  </a:lnTo>
                  <a:lnTo>
                    <a:pt x="1152" y="1026"/>
                  </a:lnTo>
                  <a:lnTo>
                    <a:pt x="1152" y="1026"/>
                  </a:lnTo>
                  <a:lnTo>
                    <a:pt x="1152" y="1026"/>
                  </a:lnTo>
                  <a:lnTo>
                    <a:pt x="1152" y="1026"/>
                  </a:lnTo>
                  <a:lnTo>
                    <a:pt x="1152" y="1023"/>
                  </a:lnTo>
                  <a:lnTo>
                    <a:pt x="1152" y="1023"/>
                  </a:lnTo>
                  <a:lnTo>
                    <a:pt x="1152" y="1023"/>
                  </a:lnTo>
                  <a:lnTo>
                    <a:pt x="1155" y="1023"/>
                  </a:lnTo>
                  <a:lnTo>
                    <a:pt x="1155" y="1023"/>
                  </a:lnTo>
                  <a:lnTo>
                    <a:pt x="1155" y="1023"/>
                  </a:lnTo>
                  <a:lnTo>
                    <a:pt x="1158" y="1023"/>
                  </a:lnTo>
                  <a:lnTo>
                    <a:pt x="1158" y="1023"/>
                  </a:lnTo>
                  <a:lnTo>
                    <a:pt x="1158" y="1023"/>
                  </a:lnTo>
                  <a:lnTo>
                    <a:pt x="1160" y="1020"/>
                  </a:lnTo>
                  <a:lnTo>
                    <a:pt x="1160" y="1020"/>
                  </a:lnTo>
                  <a:lnTo>
                    <a:pt x="1160" y="1020"/>
                  </a:lnTo>
                  <a:lnTo>
                    <a:pt x="1158" y="1020"/>
                  </a:lnTo>
                  <a:lnTo>
                    <a:pt x="1158" y="1018"/>
                  </a:lnTo>
                  <a:lnTo>
                    <a:pt x="1155" y="1018"/>
                  </a:lnTo>
                  <a:lnTo>
                    <a:pt x="1155" y="1018"/>
                  </a:lnTo>
                  <a:lnTo>
                    <a:pt x="1155" y="1018"/>
                  </a:lnTo>
                  <a:lnTo>
                    <a:pt x="1155" y="1018"/>
                  </a:lnTo>
                  <a:lnTo>
                    <a:pt x="1152" y="1020"/>
                  </a:lnTo>
                  <a:lnTo>
                    <a:pt x="1152" y="1018"/>
                  </a:lnTo>
                  <a:lnTo>
                    <a:pt x="1152" y="1018"/>
                  </a:lnTo>
                  <a:lnTo>
                    <a:pt x="1152" y="1018"/>
                  </a:lnTo>
                  <a:lnTo>
                    <a:pt x="1152" y="1018"/>
                  </a:lnTo>
                  <a:lnTo>
                    <a:pt x="1152" y="1018"/>
                  </a:lnTo>
                  <a:lnTo>
                    <a:pt x="1152" y="1018"/>
                  </a:lnTo>
                  <a:lnTo>
                    <a:pt x="1152" y="1015"/>
                  </a:lnTo>
                  <a:lnTo>
                    <a:pt x="1150" y="1015"/>
                  </a:lnTo>
                  <a:lnTo>
                    <a:pt x="1147" y="1018"/>
                  </a:lnTo>
                  <a:lnTo>
                    <a:pt x="1147" y="1018"/>
                  </a:lnTo>
                  <a:lnTo>
                    <a:pt x="1147" y="1020"/>
                  </a:lnTo>
                  <a:lnTo>
                    <a:pt x="1147" y="1020"/>
                  </a:lnTo>
                  <a:lnTo>
                    <a:pt x="1147" y="1020"/>
                  </a:lnTo>
                  <a:lnTo>
                    <a:pt x="1147" y="1020"/>
                  </a:lnTo>
                  <a:lnTo>
                    <a:pt x="1147" y="1023"/>
                  </a:lnTo>
                  <a:lnTo>
                    <a:pt x="1144" y="1020"/>
                  </a:lnTo>
                  <a:lnTo>
                    <a:pt x="1144" y="1020"/>
                  </a:lnTo>
                  <a:lnTo>
                    <a:pt x="1144" y="1018"/>
                  </a:lnTo>
                  <a:lnTo>
                    <a:pt x="1144" y="1018"/>
                  </a:lnTo>
                  <a:lnTo>
                    <a:pt x="1147" y="1018"/>
                  </a:lnTo>
                  <a:lnTo>
                    <a:pt x="1147" y="1015"/>
                  </a:lnTo>
                  <a:lnTo>
                    <a:pt x="1150" y="1015"/>
                  </a:lnTo>
                  <a:lnTo>
                    <a:pt x="1150" y="1015"/>
                  </a:lnTo>
                  <a:lnTo>
                    <a:pt x="1150" y="1015"/>
                  </a:lnTo>
                  <a:lnTo>
                    <a:pt x="1150" y="1012"/>
                  </a:lnTo>
                  <a:lnTo>
                    <a:pt x="1152" y="1012"/>
                  </a:lnTo>
                  <a:lnTo>
                    <a:pt x="1152" y="1012"/>
                  </a:lnTo>
                  <a:lnTo>
                    <a:pt x="1152" y="1010"/>
                  </a:lnTo>
                  <a:lnTo>
                    <a:pt x="1152" y="1010"/>
                  </a:lnTo>
                  <a:lnTo>
                    <a:pt x="1152" y="1010"/>
                  </a:lnTo>
                  <a:lnTo>
                    <a:pt x="1155" y="1007"/>
                  </a:lnTo>
                  <a:lnTo>
                    <a:pt x="1158" y="1007"/>
                  </a:lnTo>
                  <a:lnTo>
                    <a:pt x="1158" y="1007"/>
                  </a:lnTo>
                  <a:lnTo>
                    <a:pt x="1158" y="1007"/>
                  </a:lnTo>
                  <a:lnTo>
                    <a:pt x="1158" y="1007"/>
                  </a:lnTo>
                  <a:lnTo>
                    <a:pt x="1160" y="1010"/>
                  </a:lnTo>
                  <a:lnTo>
                    <a:pt x="1160" y="1010"/>
                  </a:lnTo>
                  <a:lnTo>
                    <a:pt x="1160" y="1010"/>
                  </a:lnTo>
                  <a:lnTo>
                    <a:pt x="1163" y="1010"/>
                  </a:lnTo>
                  <a:lnTo>
                    <a:pt x="1163" y="1010"/>
                  </a:lnTo>
                  <a:lnTo>
                    <a:pt x="1166" y="1007"/>
                  </a:lnTo>
                  <a:lnTo>
                    <a:pt x="1163" y="1007"/>
                  </a:lnTo>
                  <a:lnTo>
                    <a:pt x="1163" y="1007"/>
                  </a:lnTo>
                  <a:lnTo>
                    <a:pt x="1163" y="1007"/>
                  </a:lnTo>
                  <a:lnTo>
                    <a:pt x="1163" y="1004"/>
                  </a:lnTo>
                  <a:lnTo>
                    <a:pt x="1163" y="1004"/>
                  </a:lnTo>
                  <a:lnTo>
                    <a:pt x="1166" y="1004"/>
                  </a:lnTo>
                  <a:lnTo>
                    <a:pt x="1166" y="1004"/>
                  </a:lnTo>
                  <a:lnTo>
                    <a:pt x="1171" y="1007"/>
                  </a:lnTo>
                  <a:lnTo>
                    <a:pt x="1174" y="1010"/>
                  </a:lnTo>
                  <a:lnTo>
                    <a:pt x="1174" y="1010"/>
                  </a:lnTo>
                  <a:lnTo>
                    <a:pt x="1174" y="1007"/>
                  </a:lnTo>
                  <a:lnTo>
                    <a:pt x="1174" y="1007"/>
                  </a:lnTo>
                  <a:lnTo>
                    <a:pt x="1176" y="1007"/>
                  </a:lnTo>
                  <a:lnTo>
                    <a:pt x="1176" y="1007"/>
                  </a:lnTo>
                  <a:lnTo>
                    <a:pt x="1176" y="1004"/>
                  </a:lnTo>
                  <a:lnTo>
                    <a:pt x="1174" y="1004"/>
                  </a:lnTo>
                  <a:lnTo>
                    <a:pt x="1174" y="1004"/>
                  </a:lnTo>
                  <a:lnTo>
                    <a:pt x="1174" y="1004"/>
                  </a:lnTo>
                  <a:lnTo>
                    <a:pt x="1174" y="1002"/>
                  </a:lnTo>
                  <a:lnTo>
                    <a:pt x="1174" y="1002"/>
                  </a:lnTo>
                  <a:lnTo>
                    <a:pt x="1174" y="1002"/>
                  </a:lnTo>
                  <a:lnTo>
                    <a:pt x="1171" y="1002"/>
                  </a:lnTo>
                  <a:lnTo>
                    <a:pt x="1166" y="1004"/>
                  </a:lnTo>
                  <a:lnTo>
                    <a:pt x="1163" y="1004"/>
                  </a:lnTo>
                  <a:lnTo>
                    <a:pt x="1166" y="1002"/>
                  </a:lnTo>
                  <a:lnTo>
                    <a:pt x="1166" y="1002"/>
                  </a:lnTo>
                  <a:lnTo>
                    <a:pt x="1166" y="1002"/>
                  </a:lnTo>
                  <a:lnTo>
                    <a:pt x="1166" y="1002"/>
                  </a:lnTo>
                  <a:lnTo>
                    <a:pt x="1168" y="1002"/>
                  </a:lnTo>
                  <a:lnTo>
                    <a:pt x="1168" y="1002"/>
                  </a:lnTo>
                  <a:lnTo>
                    <a:pt x="1168" y="1002"/>
                  </a:lnTo>
                  <a:lnTo>
                    <a:pt x="1168" y="999"/>
                  </a:lnTo>
                  <a:lnTo>
                    <a:pt x="1168" y="999"/>
                  </a:lnTo>
                  <a:lnTo>
                    <a:pt x="1168" y="999"/>
                  </a:lnTo>
                  <a:lnTo>
                    <a:pt x="1171" y="999"/>
                  </a:lnTo>
                  <a:lnTo>
                    <a:pt x="1171" y="999"/>
                  </a:lnTo>
                  <a:lnTo>
                    <a:pt x="1171" y="996"/>
                  </a:lnTo>
                  <a:lnTo>
                    <a:pt x="1174" y="996"/>
                  </a:lnTo>
                  <a:lnTo>
                    <a:pt x="1174" y="996"/>
                  </a:lnTo>
                  <a:lnTo>
                    <a:pt x="1174" y="996"/>
                  </a:lnTo>
                  <a:lnTo>
                    <a:pt x="1176" y="996"/>
                  </a:lnTo>
                  <a:lnTo>
                    <a:pt x="1176" y="996"/>
                  </a:lnTo>
                  <a:lnTo>
                    <a:pt x="1176" y="994"/>
                  </a:lnTo>
                  <a:lnTo>
                    <a:pt x="1179" y="994"/>
                  </a:lnTo>
                  <a:lnTo>
                    <a:pt x="1179" y="996"/>
                  </a:lnTo>
                  <a:lnTo>
                    <a:pt x="1179" y="999"/>
                  </a:lnTo>
                  <a:lnTo>
                    <a:pt x="1182" y="999"/>
                  </a:lnTo>
                  <a:lnTo>
                    <a:pt x="1182" y="999"/>
                  </a:lnTo>
                  <a:lnTo>
                    <a:pt x="1184" y="999"/>
                  </a:lnTo>
                  <a:lnTo>
                    <a:pt x="1184" y="999"/>
                  </a:lnTo>
                  <a:lnTo>
                    <a:pt x="1184" y="999"/>
                  </a:lnTo>
                  <a:lnTo>
                    <a:pt x="1187" y="999"/>
                  </a:lnTo>
                  <a:lnTo>
                    <a:pt x="1190" y="999"/>
                  </a:lnTo>
                  <a:lnTo>
                    <a:pt x="1190" y="999"/>
                  </a:lnTo>
                  <a:lnTo>
                    <a:pt x="1190" y="999"/>
                  </a:lnTo>
                  <a:lnTo>
                    <a:pt x="1190" y="999"/>
                  </a:lnTo>
                  <a:lnTo>
                    <a:pt x="1190" y="996"/>
                  </a:lnTo>
                  <a:lnTo>
                    <a:pt x="1190" y="996"/>
                  </a:lnTo>
                  <a:lnTo>
                    <a:pt x="1190" y="996"/>
                  </a:lnTo>
                  <a:lnTo>
                    <a:pt x="1190" y="996"/>
                  </a:lnTo>
                  <a:lnTo>
                    <a:pt x="1187" y="996"/>
                  </a:lnTo>
                  <a:lnTo>
                    <a:pt x="1187" y="994"/>
                  </a:lnTo>
                  <a:lnTo>
                    <a:pt x="1187" y="994"/>
                  </a:lnTo>
                  <a:lnTo>
                    <a:pt x="1184" y="994"/>
                  </a:lnTo>
                  <a:lnTo>
                    <a:pt x="1184" y="994"/>
                  </a:lnTo>
                  <a:lnTo>
                    <a:pt x="1184" y="994"/>
                  </a:lnTo>
                  <a:lnTo>
                    <a:pt x="1184" y="994"/>
                  </a:lnTo>
                  <a:lnTo>
                    <a:pt x="1184" y="991"/>
                  </a:lnTo>
                  <a:lnTo>
                    <a:pt x="1184" y="991"/>
                  </a:lnTo>
                  <a:lnTo>
                    <a:pt x="1187" y="994"/>
                  </a:lnTo>
                  <a:lnTo>
                    <a:pt x="1187" y="991"/>
                  </a:lnTo>
                  <a:lnTo>
                    <a:pt x="1187" y="991"/>
                  </a:lnTo>
                  <a:lnTo>
                    <a:pt x="1190" y="988"/>
                  </a:lnTo>
                  <a:lnTo>
                    <a:pt x="1190" y="991"/>
                  </a:lnTo>
                  <a:lnTo>
                    <a:pt x="1190" y="991"/>
                  </a:lnTo>
                  <a:lnTo>
                    <a:pt x="1190" y="991"/>
                  </a:lnTo>
                  <a:lnTo>
                    <a:pt x="1190" y="991"/>
                  </a:lnTo>
                  <a:lnTo>
                    <a:pt x="1192" y="988"/>
                  </a:lnTo>
                  <a:lnTo>
                    <a:pt x="1192" y="988"/>
                  </a:lnTo>
                  <a:lnTo>
                    <a:pt x="1192" y="988"/>
                  </a:lnTo>
                  <a:lnTo>
                    <a:pt x="1192" y="988"/>
                  </a:lnTo>
                  <a:lnTo>
                    <a:pt x="1192" y="988"/>
                  </a:lnTo>
                  <a:lnTo>
                    <a:pt x="1192" y="991"/>
                  </a:lnTo>
                  <a:lnTo>
                    <a:pt x="1192" y="988"/>
                  </a:lnTo>
                  <a:lnTo>
                    <a:pt x="1192" y="988"/>
                  </a:lnTo>
                  <a:lnTo>
                    <a:pt x="1192" y="988"/>
                  </a:lnTo>
                  <a:lnTo>
                    <a:pt x="1192" y="986"/>
                  </a:lnTo>
                  <a:lnTo>
                    <a:pt x="1192" y="986"/>
                  </a:lnTo>
                  <a:lnTo>
                    <a:pt x="1190" y="986"/>
                  </a:lnTo>
                  <a:lnTo>
                    <a:pt x="1190" y="986"/>
                  </a:lnTo>
                  <a:lnTo>
                    <a:pt x="1190" y="986"/>
                  </a:lnTo>
                  <a:lnTo>
                    <a:pt x="1190" y="986"/>
                  </a:lnTo>
                  <a:lnTo>
                    <a:pt x="1190" y="983"/>
                  </a:lnTo>
                  <a:lnTo>
                    <a:pt x="1192" y="983"/>
                  </a:lnTo>
                  <a:lnTo>
                    <a:pt x="1192" y="983"/>
                  </a:lnTo>
                  <a:lnTo>
                    <a:pt x="1192" y="983"/>
                  </a:lnTo>
                  <a:lnTo>
                    <a:pt x="1195" y="983"/>
                  </a:lnTo>
                  <a:lnTo>
                    <a:pt x="1195" y="986"/>
                  </a:lnTo>
                  <a:lnTo>
                    <a:pt x="1198" y="988"/>
                  </a:lnTo>
                  <a:lnTo>
                    <a:pt x="1198" y="988"/>
                  </a:lnTo>
                  <a:lnTo>
                    <a:pt x="1200" y="988"/>
                  </a:lnTo>
                  <a:lnTo>
                    <a:pt x="1200" y="988"/>
                  </a:lnTo>
                  <a:lnTo>
                    <a:pt x="1200" y="988"/>
                  </a:lnTo>
                  <a:lnTo>
                    <a:pt x="1203" y="986"/>
                  </a:lnTo>
                  <a:lnTo>
                    <a:pt x="1200" y="986"/>
                  </a:lnTo>
                  <a:lnTo>
                    <a:pt x="1200" y="986"/>
                  </a:lnTo>
                  <a:lnTo>
                    <a:pt x="1200" y="986"/>
                  </a:lnTo>
                  <a:lnTo>
                    <a:pt x="1200" y="983"/>
                  </a:lnTo>
                  <a:lnTo>
                    <a:pt x="1203" y="986"/>
                  </a:lnTo>
                  <a:lnTo>
                    <a:pt x="1203" y="986"/>
                  </a:lnTo>
                  <a:lnTo>
                    <a:pt x="1206" y="986"/>
                  </a:lnTo>
                  <a:lnTo>
                    <a:pt x="1206" y="983"/>
                  </a:lnTo>
                  <a:lnTo>
                    <a:pt x="1206" y="983"/>
                  </a:lnTo>
                  <a:lnTo>
                    <a:pt x="1206" y="983"/>
                  </a:lnTo>
                  <a:lnTo>
                    <a:pt x="1208" y="980"/>
                  </a:lnTo>
                  <a:lnTo>
                    <a:pt x="1208" y="980"/>
                  </a:lnTo>
                  <a:lnTo>
                    <a:pt x="1211" y="980"/>
                  </a:lnTo>
                  <a:lnTo>
                    <a:pt x="1211" y="980"/>
                  </a:lnTo>
                  <a:lnTo>
                    <a:pt x="1208" y="980"/>
                  </a:lnTo>
                  <a:lnTo>
                    <a:pt x="1208" y="980"/>
                  </a:lnTo>
                  <a:lnTo>
                    <a:pt x="1211" y="978"/>
                  </a:lnTo>
                  <a:lnTo>
                    <a:pt x="1211" y="978"/>
                  </a:lnTo>
                  <a:lnTo>
                    <a:pt x="1208" y="978"/>
                  </a:lnTo>
                  <a:lnTo>
                    <a:pt x="1208" y="975"/>
                  </a:lnTo>
                  <a:lnTo>
                    <a:pt x="1211" y="975"/>
                  </a:lnTo>
                  <a:lnTo>
                    <a:pt x="1211" y="978"/>
                  </a:lnTo>
                  <a:lnTo>
                    <a:pt x="1211" y="978"/>
                  </a:lnTo>
                  <a:lnTo>
                    <a:pt x="1211" y="978"/>
                  </a:lnTo>
                  <a:lnTo>
                    <a:pt x="1214" y="980"/>
                  </a:lnTo>
                  <a:lnTo>
                    <a:pt x="1214" y="983"/>
                  </a:lnTo>
                  <a:lnTo>
                    <a:pt x="1214" y="980"/>
                  </a:lnTo>
                  <a:lnTo>
                    <a:pt x="1216" y="980"/>
                  </a:lnTo>
                  <a:lnTo>
                    <a:pt x="1216" y="978"/>
                  </a:lnTo>
                  <a:lnTo>
                    <a:pt x="1216" y="978"/>
                  </a:lnTo>
                  <a:lnTo>
                    <a:pt x="1216" y="978"/>
                  </a:lnTo>
                  <a:lnTo>
                    <a:pt x="1216" y="978"/>
                  </a:lnTo>
                  <a:lnTo>
                    <a:pt x="1216" y="975"/>
                  </a:lnTo>
                  <a:lnTo>
                    <a:pt x="1216" y="975"/>
                  </a:lnTo>
                  <a:lnTo>
                    <a:pt x="1216" y="975"/>
                  </a:lnTo>
                  <a:lnTo>
                    <a:pt x="1216" y="975"/>
                  </a:lnTo>
                  <a:lnTo>
                    <a:pt x="1216" y="975"/>
                  </a:lnTo>
                  <a:lnTo>
                    <a:pt x="1216" y="975"/>
                  </a:lnTo>
                  <a:lnTo>
                    <a:pt x="1216" y="972"/>
                  </a:lnTo>
                  <a:lnTo>
                    <a:pt x="1216" y="972"/>
                  </a:lnTo>
                  <a:lnTo>
                    <a:pt x="1216" y="972"/>
                  </a:lnTo>
                  <a:lnTo>
                    <a:pt x="1216" y="972"/>
                  </a:lnTo>
                  <a:lnTo>
                    <a:pt x="1216" y="972"/>
                  </a:lnTo>
                  <a:lnTo>
                    <a:pt x="1216" y="972"/>
                  </a:lnTo>
                  <a:lnTo>
                    <a:pt x="1219" y="972"/>
                  </a:lnTo>
                  <a:lnTo>
                    <a:pt x="1219" y="972"/>
                  </a:lnTo>
                  <a:lnTo>
                    <a:pt x="1219" y="972"/>
                  </a:lnTo>
                  <a:lnTo>
                    <a:pt x="1219" y="972"/>
                  </a:lnTo>
                  <a:lnTo>
                    <a:pt x="1219" y="975"/>
                  </a:lnTo>
                  <a:lnTo>
                    <a:pt x="1219" y="975"/>
                  </a:lnTo>
                  <a:lnTo>
                    <a:pt x="1219" y="975"/>
                  </a:lnTo>
                  <a:lnTo>
                    <a:pt x="1219" y="975"/>
                  </a:lnTo>
                  <a:lnTo>
                    <a:pt x="1222" y="975"/>
                  </a:lnTo>
                  <a:lnTo>
                    <a:pt x="1224" y="978"/>
                  </a:lnTo>
                  <a:lnTo>
                    <a:pt x="1224" y="978"/>
                  </a:lnTo>
                  <a:lnTo>
                    <a:pt x="1224" y="975"/>
                  </a:lnTo>
                  <a:lnTo>
                    <a:pt x="1222" y="972"/>
                  </a:lnTo>
                  <a:lnTo>
                    <a:pt x="1222" y="972"/>
                  </a:lnTo>
                  <a:lnTo>
                    <a:pt x="1222" y="970"/>
                  </a:lnTo>
                  <a:lnTo>
                    <a:pt x="1222" y="970"/>
                  </a:lnTo>
                  <a:lnTo>
                    <a:pt x="1224" y="972"/>
                  </a:lnTo>
                  <a:lnTo>
                    <a:pt x="1224" y="972"/>
                  </a:lnTo>
                  <a:lnTo>
                    <a:pt x="1224" y="972"/>
                  </a:lnTo>
                  <a:lnTo>
                    <a:pt x="1224" y="972"/>
                  </a:lnTo>
                  <a:lnTo>
                    <a:pt x="1224" y="972"/>
                  </a:lnTo>
                  <a:lnTo>
                    <a:pt x="1227" y="972"/>
                  </a:lnTo>
                  <a:lnTo>
                    <a:pt x="1227" y="972"/>
                  </a:lnTo>
                  <a:lnTo>
                    <a:pt x="1227" y="970"/>
                  </a:lnTo>
                  <a:lnTo>
                    <a:pt x="1227" y="970"/>
                  </a:lnTo>
                  <a:lnTo>
                    <a:pt x="1227" y="970"/>
                  </a:lnTo>
                  <a:lnTo>
                    <a:pt x="1227" y="970"/>
                  </a:lnTo>
                  <a:lnTo>
                    <a:pt x="1227" y="970"/>
                  </a:lnTo>
                  <a:lnTo>
                    <a:pt x="1227" y="970"/>
                  </a:lnTo>
                  <a:lnTo>
                    <a:pt x="1227" y="970"/>
                  </a:lnTo>
                  <a:lnTo>
                    <a:pt x="1227" y="967"/>
                  </a:lnTo>
                  <a:lnTo>
                    <a:pt x="1227" y="967"/>
                  </a:lnTo>
                  <a:lnTo>
                    <a:pt x="1232" y="967"/>
                  </a:lnTo>
                  <a:lnTo>
                    <a:pt x="1232" y="964"/>
                  </a:lnTo>
                  <a:lnTo>
                    <a:pt x="1232" y="964"/>
                  </a:lnTo>
                  <a:lnTo>
                    <a:pt x="1232" y="964"/>
                  </a:lnTo>
                  <a:lnTo>
                    <a:pt x="1232" y="964"/>
                  </a:lnTo>
                  <a:lnTo>
                    <a:pt x="1232" y="962"/>
                  </a:lnTo>
                  <a:lnTo>
                    <a:pt x="1232" y="962"/>
                  </a:lnTo>
                  <a:lnTo>
                    <a:pt x="1232" y="962"/>
                  </a:lnTo>
                  <a:lnTo>
                    <a:pt x="1232" y="962"/>
                  </a:lnTo>
                  <a:lnTo>
                    <a:pt x="1230" y="962"/>
                  </a:lnTo>
                  <a:lnTo>
                    <a:pt x="1230" y="962"/>
                  </a:lnTo>
                  <a:lnTo>
                    <a:pt x="1230" y="959"/>
                  </a:lnTo>
                  <a:lnTo>
                    <a:pt x="1230" y="959"/>
                  </a:lnTo>
                  <a:lnTo>
                    <a:pt x="1230" y="959"/>
                  </a:lnTo>
                  <a:lnTo>
                    <a:pt x="1232" y="959"/>
                  </a:lnTo>
                  <a:lnTo>
                    <a:pt x="1232" y="959"/>
                  </a:lnTo>
                  <a:lnTo>
                    <a:pt x="1232" y="956"/>
                  </a:lnTo>
                  <a:lnTo>
                    <a:pt x="1232" y="956"/>
                  </a:lnTo>
                  <a:lnTo>
                    <a:pt x="1232" y="956"/>
                  </a:lnTo>
                  <a:lnTo>
                    <a:pt x="1232" y="956"/>
                  </a:lnTo>
                  <a:lnTo>
                    <a:pt x="1232" y="956"/>
                  </a:lnTo>
                  <a:lnTo>
                    <a:pt x="1232" y="956"/>
                  </a:lnTo>
                  <a:lnTo>
                    <a:pt x="1232" y="956"/>
                  </a:lnTo>
                  <a:lnTo>
                    <a:pt x="1232" y="954"/>
                  </a:lnTo>
                  <a:lnTo>
                    <a:pt x="1232" y="954"/>
                  </a:lnTo>
                  <a:lnTo>
                    <a:pt x="1232" y="954"/>
                  </a:lnTo>
                  <a:lnTo>
                    <a:pt x="1227" y="956"/>
                  </a:lnTo>
                  <a:lnTo>
                    <a:pt x="1224" y="956"/>
                  </a:lnTo>
                  <a:lnTo>
                    <a:pt x="1224" y="954"/>
                  </a:lnTo>
                  <a:lnTo>
                    <a:pt x="1224" y="954"/>
                  </a:lnTo>
                  <a:lnTo>
                    <a:pt x="1227" y="954"/>
                  </a:lnTo>
                  <a:lnTo>
                    <a:pt x="1227" y="954"/>
                  </a:lnTo>
                  <a:lnTo>
                    <a:pt x="1227" y="954"/>
                  </a:lnTo>
                  <a:lnTo>
                    <a:pt x="1232" y="948"/>
                  </a:lnTo>
                  <a:lnTo>
                    <a:pt x="1235" y="946"/>
                  </a:lnTo>
                  <a:lnTo>
                    <a:pt x="1235" y="946"/>
                  </a:lnTo>
                  <a:lnTo>
                    <a:pt x="1238" y="946"/>
                  </a:lnTo>
                  <a:lnTo>
                    <a:pt x="1238" y="946"/>
                  </a:lnTo>
                  <a:lnTo>
                    <a:pt x="1238" y="946"/>
                  </a:lnTo>
                  <a:lnTo>
                    <a:pt x="1238" y="943"/>
                  </a:lnTo>
                  <a:lnTo>
                    <a:pt x="1238" y="943"/>
                  </a:lnTo>
                  <a:lnTo>
                    <a:pt x="1240" y="943"/>
                  </a:lnTo>
                  <a:lnTo>
                    <a:pt x="1240" y="946"/>
                  </a:lnTo>
                  <a:lnTo>
                    <a:pt x="1243" y="946"/>
                  </a:lnTo>
                  <a:lnTo>
                    <a:pt x="1246" y="946"/>
                  </a:lnTo>
                  <a:lnTo>
                    <a:pt x="1246" y="946"/>
                  </a:lnTo>
                  <a:lnTo>
                    <a:pt x="1243" y="943"/>
                  </a:lnTo>
                  <a:lnTo>
                    <a:pt x="1243" y="943"/>
                  </a:lnTo>
                  <a:lnTo>
                    <a:pt x="1243" y="940"/>
                  </a:lnTo>
                  <a:lnTo>
                    <a:pt x="1243" y="940"/>
                  </a:lnTo>
                  <a:lnTo>
                    <a:pt x="1243" y="940"/>
                  </a:lnTo>
                  <a:lnTo>
                    <a:pt x="1243" y="940"/>
                  </a:lnTo>
                  <a:lnTo>
                    <a:pt x="1243" y="940"/>
                  </a:lnTo>
                  <a:lnTo>
                    <a:pt x="1246" y="940"/>
                  </a:lnTo>
                  <a:lnTo>
                    <a:pt x="1246" y="940"/>
                  </a:lnTo>
                  <a:lnTo>
                    <a:pt x="1246" y="938"/>
                  </a:lnTo>
                  <a:lnTo>
                    <a:pt x="1246" y="938"/>
                  </a:lnTo>
                  <a:lnTo>
                    <a:pt x="1246" y="938"/>
                  </a:lnTo>
                  <a:lnTo>
                    <a:pt x="1246" y="938"/>
                  </a:lnTo>
                  <a:lnTo>
                    <a:pt x="1248" y="940"/>
                  </a:lnTo>
                  <a:lnTo>
                    <a:pt x="1248" y="940"/>
                  </a:lnTo>
                  <a:lnTo>
                    <a:pt x="1248" y="938"/>
                  </a:lnTo>
                  <a:lnTo>
                    <a:pt x="1248" y="938"/>
                  </a:lnTo>
                  <a:lnTo>
                    <a:pt x="1251" y="938"/>
                  </a:lnTo>
                  <a:lnTo>
                    <a:pt x="1251" y="938"/>
                  </a:lnTo>
                  <a:lnTo>
                    <a:pt x="1251" y="938"/>
                  </a:lnTo>
                  <a:lnTo>
                    <a:pt x="1251" y="938"/>
                  </a:lnTo>
                  <a:lnTo>
                    <a:pt x="1254" y="938"/>
                  </a:lnTo>
                  <a:lnTo>
                    <a:pt x="1254" y="938"/>
                  </a:lnTo>
                  <a:lnTo>
                    <a:pt x="1254" y="938"/>
                  </a:lnTo>
                  <a:lnTo>
                    <a:pt x="1254" y="940"/>
                  </a:lnTo>
                  <a:lnTo>
                    <a:pt x="1254" y="940"/>
                  </a:lnTo>
                  <a:lnTo>
                    <a:pt x="1256" y="938"/>
                  </a:lnTo>
                  <a:lnTo>
                    <a:pt x="1256" y="938"/>
                  </a:lnTo>
                  <a:lnTo>
                    <a:pt x="1256" y="938"/>
                  </a:lnTo>
                  <a:lnTo>
                    <a:pt x="1256" y="935"/>
                  </a:lnTo>
                  <a:lnTo>
                    <a:pt x="1256" y="935"/>
                  </a:lnTo>
                  <a:lnTo>
                    <a:pt x="1256" y="935"/>
                  </a:lnTo>
                  <a:lnTo>
                    <a:pt x="1256" y="935"/>
                  </a:lnTo>
                  <a:lnTo>
                    <a:pt x="1256" y="935"/>
                  </a:lnTo>
                  <a:lnTo>
                    <a:pt x="1256" y="935"/>
                  </a:lnTo>
                  <a:lnTo>
                    <a:pt x="1254" y="932"/>
                  </a:lnTo>
                  <a:lnTo>
                    <a:pt x="1254" y="932"/>
                  </a:lnTo>
                  <a:lnTo>
                    <a:pt x="1254" y="932"/>
                  </a:lnTo>
                  <a:lnTo>
                    <a:pt x="1256" y="932"/>
                  </a:lnTo>
                  <a:lnTo>
                    <a:pt x="1259" y="932"/>
                  </a:lnTo>
                  <a:lnTo>
                    <a:pt x="1262" y="930"/>
                  </a:lnTo>
                  <a:lnTo>
                    <a:pt x="1262" y="930"/>
                  </a:lnTo>
                  <a:lnTo>
                    <a:pt x="1259" y="927"/>
                  </a:lnTo>
                  <a:lnTo>
                    <a:pt x="1259" y="927"/>
                  </a:lnTo>
                  <a:lnTo>
                    <a:pt x="1259" y="927"/>
                  </a:lnTo>
                  <a:lnTo>
                    <a:pt x="1259" y="924"/>
                  </a:lnTo>
                  <a:lnTo>
                    <a:pt x="1259" y="924"/>
                  </a:lnTo>
                  <a:lnTo>
                    <a:pt x="1262" y="922"/>
                  </a:lnTo>
                  <a:lnTo>
                    <a:pt x="1262" y="922"/>
                  </a:lnTo>
                  <a:lnTo>
                    <a:pt x="1262" y="922"/>
                  </a:lnTo>
                  <a:lnTo>
                    <a:pt x="1264" y="924"/>
                  </a:lnTo>
                  <a:lnTo>
                    <a:pt x="1264" y="924"/>
                  </a:lnTo>
                  <a:lnTo>
                    <a:pt x="1264" y="924"/>
                  </a:lnTo>
                  <a:lnTo>
                    <a:pt x="1267" y="927"/>
                  </a:lnTo>
                  <a:lnTo>
                    <a:pt x="1267" y="927"/>
                  </a:lnTo>
                  <a:lnTo>
                    <a:pt x="1267" y="927"/>
                  </a:lnTo>
                  <a:lnTo>
                    <a:pt x="1270" y="927"/>
                  </a:lnTo>
                  <a:lnTo>
                    <a:pt x="1270" y="927"/>
                  </a:lnTo>
                  <a:lnTo>
                    <a:pt x="1270" y="927"/>
                  </a:lnTo>
                  <a:lnTo>
                    <a:pt x="1270" y="927"/>
                  </a:lnTo>
                  <a:lnTo>
                    <a:pt x="1272" y="927"/>
                  </a:lnTo>
                  <a:lnTo>
                    <a:pt x="1272" y="924"/>
                  </a:lnTo>
                  <a:lnTo>
                    <a:pt x="1272" y="924"/>
                  </a:lnTo>
                  <a:lnTo>
                    <a:pt x="1270" y="922"/>
                  </a:lnTo>
                  <a:lnTo>
                    <a:pt x="1270" y="922"/>
                  </a:lnTo>
                  <a:lnTo>
                    <a:pt x="1270" y="922"/>
                  </a:lnTo>
                  <a:lnTo>
                    <a:pt x="1270" y="922"/>
                  </a:lnTo>
                  <a:lnTo>
                    <a:pt x="1272" y="922"/>
                  </a:lnTo>
                  <a:lnTo>
                    <a:pt x="1270" y="922"/>
                  </a:lnTo>
                  <a:lnTo>
                    <a:pt x="1270" y="919"/>
                  </a:lnTo>
                  <a:lnTo>
                    <a:pt x="1270" y="919"/>
                  </a:lnTo>
                  <a:lnTo>
                    <a:pt x="1272" y="919"/>
                  </a:lnTo>
                  <a:lnTo>
                    <a:pt x="1272" y="919"/>
                  </a:lnTo>
                  <a:lnTo>
                    <a:pt x="1275" y="919"/>
                  </a:lnTo>
                  <a:lnTo>
                    <a:pt x="1275" y="919"/>
                  </a:lnTo>
                  <a:lnTo>
                    <a:pt x="1275" y="919"/>
                  </a:lnTo>
                  <a:lnTo>
                    <a:pt x="1275" y="919"/>
                  </a:lnTo>
                  <a:lnTo>
                    <a:pt x="1272" y="916"/>
                  </a:lnTo>
                  <a:lnTo>
                    <a:pt x="1278" y="916"/>
                  </a:lnTo>
                  <a:lnTo>
                    <a:pt x="1280" y="916"/>
                  </a:lnTo>
                  <a:lnTo>
                    <a:pt x="1280" y="916"/>
                  </a:lnTo>
                  <a:lnTo>
                    <a:pt x="1280" y="914"/>
                  </a:lnTo>
                  <a:lnTo>
                    <a:pt x="1278" y="911"/>
                  </a:lnTo>
                  <a:lnTo>
                    <a:pt x="1280" y="911"/>
                  </a:lnTo>
                  <a:lnTo>
                    <a:pt x="1280" y="911"/>
                  </a:lnTo>
                  <a:lnTo>
                    <a:pt x="1280" y="911"/>
                  </a:lnTo>
                  <a:lnTo>
                    <a:pt x="1280" y="908"/>
                  </a:lnTo>
                  <a:lnTo>
                    <a:pt x="1280" y="908"/>
                  </a:lnTo>
                  <a:lnTo>
                    <a:pt x="1283" y="908"/>
                  </a:lnTo>
                  <a:lnTo>
                    <a:pt x="1283" y="906"/>
                  </a:lnTo>
                  <a:lnTo>
                    <a:pt x="1286" y="906"/>
                  </a:lnTo>
                  <a:lnTo>
                    <a:pt x="1288" y="908"/>
                  </a:lnTo>
                  <a:lnTo>
                    <a:pt x="1288" y="908"/>
                  </a:lnTo>
                  <a:lnTo>
                    <a:pt x="1291" y="908"/>
                  </a:lnTo>
                  <a:lnTo>
                    <a:pt x="1291" y="908"/>
                  </a:lnTo>
                  <a:lnTo>
                    <a:pt x="1291" y="908"/>
                  </a:lnTo>
                  <a:lnTo>
                    <a:pt x="1291" y="908"/>
                  </a:lnTo>
                  <a:lnTo>
                    <a:pt x="1291" y="908"/>
                  </a:lnTo>
                  <a:lnTo>
                    <a:pt x="1291" y="908"/>
                  </a:lnTo>
                  <a:lnTo>
                    <a:pt x="1291" y="906"/>
                  </a:lnTo>
                  <a:lnTo>
                    <a:pt x="1291" y="906"/>
                  </a:lnTo>
                  <a:lnTo>
                    <a:pt x="1294" y="906"/>
                  </a:lnTo>
                  <a:lnTo>
                    <a:pt x="1294" y="906"/>
                  </a:lnTo>
                  <a:lnTo>
                    <a:pt x="1294" y="903"/>
                  </a:lnTo>
                  <a:lnTo>
                    <a:pt x="1296" y="906"/>
                  </a:lnTo>
                  <a:lnTo>
                    <a:pt x="1296" y="906"/>
                  </a:lnTo>
                  <a:lnTo>
                    <a:pt x="1296" y="906"/>
                  </a:lnTo>
                  <a:lnTo>
                    <a:pt x="1296" y="906"/>
                  </a:lnTo>
                  <a:lnTo>
                    <a:pt x="1296" y="906"/>
                  </a:lnTo>
                  <a:lnTo>
                    <a:pt x="1296" y="908"/>
                  </a:lnTo>
                  <a:lnTo>
                    <a:pt x="1299" y="906"/>
                  </a:lnTo>
                  <a:lnTo>
                    <a:pt x="1299" y="906"/>
                  </a:lnTo>
                  <a:lnTo>
                    <a:pt x="1299" y="903"/>
                  </a:lnTo>
                  <a:lnTo>
                    <a:pt x="1299" y="903"/>
                  </a:lnTo>
                  <a:lnTo>
                    <a:pt x="1299" y="903"/>
                  </a:lnTo>
                  <a:lnTo>
                    <a:pt x="1296" y="900"/>
                  </a:lnTo>
                  <a:lnTo>
                    <a:pt x="1296" y="900"/>
                  </a:lnTo>
                  <a:lnTo>
                    <a:pt x="1299" y="900"/>
                  </a:lnTo>
                  <a:lnTo>
                    <a:pt x="1302" y="903"/>
                  </a:lnTo>
                  <a:lnTo>
                    <a:pt x="1302" y="903"/>
                  </a:lnTo>
                  <a:lnTo>
                    <a:pt x="1302" y="900"/>
                  </a:lnTo>
                  <a:lnTo>
                    <a:pt x="1302" y="900"/>
                  </a:lnTo>
                  <a:lnTo>
                    <a:pt x="1302" y="895"/>
                  </a:lnTo>
                  <a:lnTo>
                    <a:pt x="1302" y="895"/>
                  </a:lnTo>
                  <a:lnTo>
                    <a:pt x="1302" y="898"/>
                  </a:lnTo>
                  <a:lnTo>
                    <a:pt x="1302" y="898"/>
                  </a:lnTo>
                  <a:lnTo>
                    <a:pt x="1302" y="898"/>
                  </a:lnTo>
                  <a:lnTo>
                    <a:pt x="1302" y="898"/>
                  </a:lnTo>
                  <a:lnTo>
                    <a:pt x="1302" y="898"/>
                  </a:lnTo>
                  <a:lnTo>
                    <a:pt x="1302" y="900"/>
                  </a:lnTo>
                  <a:lnTo>
                    <a:pt x="1304" y="900"/>
                  </a:lnTo>
                  <a:lnTo>
                    <a:pt x="1304" y="900"/>
                  </a:lnTo>
                  <a:lnTo>
                    <a:pt x="1304" y="900"/>
                  </a:lnTo>
                  <a:lnTo>
                    <a:pt x="1304" y="903"/>
                  </a:lnTo>
                  <a:lnTo>
                    <a:pt x="1307" y="903"/>
                  </a:lnTo>
                  <a:lnTo>
                    <a:pt x="1307" y="903"/>
                  </a:lnTo>
                  <a:lnTo>
                    <a:pt x="1307" y="903"/>
                  </a:lnTo>
                  <a:lnTo>
                    <a:pt x="1307" y="900"/>
                  </a:lnTo>
                  <a:lnTo>
                    <a:pt x="1307" y="900"/>
                  </a:lnTo>
                  <a:lnTo>
                    <a:pt x="1307" y="900"/>
                  </a:lnTo>
                  <a:lnTo>
                    <a:pt x="1307" y="898"/>
                  </a:lnTo>
                  <a:lnTo>
                    <a:pt x="1310" y="900"/>
                  </a:lnTo>
                  <a:lnTo>
                    <a:pt x="1310" y="900"/>
                  </a:lnTo>
                  <a:lnTo>
                    <a:pt x="1310" y="900"/>
                  </a:lnTo>
                  <a:lnTo>
                    <a:pt x="1310" y="898"/>
                  </a:lnTo>
                  <a:lnTo>
                    <a:pt x="1307" y="898"/>
                  </a:lnTo>
                  <a:lnTo>
                    <a:pt x="1307" y="895"/>
                  </a:lnTo>
                  <a:lnTo>
                    <a:pt x="1307" y="895"/>
                  </a:lnTo>
                  <a:lnTo>
                    <a:pt x="1310" y="895"/>
                  </a:lnTo>
                  <a:lnTo>
                    <a:pt x="1310" y="895"/>
                  </a:lnTo>
                  <a:lnTo>
                    <a:pt x="1310" y="895"/>
                  </a:lnTo>
                  <a:lnTo>
                    <a:pt x="1312" y="895"/>
                  </a:lnTo>
                  <a:lnTo>
                    <a:pt x="1312" y="895"/>
                  </a:lnTo>
                  <a:lnTo>
                    <a:pt x="1312" y="892"/>
                  </a:lnTo>
                  <a:lnTo>
                    <a:pt x="1312" y="892"/>
                  </a:lnTo>
                  <a:lnTo>
                    <a:pt x="1310" y="892"/>
                  </a:lnTo>
                  <a:lnTo>
                    <a:pt x="1312" y="892"/>
                  </a:lnTo>
                  <a:lnTo>
                    <a:pt x="1312" y="890"/>
                  </a:lnTo>
                  <a:lnTo>
                    <a:pt x="1315" y="890"/>
                  </a:lnTo>
                  <a:lnTo>
                    <a:pt x="1312" y="887"/>
                  </a:lnTo>
                  <a:lnTo>
                    <a:pt x="1312" y="887"/>
                  </a:lnTo>
                  <a:lnTo>
                    <a:pt x="1312" y="887"/>
                  </a:lnTo>
                  <a:lnTo>
                    <a:pt x="1312" y="887"/>
                  </a:lnTo>
                  <a:lnTo>
                    <a:pt x="1312" y="887"/>
                  </a:lnTo>
                  <a:lnTo>
                    <a:pt x="1312" y="887"/>
                  </a:lnTo>
                  <a:lnTo>
                    <a:pt x="1312" y="890"/>
                  </a:lnTo>
                  <a:lnTo>
                    <a:pt x="1312" y="890"/>
                  </a:lnTo>
                  <a:lnTo>
                    <a:pt x="1310" y="890"/>
                  </a:lnTo>
                  <a:lnTo>
                    <a:pt x="1310" y="890"/>
                  </a:lnTo>
                  <a:lnTo>
                    <a:pt x="1310" y="890"/>
                  </a:lnTo>
                  <a:lnTo>
                    <a:pt x="1310" y="890"/>
                  </a:lnTo>
                  <a:lnTo>
                    <a:pt x="1307" y="890"/>
                  </a:lnTo>
                  <a:lnTo>
                    <a:pt x="1307" y="890"/>
                  </a:lnTo>
                  <a:lnTo>
                    <a:pt x="1307" y="892"/>
                  </a:lnTo>
                  <a:lnTo>
                    <a:pt x="1307" y="892"/>
                  </a:lnTo>
                  <a:lnTo>
                    <a:pt x="1307" y="892"/>
                  </a:lnTo>
                  <a:lnTo>
                    <a:pt x="1304" y="892"/>
                  </a:lnTo>
                  <a:lnTo>
                    <a:pt x="1307" y="892"/>
                  </a:lnTo>
                  <a:lnTo>
                    <a:pt x="1307" y="890"/>
                  </a:lnTo>
                  <a:lnTo>
                    <a:pt x="1307" y="890"/>
                  </a:lnTo>
                  <a:lnTo>
                    <a:pt x="1304" y="890"/>
                  </a:lnTo>
                  <a:lnTo>
                    <a:pt x="1307" y="890"/>
                  </a:lnTo>
                  <a:lnTo>
                    <a:pt x="1307" y="887"/>
                  </a:lnTo>
                  <a:lnTo>
                    <a:pt x="1307" y="887"/>
                  </a:lnTo>
                  <a:lnTo>
                    <a:pt x="1310" y="887"/>
                  </a:lnTo>
                  <a:lnTo>
                    <a:pt x="1310" y="887"/>
                  </a:lnTo>
                  <a:lnTo>
                    <a:pt x="1312" y="887"/>
                  </a:lnTo>
                  <a:lnTo>
                    <a:pt x="1312" y="887"/>
                  </a:lnTo>
                  <a:lnTo>
                    <a:pt x="1312" y="884"/>
                  </a:lnTo>
                  <a:lnTo>
                    <a:pt x="1312" y="884"/>
                  </a:lnTo>
                  <a:lnTo>
                    <a:pt x="1312" y="884"/>
                  </a:lnTo>
                  <a:lnTo>
                    <a:pt x="1315" y="884"/>
                  </a:lnTo>
                  <a:lnTo>
                    <a:pt x="1315" y="884"/>
                  </a:lnTo>
                  <a:lnTo>
                    <a:pt x="1318" y="884"/>
                  </a:lnTo>
                  <a:lnTo>
                    <a:pt x="1318" y="884"/>
                  </a:lnTo>
                  <a:lnTo>
                    <a:pt x="1318" y="884"/>
                  </a:lnTo>
                  <a:lnTo>
                    <a:pt x="1318" y="882"/>
                  </a:lnTo>
                  <a:lnTo>
                    <a:pt x="1318" y="882"/>
                  </a:lnTo>
                  <a:lnTo>
                    <a:pt x="1318" y="882"/>
                  </a:lnTo>
                  <a:lnTo>
                    <a:pt x="1315" y="882"/>
                  </a:lnTo>
                  <a:lnTo>
                    <a:pt x="1315" y="882"/>
                  </a:lnTo>
                  <a:lnTo>
                    <a:pt x="1315" y="882"/>
                  </a:lnTo>
                  <a:lnTo>
                    <a:pt x="1315" y="882"/>
                  </a:lnTo>
                  <a:lnTo>
                    <a:pt x="1315" y="882"/>
                  </a:lnTo>
                  <a:lnTo>
                    <a:pt x="1315" y="879"/>
                  </a:lnTo>
                  <a:lnTo>
                    <a:pt x="1315" y="876"/>
                  </a:lnTo>
                  <a:lnTo>
                    <a:pt x="1315" y="876"/>
                  </a:lnTo>
                  <a:lnTo>
                    <a:pt x="1315" y="876"/>
                  </a:lnTo>
                  <a:lnTo>
                    <a:pt x="1318" y="876"/>
                  </a:lnTo>
                  <a:lnTo>
                    <a:pt x="1318" y="876"/>
                  </a:lnTo>
                  <a:lnTo>
                    <a:pt x="1320" y="876"/>
                  </a:lnTo>
                  <a:lnTo>
                    <a:pt x="1320" y="876"/>
                  </a:lnTo>
                  <a:lnTo>
                    <a:pt x="1320" y="876"/>
                  </a:lnTo>
                  <a:lnTo>
                    <a:pt x="1320" y="874"/>
                  </a:lnTo>
                  <a:lnTo>
                    <a:pt x="1320" y="874"/>
                  </a:lnTo>
                  <a:lnTo>
                    <a:pt x="1320" y="874"/>
                  </a:lnTo>
                  <a:lnTo>
                    <a:pt x="1320" y="874"/>
                  </a:lnTo>
                  <a:lnTo>
                    <a:pt x="1320" y="874"/>
                  </a:lnTo>
                  <a:lnTo>
                    <a:pt x="1320" y="874"/>
                  </a:lnTo>
                  <a:lnTo>
                    <a:pt x="1320" y="874"/>
                  </a:lnTo>
                  <a:lnTo>
                    <a:pt x="1320" y="874"/>
                  </a:lnTo>
                  <a:lnTo>
                    <a:pt x="1320" y="874"/>
                  </a:lnTo>
                  <a:lnTo>
                    <a:pt x="1320" y="874"/>
                  </a:lnTo>
                  <a:lnTo>
                    <a:pt x="1320" y="874"/>
                  </a:lnTo>
                  <a:lnTo>
                    <a:pt x="1320" y="874"/>
                  </a:lnTo>
                  <a:lnTo>
                    <a:pt x="1320" y="871"/>
                  </a:lnTo>
                  <a:lnTo>
                    <a:pt x="1320" y="871"/>
                  </a:lnTo>
                  <a:lnTo>
                    <a:pt x="1323" y="871"/>
                  </a:lnTo>
                  <a:lnTo>
                    <a:pt x="1323" y="868"/>
                  </a:lnTo>
                  <a:lnTo>
                    <a:pt x="1323" y="868"/>
                  </a:lnTo>
                  <a:lnTo>
                    <a:pt x="1320" y="868"/>
                  </a:lnTo>
                  <a:lnTo>
                    <a:pt x="1320" y="868"/>
                  </a:lnTo>
                  <a:lnTo>
                    <a:pt x="1323" y="868"/>
                  </a:lnTo>
                  <a:lnTo>
                    <a:pt x="1323" y="868"/>
                  </a:lnTo>
                  <a:lnTo>
                    <a:pt x="1326" y="868"/>
                  </a:lnTo>
                  <a:lnTo>
                    <a:pt x="1328" y="866"/>
                  </a:lnTo>
                  <a:lnTo>
                    <a:pt x="1331" y="866"/>
                  </a:lnTo>
                  <a:lnTo>
                    <a:pt x="1331" y="866"/>
                  </a:lnTo>
                  <a:lnTo>
                    <a:pt x="1334" y="866"/>
                  </a:lnTo>
                  <a:lnTo>
                    <a:pt x="1334" y="863"/>
                  </a:lnTo>
                  <a:lnTo>
                    <a:pt x="1334" y="863"/>
                  </a:lnTo>
                  <a:lnTo>
                    <a:pt x="1334" y="863"/>
                  </a:lnTo>
                  <a:lnTo>
                    <a:pt x="1336" y="863"/>
                  </a:lnTo>
                  <a:lnTo>
                    <a:pt x="1339" y="860"/>
                  </a:lnTo>
                  <a:lnTo>
                    <a:pt x="1339" y="858"/>
                  </a:lnTo>
                  <a:lnTo>
                    <a:pt x="1339" y="858"/>
                  </a:lnTo>
                  <a:lnTo>
                    <a:pt x="1339" y="855"/>
                  </a:lnTo>
                  <a:lnTo>
                    <a:pt x="1339" y="852"/>
                  </a:lnTo>
                  <a:lnTo>
                    <a:pt x="1342" y="852"/>
                  </a:lnTo>
                  <a:lnTo>
                    <a:pt x="1342" y="852"/>
                  </a:lnTo>
                  <a:lnTo>
                    <a:pt x="1345" y="852"/>
                  </a:lnTo>
                  <a:lnTo>
                    <a:pt x="1345" y="849"/>
                  </a:lnTo>
                  <a:lnTo>
                    <a:pt x="1345" y="849"/>
                  </a:lnTo>
                  <a:lnTo>
                    <a:pt x="1345" y="849"/>
                  </a:lnTo>
                  <a:lnTo>
                    <a:pt x="1342" y="849"/>
                  </a:lnTo>
                  <a:lnTo>
                    <a:pt x="1342" y="849"/>
                  </a:lnTo>
                  <a:lnTo>
                    <a:pt x="1342" y="849"/>
                  </a:lnTo>
                  <a:lnTo>
                    <a:pt x="1342" y="849"/>
                  </a:lnTo>
                  <a:lnTo>
                    <a:pt x="1345" y="849"/>
                  </a:lnTo>
                  <a:lnTo>
                    <a:pt x="1345" y="849"/>
                  </a:lnTo>
                  <a:lnTo>
                    <a:pt x="1342" y="849"/>
                  </a:lnTo>
                  <a:lnTo>
                    <a:pt x="1342" y="849"/>
                  </a:lnTo>
                  <a:lnTo>
                    <a:pt x="1342" y="847"/>
                  </a:lnTo>
                  <a:lnTo>
                    <a:pt x="1342" y="847"/>
                  </a:lnTo>
                  <a:lnTo>
                    <a:pt x="1342" y="847"/>
                  </a:lnTo>
                  <a:lnTo>
                    <a:pt x="1342" y="847"/>
                  </a:lnTo>
                  <a:lnTo>
                    <a:pt x="1342" y="844"/>
                  </a:lnTo>
                  <a:lnTo>
                    <a:pt x="1342" y="844"/>
                  </a:lnTo>
                  <a:lnTo>
                    <a:pt x="1339" y="844"/>
                  </a:lnTo>
                  <a:lnTo>
                    <a:pt x="1339" y="841"/>
                  </a:lnTo>
                  <a:lnTo>
                    <a:pt x="1339" y="841"/>
                  </a:lnTo>
                  <a:lnTo>
                    <a:pt x="1336" y="841"/>
                  </a:lnTo>
                  <a:lnTo>
                    <a:pt x="1336" y="841"/>
                  </a:lnTo>
                  <a:lnTo>
                    <a:pt x="1336" y="841"/>
                  </a:lnTo>
                  <a:lnTo>
                    <a:pt x="1336" y="841"/>
                  </a:lnTo>
                  <a:lnTo>
                    <a:pt x="1336" y="841"/>
                  </a:lnTo>
                  <a:lnTo>
                    <a:pt x="1334" y="841"/>
                  </a:lnTo>
                  <a:lnTo>
                    <a:pt x="1334" y="841"/>
                  </a:lnTo>
                  <a:lnTo>
                    <a:pt x="1334" y="841"/>
                  </a:lnTo>
                  <a:lnTo>
                    <a:pt x="1334" y="841"/>
                  </a:lnTo>
                  <a:lnTo>
                    <a:pt x="1331" y="841"/>
                  </a:lnTo>
                  <a:lnTo>
                    <a:pt x="1331" y="839"/>
                  </a:lnTo>
                  <a:lnTo>
                    <a:pt x="1331" y="839"/>
                  </a:lnTo>
                  <a:lnTo>
                    <a:pt x="1331" y="839"/>
                  </a:lnTo>
                  <a:lnTo>
                    <a:pt x="1328" y="836"/>
                  </a:lnTo>
                  <a:lnTo>
                    <a:pt x="1328" y="836"/>
                  </a:lnTo>
                  <a:lnTo>
                    <a:pt x="1326" y="836"/>
                  </a:lnTo>
                  <a:lnTo>
                    <a:pt x="1326" y="836"/>
                  </a:lnTo>
                  <a:lnTo>
                    <a:pt x="1323" y="836"/>
                  </a:lnTo>
                  <a:lnTo>
                    <a:pt x="1323" y="836"/>
                  </a:lnTo>
                  <a:lnTo>
                    <a:pt x="1318" y="836"/>
                  </a:lnTo>
                  <a:lnTo>
                    <a:pt x="1315" y="836"/>
                  </a:lnTo>
                  <a:lnTo>
                    <a:pt x="1315" y="836"/>
                  </a:lnTo>
                  <a:lnTo>
                    <a:pt x="1315" y="839"/>
                  </a:lnTo>
                  <a:lnTo>
                    <a:pt x="1312" y="839"/>
                  </a:lnTo>
                  <a:lnTo>
                    <a:pt x="1312" y="839"/>
                  </a:lnTo>
                  <a:lnTo>
                    <a:pt x="1312" y="839"/>
                  </a:lnTo>
                  <a:lnTo>
                    <a:pt x="1312" y="836"/>
                  </a:lnTo>
                  <a:lnTo>
                    <a:pt x="1312" y="836"/>
                  </a:lnTo>
                  <a:lnTo>
                    <a:pt x="1312" y="836"/>
                  </a:lnTo>
                  <a:lnTo>
                    <a:pt x="1312" y="833"/>
                  </a:lnTo>
                  <a:lnTo>
                    <a:pt x="1312" y="833"/>
                  </a:lnTo>
                  <a:lnTo>
                    <a:pt x="1312" y="833"/>
                  </a:lnTo>
                  <a:lnTo>
                    <a:pt x="1312" y="833"/>
                  </a:lnTo>
                  <a:lnTo>
                    <a:pt x="1312" y="833"/>
                  </a:lnTo>
                  <a:lnTo>
                    <a:pt x="1312" y="833"/>
                  </a:lnTo>
                  <a:lnTo>
                    <a:pt x="1312" y="831"/>
                  </a:lnTo>
                  <a:lnTo>
                    <a:pt x="1310" y="833"/>
                  </a:lnTo>
                  <a:lnTo>
                    <a:pt x="1310" y="833"/>
                  </a:lnTo>
                  <a:lnTo>
                    <a:pt x="1310" y="831"/>
                  </a:lnTo>
                  <a:lnTo>
                    <a:pt x="1310" y="831"/>
                  </a:lnTo>
                  <a:lnTo>
                    <a:pt x="1310" y="831"/>
                  </a:lnTo>
                  <a:lnTo>
                    <a:pt x="1310" y="831"/>
                  </a:lnTo>
                  <a:lnTo>
                    <a:pt x="1310" y="831"/>
                  </a:lnTo>
                  <a:lnTo>
                    <a:pt x="1310" y="831"/>
                  </a:lnTo>
                  <a:lnTo>
                    <a:pt x="1310" y="831"/>
                  </a:lnTo>
                  <a:lnTo>
                    <a:pt x="1310" y="831"/>
                  </a:lnTo>
                  <a:lnTo>
                    <a:pt x="1312" y="828"/>
                  </a:lnTo>
                  <a:lnTo>
                    <a:pt x="1312" y="828"/>
                  </a:lnTo>
                  <a:lnTo>
                    <a:pt x="1312" y="828"/>
                  </a:lnTo>
                  <a:lnTo>
                    <a:pt x="1312" y="828"/>
                  </a:lnTo>
                  <a:lnTo>
                    <a:pt x="1315" y="828"/>
                  </a:lnTo>
                  <a:lnTo>
                    <a:pt x="1315" y="825"/>
                  </a:lnTo>
                  <a:lnTo>
                    <a:pt x="1312" y="825"/>
                  </a:lnTo>
                  <a:lnTo>
                    <a:pt x="1312" y="825"/>
                  </a:lnTo>
                  <a:lnTo>
                    <a:pt x="1312" y="823"/>
                  </a:lnTo>
                  <a:lnTo>
                    <a:pt x="1312" y="823"/>
                  </a:lnTo>
                  <a:lnTo>
                    <a:pt x="1315" y="820"/>
                  </a:lnTo>
                  <a:lnTo>
                    <a:pt x="1315" y="820"/>
                  </a:lnTo>
                  <a:lnTo>
                    <a:pt x="1318" y="817"/>
                  </a:lnTo>
                  <a:lnTo>
                    <a:pt x="1320" y="817"/>
                  </a:lnTo>
                  <a:lnTo>
                    <a:pt x="1320" y="815"/>
                  </a:lnTo>
                  <a:lnTo>
                    <a:pt x="1320" y="817"/>
                  </a:lnTo>
                  <a:lnTo>
                    <a:pt x="1320" y="815"/>
                  </a:lnTo>
                  <a:lnTo>
                    <a:pt x="1318" y="815"/>
                  </a:lnTo>
                  <a:lnTo>
                    <a:pt x="1318" y="815"/>
                  </a:lnTo>
                  <a:lnTo>
                    <a:pt x="1318" y="817"/>
                  </a:lnTo>
                  <a:lnTo>
                    <a:pt x="1315" y="817"/>
                  </a:lnTo>
                  <a:lnTo>
                    <a:pt x="1315" y="817"/>
                  </a:lnTo>
                  <a:lnTo>
                    <a:pt x="1312" y="815"/>
                  </a:lnTo>
                  <a:lnTo>
                    <a:pt x="1315" y="815"/>
                  </a:lnTo>
                  <a:lnTo>
                    <a:pt x="1315" y="815"/>
                  </a:lnTo>
                  <a:lnTo>
                    <a:pt x="1315" y="815"/>
                  </a:lnTo>
                  <a:lnTo>
                    <a:pt x="1318" y="815"/>
                  </a:lnTo>
                  <a:lnTo>
                    <a:pt x="1318" y="815"/>
                  </a:lnTo>
                  <a:lnTo>
                    <a:pt x="1318" y="815"/>
                  </a:lnTo>
                  <a:lnTo>
                    <a:pt x="1318" y="815"/>
                  </a:lnTo>
                  <a:lnTo>
                    <a:pt x="1318" y="815"/>
                  </a:lnTo>
                  <a:lnTo>
                    <a:pt x="1320" y="815"/>
                  </a:lnTo>
                  <a:lnTo>
                    <a:pt x="1320" y="812"/>
                  </a:lnTo>
                  <a:lnTo>
                    <a:pt x="1320" y="812"/>
                  </a:lnTo>
                  <a:lnTo>
                    <a:pt x="1320" y="812"/>
                  </a:lnTo>
                  <a:lnTo>
                    <a:pt x="1323" y="812"/>
                  </a:lnTo>
                  <a:lnTo>
                    <a:pt x="1323" y="812"/>
                  </a:lnTo>
                  <a:lnTo>
                    <a:pt x="1326" y="812"/>
                  </a:lnTo>
                  <a:lnTo>
                    <a:pt x="1328" y="812"/>
                  </a:lnTo>
                  <a:lnTo>
                    <a:pt x="1328" y="809"/>
                  </a:lnTo>
                  <a:lnTo>
                    <a:pt x="1328" y="809"/>
                  </a:lnTo>
                  <a:lnTo>
                    <a:pt x="1328" y="809"/>
                  </a:lnTo>
                  <a:lnTo>
                    <a:pt x="1328" y="807"/>
                  </a:lnTo>
                  <a:lnTo>
                    <a:pt x="1326" y="804"/>
                  </a:lnTo>
                  <a:lnTo>
                    <a:pt x="1326" y="804"/>
                  </a:lnTo>
                  <a:lnTo>
                    <a:pt x="1323" y="804"/>
                  </a:lnTo>
                  <a:lnTo>
                    <a:pt x="1323" y="804"/>
                  </a:lnTo>
                  <a:lnTo>
                    <a:pt x="1323" y="804"/>
                  </a:lnTo>
                  <a:lnTo>
                    <a:pt x="1323" y="804"/>
                  </a:lnTo>
                  <a:lnTo>
                    <a:pt x="1326" y="804"/>
                  </a:lnTo>
                  <a:lnTo>
                    <a:pt x="1326" y="804"/>
                  </a:lnTo>
                  <a:lnTo>
                    <a:pt x="1331" y="804"/>
                  </a:lnTo>
                  <a:lnTo>
                    <a:pt x="1334" y="801"/>
                  </a:lnTo>
                  <a:lnTo>
                    <a:pt x="1334" y="801"/>
                  </a:lnTo>
                  <a:lnTo>
                    <a:pt x="1334" y="799"/>
                  </a:lnTo>
                  <a:lnTo>
                    <a:pt x="1334" y="799"/>
                  </a:lnTo>
                  <a:lnTo>
                    <a:pt x="1331" y="799"/>
                  </a:lnTo>
                  <a:lnTo>
                    <a:pt x="1331" y="799"/>
                  </a:lnTo>
                  <a:lnTo>
                    <a:pt x="1328" y="799"/>
                  </a:lnTo>
                  <a:lnTo>
                    <a:pt x="1328" y="796"/>
                  </a:lnTo>
                  <a:lnTo>
                    <a:pt x="1331" y="796"/>
                  </a:lnTo>
                  <a:lnTo>
                    <a:pt x="1331" y="796"/>
                  </a:lnTo>
                  <a:lnTo>
                    <a:pt x="1331" y="796"/>
                  </a:lnTo>
                  <a:lnTo>
                    <a:pt x="1331" y="793"/>
                  </a:lnTo>
                  <a:lnTo>
                    <a:pt x="1331" y="793"/>
                  </a:lnTo>
                  <a:lnTo>
                    <a:pt x="1331" y="793"/>
                  </a:lnTo>
                  <a:lnTo>
                    <a:pt x="1331" y="793"/>
                  </a:lnTo>
                  <a:lnTo>
                    <a:pt x="1331" y="793"/>
                  </a:lnTo>
                  <a:lnTo>
                    <a:pt x="1331" y="793"/>
                  </a:lnTo>
                  <a:lnTo>
                    <a:pt x="1331" y="793"/>
                  </a:lnTo>
                  <a:lnTo>
                    <a:pt x="1331" y="796"/>
                  </a:lnTo>
                  <a:lnTo>
                    <a:pt x="1334" y="796"/>
                  </a:lnTo>
                  <a:lnTo>
                    <a:pt x="1334" y="799"/>
                  </a:lnTo>
                  <a:lnTo>
                    <a:pt x="1334" y="799"/>
                  </a:lnTo>
                  <a:lnTo>
                    <a:pt x="1336" y="796"/>
                  </a:lnTo>
                  <a:lnTo>
                    <a:pt x="1336" y="796"/>
                  </a:lnTo>
                  <a:lnTo>
                    <a:pt x="1336" y="796"/>
                  </a:lnTo>
                  <a:lnTo>
                    <a:pt x="1336" y="796"/>
                  </a:lnTo>
                  <a:lnTo>
                    <a:pt x="1336" y="793"/>
                  </a:lnTo>
                  <a:lnTo>
                    <a:pt x="1336" y="791"/>
                  </a:lnTo>
                  <a:lnTo>
                    <a:pt x="1336" y="791"/>
                  </a:lnTo>
                  <a:lnTo>
                    <a:pt x="1336" y="788"/>
                  </a:lnTo>
                  <a:lnTo>
                    <a:pt x="1336" y="788"/>
                  </a:lnTo>
                  <a:lnTo>
                    <a:pt x="1336" y="788"/>
                  </a:lnTo>
                  <a:lnTo>
                    <a:pt x="1339" y="791"/>
                  </a:lnTo>
                  <a:lnTo>
                    <a:pt x="1342" y="791"/>
                  </a:lnTo>
                  <a:lnTo>
                    <a:pt x="1342" y="793"/>
                  </a:lnTo>
                  <a:lnTo>
                    <a:pt x="1342" y="791"/>
                  </a:lnTo>
                  <a:lnTo>
                    <a:pt x="1339" y="791"/>
                  </a:lnTo>
                  <a:lnTo>
                    <a:pt x="1339" y="796"/>
                  </a:lnTo>
                  <a:lnTo>
                    <a:pt x="1339" y="796"/>
                  </a:lnTo>
                  <a:lnTo>
                    <a:pt x="1339" y="796"/>
                  </a:lnTo>
                  <a:lnTo>
                    <a:pt x="1339" y="796"/>
                  </a:lnTo>
                  <a:lnTo>
                    <a:pt x="1339" y="796"/>
                  </a:lnTo>
                  <a:lnTo>
                    <a:pt x="1339" y="796"/>
                  </a:lnTo>
                  <a:lnTo>
                    <a:pt x="1342" y="799"/>
                  </a:lnTo>
                  <a:lnTo>
                    <a:pt x="1342" y="799"/>
                  </a:lnTo>
                  <a:lnTo>
                    <a:pt x="1342" y="799"/>
                  </a:lnTo>
                  <a:lnTo>
                    <a:pt x="1342" y="796"/>
                  </a:lnTo>
                  <a:lnTo>
                    <a:pt x="1342" y="796"/>
                  </a:lnTo>
                  <a:lnTo>
                    <a:pt x="1342" y="796"/>
                  </a:lnTo>
                  <a:lnTo>
                    <a:pt x="1342" y="796"/>
                  </a:lnTo>
                  <a:lnTo>
                    <a:pt x="1342" y="796"/>
                  </a:lnTo>
                  <a:lnTo>
                    <a:pt x="1342" y="793"/>
                  </a:lnTo>
                  <a:lnTo>
                    <a:pt x="1342" y="793"/>
                  </a:lnTo>
                  <a:lnTo>
                    <a:pt x="1345" y="796"/>
                  </a:lnTo>
                  <a:lnTo>
                    <a:pt x="1345" y="796"/>
                  </a:lnTo>
                  <a:lnTo>
                    <a:pt x="1345" y="796"/>
                  </a:lnTo>
                  <a:lnTo>
                    <a:pt x="1345" y="796"/>
                  </a:lnTo>
                  <a:lnTo>
                    <a:pt x="1347" y="796"/>
                  </a:lnTo>
                  <a:lnTo>
                    <a:pt x="1347" y="796"/>
                  </a:lnTo>
                  <a:lnTo>
                    <a:pt x="1347" y="796"/>
                  </a:lnTo>
                  <a:lnTo>
                    <a:pt x="1347" y="793"/>
                  </a:lnTo>
                  <a:lnTo>
                    <a:pt x="1350" y="793"/>
                  </a:lnTo>
                  <a:lnTo>
                    <a:pt x="1350" y="793"/>
                  </a:lnTo>
                  <a:lnTo>
                    <a:pt x="1353" y="791"/>
                  </a:lnTo>
                  <a:lnTo>
                    <a:pt x="1353" y="788"/>
                  </a:lnTo>
                  <a:lnTo>
                    <a:pt x="1353" y="788"/>
                  </a:lnTo>
                  <a:lnTo>
                    <a:pt x="1353" y="788"/>
                  </a:lnTo>
                  <a:lnTo>
                    <a:pt x="1353" y="785"/>
                  </a:lnTo>
                  <a:lnTo>
                    <a:pt x="1353" y="785"/>
                  </a:lnTo>
                  <a:lnTo>
                    <a:pt x="1353" y="785"/>
                  </a:lnTo>
                  <a:lnTo>
                    <a:pt x="1353" y="785"/>
                  </a:lnTo>
                  <a:lnTo>
                    <a:pt x="1350" y="785"/>
                  </a:lnTo>
                  <a:lnTo>
                    <a:pt x="1347" y="785"/>
                  </a:lnTo>
                  <a:lnTo>
                    <a:pt x="1347" y="785"/>
                  </a:lnTo>
                  <a:lnTo>
                    <a:pt x="1347" y="785"/>
                  </a:lnTo>
                  <a:lnTo>
                    <a:pt x="1347" y="785"/>
                  </a:lnTo>
                  <a:lnTo>
                    <a:pt x="1345" y="785"/>
                  </a:lnTo>
                  <a:lnTo>
                    <a:pt x="1345" y="785"/>
                  </a:lnTo>
                  <a:lnTo>
                    <a:pt x="1342" y="785"/>
                  </a:lnTo>
                  <a:lnTo>
                    <a:pt x="1342" y="785"/>
                  </a:lnTo>
                  <a:lnTo>
                    <a:pt x="1345" y="783"/>
                  </a:lnTo>
                  <a:lnTo>
                    <a:pt x="1345" y="783"/>
                  </a:lnTo>
                  <a:lnTo>
                    <a:pt x="1345" y="783"/>
                  </a:lnTo>
                  <a:lnTo>
                    <a:pt x="1350" y="780"/>
                  </a:lnTo>
                  <a:lnTo>
                    <a:pt x="1350" y="780"/>
                  </a:lnTo>
                  <a:lnTo>
                    <a:pt x="1353" y="780"/>
                  </a:lnTo>
                  <a:lnTo>
                    <a:pt x="1355" y="780"/>
                  </a:lnTo>
                  <a:lnTo>
                    <a:pt x="1355" y="780"/>
                  </a:lnTo>
                  <a:lnTo>
                    <a:pt x="1355" y="780"/>
                  </a:lnTo>
                  <a:lnTo>
                    <a:pt x="1358" y="780"/>
                  </a:lnTo>
                  <a:lnTo>
                    <a:pt x="1358" y="780"/>
                  </a:lnTo>
                  <a:lnTo>
                    <a:pt x="1358" y="780"/>
                  </a:lnTo>
                  <a:lnTo>
                    <a:pt x="1358" y="780"/>
                  </a:lnTo>
                  <a:lnTo>
                    <a:pt x="1361" y="780"/>
                  </a:lnTo>
                  <a:lnTo>
                    <a:pt x="1363" y="777"/>
                  </a:lnTo>
                  <a:lnTo>
                    <a:pt x="1363" y="777"/>
                  </a:lnTo>
                  <a:lnTo>
                    <a:pt x="1363" y="775"/>
                  </a:lnTo>
                  <a:lnTo>
                    <a:pt x="1363" y="775"/>
                  </a:lnTo>
                  <a:lnTo>
                    <a:pt x="1363" y="772"/>
                  </a:lnTo>
                  <a:lnTo>
                    <a:pt x="1366" y="772"/>
                  </a:lnTo>
                  <a:lnTo>
                    <a:pt x="1366" y="772"/>
                  </a:lnTo>
                  <a:lnTo>
                    <a:pt x="1366" y="772"/>
                  </a:lnTo>
                  <a:lnTo>
                    <a:pt x="1366" y="769"/>
                  </a:lnTo>
                  <a:lnTo>
                    <a:pt x="1366" y="769"/>
                  </a:lnTo>
                  <a:lnTo>
                    <a:pt x="1366" y="769"/>
                  </a:lnTo>
                  <a:lnTo>
                    <a:pt x="1366" y="767"/>
                  </a:lnTo>
                  <a:lnTo>
                    <a:pt x="1366" y="767"/>
                  </a:lnTo>
                  <a:lnTo>
                    <a:pt x="1366" y="767"/>
                  </a:lnTo>
                  <a:lnTo>
                    <a:pt x="1363" y="764"/>
                  </a:lnTo>
                  <a:lnTo>
                    <a:pt x="1363" y="764"/>
                  </a:lnTo>
                  <a:lnTo>
                    <a:pt x="1363" y="764"/>
                  </a:lnTo>
                  <a:lnTo>
                    <a:pt x="1363" y="764"/>
                  </a:lnTo>
                  <a:lnTo>
                    <a:pt x="1363" y="761"/>
                  </a:lnTo>
                  <a:lnTo>
                    <a:pt x="1363" y="761"/>
                  </a:lnTo>
                  <a:lnTo>
                    <a:pt x="1363" y="761"/>
                  </a:lnTo>
                  <a:lnTo>
                    <a:pt x="1363" y="761"/>
                  </a:lnTo>
                  <a:lnTo>
                    <a:pt x="1363" y="761"/>
                  </a:lnTo>
                  <a:lnTo>
                    <a:pt x="1363" y="761"/>
                  </a:lnTo>
                  <a:lnTo>
                    <a:pt x="1361" y="761"/>
                  </a:lnTo>
                  <a:lnTo>
                    <a:pt x="1361" y="761"/>
                  </a:lnTo>
                  <a:lnTo>
                    <a:pt x="1361" y="761"/>
                  </a:lnTo>
                  <a:lnTo>
                    <a:pt x="1361" y="759"/>
                  </a:lnTo>
                  <a:lnTo>
                    <a:pt x="1358" y="759"/>
                  </a:lnTo>
                  <a:lnTo>
                    <a:pt x="1355" y="756"/>
                  </a:lnTo>
                  <a:lnTo>
                    <a:pt x="1355" y="756"/>
                  </a:lnTo>
                  <a:lnTo>
                    <a:pt x="1355" y="756"/>
                  </a:lnTo>
                  <a:lnTo>
                    <a:pt x="1355" y="756"/>
                  </a:lnTo>
                  <a:lnTo>
                    <a:pt x="1355" y="753"/>
                  </a:lnTo>
                  <a:lnTo>
                    <a:pt x="1355" y="753"/>
                  </a:lnTo>
                  <a:lnTo>
                    <a:pt x="1353" y="753"/>
                  </a:lnTo>
                  <a:lnTo>
                    <a:pt x="1353" y="753"/>
                  </a:lnTo>
                  <a:lnTo>
                    <a:pt x="1350" y="753"/>
                  </a:lnTo>
                  <a:lnTo>
                    <a:pt x="1350" y="753"/>
                  </a:lnTo>
                  <a:lnTo>
                    <a:pt x="1350" y="753"/>
                  </a:lnTo>
                  <a:lnTo>
                    <a:pt x="1350" y="753"/>
                  </a:lnTo>
                  <a:lnTo>
                    <a:pt x="1350" y="753"/>
                  </a:lnTo>
                  <a:lnTo>
                    <a:pt x="1350" y="753"/>
                  </a:lnTo>
                  <a:lnTo>
                    <a:pt x="1350" y="751"/>
                  </a:lnTo>
                  <a:lnTo>
                    <a:pt x="1353" y="751"/>
                  </a:lnTo>
                  <a:lnTo>
                    <a:pt x="1355" y="751"/>
                  </a:lnTo>
                  <a:lnTo>
                    <a:pt x="1355" y="751"/>
                  </a:lnTo>
                  <a:lnTo>
                    <a:pt x="1355" y="753"/>
                  </a:lnTo>
                  <a:lnTo>
                    <a:pt x="1355" y="753"/>
                  </a:lnTo>
                  <a:lnTo>
                    <a:pt x="1355" y="756"/>
                  </a:lnTo>
                  <a:lnTo>
                    <a:pt x="1358" y="753"/>
                  </a:lnTo>
                  <a:lnTo>
                    <a:pt x="1358" y="753"/>
                  </a:lnTo>
                  <a:lnTo>
                    <a:pt x="1361" y="756"/>
                  </a:lnTo>
                  <a:lnTo>
                    <a:pt x="1361" y="756"/>
                  </a:lnTo>
                  <a:lnTo>
                    <a:pt x="1358" y="756"/>
                  </a:lnTo>
                  <a:lnTo>
                    <a:pt x="1358" y="756"/>
                  </a:lnTo>
                  <a:lnTo>
                    <a:pt x="1358" y="756"/>
                  </a:lnTo>
                  <a:lnTo>
                    <a:pt x="1358" y="756"/>
                  </a:lnTo>
                  <a:lnTo>
                    <a:pt x="1358" y="756"/>
                  </a:lnTo>
                  <a:lnTo>
                    <a:pt x="1363" y="756"/>
                  </a:lnTo>
                  <a:lnTo>
                    <a:pt x="1363" y="756"/>
                  </a:lnTo>
                  <a:lnTo>
                    <a:pt x="1363" y="756"/>
                  </a:lnTo>
                  <a:lnTo>
                    <a:pt x="1366" y="756"/>
                  </a:lnTo>
                  <a:lnTo>
                    <a:pt x="1366" y="756"/>
                  </a:lnTo>
                  <a:lnTo>
                    <a:pt x="1369" y="753"/>
                  </a:lnTo>
                  <a:lnTo>
                    <a:pt x="1369" y="753"/>
                  </a:lnTo>
                  <a:lnTo>
                    <a:pt x="1371" y="753"/>
                  </a:lnTo>
                  <a:lnTo>
                    <a:pt x="1371" y="753"/>
                  </a:lnTo>
                  <a:lnTo>
                    <a:pt x="1371" y="751"/>
                  </a:lnTo>
                  <a:lnTo>
                    <a:pt x="1371" y="751"/>
                  </a:lnTo>
                  <a:lnTo>
                    <a:pt x="1371" y="751"/>
                  </a:lnTo>
                  <a:lnTo>
                    <a:pt x="1371" y="751"/>
                  </a:lnTo>
                  <a:lnTo>
                    <a:pt x="1374" y="748"/>
                  </a:lnTo>
                  <a:lnTo>
                    <a:pt x="1377" y="745"/>
                  </a:lnTo>
                  <a:lnTo>
                    <a:pt x="1377" y="745"/>
                  </a:lnTo>
                  <a:lnTo>
                    <a:pt x="1377" y="745"/>
                  </a:lnTo>
                  <a:lnTo>
                    <a:pt x="1374" y="743"/>
                  </a:lnTo>
                  <a:lnTo>
                    <a:pt x="1374" y="743"/>
                  </a:lnTo>
                  <a:lnTo>
                    <a:pt x="1374" y="740"/>
                  </a:lnTo>
                  <a:lnTo>
                    <a:pt x="1374" y="740"/>
                  </a:lnTo>
                  <a:lnTo>
                    <a:pt x="1374" y="740"/>
                  </a:lnTo>
                  <a:lnTo>
                    <a:pt x="1374" y="737"/>
                  </a:lnTo>
                  <a:lnTo>
                    <a:pt x="1377" y="735"/>
                  </a:lnTo>
                  <a:lnTo>
                    <a:pt x="1379" y="732"/>
                  </a:lnTo>
                  <a:lnTo>
                    <a:pt x="1379" y="732"/>
                  </a:lnTo>
                  <a:lnTo>
                    <a:pt x="1382" y="732"/>
                  </a:lnTo>
                  <a:lnTo>
                    <a:pt x="1382" y="732"/>
                  </a:lnTo>
                  <a:lnTo>
                    <a:pt x="1382" y="729"/>
                  </a:lnTo>
                  <a:lnTo>
                    <a:pt x="1382" y="727"/>
                  </a:lnTo>
                  <a:lnTo>
                    <a:pt x="1382" y="727"/>
                  </a:lnTo>
                  <a:lnTo>
                    <a:pt x="1382" y="727"/>
                  </a:lnTo>
                  <a:lnTo>
                    <a:pt x="1385" y="727"/>
                  </a:lnTo>
                  <a:lnTo>
                    <a:pt x="1385" y="727"/>
                  </a:lnTo>
                  <a:lnTo>
                    <a:pt x="1385" y="727"/>
                  </a:lnTo>
                  <a:lnTo>
                    <a:pt x="1387" y="724"/>
                  </a:lnTo>
                  <a:lnTo>
                    <a:pt x="1387" y="721"/>
                  </a:lnTo>
                  <a:lnTo>
                    <a:pt x="1387" y="721"/>
                  </a:lnTo>
                  <a:lnTo>
                    <a:pt x="1390" y="721"/>
                  </a:lnTo>
                  <a:lnTo>
                    <a:pt x="1390" y="721"/>
                  </a:lnTo>
                  <a:lnTo>
                    <a:pt x="1390" y="721"/>
                  </a:lnTo>
                  <a:lnTo>
                    <a:pt x="1390" y="721"/>
                  </a:lnTo>
                  <a:lnTo>
                    <a:pt x="1390" y="721"/>
                  </a:lnTo>
                  <a:lnTo>
                    <a:pt x="1393" y="721"/>
                  </a:lnTo>
                  <a:lnTo>
                    <a:pt x="1393" y="724"/>
                  </a:lnTo>
                  <a:lnTo>
                    <a:pt x="1395" y="721"/>
                  </a:lnTo>
                  <a:lnTo>
                    <a:pt x="1395" y="721"/>
                  </a:lnTo>
                  <a:lnTo>
                    <a:pt x="1390" y="716"/>
                  </a:lnTo>
                  <a:lnTo>
                    <a:pt x="1390" y="716"/>
                  </a:lnTo>
                  <a:lnTo>
                    <a:pt x="1390" y="713"/>
                  </a:lnTo>
                  <a:lnTo>
                    <a:pt x="1390" y="713"/>
                  </a:lnTo>
                  <a:lnTo>
                    <a:pt x="1393" y="711"/>
                  </a:lnTo>
                  <a:lnTo>
                    <a:pt x="1393" y="711"/>
                  </a:lnTo>
                  <a:lnTo>
                    <a:pt x="1393" y="708"/>
                  </a:lnTo>
                  <a:lnTo>
                    <a:pt x="1395" y="708"/>
                  </a:lnTo>
                  <a:lnTo>
                    <a:pt x="1395" y="708"/>
                  </a:lnTo>
                  <a:lnTo>
                    <a:pt x="1398" y="705"/>
                  </a:lnTo>
                  <a:lnTo>
                    <a:pt x="1398" y="703"/>
                  </a:lnTo>
                  <a:lnTo>
                    <a:pt x="1401" y="703"/>
                  </a:lnTo>
                  <a:lnTo>
                    <a:pt x="1401" y="703"/>
                  </a:lnTo>
                  <a:lnTo>
                    <a:pt x="1403" y="703"/>
                  </a:lnTo>
                  <a:lnTo>
                    <a:pt x="1406" y="703"/>
                  </a:lnTo>
                  <a:lnTo>
                    <a:pt x="1406" y="703"/>
                  </a:lnTo>
                  <a:lnTo>
                    <a:pt x="1406" y="700"/>
                  </a:lnTo>
                  <a:lnTo>
                    <a:pt x="1406" y="700"/>
                  </a:lnTo>
                  <a:lnTo>
                    <a:pt x="1409" y="700"/>
                  </a:lnTo>
                  <a:lnTo>
                    <a:pt x="1411" y="700"/>
                  </a:lnTo>
                  <a:lnTo>
                    <a:pt x="1411" y="697"/>
                  </a:lnTo>
                  <a:lnTo>
                    <a:pt x="1411" y="697"/>
                  </a:lnTo>
                  <a:lnTo>
                    <a:pt x="1411" y="697"/>
                  </a:lnTo>
                  <a:lnTo>
                    <a:pt x="1414" y="692"/>
                  </a:lnTo>
                  <a:lnTo>
                    <a:pt x="1414" y="692"/>
                  </a:lnTo>
                  <a:lnTo>
                    <a:pt x="1417" y="689"/>
                  </a:lnTo>
                  <a:lnTo>
                    <a:pt x="1417" y="689"/>
                  </a:lnTo>
                  <a:lnTo>
                    <a:pt x="1417" y="689"/>
                  </a:lnTo>
                  <a:lnTo>
                    <a:pt x="1417" y="689"/>
                  </a:lnTo>
                  <a:lnTo>
                    <a:pt x="1417" y="689"/>
                  </a:lnTo>
                  <a:lnTo>
                    <a:pt x="1419" y="689"/>
                  </a:lnTo>
                  <a:lnTo>
                    <a:pt x="1419" y="689"/>
                  </a:lnTo>
                  <a:lnTo>
                    <a:pt x="1425" y="684"/>
                  </a:lnTo>
                  <a:lnTo>
                    <a:pt x="1427" y="684"/>
                  </a:lnTo>
                  <a:lnTo>
                    <a:pt x="1427" y="681"/>
                  </a:lnTo>
                  <a:lnTo>
                    <a:pt x="1427" y="681"/>
                  </a:lnTo>
                  <a:lnTo>
                    <a:pt x="1430" y="681"/>
                  </a:lnTo>
                  <a:lnTo>
                    <a:pt x="1430" y="681"/>
                  </a:lnTo>
                  <a:lnTo>
                    <a:pt x="1430" y="679"/>
                  </a:lnTo>
                  <a:lnTo>
                    <a:pt x="1430" y="679"/>
                  </a:lnTo>
                  <a:lnTo>
                    <a:pt x="1430" y="676"/>
                  </a:lnTo>
                  <a:lnTo>
                    <a:pt x="1430" y="676"/>
                  </a:lnTo>
                  <a:lnTo>
                    <a:pt x="1430" y="681"/>
                  </a:lnTo>
                  <a:lnTo>
                    <a:pt x="1430" y="681"/>
                  </a:lnTo>
                  <a:lnTo>
                    <a:pt x="1433" y="684"/>
                  </a:lnTo>
                  <a:lnTo>
                    <a:pt x="1435" y="684"/>
                  </a:lnTo>
                  <a:lnTo>
                    <a:pt x="1438" y="684"/>
                  </a:lnTo>
                  <a:lnTo>
                    <a:pt x="1438" y="684"/>
                  </a:lnTo>
                  <a:lnTo>
                    <a:pt x="1438" y="684"/>
                  </a:lnTo>
                  <a:lnTo>
                    <a:pt x="1438" y="684"/>
                  </a:lnTo>
                  <a:lnTo>
                    <a:pt x="1438" y="684"/>
                  </a:lnTo>
                  <a:lnTo>
                    <a:pt x="1438" y="684"/>
                  </a:lnTo>
                  <a:lnTo>
                    <a:pt x="1438" y="681"/>
                  </a:lnTo>
                  <a:lnTo>
                    <a:pt x="1438" y="681"/>
                  </a:lnTo>
                  <a:lnTo>
                    <a:pt x="1438" y="684"/>
                  </a:lnTo>
                  <a:lnTo>
                    <a:pt x="1438" y="684"/>
                  </a:lnTo>
                  <a:lnTo>
                    <a:pt x="1441" y="684"/>
                  </a:lnTo>
                  <a:lnTo>
                    <a:pt x="1449" y="684"/>
                  </a:lnTo>
                  <a:lnTo>
                    <a:pt x="1451" y="684"/>
                  </a:lnTo>
                  <a:lnTo>
                    <a:pt x="1451" y="681"/>
                  </a:lnTo>
                  <a:lnTo>
                    <a:pt x="1451" y="681"/>
                  </a:lnTo>
                  <a:lnTo>
                    <a:pt x="1451" y="679"/>
                  </a:lnTo>
                  <a:lnTo>
                    <a:pt x="1451" y="676"/>
                  </a:lnTo>
                  <a:lnTo>
                    <a:pt x="1451" y="676"/>
                  </a:lnTo>
                  <a:lnTo>
                    <a:pt x="1451" y="673"/>
                  </a:lnTo>
                  <a:lnTo>
                    <a:pt x="1451" y="673"/>
                  </a:lnTo>
                  <a:lnTo>
                    <a:pt x="1454" y="673"/>
                  </a:lnTo>
                  <a:lnTo>
                    <a:pt x="1454" y="670"/>
                  </a:lnTo>
                  <a:lnTo>
                    <a:pt x="1457" y="670"/>
                  </a:lnTo>
                  <a:lnTo>
                    <a:pt x="1459" y="668"/>
                  </a:lnTo>
                  <a:lnTo>
                    <a:pt x="1467" y="665"/>
                  </a:lnTo>
                  <a:lnTo>
                    <a:pt x="1467" y="665"/>
                  </a:lnTo>
                  <a:lnTo>
                    <a:pt x="1467" y="665"/>
                  </a:lnTo>
                  <a:lnTo>
                    <a:pt x="1470" y="665"/>
                  </a:lnTo>
                  <a:lnTo>
                    <a:pt x="1473" y="665"/>
                  </a:lnTo>
                  <a:lnTo>
                    <a:pt x="1473" y="665"/>
                  </a:lnTo>
                  <a:lnTo>
                    <a:pt x="1470" y="668"/>
                  </a:lnTo>
                  <a:lnTo>
                    <a:pt x="1470" y="668"/>
                  </a:lnTo>
                  <a:lnTo>
                    <a:pt x="1459" y="673"/>
                  </a:lnTo>
                  <a:lnTo>
                    <a:pt x="1459" y="673"/>
                  </a:lnTo>
                  <a:lnTo>
                    <a:pt x="1457" y="673"/>
                  </a:lnTo>
                  <a:lnTo>
                    <a:pt x="1457" y="676"/>
                  </a:lnTo>
                  <a:lnTo>
                    <a:pt x="1457" y="679"/>
                  </a:lnTo>
                  <a:lnTo>
                    <a:pt x="1457" y="679"/>
                  </a:lnTo>
                  <a:lnTo>
                    <a:pt x="1457" y="679"/>
                  </a:lnTo>
                  <a:lnTo>
                    <a:pt x="1454" y="679"/>
                  </a:lnTo>
                  <a:lnTo>
                    <a:pt x="1454" y="679"/>
                  </a:lnTo>
                  <a:lnTo>
                    <a:pt x="1454" y="681"/>
                  </a:lnTo>
                  <a:lnTo>
                    <a:pt x="1454" y="681"/>
                  </a:lnTo>
                  <a:lnTo>
                    <a:pt x="1451" y="684"/>
                  </a:lnTo>
                  <a:lnTo>
                    <a:pt x="1451" y="684"/>
                  </a:lnTo>
                  <a:lnTo>
                    <a:pt x="1451" y="687"/>
                  </a:lnTo>
                  <a:lnTo>
                    <a:pt x="1451" y="687"/>
                  </a:lnTo>
                  <a:lnTo>
                    <a:pt x="1449" y="687"/>
                  </a:lnTo>
                  <a:lnTo>
                    <a:pt x="1449" y="687"/>
                  </a:lnTo>
                  <a:lnTo>
                    <a:pt x="1449" y="687"/>
                  </a:lnTo>
                  <a:lnTo>
                    <a:pt x="1449" y="689"/>
                  </a:lnTo>
                  <a:lnTo>
                    <a:pt x="1446" y="689"/>
                  </a:lnTo>
                  <a:lnTo>
                    <a:pt x="1446" y="689"/>
                  </a:lnTo>
                  <a:lnTo>
                    <a:pt x="1451" y="695"/>
                  </a:lnTo>
                  <a:lnTo>
                    <a:pt x="1454" y="695"/>
                  </a:lnTo>
                  <a:lnTo>
                    <a:pt x="1457" y="697"/>
                  </a:lnTo>
                  <a:lnTo>
                    <a:pt x="1462" y="700"/>
                  </a:lnTo>
                  <a:lnTo>
                    <a:pt x="1465" y="700"/>
                  </a:lnTo>
                  <a:lnTo>
                    <a:pt x="1467" y="700"/>
                  </a:lnTo>
                  <a:lnTo>
                    <a:pt x="1470" y="703"/>
                  </a:lnTo>
                  <a:lnTo>
                    <a:pt x="1470" y="705"/>
                  </a:lnTo>
                  <a:lnTo>
                    <a:pt x="1473" y="705"/>
                  </a:lnTo>
                  <a:lnTo>
                    <a:pt x="1475" y="703"/>
                  </a:lnTo>
                  <a:lnTo>
                    <a:pt x="1478" y="703"/>
                  </a:lnTo>
                  <a:lnTo>
                    <a:pt x="1478" y="703"/>
                  </a:lnTo>
                  <a:lnTo>
                    <a:pt x="1481" y="705"/>
                  </a:lnTo>
                  <a:lnTo>
                    <a:pt x="1483" y="708"/>
                  </a:lnTo>
                  <a:lnTo>
                    <a:pt x="1481" y="708"/>
                  </a:lnTo>
                  <a:lnTo>
                    <a:pt x="1481" y="708"/>
                  </a:lnTo>
                  <a:lnTo>
                    <a:pt x="1481" y="708"/>
                  </a:lnTo>
                  <a:lnTo>
                    <a:pt x="1481" y="708"/>
                  </a:lnTo>
                  <a:lnTo>
                    <a:pt x="1481" y="708"/>
                  </a:lnTo>
                  <a:lnTo>
                    <a:pt x="1478" y="708"/>
                  </a:lnTo>
                  <a:lnTo>
                    <a:pt x="1467" y="705"/>
                  </a:lnTo>
                  <a:lnTo>
                    <a:pt x="1467" y="705"/>
                  </a:lnTo>
                  <a:lnTo>
                    <a:pt x="1465" y="705"/>
                  </a:lnTo>
                  <a:lnTo>
                    <a:pt x="1462" y="705"/>
                  </a:lnTo>
                  <a:lnTo>
                    <a:pt x="1462" y="705"/>
                  </a:lnTo>
                  <a:lnTo>
                    <a:pt x="1459" y="703"/>
                  </a:lnTo>
                  <a:lnTo>
                    <a:pt x="1459" y="703"/>
                  </a:lnTo>
                  <a:lnTo>
                    <a:pt x="1457" y="703"/>
                  </a:lnTo>
                  <a:lnTo>
                    <a:pt x="1457" y="703"/>
                  </a:lnTo>
                  <a:lnTo>
                    <a:pt x="1454" y="703"/>
                  </a:lnTo>
                  <a:lnTo>
                    <a:pt x="1451" y="705"/>
                  </a:lnTo>
                  <a:lnTo>
                    <a:pt x="1451" y="705"/>
                  </a:lnTo>
                  <a:lnTo>
                    <a:pt x="1449" y="708"/>
                  </a:lnTo>
                  <a:lnTo>
                    <a:pt x="1443" y="705"/>
                  </a:lnTo>
                  <a:lnTo>
                    <a:pt x="1443" y="705"/>
                  </a:lnTo>
                  <a:lnTo>
                    <a:pt x="1441" y="705"/>
                  </a:lnTo>
                  <a:lnTo>
                    <a:pt x="1441" y="703"/>
                  </a:lnTo>
                  <a:lnTo>
                    <a:pt x="1441" y="703"/>
                  </a:lnTo>
                  <a:lnTo>
                    <a:pt x="1438" y="700"/>
                  </a:lnTo>
                  <a:lnTo>
                    <a:pt x="1438" y="700"/>
                  </a:lnTo>
                  <a:lnTo>
                    <a:pt x="1438" y="697"/>
                  </a:lnTo>
                  <a:lnTo>
                    <a:pt x="1435" y="700"/>
                  </a:lnTo>
                  <a:lnTo>
                    <a:pt x="1430" y="703"/>
                  </a:lnTo>
                  <a:lnTo>
                    <a:pt x="1425" y="708"/>
                  </a:lnTo>
                  <a:lnTo>
                    <a:pt x="1417" y="716"/>
                  </a:lnTo>
                  <a:lnTo>
                    <a:pt x="1417" y="716"/>
                  </a:lnTo>
                  <a:lnTo>
                    <a:pt x="1417" y="719"/>
                  </a:lnTo>
                  <a:lnTo>
                    <a:pt x="1409" y="719"/>
                  </a:lnTo>
                  <a:lnTo>
                    <a:pt x="1409" y="719"/>
                  </a:lnTo>
                  <a:lnTo>
                    <a:pt x="1409" y="721"/>
                  </a:lnTo>
                  <a:lnTo>
                    <a:pt x="1406" y="721"/>
                  </a:lnTo>
                  <a:lnTo>
                    <a:pt x="1406" y="721"/>
                  </a:lnTo>
                  <a:lnTo>
                    <a:pt x="1403" y="721"/>
                  </a:lnTo>
                  <a:lnTo>
                    <a:pt x="1403" y="724"/>
                  </a:lnTo>
                  <a:lnTo>
                    <a:pt x="1406" y="724"/>
                  </a:lnTo>
                  <a:lnTo>
                    <a:pt x="1406" y="727"/>
                  </a:lnTo>
                  <a:lnTo>
                    <a:pt x="1406" y="727"/>
                  </a:lnTo>
                  <a:lnTo>
                    <a:pt x="1406" y="732"/>
                  </a:lnTo>
                  <a:lnTo>
                    <a:pt x="1409" y="732"/>
                  </a:lnTo>
                  <a:lnTo>
                    <a:pt x="1409" y="735"/>
                  </a:lnTo>
                  <a:lnTo>
                    <a:pt x="1409" y="735"/>
                  </a:lnTo>
                  <a:lnTo>
                    <a:pt x="1409" y="737"/>
                  </a:lnTo>
                  <a:lnTo>
                    <a:pt x="1409" y="737"/>
                  </a:lnTo>
                  <a:lnTo>
                    <a:pt x="1409" y="743"/>
                  </a:lnTo>
                  <a:lnTo>
                    <a:pt x="1409" y="745"/>
                  </a:lnTo>
                  <a:lnTo>
                    <a:pt x="1409" y="745"/>
                  </a:lnTo>
                  <a:lnTo>
                    <a:pt x="1409" y="745"/>
                  </a:lnTo>
                  <a:lnTo>
                    <a:pt x="1406" y="745"/>
                  </a:lnTo>
                  <a:lnTo>
                    <a:pt x="1406" y="745"/>
                  </a:lnTo>
                  <a:lnTo>
                    <a:pt x="1406" y="745"/>
                  </a:lnTo>
                  <a:lnTo>
                    <a:pt x="1406" y="748"/>
                  </a:lnTo>
                  <a:lnTo>
                    <a:pt x="1406" y="748"/>
                  </a:lnTo>
                  <a:lnTo>
                    <a:pt x="1406" y="751"/>
                  </a:lnTo>
                  <a:lnTo>
                    <a:pt x="1406" y="753"/>
                  </a:lnTo>
                  <a:lnTo>
                    <a:pt x="1406" y="756"/>
                  </a:lnTo>
                  <a:lnTo>
                    <a:pt x="1403" y="759"/>
                  </a:lnTo>
                  <a:lnTo>
                    <a:pt x="1395" y="769"/>
                  </a:lnTo>
                  <a:lnTo>
                    <a:pt x="1395" y="769"/>
                  </a:lnTo>
                  <a:lnTo>
                    <a:pt x="1395" y="772"/>
                  </a:lnTo>
                  <a:lnTo>
                    <a:pt x="1395" y="772"/>
                  </a:lnTo>
                  <a:lnTo>
                    <a:pt x="1393" y="783"/>
                  </a:lnTo>
                  <a:lnTo>
                    <a:pt x="1393" y="783"/>
                  </a:lnTo>
                  <a:lnTo>
                    <a:pt x="1393" y="785"/>
                  </a:lnTo>
                  <a:lnTo>
                    <a:pt x="1390" y="785"/>
                  </a:lnTo>
                  <a:lnTo>
                    <a:pt x="1390" y="785"/>
                  </a:lnTo>
                  <a:lnTo>
                    <a:pt x="1390" y="788"/>
                  </a:lnTo>
                  <a:lnTo>
                    <a:pt x="1393" y="791"/>
                  </a:lnTo>
                  <a:lnTo>
                    <a:pt x="1395" y="793"/>
                  </a:lnTo>
                  <a:lnTo>
                    <a:pt x="1395" y="793"/>
                  </a:lnTo>
                  <a:lnTo>
                    <a:pt x="1406" y="799"/>
                  </a:lnTo>
                  <a:lnTo>
                    <a:pt x="1406" y="799"/>
                  </a:lnTo>
                  <a:lnTo>
                    <a:pt x="1406" y="796"/>
                  </a:lnTo>
                  <a:lnTo>
                    <a:pt x="1406" y="796"/>
                  </a:lnTo>
                  <a:lnTo>
                    <a:pt x="1406" y="796"/>
                  </a:lnTo>
                  <a:lnTo>
                    <a:pt x="1406" y="793"/>
                  </a:lnTo>
                  <a:lnTo>
                    <a:pt x="1406" y="793"/>
                  </a:lnTo>
                  <a:lnTo>
                    <a:pt x="1406" y="793"/>
                  </a:lnTo>
                  <a:lnTo>
                    <a:pt x="1409" y="793"/>
                  </a:lnTo>
                  <a:lnTo>
                    <a:pt x="1414" y="788"/>
                  </a:lnTo>
                  <a:lnTo>
                    <a:pt x="1417" y="788"/>
                  </a:lnTo>
                  <a:lnTo>
                    <a:pt x="1417" y="785"/>
                  </a:lnTo>
                  <a:lnTo>
                    <a:pt x="1419" y="785"/>
                  </a:lnTo>
                  <a:lnTo>
                    <a:pt x="1419" y="785"/>
                  </a:lnTo>
                  <a:lnTo>
                    <a:pt x="1422" y="785"/>
                  </a:lnTo>
                  <a:lnTo>
                    <a:pt x="1419" y="788"/>
                  </a:lnTo>
                  <a:lnTo>
                    <a:pt x="1417" y="791"/>
                  </a:lnTo>
                  <a:lnTo>
                    <a:pt x="1417" y="791"/>
                  </a:lnTo>
                  <a:lnTo>
                    <a:pt x="1417" y="793"/>
                  </a:lnTo>
                  <a:lnTo>
                    <a:pt x="1417" y="793"/>
                  </a:lnTo>
                  <a:lnTo>
                    <a:pt x="1417" y="793"/>
                  </a:lnTo>
                  <a:lnTo>
                    <a:pt x="1414" y="793"/>
                  </a:lnTo>
                  <a:lnTo>
                    <a:pt x="1414" y="793"/>
                  </a:lnTo>
                  <a:lnTo>
                    <a:pt x="1414" y="796"/>
                  </a:lnTo>
                  <a:lnTo>
                    <a:pt x="1414" y="796"/>
                  </a:lnTo>
                  <a:lnTo>
                    <a:pt x="1417" y="799"/>
                  </a:lnTo>
                  <a:lnTo>
                    <a:pt x="1417" y="799"/>
                  </a:lnTo>
                  <a:lnTo>
                    <a:pt x="1414" y="799"/>
                  </a:lnTo>
                  <a:lnTo>
                    <a:pt x="1414" y="799"/>
                  </a:lnTo>
                  <a:lnTo>
                    <a:pt x="1411" y="799"/>
                  </a:lnTo>
                  <a:lnTo>
                    <a:pt x="1411" y="799"/>
                  </a:lnTo>
                  <a:lnTo>
                    <a:pt x="1411" y="801"/>
                  </a:lnTo>
                  <a:lnTo>
                    <a:pt x="1411" y="801"/>
                  </a:lnTo>
                  <a:lnTo>
                    <a:pt x="1411" y="801"/>
                  </a:lnTo>
                  <a:lnTo>
                    <a:pt x="1409" y="801"/>
                  </a:lnTo>
                  <a:lnTo>
                    <a:pt x="1409" y="801"/>
                  </a:lnTo>
                  <a:lnTo>
                    <a:pt x="1406" y="801"/>
                  </a:lnTo>
                  <a:lnTo>
                    <a:pt x="1406" y="804"/>
                  </a:lnTo>
                  <a:lnTo>
                    <a:pt x="1406" y="804"/>
                  </a:lnTo>
                  <a:lnTo>
                    <a:pt x="1406" y="807"/>
                  </a:lnTo>
                  <a:lnTo>
                    <a:pt x="1409" y="807"/>
                  </a:lnTo>
                  <a:lnTo>
                    <a:pt x="1409" y="809"/>
                  </a:lnTo>
                  <a:lnTo>
                    <a:pt x="1409" y="809"/>
                  </a:lnTo>
                  <a:lnTo>
                    <a:pt x="1409" y="809"/>
                  </a:lnTo>
                  <a:lnTo>
                    <a:pt x="1406" y="809"/>
                  </a:lnTo>
                  <a:lnTo>
                    <a:pt x="1406" y="807"/>
                  </a:lnTo>
                  <a:lnTo>
                    <a:pt x="1406" y="807"/>
                  </a:lnTo>
                  <a:lnTo>
                    <a:pt x="1401" y="807"/>
                  </a:lnTo>
                  <a:lnTo>
                    <a:pt x="1398" y="807"/>
                  </a:lnTo>
                  <a:lnTo>
                    <a:pt x="1398" y="807"/>
                  </a:lnTo>
                  <a:lnTo>
                    <a:pt x="1398" y="809"/>
                  </a:lnTo>
                  <a:lnTo>
                    <a:pt x="1395" y="809"/>
                  </a:lnTo>
                  <a:lnTo>
                    <a:pt x="1395" y="809"/>
                  </a:lnTo>
                  <a:lnTo>
                    <a:pt x="1393" y="812"/>
                  </a:lnTo>
                  <a:lnTo>
                    <a:pt x="1390" y="812"/>
                  </a:lnTo>
                  <a:lnTo>
                    <a:pt x="1390" y="812"/>
                  </a:lnTo>
                  <a:lnTo>
                    <a:pt x="1393" y="815"/>
                  </a:lnTo>
                  <a:lnTo>
                    <a:pt x="1393" y="815"/>
                  </a:lnTo>
                  <a:lnTo>
                    <a:pt x="1395" y="815"/>
                  </a:lnTo>
                  <a:lnTo>
                    <a:pt x="1390" y="815"/>
                  </a:lnTo>
                  <a:lnTo>
                    <a:pt x="1390" y="815"/>
                  </a:lnTo>
                  <a:lnTo>
                    <a:pt x="1390" y="817"/>
                  </a:lnTo>
                  <a:lnTo>
                    <a:pt x="1387" y="817"/>
                  </a:lnTo>
                  <a:lnTo>
                    <a:pt x="1387" y="817"/>
                  </a:lnTo>
                  <a:lnTo>
                    <a:pt x="1387" y="820"/>
                  </a:lnTo>
                  <a:lnTo>
                    <a:pt x="1387" y="820"/>
                  </a:lnTo>
                  <a:lnTo>
                    <a:pt x="1390" y="823"/>
                  </a:lnTo>
                  <a:lnTo>
                    <a:pt x="1390" y="823"/>
                  </a:lnTo>
                  <a:lnTo>
                    <a:pt x="1390" y="823"/>
                  </a:lnTo>
                  <a:lnTo>
                    <a:pt x="1393" y="823"/>
                  </a:lnTo>
                  <a:lnTo>
                    <a:pt x="1393" y="823"/>
                  </a:lnTo>
                  <a:lnTo>
                    <a:pt x="1393" y="823"/>
                  </a:lnTo>
                  <a:lnTo>
                    <a:pt x="1393" y="823"/>
                  </a:lnTo>
                  <a:lnTo>
                    <a:pt x="1390" y="823"/>
                  </a:lnTo>
                  <a:lnTo>
                    <a:pt x="1393" y="825"/>
                  </a:lnTo>
                  <a:lnTo>
                    <a:pt x="1393" y="825"/>
                  </a:lnTo>
                  <a:lnTo>
                    <a:pt x="1393" y="825"/>
                  </a:lnTo>
                  <a:lnTo>
                    <a:pt x="1395" y="825"/>
                  </a:lnTo>
                  <a:lnTo>
                    <a:pt x="1395" y="825"/>
                  </a:lnTo>
                  <a:lnTo>
                    <a:pt x="1395" y="825"/>
                  </a:lnTo>
                  <a:lnTo>
                    <a:pt x="1395" y="825"/>
                  </a:lnTo>
                  <a:lnTo>
                    <a:pt x="1398" y="828"/>
                  </a:lnTo>
                  <a:lnTo>
                    <a:pt x="1398" y="828"/>
                  </a:lnTo>
                  <a:lnTo>
                    <a:pt x="1403" y="828"/>
                  </a:lnTo>
                  <a:lnTo>
                    <a:pt x="1403" y="825"/>
                  </a:lnTo>
                  <a:lnTo>
                    <a:pt x="1401" y="828"/>
                  </a:lnTo>
                  <a:lnTo>
                    <a:pt x="1401" y="825"/>
                  </a:lnTo>
                  <a:lnTo>
                    <a:pt x="1401" y="825"/>
                  </a:lnTo>
                  <a:lnTo>
                    <a:pt x="1401" y="825"/>
                  </a:lnTo>
                  <a:lnTo>
                    <a:pt x="1403" y="825"/>
                  </a:lnTo>
                  <a:lnTo>
                    <a:pt x="1406" y="825"/>
                  </a:lnTo>
                  <a:lnTo>
                    <a:pt x="1406" y="825"/>
                  </a:lnTo>
                  <a:lnTo>
                    <a:pt x="1406" y="825"/>
                  </a:lnTo>
                  <a:lnTo>
                    <a:pt x="1406" y="825"/>
                  </a:lnTo>
                  <a:lnTo>
                    <a:pt x="1406" y="825"/>
                  </a:lnTo>
                  <a:lnTo>
                    <a:pt x="1403" y="825"/>
                  </a:lnTo>
                  <a:lnTo>
                    <a:pt x="1406" y="823"/>
                  </a:lnTo>
                  <a:lnTo>
                    <a:pt x="1409" y="823"/>
                  </a:lnTo>
                  <a:lnTo>
                    <a:pt x="1409" y="823"/>
                  </a:lnTo>
                  <a:lnTo>
                    <a:pt x="1409" y="823"/>
                  </a:lnTo>
                  <a:lnTo>
                    <a:pt x="1409" y="823"/>
                  </a:lnTo>
                  <a:lnTo>
                    <a:pt x="1409" y="823"/>
                  </a:lnTo>
                  <a:lnTo>
                    <a:pt x="1411" y="823"/>
                  </a:lnTo>
                  <a:lnTo>
                    <a:pt x="1411" y="823"/>
                  </a:lnTo>
                  <a:lnTo>
                    <a:pt x="1414" y="823"/>
                  </a:lnTo>
                  <a:lnTo>
                    <a:pt x="1414" y="823"/>
                  </a:lnTo>
                  <a:lnTo>
                    <a:pt x="1414" y="823"/>
                  </a:lnTo>
                  <a:lnTo>
                    <a:pt x="1417" y="825"/>
                  </a:lnTo>
                  <a:lnTo>
                    <a:pt x="1417" y="825"/>
                  </a:lnTo>
                  <a:lnTo>
                    <a:pt x="1417" y="825"/>
                  </a:lnTo>
                  <a:lnTo>
                    <a:pt x="1419" y="823"/>
                  </a:lnTo>
                  <a:lnTo>
                    <a:pt x="1419" y="823"/>
                  </a:lnTo>
                  <a:lnTo>
                    <a:pt x="1419" y="823"/>
                  </a:lnTo>
                  <a:lnTo>
                    <a:pt x="1419" y="823"/>
                  </a:lnTo>
                  <a:lnTo>
                    <a:pt x="1419" y="823"/>
                  </a:lnTo>
                  <a:lnTo>
                    <a:pt x="1419" y="823"/>
                  </a:lnTo>
                  <a:lnTo>
                    <a:pt x="1417" y="820"/>
                  </a:lnTo>
                  <a:lnTo>
                    <a:pt x="1417" y="820"/>
                  </a:lnTo>
                  <a:lnTo>
                    <a:pt x="1417" y="820"/>
                  </a:lnTo>
                  <a:lnTo>
                    <a:pt x="1414" y="820"/>
                  </a:lnTo>
                  <a:lnTo>
                    <a:pt x="1414" y="820"/>
                  </a:lnTo>
                  <a:lnTo>
                    <a:pt x="1414" y="820"/>
                  </a:lnTo>
                  <a:lnTo>
                    <a:pt x="1414" y="817"/>
                  </a:lnTo>
                  <a:lnTo>
                    <a:pt x="1414" y="817"/>
                  </a:lnTo>
                  <a:lnTo>
                    <a:pt x="1414" y="817"/>
                  </a:lnTo>
                  <a:lnTo>
                    <a:pt x="1414" y="817"/>
                  </a:lnTo>
                  <a:lnTo>
                    <a:pt x="1417" y="817"/>
                  </a:lnTo>
                  <a:lnTo>
                    <a:pt x="1419" y="820"/>
                  </a:lnTo>
                  <a:lnTo>
                    <a:pt x="1419" y="820"/>
                  </a:lnTo>
                  <a:lnTo>
                    <a:pt x="1419" y="820"/>
                  </a:lnTo>
                  <a:lnTo>
                    <a:pt x="1419" y="817"/>
                  </a:lnTo>
                  <a:lnTo>
                    <a:pt x="1419" y="817"/>
                  </a:lnTo>
                  <a:lnTo>
                    <a:pt x="1422" y="817"/>
                  </a:lnTo>
                  <a:lnTo>
                    <a:pt x="1422" y="820"/>
                  </a:lnTo>
                  <a:lnTo>
                    <a:pt x="1422" y="820"/>
                  </a:lnTo>
                  <a:lnTo>
                    <a:pt x="1422" y="820"/>
                  </a:lnTo>
                  <a:lnTo>
                    <a:pt x="1422" y="820"/>
                  </a:lnTo>
                  <a:lnTo>
                    <a:pt x="1422" y="820"/>
                  </a:lnTo>
                  <a:lnTo>
                    <a:pt x="1422" y="820"/>
                  </a:lnTo>
                  <a:lnTo>
                    <a:pt x="1422" y="823"/>
                  </a:lnTo>
                  <a:lnTo>
                    <a:pt x="1422" y="823"/>
                  </a:lnTo>
                  <a:lnTo>
                    <a:pt x="1425" y="825"/>
                  </a:lnTo>
                  <a:lnTo>
                    <a:pt x="1425" y="823"/>
                  </a:lnTo>
                  <a:lnTo>
                    <a:pt x="1425" y="823"/>
                  </a:lnTo>
                  <a:lnTo>
                    <a:pt x="1427" y="820"/>
                  </a:lnTo>
                  <a:lnTo>
                    <a:pt x="1427" y="820"/>
                  </a:lnTo>
                  <a:lnTo>
                    <a:pt x="1425" y="817"/>
                  </a:lnTo>
                  <a:lnTo>
                    <a:pt x="1425" y="817"/>
                  </a:lnTo>
                  <a:lnTo>
                    <a:pt x="1425" y="817"/>
                  </a:lnTo>
                  <a:lnTo>
                    <a:pt x="1427" y="815"/>
                  </a:lnTo>
                  <a:lnTo>
                    <a:pt x="1427" y="815"/>
                  </a:lnTo>
                  <a:lnTo>
                    <a:pt x="1427" y="815"/>
                  </a:lnTo>
                  <a:lnTo>
                    <a:pt x="1430" y="812"/>
                  </a:lnTo>
                  <a:lnTo>
                    <a:pt x="1430" y="812"/>
                  </a:lnTo>
                  <a:lnTo>
                    <a:pt x="1430" y="812"/>
                  </a:lnTo>
                  <a:lnTo>
                    <a:pt x="1430" y="812"/>
                  </a:lnTo>
                  <a:lnTo>
                    <a:pt x="1430" y="809"/>
                  </a:lnTo>
                  <a:lnTo>
                    <a:pt x="1430" y="809"/>
                  </a:lnTo>
                  <a:lnTo>
                    <a:pt x="1433" y="809"/>
                  </a:lnTo>
                  <a:lnTo>
                    <a:pt x="1435" y="809"/>
                  </a:lnTo>
                  <a:lnTo>
                    <a:pt x="1435" y="809"/>
                  </a:lnTo>
                  <a:lnTo>
                    <a:pt x="1435" y="807"/>
                  </a:lnTo>
                  <a:lnTo>
                    <a:pt x="1435" y="807"/>
                  </a:lnTo>
                  <a:lnTo>
                    <a:pt x="1435" y="807"/>
                  </a:lnTo>
                  <a:lnTo>
                    <a:pt x="1435" y="807"/>
                  </a:lnTo>
                  <a:lnTo>
                    <a:pt x="1435" y="807"/>
                  </a:lnTo>
                  <a:lnTo>
                    <a:pt x="1435" y="804"/>
                  </a:lnTo>
                  <a:lnTo>
                    <a:pt x="1435" y="804"/>
                  </a:lnTo>
                  <a:lnTo>
                    <a:pt x="1435" y="804"/>
                  </a:lnTo>
                  <a:lnTo>
                    <a:pt x="1435" y="801"/>
                  </a:lnTo>
                  <a:lnTo>
                    <a:pt x="1433" y="801"/>
                  </a:lnTo>
                  <a:lnTo>
                    <a:pt x="1433" y="801"/>
                  </a:lnTo>
                  <a:lnTo>
                    <a:pt x="1433" y="801"/>
                  </a:lnTo>
                  <a:lnTo>
                    <a:pt x="1435" y="799"/>
                  </a:lnTo>
                  <a:lnTo>
                    <a:pt x="1438" y="796"/>
                  </a:lnTo>
                  <a:lnTo>
                    <a:pt x="1438" y="796"/>
                  </a:lnTo>
                  <a:lnTo>
                    <a:pt x="1438" y="799"/>
                  </a:lnTo>
                  <a:lnTo>
                    <a:pt x="1438" y="801"/>
                  </a:lnTo>
                  <a:lnTo>
                    <a:pt x="1438" y="801"/>
                  </a:lnTo>
                  <a:lnTo>
                    <a:pt x="1438" y="804"/>
                  </a:lnTo>
                  <a:lnTo>
                    <a:pt x="1438" y="804"/>
                  </a:lnTo>
                  <a:lnTo>
                    <a:pt x="1438" y="807"/>
                  </a:lnTo>
                  <a:lnTo>
                    <a:pt x="1438" y="807"/>
                  </a:lnTo>
                  <a:lnTo>
                    <a:pt x="1441" y="807"/>
                  </a:lnTo>
                  <a:lnTo>
                    <a:pt x="1441" y="804"/>
                  </a:lnTo>
                  <a:lnTo>
                    <a:pt x="1441" y="804"/>
                  </a:lnTo>
                  <a:lnTo>
                    <a:pt x="1441" y="801"/>
                  </a:lnTo>
                  <a:lnTo>
                    <a:pt x="1443" y="799"/>
                  </a:lnTo>
                  <a:lnTo>
                    <a:pt x="1443" y="799"/>
                  </a:lnTo>
                  <a:lnTo>
                    <a:pt x="1443" y="796"/>
                  </a:lnTo>
                  <a:lnTo>
                    <a:pt x="1446" y="791"/>
                  </a:lnTo>
                  <a:lnTo>
                    <a:pt x="1446" y="788"/>
                  </a:lnTo>
                  <a:lnTo>
                    <a:pt x="1449" y="788"/>
                  </a:lnTo>
                  <a:lnTo>
                    <a:pt x="1446" y="791"/>
                  </a:lnTo>
                  <a:lnTo>
                    <a:pt x="1446" y="791"/>
                  </a:lnTo>
                  <a:lnTo>
                    <a:pt x="1446" y="793"/>
                  </a:lnTo>
                  <a:lnTo>
                    <a:pt x="1446" y="793"/>
                  </a:lnTo>
                  <a:lnTo>
                    <a:pt x="1446" y="796"/>
                  </a:lnTo>
                  <a:lnTo>
                    <a:pt x="1446" y="796"/>
                  </a:lnTo>
                  <a:lnTo>
                    <a:pt x="1446" y="796"/>
                  </a:lnTo>
                  <a:lnTo>
                    <a:pt x="1446" y="796"/>
                  </a:lnTo>
                  <a:lnTo>
                    <a:pt x="1446" y="799"/>
                  </a:lnTo>
                  <a:lnTo>
                    <a:pt x="1446" y="799"/>
                  </a:lnTo>
                  <a:lnTo>
                    <a:pt x="1446" y="799"/>
                  </a:lnTo>
                  <a:lnTo>
                    <a:pt x="1443" y="799"/>
                  </a:lnTo>
                  <a:lnTo>
                    <a:pt x="1443" y="801"/>
                  </a:lnTo>
                  <a:lnTo>
                    <a:pt x="1443" y="801"/>
                  </a:lnTo>
                  <a:lnTo>
                    <a:pt x="1443" y="801"/>
                  </a:lnTo>
                  <a:lnTo>
                    <a:pt x="1443" y="801"/>
                  </a:lnTo>
                  <a:lnTo>
                    <a:pt x="1443" y="801"/>
                  </a:lnTo>
                  <a:lnTo>
                    <a:pt x="1443" y="804"/>
                  </a:lnTo>
                  <a:lnTo>
                    <a:pt x="1443" y="804"/>
                  </a:lnTo>
                  <a:lnTo>
                    <a:pt x="1443" y="804"/>
                  </a:lnTo>
                  <a:lnTo>
                    <a:pt x="1443" y="804"/>
                  </a:lnTo>
                  <a:lnTo>
                    <a:pt x="1443" y="804"/>
                  </a:lnTo>
                  <a:lnTo>
                    <a:pt x="1443" y="804"/>
                  </a:lnTo>
                  <a:lnTo>
                    <a:pt x="1443" y="804"/>
                  </a:lnTo>
                  <a:lnTo>
                    <a:pt x="1443" y="804"/>
                  </a:lnTo>
                  <a:lnTo>
                    <a:pt x="1443" y="804"/>
                  </a:lnTo>
                  <a:lnTo>
                    <a:pt x="1443" y="807"/>
                  </a:lnTo>
                  <a:lnTo>
                    <a:pt x="1443" y="807"/>
                  </a:lnTo>
                  <a:lnTo>
                    <a:pt x="1446" y="804"/>
                  </a:lnTo>
                  <a:lnTo>
                    <a:pt x="1446" y="804"/>
                  </a:lnTo>
                  <a:lnTo>
                    <a:pt x="1446" y="804"/>
                  </a:lnTo>
                  <a:lnTo>
                    <a:pt x="1449" y="804"/>
                  </a:lnTo>
                  <a:lnTo>
                    <a:pt x="1446" y="801"/>
                  </a:lnTo>
                  <a:lnTo>
                    <a:pt x="1449" y="801"/>
                  </a:lnTo>
                  <a:lnTo>
                    <a:pt x="1449" y="801"/>
                  </a:lnTo>
                  <a:lnTo>
                    <a:pt x="1449" y="799"/>
                  </a:lnTo>
                  <a:lnTo>
                    <a:pt x="1449" y="799"/>
                  </a:lnTo>
                  <a:lnTo>
                    <a:pt x="1449" y="799"/>
                  </a:lnTo>
                  <a:lnTo>
                    <a:pt x="1449" y="796"/>
                  </a:lnTo>
                  <a:lnTo>
                    <a:pt x="1449" y="796"/>
                  </a:lnTo>
                  <a:lnTo>
                    <a:pt x="1451" y="799"/>
                  </a:lnTo>
                  <a:lnTo>
                    <a:pt x="1451" y="799"/>
                  </a:lnTo>
                  <a:lnTo>
                    <a:pt x="1451" y="799"/>
                  </a:lnTo>
                  <a:lnTo>
                    <a:pt x="1451" y="799"/>
                  </a:lnTo>
                  <a:lnTo>
                    <a:pt x="1451" y="796"/>
                  </a:lnTo>
                  <a:lnTo>
                    <a:pt x="1451" y="796"/>
                  </a:lnTo>
                  <a:lnTo>
                    <a:pt x="1451" y="796"/>
                  </a:lnTo>
                  <a:lnTo>
                    <a:pt x="1451" y="793"/>
                  </a:lnTo>
                  <a:lnTo>
                    <a:pt x="1451" y="793"/>
                  </a:lnTo>
                  <a:lnTo>
                    <a:pt x="1451" y="793"/>
                  </a:lnTo>
                  <a:lnTo>
                    <a:pt x="1451" y="791"/>
                  </a:lnTo>
                  <a:lnTo>
                    <a:pt x="1451" y="791"/>
                  </a:lnTo>
                  <a:lnTo>
                    <a:pt x="1451" y="791"/>
                  </a:lnTo>
                  <a:lnTo>
                    <a:pt x="1451" y="791"/>
                  </a:lnTo>
                  <a:lnTo>
                    <a:pt x="1451" y="791"/>
                  </a:lnTo>
                  <a:lnTo>
                    <a:pt x="1451" y="791"/>
                  </a:lnTo>
                  <a:lnTo>
                    <a:pt x="1454" y="791"/>
                  </a:lnTo>
                  <a:lnTo>
                    <a:pt x="1454" y="793"/>
                  </a:lnTo>
                  <a:lnTo>
                    <a:pt x="1454" y="793"/>
                  </a:lnTo>
                  <a:lnTo>
                    <a:pt x="1454" y="793"/>
                  </a:lnTo>
                  <a:lnTo>
                    <a:pt x="1454" y="793"/>
                  </a:lnTo>
                  <a:lnTo>
                    <a:pt x="1457" y="791"/>
                  </a:lnTo>
                  <a:lnTo>
                    <a:pt x="1457" y="788"/>
                  </a:lnTo>
                  <a:lnTo>
                    <a:pt x="1457" y="788"/>
                  </a:lnTo>
                  <a:lnTo>
                    <a:pt x="1457" y="788"/>
                  </a:lnTo>
                  <a:lnTo>
                    <a:pt x="1457" y="788"/>
                  </a:lnTo>
                  <a:lnTo>
                    <a:pt x="1457" y="785"/>
                  </a:lnTo>
                  <a:lnTo>
                    <a:pt x="1457" y="785"/>
                  </a:lnTo>
                  <a:lnTo>
                    <a:pt x="1454" y="785"/>
                  </a:lnTo>
                  <a:lnTo>
                    <a:pt x="1454" y="783"/>
                  </a:lnTo>
                  <a:lnTo>
                    <a:pt x="1454" y="783"/>
                  </a:lnTo>
                  <a:lnTo>
                    <a:pt x="1454" y="783"/>
                  </a:lnTo>
                  <a:lnTo>
                    <a:pt x="1457" y="783"/>
                  </a:lnTo>
                  <a:lnTo>
                    <a:pt x="1457" y="783"/>
                  </a:lnTo>
                  <a:lnTo>
                    <a:pt x="1457" y="785"/>
                  </a:lnTo>
                  <a:lnTo>
                    <a:pt x="1459" y="785"/>
                  </a:lnTo>
                  <a:lnTo>
                    <a:pt x="1459" y="788"/>
                  </a:lnTo>
                  <a:lnTo>
                    <a:pt x="1462" y="788"/>
                  </a:lnTo>
                  <a:lnTo>
                    <a:pt x="1462" y="788"/>
                  </a:lnTo>
                  <a:lnTo>
                    <a:pt x="1462" y="788"/>
                  </a:lnTo>
                  <a:lnTo>
                    <a:pt x="1462" y="791"/>
                  </a:lnTo>
                  <a:lnTo>
                    <a:pt x="1462" y="791"/>
                  </a:lnTo>
                  <a:lnTo>
                    <a:pt x="1462" y="791"/>
                  </a:lnTo>
                  <a:lnTo>
                    <a:pt x="1462" y="791"/>
                  </a:lnTo>
                  <a:lnTo>
                    <a:pt x="1465" y="791"/>
                  </a:lnTo>
                  <a:lnTo>
                    <a:pt x="1465" y="791"/>
                  </a:lnTo>
                  <a:lnTo>
                    <a:pt x="1465" y="791"/>
                  </a:lnTo>
                  <a:lnTo>
                    <a:pt x="1465" y="788"/>
                  </a:lnTo>
                  <a:lnTo>
                    <a:pt x="1462" y="783"/>
                  </a:lnTo>
                  <a:lnTo>
                    <a:pt x="1462" y="783"/>
                  </a:lnTo>
                  <a:lnTo>
                    <a:pt x="1459" y="780"/>
                  </a:lnTo>
                  <a:lnTo>
                    <a:pt x="1459" y="780"/>
                  </a:lnTo>
                  <a:lnTo>
                    <a:pt x="1459" y="780"/>
                  </a:lnTo>
                  <a:lnTo>
                    <a:pt x="1459" y="777"/>
                  </a:lnTo>
                  <a:lnTo>
                    <a:pt x="1459" y="777"/>
                  </a:lnTo>
                  <a:lnTo>
                    <a:pt x="1462" y="780"/>
                  </a:lnTo>
                  <a:lnTo>
                    <a:pt x="1462" y="780"/>
                  </a:lnTo>
                  <a:lnTo>
                    <a:pt x="1462" y="780"/>
                  </a:lnTo>
                  <a:lnTo>
                    <a:pt x="1462" y="777"/>
                  </a:lnTo>
                  <a:lnTo>
                    <a:pt x="1462" y="775"/>
                  </a:lnTo>
                  <a:lnTo>
                    <a:pt x="1462" y="772"/>
                  </a:lnTo>
                  <a:lnTo>
                    <a:pt x="1462" y="772"/>
                  </a:lnTo>
                  <a:lnTo>
                    <a:pt x="1465" y="772"/>
                  </a:lnTo>
                  <a:lnTo>
                    <a:pt x="1465" y="772"/>
                  </a:lnTo>
                  <a:lnTo>
                    <a:pt x="1467" y="775"/>
                  </a:lnTo>
                  <a:lnTo>
                    <a:pt x="1467" y="775"/>
                  </a:lnTo>
                  <a:lnTo>
                    <a:pt x="1467" y="777"/>
                  </a:lnTo>
                  <a:lnTo>
                    <a:pt x="1467" y="780"/>
                  </a:lnTo>
                  <a:lnTo>
                    <a:pt x="1465" y="780"/>
                  </a:lnTo>
                  <a:lnTo>
                    <a:pt x="1465" y="780"/>
                  </a:lnTo>
                  <a:lnTo>
                    <a:pt x="1467" y="783"/>
                  </a:lnTo>
                  <a:lnTo>
                    <a:pt x="1467" y="783"/>
                  </a:lnTo>
                  <a:lnTo>
                    <a:pt x="1467" y="783"/>
                  </a:lnTo>
                  <a:lnTo>
                    <a:pt x="1467" y="783"/>
                  </a:lnTo>
                  <a:lnTo>
                    <a:pt x="1467" y="783"/>
                  </a:lnTo>
                  <a:lnTo>
                    <a:pt x="1467" y="783"/>
                  </a:lnTo>
                  <a:lnTo>
                    <a:pt x="1467" y="783"/>
                  </a:lnTo>
                  <a:lnTo>
                    <a:pt x="1467" y="785"/>
                  </a:lnTo>
                  <a:lnTo>
                    <a:pt x="1470" y="785"/>
                  </a:lnTo>
                  <a:lnTo>
                    <a:pt x="1470" y="785"/>
                  </a:lnTo>
                  <a:lnTo>
                    <a:pt x="1470" y="788"/>
                  </a:lnTo>
                  <a:lnTo>
                    <a:pt x="1470" y="788"/>
                  </a:lnTo>
                  <a:lnTo>
                    <a:pt x="1470" y="788"/>
                  </a:lnTo>
                  <a:lnTo>
                    <a:pt x="1470" y="785"/>
                  </a:lnTo>
                  <a:lnTo>
                    <a:pt x="1470" y="785"/>
                  </a:lnTo>
                  <a:lnTo>
                    <a:pt x="1470" y="785"/>
                  </a:lnTo>
                  <a:lnTo>
                    <a:pt x="1470" y="785"/>
                  </a:lnTo>
                  <a:lnTo>
                    <a:pt x="1470" y="783"/>
                  </a:lnTo>
                  <a:lnTo>
                    <a:pt x="1470" y="783"/>
                  </a:lnTo>
                  <a:lnTo>
                    <a:pt x="1470" y="783"/>
                  </a:lnTo>
                  <a:lnTo>
                    <a:pt x="1470" y="783"/>
                  </a:lnTo>
                  <a:lnTo>
                    <a:pt x="1470" y="783"/>
                  </a:lnTo>
                  <a:lnTo>
                    <a:pt x="1470" y="783"/>
                  </a:lnTo>
                  <a:lnTo>
                    <a:pt x="1467" y="783"/>
                  </a:lnTo>
                  <a:lnTo>
                    <a:pt x="1467" y="780"/>
                  </a:lnTo>
                  <a:lnTo>
                    <a:pt x="1467" y="780"/>
                  </a:lnTo>
                  <a:lnTo>
                    <a:pt x="1467" y="780"/>
                  </a:lnTo>
                  <a:lnTo>
                    <a:pt x="1467" y="780"/>
                  </a:lnTo>
                  <a:lnTo>
                    <a:pt x="1467" y="777"/>
                  </a:lnTo>
                  <a:lnTo>
                    <a:pt x="1467" y="775"/>
                  </a:lnTo>
                  <a:lnTo>
                    <a:pt x="1470" y="775"/>
                  </a:lnTo>
                  <a:lnTo>
                    <a:pt x="1470" y="775"/>
                  </a:lnTo>
                  <a:lnTo>
                    <a:pt x="1470" y="772"/>
                  </a:lnTo>
                  <a:lnTo>
                    <a:pt x="1470" y="772"/>
                  </a:lnTo>
                  <a:lnTo>
                    <a:pt x="1470" y="772"/>
                  </a:lnTo>
                  <a:lnTo>
                    <a:pt x="1473" y="772"/>
                  </a:lnTo>
                  <a:lnTo>
                    <a:pt x="1473" y="772"/>
                  </a:lnTo>
                  <a:lnTo>
                    <a:pt x="1473" y="772"/>
                  </a:lnTo>
                  <a:lnTo>
                    <a:pt x="1473" y="772"/>
                  </a:lnTo>
                  <a:lnTo>
                    <a:pt x="1473" y="769"/>
                  </a:lnTo>
                  <a:lnTo>
                    <a:pt x="1473" y="769"/>
                  </a:lnTo>
                  <a:lnTo>
                    <a:pt x="1473" y="769"/>
                  </a:lnTo>
                  <a:lnTo>
                    <a:pt x="1473" y="769"/>
                  </a:lnTo>
                  <a:lnTo>
                    <a:pt x="1475" y="767"/>
                  </a:lnTo>
                  <a:lnTo>
                    <a:pt x="1473" y="767"/>
                  </a:lnTo>
                  <a:lnTo>
                    <a:pt x="1473" y="767"/>
                  </a:lnTo>
                  <a:lnTo>
                    <a:pt x="1473" y="764"/>
                  </a:lnTo>
                  <a:lnTo>
                    <a:pt x="1473" y="764"/>
                  </a:lnTo>
                  <a:lnTo>
                    <a:pt x="1473" y="761"/>
                  </a:lnTo>
                  <a:lnTo>
                    <a:pt x="1473" y="761"/>
                  </a:lnTo>
                  <a:lnTo>
                    <a:pt x="1473" y="759"/>
                  </a:lnTo>
                  <a:lnTo>
                    <a:pt x="1473" y="759"/>
                  </a:lnTo>
                  <a:lnTo>
                    <a:pt x="1475" y="759"/>
                  </a:lnTo>
                  <a:lnTo>
                    <a:pt x="1475" y="759"/>
                  </a:lnTo>
                  <a:lnTo>
                    <a:pt x="1475" y="761"/>
                  </a:lnTo>
                  <a:lnTo>
                    <a:pt x="1475" y="767"/>
                  </a:lnTo>
                  <a:lnTo>
                    <a:pt x="1478" y="767"/>
                  </a:lnTo>
                  <a:lnTo>
                    <a:pt x="1478" y="767"/>
                  </a:lnTo>
                  <a:lnTo>
                    <a:pt x="1478" y="767"/>
                  </a:lnTo>
                  <a:lnTo>
                    <a:pt x="1478" y="767"/>
                  </a:lnTo>
                  <a:lnTo>
                    <a:pt x="1478" y="767"/>
                  </a:lnTo>
                  <a:lnTo>
                    <a:pt x="1475" y="767"/>
                  </a:lnTo>
                  <a:lnTo>
                    <a:pt x="1475" y="769"/>
                  </a:lnTo>
                  <a:lnTo>
                    <a:pt x="1478" y="769"/>
                  </a:lnTo>
                  <a:lnTo>
                    <a:pt x="1478" y="769"/>
                  </a:lnTo>
                  <a:lnTo>
                    <a:pt x="1478" y="769"/>
                  </a:lnTo>
                  <a:lnTo>
                    <a:pt x="1478" y="769"/>
                  </a:lnTo>
                  <a:lnTo>
                    <a:pt x="1478" y="772"/>
                  </a:lnTo>
                  <a:lnTo>
                    <a:pt x="1478" y="772"/>
                  </a:lnTo>
                  <a:lnTo>
                    <a:pt x="1478" y="775"/>
                  </a:lnTo>
                  <a:lnTo>
                    <a:pt x="1478" y="775"/>
                  </a:lnTo>
                  <a:lnTo>
                    <a:pt x="1478" y="775"/>
                  </a:lnTo>
                  <a:lnTo>
                    <a:pt x="1481" y="775"/>
                  </a:lnTo>
                  <a:lnTo>
                    <a:pt x="1481" y="775"/>
                  </a:lnTo>
                  <a:lnTo>
                    <a:pt x="1481" y="772"/>
                  </a:lnTo>
                  <a:lnTo>
                    <a:pt x="1481" y="772"/>
                  </a:lnTo>
                  <a:lnTo>
                    <a:pt x="1481" y="772"/>
                  </a:lnTo>
                  <a:lnTo>
                    <a:pt x="1481" y="769"/>
                  </a:lnTo>
                  <a:lnTo>
                    <a:pt x="1481" y="769"/>
                  </a:lnTo>
                  <a:lnTo>
                    <a:pt x="1481" y="769"/>
                  </a:lnTo>
                  <a:lnTo>
                    <a:pt x="1481" y="769"/>
                  </a:lnTo>
                  <a:lnTo>
                    <a:pt x="1481" y="767"/>
                  </a:lnTo>
                  <a:lnTo>
                    <a:pt x="1481" y="767"/>
                  </a:lnTo>
                  <a:lnTo>
                    <a:pt x="1481" y="767"/>
                  </a:lnTo>
                  <a:lnTo>
                    <a:pt x="1483" y="764"/>
                  </a:lnTo>
                  <a:lnTo>
                    <a:pt x="1483" y="764"/>
                  </a:lnTo>
                  <a:lnTo>
                    <a:pt x="1486" y="764"/>
                  </a:lnTo>
                  <a:lnTo>
                    <a:pt x="1486" y="764"/>
                  </a:lnTo>
                  <a:lnTo>
                    <a:pt x="1486" y="764"/>
                  </a:lnTo>
                  <a:lnTo>
                    <a:pt x="1483" y="767"/>
                  </a:lnTo>
                  <a:lnTo>
                    <a:pt x="1483" y="767"/>
                  </a:lnTo>
                  <a:lnTo>
                    <a:pt x="1483" y="769"/>
                  </a:lnTo>
                  <a:lnTo>
                    <a:pt x="1486" y="769"/>
                  </a:lnTo>
                  <a:lnTo>
                    <a:pt x="1486" y="767"/>
                  </a:lnTo>
                  <a:lnTo>
                    <a:pt x="1486" y="769"/>
                  </a:lnTo>
                  <a:lnTo>
                    <a:pt x="1489" y="769"/>
                  </a:lnTo>
                  <a:lnTo>
                    <a:pt x="1489" y="769"/>
                  </a:lnTo>
                  <a:lnTo>
                    <a:pt x="1491" y="769"/>
                  </a:lnTo>
                  <a:lnTo>
                    <a:pt x="1491" y="769"/>
                  </a:lnTo>
                  <a:lnTo>
                    <a:pt x="1491" y="769"/>
                  </a:lnTo>
                  <a:lnTo>
                    <a:pt x="1494" y="769"/>
                  </a:lnTo>
                  <a:lnTo>
                    <a:pt x="1494" y="769"/>
                  </a:lnTo>
                  <a:lnTo>
                    <a:pt x="1497" y="769"/>
                  </a:lnTo>
                  <a:lnTo>
                    <a:pt x="1497" y="769"/>
                  </a:lnTo>
                  <a:lnTo>
                    <a:pt x="1497" y="769"/>
                  </a:lnTo>
                  <a:lnTo>
                    <a:pt x="1497" y="769"/>
                  </a:lnTo>
                  <a:lnTo>
                    <a:pt x="1499" y="769"/>
                  </a:lnTo>
                  <a:lnTo>
                    <a:pt x="1499" y="769"/>
                  </a:lnTo>
                  <a:lnTo>
                    <a:pt x="1499" y="769"/>
                  </a:lnTo>
                  <a:lnTo>
                    <a:pt x="1499" y="769"/>
                  </a:lnTo>
                  <a:lnTo>
                    <a:pt x="1499" y="769"/>
                  </a:lnTo>
                  <a:lnTo>
                    <a:pt x="1499" y="769"/>
                  </a:lnTo>
                  <a:lnTo>
                    <a:pt x="1499" y="769"/>
                  </a:lnTo>
                  <a:lnTo>
                    <a:pt x="1499" y="772"/>
                  </a:lnTo>
                  <a:lnTo>
                    <a:pt x="1499" y="772"/>
                  </a:lnTo>
                  <a:lnTo>
                    <a:pt x="1502" y="769"/>
                  </a:lnTo>
                  <a:lnTo>
                    <a:pt x="1502" y="767"/>
                  </a:lnTo>
                  <a:lnTo>
                    <a:pt x="1502" y="767"/>
                  </a:lnTo>
                  <a:lnTo>
                    <a:pt x="1502" y="767"/>
                  </a:lnTo>
                  <a:lnTo>
                    <a:pt x="1502" y="767"/>
                  </a:lnTo>
                  <a:lnTo>
                    <a:pt x="1502" y="764"/>
                  </a:lnTo>
                  <a:lnTo>
                    <a:pt x="1502" y="764"/>
                  </a:lnTo>
                  <a:lnTo>
                    <a:pt x="1505" y="764"/>
                  </a:lnTo>
                  <a:lnTo>
                    <a:pt x="1505" y="764"/>
                  </a:lnTo>
                  <a:lnTo>
                    <a:pt x="1505" y="767"/>
                  </a:lnTo>
                  <a:lnTo>
                    <a:pt x="1507" y="769"/>
                  </a:lnTo>
                  <a:lnTo>
                    <a:pt x="1507" y="767"/>
                  </a:lnTo>
                  <a:lnTo>
                    <a:pt x="1507" y="767"/>
                  </a:lnTo>
                  <a:lnTo>
                    <a:pt x="1507" y="764"/>
                  </a:lnTo>
                  <a:lnTo>
                    <a:pt x="1507" y="764"/>
                  </a:lnTo>
                  <a:lnTo>
                    <a:pt x="1507" y="764"/>
                  </a:lnTo>
                  <a:lnTo>
                    <a:pt x="1507" y="764"/>
                  </a:lnTo>
                  <a:lnTo>
                    <a:pt x="1507" y="764"/>
                  </a:lnTo>
                  <a:lnTo>
                    <a:pt x="1507" y="764"/>
                  </a:lnTo>
                  <a:lnTo>
                    <a:pt x="1507" y="764"/>
                  </a:lnTo>
                  <a:lnTo>
                    <a:pt x="1507" y="761"/>
                  </a:lnTo>
                  <a:lnTo>
                    <a:pt x="1507" y="761"/>
                  </a:lnTo>
                  <a:lnTo>
                    <a:pt x="1507" y="759"/>
                  </a:lnTo>
                  <a:lnTo>
                    <a:pt x="1507" y="756"/>
                  </a:lnTo>
                  <a:lnTo>
                    <a:pt x="1510" y="753"/>
                  </a:lnTo>
                  <a:lnTo>
                    <a:pt x="1510" y="753"/>
                  </a:lnTo>
                  <a:lnTo>
                    <a:pt x="1510" y="753"/>
                  </a:lnTo>
                  <a:lnTo>
                    <a:pt x="1510" y="753"/>
                  </a:lnTo>
                  <a:lnTo>
                    <a:pt x="1510" y="756"/>
                  </a:lnTo>
                  <a:lnTo>
                    <a:pt x="1510" y="756"/>
                  </a:lnTo>
                  <a:lnTo>
                    <a:pt x="1513" y="756"/>
                  </a:lnTo>
                  <a:lnTo>
                    <a:pt x="1515" y="756"/>
                  </a:lnTo>
                  <a:lnTo>
                    <a:pt x="1515" y="753"/>
                  </a:lnTo>
                  <a:lnTo>
                    <a:pt x="1515" y="751"/>
                  </a:lnTo>
                  <a:lnTo>
                    <a:pt x="1515" y="751"/>
                  </a:lnTo>
                  <a:lnTo>
                    <a:pt x="1515" y="748"/>
                  </a:lnTo>
                  <a:lnTo>
                    <a:pt x="1515" y="748"/>
                  </a:lnTo>
                  <a:lnTo>
                    <a:pt x="1515" y="748"/>
                  </a:lnTo>
                  <a:lnTo>
                    <a:pt x="1515" y="748"/>
                  </a:lnTo>
                  <a:lnTo>
                    <a:pt x="1515" y="748"/>
                  </a:lnTo>
                  <a:lnTo>
                    <a:pt x="1515" y="751"/>
                  </a:lnTo>
                  <a:lnTo>
                    <a:pt x="1513" y="753"/>
                  </a:lnTo>
                  <a:lnTo>
                    <a:pt x="1513" y="753"/>
                  </a:lnTo>
                  <a:lnTo>
                    <a:pt x="1513" y="751"/>
                  </a:lnTo>
                  <a:lnTo>
                    <a:pt x="1513" y="751"/>
                  </a:lnTo>
                  <a:lnTo>
                    <a:pt x="1513" y="751"/>
                  </a:lnTo>
                  <a:lnTo>
                    <a:pt x="1513" y="751"/>
                  </a:lnTo>
                  <a:lnTo>
                    <a:pt x="1513" y="748"/>
                  </a:lnTo>
                  <a:lnTo>
                    <a:pt x="1510" y="748"/>
                  </a:lnTo>
                  <a:lnTo>
                    <a:pt x="1513" y="748"/>
                  </a:lnTo>
                  <a:lnTo>
                    <a:pt x="1513" y="748"/>
                  </a:lnTo>
                  <a:lnTo>
                    <a:pt x="1513" y="748"/>
                  </a:lnTo>
                  <a:lnTo>
                    <a:pt x="1513" y="748"/>
                  </a:lnTo>
                  <a:lnTo>
                    <a:pt x="1510" y="748"/>
                  </a:lnTo>
                  <a:lnTo>
                    <a:pt x="1510" y="751"/>
                  </a:lnTo>
                  <a:lnTo>
                    <a:pt x="1507" y="751"/>
                  </a:lnTo>
                  <a:lnTo>
                    <a:pt x="1507" y="751"/>
                  </a:lnTo>
                  <a:lnTo>
                    <a:pt x="1507" y="753"/>
                  </a:lnTo>
                  <a:lnTo>
                    <a:pt x="1505" y="753"/>
                  </a:lnTo>
                  <a:lnTo>
                    <a:pt x="1505" y="751"/>
                  </a:lnTo>
                  <a:lnTo>
                    <a:pt x="1507" y="751"/>
                  </a:lnTo>
                  <a:lnTo>
                    <a:pt x="1507" y="751"/>
                  </a:lnTo>
                  <a:lnTo>
                    <a:pt x="1507" y="751"/>
                  </a:lnTo>
                  <a:lnTo>
                    <a:pt x="1507" y="751"/>
                  </a:lnTo>
                  <a:lnTo>
                    <a:pt x="1507" y="748"/>
                  </a:lnTo>
                  <a:lnTo>
                    <a:pt x="1507" y="748"/>
                  </a:lnTo>
                  <a:lnTo>
                    <a:pt x="1507" y="748"/>
                  </a:lnTo>
                  <a:lnTo>
                    <a:pt x="1507" y="748"/>
                  </a:lnTo>
                  <a:lnTo>
                    <a:pt x="1507" y="745"/>
                  </a:lnTo>
                  <a:lnTo>
                    <a:pt x="1507" y="745"/>
                  </a:lnTo>
                  <a:lnTo>
                    <a:pt x="1507" y="745"/>
                  </a:lnTo>
                  <a:lnTo>
                    <a:pt x="1507" y="745"/>
                  </a:lnTo>
                  <a:lnTo>
                    <a:pt x="1507" y="748"/>
                  </a:lnTo>
                  <a:lnTo>
                    <a:pt x="1507" y="748"/>
                  </a:lnTo>
                  <a:lnTo>
                    <a:pt x="1510" y="748"/>
                  </a:lnTo>
                  <a:lnTo>
                    <a:pt x="1510" y="745"/>
                  </a:lnTo>
                  <a:lnTo>
                    <a:pt x="1510" y="745"/>
                  </a:lnTo>
                  <a:lnTo>
                    <a:pt x="1513" y="745"/>
                  </a:lnTo>
                  <a:lnTo>
                    <a:pt x="1513" y="743"/>
                  </a:lnTo>
                  <a:lnTo>
                    <a:pt x="1513" y="740"/>
                  </a:lnTo>
                  <a:lnTo>
                    <a:pt x="1513" y="740"/>
                  </a:lnTo>
                  <a:lnTo>
                    <a:pt x="1510" y="740"/>
                  </a:lnTo>
                  <a:lnTo>
                    <a:pt x="1510" y="740"/>
                  </a:lnTo>
                  <a:lnTo>
                    <a:pt x="1510" y="740"/>
                  </a:lnTo>
                  <a:lnTo>
                    <a:pt x="1510" y="740"/>
                  </a:lnTo>
                  <a:lnTo>
                    <a:pt x="1510" y="737"/>
                  </a:lnTo>
                  <a:lnTo>
                    <a:pt x="1513" y="740"/>
                  </a:lnTo>
                  <a:lnTo>
                    <a:pt x="1513" y="740"/>
                  </a:lnTo>
                  <a:lnTo>
                    <a:pt x="1513" y="740"/>
                  </a:lnTo>
                  <a:lnTo>
                    <a:pt x="1513" y="740"/>
                  </a:lnTo>
                  <a:lnTo>
                    <a:pt x="1515" y="740"/>
                  </a:lnTo>
                  <a:lnTo>
                    <a:pt x="1515" y="740"/>
                  </a:lnTo>
                  <a:lnTo>
                    <a:pt x="1515" y="737"/>
                  </a:lnTo>
                  <a:lnTo>
                    <a:pt x="1513" y="737"/>
                  </a:lnTo>
                  <a:lnTo>
                    <a:pt x="1513" y="737"/>
                  </a:lnTo>
                  <a:lnTo>
                    <a:pt x="1513" y="737"/>
                  </a:lnTo>
                  <a:lnTo>
                    <a:pt x="1515" y="737"/>
                  </a:lnTo>
                  <a:lnTo>
                    <a:pt x="1515" y="737"/>
                  </a:lnTo>
                  <a:lnTo>
                    <a:pt x="1515" y="735"/>
                  </a:lnTo>
                  <a:lnTo>
                    <a:pt x="1515" y="735"/>
                  </a:lnTo>
                  <a:lnTo>
                    <a:pt x="1518" y="737"/>
                  </a:lnTo>
                  <a:lnTo>
                    <a:pt x="1518" y="737"/>
                  </a:lnTo>
                  <a:lnTo>
                    <a:pt x="1518" y="737"/>
                  </a:lnTo>
                  <a:lnTo>
                    <a:pt x="1518" y="735"/>
                  </a:lnTo>
                  <a:lnTo>
                    <a:pt x="1518" y="735"/>
                  </a:lnTo>
                  <a:lnTo>
                    <a:pt x="1521" y="735"/>
                  </a:lnTo>
                  <a:lnTo>
                    <a:pt x="1521" y="735"/>
                  </a:lnTo>
                  <a:lnTo>
                    <a:pt x="1521" y="732"/>
                  </a:lnTo>
                  <a:lnTo>
                    <a:pt x="1521" y="732"/>
                  </a:lnTo>
                  <a:lnTo>
                    <a:pt x="1521" y="732"/>
                  </a:lnTo>
                  <a:lnTo>
                    <a:pt x="1518" y="732"/>
                  </a:lnTo>
                  <a:lnTo>
                    <a:pt x="1518" y="732"/>
                  </a:lnTo>
                  <a:lnTo>
                    <a:pt x="1518" y="732"/>
                  </a:lnTo>
                  <a:lnTo>
                    <a:pt x="1518" y="732"/>
                  </a:lnTo>
                  <a:lnTo>
                    <a:pt x="1521" y="729"/>
                  </a:lnTo>
                  <a:lnTo>
                    <a:pt x="1521" y="729"/>
                  </a:lnTo>
                  <a:lnTo>
                    <a:pt x="1521" y="729"/>
                  </a:lnTo>
                  <a:lnTo>
                    <a:pt x="1518" y="729"/>
                  </a:lnTo>
                  <a:lnTo>
                    <a:pt x="1518" y="729"/>
                  </a:lnTo>
                  <a:lnTo>
                    <a:pt x="1518" y="729"/>
                  </a:lnTo>
                  <a:lnTo>
                    <a:pt x="1518" y="727"/>
                  </a:lnTo>
                  <a:lnTo>
                    <a:pt x="1518" y="727"/>
                  </a:lnTo>
                  <a:lnTo>
                    <a:pt x="1518" y="727"/>
                  </a:lnTo>
                  <a:lnTo>
                    <a:pt x="1518" y="727"/>
                  </a:lnTo>
                  <a:lnTo>
                    <a:pt x="1518" y="727"/>
                  </a:lnTo>
                  <a:lnTo>
                    <a:pt x="1515" y="727"/>
                  </a:lnTo>
                  <a:lnTo>
                    <a:pt x="1515" y="727"/>
                  </a:lnTo>
                  <a:lnTo>
                    <a:pt x="1515" y="724"/>
                  </a:lnTo>
                  <a:lnTo>
                    <a:pt x="1515" y="724"/>
                  </a:lnTo>
                  <a:lnTo>
                    <a:pt x="1515" y="724"/>
                  </a:lnTo>
                  <a:lnTo>
                    <a:pt x="1515" y="724"/>
                  </a:lnTo>
                  <a:lnTo>
                    <a:pt x="1515" y="724"/>
                  </a:lnTo>
                  <a:lnTo>
                    <a:pt x="1513" y="724"/>
                  </a:lnTo>
                  <a:lnTo>
                    <a:pt x="1513" y="724"/>
                  </a:lnTo>
                  <a:lnTo>
                    <a:pt x="1513" y="727"/>
                  </a:lnTo>
                  <a:lnTo>
                    <a:pt x="1513" y="729"/>
                  </a:lnTo>
                  <a:lnTo>
                    <a:pt x="1513" y="729"/>
                  </a:lnTo>
                  <a:lnTo>
                    <a:pt x="1513" y="729"/>
                  </a:lnTo>
                  <a:lnTo>
                    <a:pt x="1513" y="729"/>
                  </a:lnTo>
                  <a:lnTo>
                    <a:pt x="1513" y="729"/>
                  </a:lnTo>
                  <a:lnTo>
                    <a:pt x="1513" y="727"/>
                  </a:lnTo>
                  <a:lnTo>
                    <a:pt x="1513" y="727"/>
                  </a:lnTo>
                  <a:lnTo>
                    <a:pt x="1513" y="727"/>
                  </a:lnTo>
                  <a:lnTo>
                    <a:pt x="1513" y="727"/>
                  </a:lnTo>
                  <a:lnTo>
                    <a:pt x="1510" y="727"/>
                  </a:lnTo>
                  <a:lnTo>
                    <a:pt x="1510" y="729"/>
                  </a:lnTo>
                  <a:lnTo>
                    <a:pt x="1510" y="729"/>
                  </a:lnTo>
                  <a:lnTo>
                    <a:pt x="1510" y="729"/>
                  </a:lnTo>
                  <a:lnTo>
                    <a:pt x="1510" y="729"/>
                  </a:lnTo>
                  <a:lnTo>
                    <a:pt x="1510" y="729"/>
                  </a:lnTo>
                  <a:lnTo>
                    <a:pt x="1510" y="729"/>
                  </a:lnTo>
                  <a:lnTo>
                    <a:pt x="1510" y="729"/>
                  </a:lnTo>
                  <a:lnTo>
                    <a:pt x="1510" y="729"/>
                  </a:lnTo>
                  <a:lnTo>
                    <a:pt x="1510" y="732"/>
                  </a:lnTo>
                  <a:lnTo>
                    <a:pt x="1510" y="732"/>
                  </a:lnTo>
                  <a:lnTo>
                    <a:pt x="1510" y="732"/>
                  </a:lnTo>
                  <a:lnTo>
                    <a:pt x="1510" y="735"/>
                  </a:lnTo>
                  <a:lnTo>
                    <a:pt x="1510" y="735"/>
                  </a:lnTo>
                  <a:lnTo>
                    <a:pt x="1510" y="732"/>
                  </a:lnTo>
                  <a:lnTo>
                    <a:pt x="1510" y="732"/>
                  </a:lnTo>
                  <a:lnTo>
                    <a:pt x="1507" y="732"/>
                  </a:lnTo>
                  <a:lnTo>
                    <a:pt x="1507" y="732"/>
                  </a:lnTo>
                  <a:lnTo>
                    <a:pt x="1507" y="732"/>
                  </a:lnTo>
                  <a:lnTo>
                    <a:pt x="1507" y="732"/>
                  </a:lnTo>
                  <a:lnTo>
                    <a:pt x="1507" y="732"/>
                  </a:lnTo>
                  <a:lnTo>
                    <a:pt x="1507" y="729"/>
                  </a:lnTo>
                  <a:lnTo>
                    <a:pt x="1507" y="729"/>
                  </a:lnTo>
                  <a:lnTo>
                    <a:pt x="1505" y="732"/>
                  </a:lnTo>
                  <a:lnTo>
                    <a:pt x="1505" y="729"/>
                  </a:lnTo>
                  <a:lnTo>
                    <a:pt x="1505" y="729"/>
                  </a:lnTo>
                  <a:lnTo>
                    <a:pt x="1505" y="729"/>
                  </a:lnTo>
                  <a:lnTo>
                    <a:pt x="1505" y="729"/>
                  </a:lnTo>
                  <a:lnTo>
                    <a:pt x="1505" y="729"/>
                  </a:lnTo>
                  <a:lnTo>
                    <a:pt x="1502" y="729"/>
                  </a:lnTo>
                  <a:lnTo>
                    <a:pt x="1502" y="729"/>
                  </a:lnTo>
                  <a:lnTo>
                    <a:pt x="1499" y="732"/>
                  </a:lnTo>
                  <a:lnTo>
                    <a:pt x="1497" y="732"/>
                  </a:lnTo>
                  <a:lnTo>
                    <a:pt x="1497" y="735"/>
                  </a:lnTo>
                  <a:lnTo>
                    <a:pt x="1497" y="735"/>
                  </a:lnTo>
                  <a:lnTo>
                    <a:pt x="1497" y="735"/>
                  </a:lnTo>
                  <a:lnTo>
                    <a:pt x="1497" y="735"/>
                  </a:lnTo>
                  <a:lnTo>
                    <a:pt x="1497" y="732"/>
                  </a:lnTo>
                  <a:lnTo>
                    <a:pt x="1497" y="732"/>
                  </a:lnTo>
                  <a:lnTo>
                    <a:pt x="1499" y="729"/>
                  </a:lnTo>
                  <a:lnTo>
                    <a:pt x="1499" y="727"/>
                  </a:lnTo>
                  <a:lnTo>
                    <a:pt x="1502" y="727"/>
                  </a:lnTo>
                  <a:lnTo>
                    <a:pt x="1502" y="724"/>
                  </a:lnTo>
                  <a:lnTo>
                    <a:pt x="1502" y="727"/>
                  </a:lnTo>
                  <a:lnTo>
                    <a:pt x="1505" y="727"/>
                  </a:lnTo>
                  <a:lnTo>
                    <a:pt x="1505" y="727"/>
                  </a:lnTo>
                  <a:lnTo>
                    <a:pt x="1505" y="727"/>
                  </a:lnTo>
                  <a:lnTo>
                    <a:pt x="1505" y="727"/>
                  </a:lnTo>
                  <a:lnTo>
                    <a:pt x="1505" y="727"/>
                  </a:lnTo>
                  <a:lnTo>
                    <a:pt x="1507" y="729"/>
                  </a:lnTo>
                  <a:lnTo>
                    <a:pt x="1507" y="727"/>
                  </a:lnTo>
                  <a:lnTo>
                    <a:pt x="1510" y="724"/>
                  </a:lnTo>
                  <a:lnTo>
                    <a:pt x="1510" y="724"/>
                  </a:lnTo>
                  <a:lnTo>
                    <a:pt x="1510" y="724"/>
                  </a:lnTo>
                  <a:lnTo>
                    <a:pt x="1510" y="721"/>
                  </a:lnTo>
                  <a:lnTo>
                    <a:pt x="1510" y="721"/>
                  </a:lnTo>
                  <a:lnTo>
                    <a:pt x="1510" y="721"/>
                  </a:lnTo>
                  <a:lnTo>
                    <a:pt x="1510" y="721"/>
                  </a:lnTo>
                  <a:lnTo>
                    <a:pt x="1510" y="721"/>
                  </a:lnTo>
                  <a:lnTo>
                    <a:pt x="1510" y="719"/>
                  </a:lnTo>
                  <a:lnTo>
                    <a:pt x="1510" y="719"/>
                  </a:lnTo>
                  <a:lnTo>
                    <a:pt x="1510" y="719"/>
                  </a:lnTo>
                  <a:lnTo>
                    <a:pt x="1510" y="719"/>
                  </a:lnTo>
                  <a:lnTo>
                    <a:pt x="1507" y="716"/>
                  </a:lnTo>
                  <a:lnTo>
                    <a:pt x="1507" y="713"/>
                  </a:lnTo>
                  <a:lnTo>
                    <a:pt x="1507" y="713"/>
                  </a:lnTo>
                  <a:lnTo>
                    <a:pt x="1510" y="713"/>
                  </a:lnTo>
                  <a:lnTo>
                    <a:pt x="1510" y="713"/>
                  </a:lnTo>
                  <a:lnTo>
                    <a:pt x="1507" y="713"/>
                  </a:lnTo>
                  <a:lnTo>
                    <a:pt x="1507" y="716"/>
                  </a:lnTo>
                  <a:lnTo>
                    <a:pt x="1505" y="716"/>
                  </a:lnTo>
                  <a:lnTo>
                    <a:pt x="1505" y="719"/>
                  </a:lnTo>
                  <a:lnTo>
                    <a:pt x="1505" y="719"/>
                  </a:lnTo>
                  <a:lnTo>
                    <a:pt x="1505" y="719"/>
                  </a:lnTo>
                  <a:lnTo>
                    <a:pt x="1505" y="721"/>
                  </a:lnTo>
                  <a:lnTo>
                    <a:pt x="1505" y="721"/>
                  </a:lnTo>
                  <a:lnTo>
                    <a:pt x="1505" y="721"/>
                  </a:lnTo>
                  <a:lnTo>
                    <a:pt x="1502" y="721"/>
                  </a:lnTo>
                  <a:lnTo>
                    <a:pt x="1502" y="719"/>
                  </a:lnTo>
                  <a:lnTo>
                    <a:pt x="1502" y="719"/>
                  </a:lnTo>
                  <a:lnTo>
                    <a:pt x="1505" y="719"/>
                  </a:lnTo>
                  <a:lnTo>
                    <a:pt x="1505" y="719"/>
                  </a:lnTo>
                  <a:lnTo>
                    <a:pt x="1505" y="716"/>
                  </a:lnTo>
                  <a:lnTo>
                    <a:pt x="1505" y="716"/>
                  </a:lnTo>
                  <a:lnTo>
                    <a:pt x="1505" y="716"/>
                  </a:lnTo>
                  <a:lnTo>
                    <a:pt x="1505" y="716"/>
                  </a:lnTo>
                  <a:lnTo>
                    <a:pt x="1505" y="713"/>
                  </a:lnTo>
                  <a:lnTo>
                    <a:pt x="1505" y="713"/>
                  </a:lnTo>
                  <a:lnTo>
                    <a:pt x="1505" y="713"/>
                  </a:lnTo>
                  <a:lnTo>
                    <a:pt x="1505" y="713"/>
                  </a:lnTo>
                  <a:lnTo>
                    <a:pt x="1505" y="713"/>
                  </a:lnTo>
                  <a:lnTo>
                    <a:pt x="1505" y="713"/>
                  </a:lnTo>
                  <a:lnTo>
                    <a:pt x="1505" y="713"/>
                  </a:lnTo>
                  <a:lnTo>
                    <a:pt x="1505" y="713"/>
                  </a:lnTo>
                  <a:lnTo>
                    <a:pt x="1502" y="713"/>
                  </a:lnTo>
                  <a:lnTo>
                    <a:pt x="1502" y="713"/>
                  </a:lnTo>
                  <a:lnTo>
                    <a:pt x="1502" y="713"/>
                  </a:lnTo>
                  <a:lnTo>
                    <a:pt x="1502" y="713"/>
                  </a:lnTo>
                  <a:lnTo>
                    <a:pt x="1499" y="713"/>
                  </a:lnTo>
                  <a:lnTo>
                    <a:pt x="1499" y="713"/>
                  </a:lnTo>
                  <a:lnTo>
                    <a:pt x="1499" y="713"/>
                  </a:lnTo>
                  <a:lnTo>
                    <a:pt x="1499" y="716"/>
                  </a:lnTo>
                  <a:lnTo>
                    <a:pt x="1499" y="716"/>
                  </a:lnTo>
                  <a:lnTo>
                    <a:pt x="1497" y="716"/>
                  </a:lnTo>
                  <a:lnTo>
                    <a:pt x="1497" y="716"/>
                  </a:lnTo>
                  <a:lnTo>
                    <a:pt x="1497" y="716"/>
                  </a:lnTo>
                  <a:lnTo>
                    <a:pt x="1497" y="716"/>
                  </a:lnTo>
                  <a:lnTo>
                    <a:pt x="1497" y="719"/>
                  </a:lnTo>
                  <a:lnTo>
                    <a:pt x="1497" y="719"/>
                  </a:lnTo>
                  <a:lnTo>
                    <a:pt x="1497" y="719"/>
                  </a:lnTo>
                  <a:lnTo>
                    <a:pt x="1497" y="719"/>
                  </a:lnTo>
                  <a:lnTo>
                    <a:pt x="1497" y="719"/>
                  </a:lnTo>
                  <a:lnTo>
                    <a:pt x="1494" y="721"/>
                  </a:lnTo>
                  <a:lnTo>
                    <a:pt x="1494" y="721"/>
                  </a:lnTo>
                  <a:lnTo>
                    <a:pt x="1494" y="719"/>
                  </a:lnTo>
                  <a:lnTo>
                    <a:pt x="1494" y="719"/>
                  </a:lnTo>
                  <a:lnTo>
                    <a:pt x="1494" y="719"/>
                  </a:lnTo>
                  <a:lnTo>
                    <a:pt x="1494" y="716"/>
                  </a:lnTo>
                  <a:lnTo>
                    <a:pt x="1494" y="716"/>
                  </a:lnTo>
                  <a:lnTo>
                    <a:pt x="1497" y="716"/>
                  </a:lnTo>
                  <a:lnTo>
                    <a:pt x="1497" y="713"/>
                  </a:lnTo>
                  <a:lnTo>
                    <a:pt x="1497" y="713"/>
                  </a:lnTo>
                  <a:lnTo>
                    <a:pt x="1499" y="711"/>
                  </a:lnTo>
                  <a:lnTo>
                    <a:pt x="1502" y="711"/>
                  </a:lnTo>
                  <a:lnTo>
                    <a:pt x="1502" y="711"/>
                  </a:lnTo>
                  <a:lnTo>
                    <a:pt x="1499" y="711"/>
                  </a:lnTo>
                  <a:lnTo>
                    <a:pt x="1499" y="711"/>
                  </a:lnTo>
                  <a:lnTo>
                    <a:pt x="1499" y="711"/>
                  </a:lnTo>
                  <a:lnTo>
                    <a:pt x="1499" y="711"/>
                  </a:lnTo>
                  <a:lnTo>
                    <a:pt x="1497" y="711"/>
                  </a:lnTo>
                  <a:lnTo>
                    <a:pt x="1497" y="711"/>
                  </a:lnTo>
                  <a:lnTo>
                    <a:pt x="1497" y="711"/>
                  </a:lnTo>
                  <a:lnTo>
                    <a:pt x="1497" y="711"/>
                  </a:lnTo>
                  <a:lnTo>
                    <a:pt x="1494" y="713"/>
                  </a:lnTo>
                  <a:lnTo>
                    <a:pt x="1494" y="713"/>
                  </a:lnTo>
                  <a:lnTo>
                    <a:pt x="1497" y="708"/>
                  </a:lnTo>
                  <a:lnTo>
                    <a:pt x="1499" y="708"/>
                  </a:lnTo>
                  <a:lnTo>
                    <a:pt x="1502" y="708"/>
                  </a:lnTo>
                  <a:lnTo>
                    <a:pt x="1502" y="708"/>
                  </a:lnTo>
                  <a:lnTo>
                    <a:pt x="1505" y="711"/>
                  </a:lnTo>
                  <a:lnTo>
                    <a:pt x="1505" y="711"/>
                  </a:lnTo>
                  <a:lnTo>
                    <a:pt x="1505" y="711"/>
                  </a:lnTo>
                  <a:lnTo>
                    <a:pt x="1505" y="708"/>
                  </a:lnTo>
                  <a:lnTo>
                    <a:pt x="1502" y="708"/>
                  </a:lnTo>
                  <a:lnTo>
                    <a:pt x="1505" y="708"/>
                  </a:lnTo>
                  <a:lnTo>
                    <a:pt x="1505" y="708"/>
                  </a:lnTo>
                  <a:lnTo>
                    <a:pt x="1505" y="708"/>
                  </a:lnTo>
                  <a:lnTo>
                    <a:pt x="1505" y="708"/>
                  </a:lnTo>
                  <a:lnTo>
                    <a:pt x="1505" y="705"/>
                  </a:lnTo>
                  <a:lnTo>
                    <a:pt x="1505" y="705"/>
                  </a:lnTo>
                  <a:lnTo>
                    <a:pt x="1505" y="705"/>
                  </a:lnTo>
                  <a:lnTo>
                    <a:pt x="1505" y="703"/>
                  </a:lnTo>
                  <a:lnTo>
                    <a:pt x="1507" y="703"/>
                  </a:lnTo>
                  <a:lnTo>
                    <a:pt x="1507" y="703"/>
                  </a:lnTo>
                  <a:lnTo>
                    <a:pt x="1507" y="703"/>
                  </a:lnTo>
                  <a:lnTo>
                    <a:pt x="1505" y="700"/>
                  </a:lnTo>
                  <a:lnTo>
                    <a:pt x="1505" y="700"/>
                  </a:lnTo>
                  <a:lnTo>
                    <a:pt x="1505" y="700"/>
                  </a:lnTo>
                  <a:lnTo>
                    <a:pt x="1507" y="700"/>
                  </a:lnTo>
                  <a:lnTo>
                    <a:pt x="1507" y="700"/>
                  </a:lnTo>
                  <a:lnTo>
                    <a:pt x="1507" y="700"/>
                  </a:lnTo>
                  <a:lnTo>
                    <a:pt x="1507" y="697"/>
                  </a:lnTo>
                  <a:lnTo>
                    <a:pt x="1507" y="697"/>
                  </a:lnTo>
                  <a:lnTo>
                    <a:pt x="1510" y="695"/>
                  </a:lnTo>
                  <a:lnTo>
                    <a:pt x="1510" y="695"/>
                  </a:lnTo>
                  <a:lnTo>
                    <a:pt x="1510" y="695"/>
                  </a:lnTo>
                  <a:lnTo>
                    <a:pt x="1510" y="692"/>
                  </a:lnTo>
                  <a:lnTo>
                    <a:pt x="1510" y="692"/>
                  </a:lnTo>
                  <a:lnTo>
                    <a:pt x="1510" y="692"/>
                  </a:lnTo>
                  <a:lnTo>
                    <a:pt x="1507" y="692"/>
                  </a:lnTo>
                  <a:lnTo>
                    <a:pt x="1505" y="692"/>
                  </a:lnTo>
                  <a:lnTo>
                    <a:pt x="1505" y="695"/>
                  </a:lnTo>
                  <a:lnTo>
                    <a:pt x="1502" y="697"/>
                  </a:lnTo>
                  <a:lnTo>
                    <a:pt x="1502" y="697"/>
                  </a:lnTo>
                  <a:lnTo>
                    <a:pt x="1499" y="697"/>
                  </a:lnTo>
                  <a:lnTo>
                    <a:pt x="1499" y="697"/>
                  </a:lnTo>
                  <a:lnTo>
                    <a:pt x="1502" y="697"/>
                  </a:lnTo>
                  <a:lnTo>
                    <a:pt x="1502" y="697"/>
                  </a:lnTo>
                  <a:lnTo>
                    <a:pt x="1502" y="695"/>
                  </a:lnTo>
                  <a:lnTo>
                    <a:pt x="1502" y="695"/>
                  </a:lnTo>
                  <a:lnTo>
                    <a:pt x="1502" y="695"/>
                  </a:lnTo>
                  <a:lnTo>
                    <a:pt x="1502" y="695"/>
                  </a:lnTo>
                  <a:lnTo>
                    <a:pt x="1502" y="695"/>
                  </a:lnTo>
                  <a:lnTo>
                    <a:pt x="1502" y="692"/>
                  </a:lnTo>
                  <a:lnTo>
                    <a:pt x="1502" y="692"/>
                  </a:lnTo>
                  <a:lnTo>
                    <a:pt x="1505" y="692"/>
                  </a:lnTo>
                  <a:lnTo>
                    <a:pt x="1505" y="692"/>
                  </a:lnTo>
                  <a:lnTo>
                    <a:pt x="1507" y="689"/>
                  </a:lnTo>
                  <a:lnTo>
                    <a:pt x="1507" y="689"/>
                  </a:lnTo>
                  <a:lnTo>
                    <a:pt x="1510" y="689"/>
                  </a:lnTo>
                  <a:lnTo>
                    <a:pt x="1510" y="689"/>
                  </a:lnTo>
                  <a:lnTo>
                    <a:pt x="1510" y="689"/>
                  </a:lnTo>
                  <a:lnTo>
                    <a:pt x="1510" y="689"/>
                  </a:lnTo>
                  <a:lnTo>
                    <a:pt x="1510" y="689"/>
                  </a:lnTo>
                  <a:lnTo>
                    <a:pt x="1510" y="692"/>
                  </a:lnTo>
                  <a:lnTo>
                    <a:pt x="1510" y="692"/>
                  </a:lnTo>
                  <a:lnTo>
                    <a:pt x="1513" y="695"/>
                  </a:lnTo>
                  <a:lnTo>
                    <a:pt x="1513" y="695"/>
                  </a:lnTo>
                  <a:lnTo>
                    <a:pt x="1513" y="695"/>
                  </a:lnTo>
                  <a:lnTo>
                    <a:pt x="1513" y="695"/>
                  </a:lnTo>
                  <a:lnTo>
                    <a:pt x="1513" y="695"/>
                  </a:lnTo>
                  <a:lnTo>
                    <a:pt x="1515" y="695"/>
                  </a:lnTo>
                  <a:lnTo>
                    <a:pt x="1515" y="692"/>
                  </a:lnTo>
                  <a:lnTo>
                    <a:pt x="1515" y="689"/>
                  </a:lnTo>
                  <a:lnTo>
                    <a:pt x="1518" y="684"/>
                  </a:lnTo>
                  <a:lnTo>
                    <a:pt x="1518" y="684"/>
                  </a:lnTo>
                  <a:lnTo>
                    <a:pt x="1518" y="684"/>
                  </a:lnTo>
                  <a:lnTo>
                    <a:pt x="1518" y="681"/>
                  </a:lnTo>
                  <a:lnTo>
                    <a:pt x="1521" y="679"/>
                  </a:lnTo>
                  <a:lnTo>
                    <a:pt x="1521" y="679"/>
                  </a:lnTo>
                  <a:lnTo>
                    <a:pt x="1521" y="676"/>
                  </a:lnTo>
                  <a:lnTo>
                    <a:pt x="1523" y="676"/>
                  </a:lnTo>
                  <a:lnTo>
                    <a:pt x="1523" y="676"/>
                  </a:lnTo>
                  <a:lnTo>
                    <a:pt x="1523" y="679"/>
                  </a:lnTo>
                  <a:lnTo>
                    <a:pt x="1521" y="681"/>
                  </a:lnTo>
                  <a:lnTo>
                    <a:pt x="1521" y="681"/>
                  </a:lnTo>
                  <a:lnTo>
                    <a:pt x="1523" y="681"/>
                  </a:lnTo>
                  <a:lnTo>
                    <a:pt x="1523" y="679"/>
                  </a:lnTo>
                  <a:lnTo>
                    <a:pt x="1523" y="681"/>
                  </a:lnTo>
                  <a:lnTo>
                    <a:pt x="1523" y="681"/>
                  </a:lnTo>
                  <a:lnTo>
                    <a:pt x="1521" y="681"/>
                  </a:lnTo>
                  <a:lnTo>
                    <a:pt x="1521" y="684"/>
                  </a:lnTo>
                  <a:lnTo>
                    <a:pt x="1521" y="684"/>
                  </a:lnTo>
                  <a:lnTo>
                    <a:pt x="1521" y="687"/>
                  </a:lnTo>
                  <a:lnTo>
                    <a:pt x="1518" y="687"/>
                  </a:lnTo>
                  <a:lnTo>
                    <a:pt x="1518" y="687"/>
                  </a:lnTo>
                  <a:lnTo>
                    <a:pt x="1518" y="689"/>
                  </a:lnTo>
                  <a:lnTo>
                    <a:pt x="1518" y="692"/>
                  </a:lnTo>
                  <a:lnTo>
                    <a:pt x="1518" y="692"/>
                  </a:lnTo>
                  <a:lnTo>
                    <a:pt x="1518" y="692"/>
                  </a:lnTo>
                  <a:lnTo>
                    <a:pt x="1518" y="692"/>
                  </a:lnTo>
                  <a:lnTo>
                    <a:pt x="1518" y="695"/>
                  </a:lnTo>
                  <a:lnTo>
                    <a:pt x="1515" y="695"/>
                  </a:lnTo>
                  <a:lnTo>
                    <a:pt x="1515" y="695"/>
                  </a:lnTo>
                  <a:lnTo>
                    <a:pt x="1515" y="695"/>
                  </a:lnTo>
                  <a:lnTo>
                    <a:pt x="1515" y="697"/>
                  </a:lnTo>
                  <a:lnTo>
                    <a:pt x="1515" y="697"/>
                  </a:lnTo>
                  <a:lnTo>
                    <a:pt x="1515" y="697"/>
                  </a:lnTo>
                  <a:lnTo>
                    <a:pt x="1515" y="697"/>
                  </a:lnTo>
                  <a:lnTo>
                    <a:pt x="1515" y="697"/>
                  </a:lnTo>
                  <a:lnTo>
                    <a:pt x="1515" y="700"/>
                  </a:lnTo>
                  <a:lnTo>
                    <a:pt x="1513" y="700"/>
                  </a:lnTo>
                  <a:lnTo>
                    <a:pt x="1515" y="700"/>
                  </a:lnTo>
                  <a:lnTo>
                    <a:pt x="1515" y="700"/>
                  </a:lnTo>
                  <a:lnTo>
                    <a:pt x="1518" y="703"/>
                  </a:lnTo>
                  <a:lnTo>
                    <a:pt x="1518" y="703"/>
                  </a:lnTo>
                  <a:lnTo>
                    <a:pt x="1518" y="703"/>
                  </a:lnTo>
                  <a:lnTo>
                    <a:pt x="1518" y="703"/>
                  </a:lnTo>
                  <a:lnTo>
                    <a:pt x="1518" y="705"/>
                  </a:lnTo>
                  <a:lnTo>
                    <a:pt x="1518" y="705"/>
                  </a:lnTo>
                  <a:lnTo>
                    <a:pt x="1521" y="705"/>
                  </a:lnTo>
                  <a:lnTo>
                    <a:pt x="1521" y="708"/>
                  </a:lnTo>
                  <a:lnTo>
                    <a:pt x="1523" y="708"/>
                  </a:lnTo>
                  <a:lnTo>
                    <a:pt x="1523" y="708"/>
                  </a:lnTo>
                  <a:lnTo>
                    <a:pt x="1523" y="705"/>
                  </a:lnTo>
                  <a:lnTo>
                    <a:pt x="1523" y="705"/>
                  </a:lnTo>
                  <a:lnTo>
                    <a:pt x="1523" y="705"/>
                  </a:lnTo>
                  <a:lnTo>
                    <a:pt x="1523" y="705"/>
                  </a:lnTo>
                  <a:lnTo>
                    <a:pt x="1523" y="705"/>
                  </a:lnTo>
                  <a:lnTo>
                    <a:pt x="1523" y="705"/>
                  </a:lnTo>
                  <a:lnTo>
                    <a:pt x="1523" y="705"/>
                  </a:lnTo>
                  <a:lnTo>
                    <a:pt x="1521" y="705"/>
                  </a:lnTo>
                  <a:lnTo>
                    <a:pt x="1523" y="703"/>
                  </a:lnTo>
                  <a:lnTo>
                    <a:pt x="1523" y="703"/>
                  </a:lnTo>
                  <a:lnTo>
                    <a:pt x="1523" y="700"/>
                  </a:lnTo>
                  <a:lnTo>
                    <a:pt x="1523" y="700"/>
                  </a:lnTo>
                  <a:lnTo>
                    <a:pt x="1523" y="700"/>
                  </a:lnTo>
                  <a:lnTo>
                    <a:pt x="1523" y="700"/>
                  </a:lnTo>
                  <a:lnTo>
                    <a:pt x="1523" y="700"/>
                  </a:lnTo>
                  <a:lnTo>
                    <a:pt x="1523" y="700"/>
                  </a:lnTo>
                  <a:lnTo>
                    <a:pt x="1526" y="697"/>
                  </a:lnTo>
                  <a:lnTo>
                    <a:pt x="1526" y="700"/>
                  </a:lnTo>
                  <a:lnTo>
                    <a:pt x="1526" y="700"/>
                  </a:lnTo>
                  <a:lnTo>
                    <a:pt x="1523" y="700"/>
                  </a:lnTo>
                  <a:lnTo>
                    <a:pt x="1523" y="703"/>
                  </a:lnTo>
                  <a:lnTo>
                    <a:pt x="1523" y="703"/>
                  </a:lnTo>
                  <a:lnTo>
                    <a:pt x="1526" y="703"/>
                  </a:lnTo>
                  <a:lnTo>
                    <a:pt x="1526" y="703"/>
                  </a:lnTo>
                  <a:lnTo>
                    <a:pt x="1526" y="703"/>
                  </a:lnTo>
                  <a:lnTo>
                    <a:pt x="1526" y="705"/>
                  </a:lnTo>
                  <a:lnTo>
                    <a:pt x="1526" y="705"/>
                  </a:lnTo>
                  <a:lnTo>
                    <a:pt x="1529" y="705"/>
                  </a:lnTo>
                  <a:lnTo>
                    <a:pt x="1529" y="703"/>
                  </a:lnTo>
                  <a:lnTo>
                    <a:pt x="1529" y="703"/>
                  </a:lnTo>
                  <a:lnTo>
                    <a:pt x="1529" y="700"/>
                  </a:lnTo>
                  <a:lnTo>
                    <a:pt x="1529" y="700"/>
                  </a:lnTo>
                  <a:lnTo>
                    <a:pt x="1529" y="697"/>
                  </a:lnTo>
                  <a:lnTo>
                    <a:pt x="1529" y="697"/>
                  </a:lnTo>
                  <a:lnTo>
                    <a:pt x="1529" y="697"/>
                  </a:lnTo>
                  <a:lnTo>
                    <a:pt x="1529" y="697"/>
                  </a:lnTo>
                  <a:lnTo>
                    <a:pt x="1529" y="697"/>
                  </a:lnTo>
                  <a:lnTo>
                    <a:pt x="1526" y="697"/>
                  </a:lnTo>
                  <a:lnTo>
                    <a:pt x="1526" y="697"/>
                  </a:lnTo>
                  <a:lnTo>
                    <a:pt x="1529" y="695"/>
                  </a:lnTo>
                  <a:lnTo>
                    <a:pt x="1529" y="695"/>
                  </a:lnTo>
                  <a:lnTo>
                    <a:pt x="1529" y="695"/>
                  </a:lnTo>
                  <a:lnTo>
                    <a:pt x="1529" y="695"/>
                  </a:lnTo>
                  <a:lnTo>
                    <a:pt x="1529" y="695"/>
                  </a:lnTo>
                  <a:lnTo>
                    <a:pt x="1529" y="695"/>
                  </a:lnTo>
                  <a:lnTo>
                    <a:pt x="1529" y="695"/>
                  </a:lnTo>
                  <a:lnTo>
                    <a:pt x="1526" y="695"/>
                  </a:lnTo>
                  <a:lnTo>
                    <a:pt x="1526" y="695"/>
                  </a:lnTo>
                  <a:lnTo>
                    <a:pt x="1526" y="695"/>
                  </a:lnTo>
                  <a:lnTo>
                    <a:pt x="1526" y="695"/>
                  </a:lnTo>
                  <a:lnTo>
                    <a:pt x="1526" y="692"/>
                  </a:lnTo>
                  <a:lnTo>
                    <a:pt x="1529" y="692"/>
                  </a:lnTo>
                  <a:lnTo>
                    <a:pt x="1529" y="692"/>
                  </a:lnTo>
                  <a:lnTo>
                    <a:pt x="1529" y="689"/>
                  </a:lnTo>
                  <a:lnTo>
                    <a:pt x="1529" y="687"/>
                  </a:lnTo>
                  <a:lnTo>
                    <a:pt x="1529" y="687"/>
                  </a:lnTo>
                  <a:lnTo>
                    <a:pt x="1529" y="687"/>
                  </a:lnTo>
                  <a:lnTo>
                    <a:pt x="1529" y="687"/>
                  </a:lnTo>
                  <a:lnTo>
                    <a:pt x="1529" y="684"/>
                  </a:lnTo>
                  <a:lnTo>
                    <a:pt x="1529" y="684"/>
                  </a:lnTo>
                  <a:lnTo>
                    <a:pt x="1529" y="684"/>
                  </a:lnTo>
                  <a:lnTo>
                    <a:pt x="1529" y="684"/>
                  </a:lnTo>
                  <a:lnTo>
                    <a:pt x="1531" y="684"/>
                  </a:lnTo>
                  <a:lnTo>
                    <a:pt x="1529" y="684"/>
                  </a:lnTo>
                  <a:lnTo>
                    <a:pt x="1529" y="687"/>
                  </a:lnTo>
                  <a:lnTo>
                    <a:pt x="1529" y="687"/>
                  </a:lnTo>
                  <a:lnTo>
                    <a:pt x="1531" y="689"/>
                  </a:lnTo>
                  <a:lnTo>
                    <a:pt x="1531" y="689"/>
                  </a:lnTo>
                  <a:lnTo>
                    <a:pt x="1531" y="689"/>
                  </a:lnTo>
                  <a:lnTo>
                    <a:pt x="1531" y="689"/>
                  </a:lnTo>
                  <a:lnTo>
                    <a:pt x="1531" y="689"/>
                  </a:lnTo>
                  <a:lnTo>
                    <a:pt x="1531" y="689"/>
                  </a:lnTo>
                  <a:lnTo>
                    <a:pt x="1531" y="689"/>
                  </a:lnTo>
                  <a:lnTo>
                    <a:pt x="1529" y="692"/>
                  </a:lnTo>
                  <a:lnTo>
                    <a:pt x="1531" y="692"/>
                  </a:lnTo>
                  <a:lnTo>
                    <a:pt x="1531" y="695"/>
                  </a:lnTo>
                  <a:lnTo>
                    <a:pt x="1531" y="695"/>
                  </a:lnTo>
                  <a:lnTo>
                    <a:pt x="1531" y="695"/>
                  </a:lnTo>
                  <a:lnTo>
                    <a:pt x="1531" y="700"/>
                  </a:lnTo>
                  <a:lnTo>
                    <a:pt x="1531" y="700"/>
                  </a:lnTo>
                  <a:lnTo>
                    <a:pt x="1531" y="700"/>
                  </a:lnTo>
                  <a:lnTo>
                    <a:pt x="1531" y="697"/>
                  </a:lnTo>
                  <a:lnTo>
                    <a:pt x="1531" y="695"/>
                  </a:lnTo>
                  <a:lnTo>
                    <a:pt x="1534" y="695"/>
                  </a:lnTo>
                  <a:lnTo>
                    <a:pt x="1534" y="695"/>
                  </a:lnTo>
                  <a:lnTo>
                    <a:pt x="1534" y="695"/>
                  </a:lnTo>
                  <a:lnTo>
                    <a:pt x="1534" y="695"/>
                  </a:lnTo>
                  <a:lnTo>
                    <a:pt x="1534" y="697"/>
                  </a:lnTo>
                  <a:lnTo>
                    <a:pt x="1534" y="697"/>
                  </a:lnTo>
                  <a:lnTo>
                    <a:pt x="1534" y="697"/>
                  </a:lnTo>
                  <a:lnTo>
                    <a:pt x="1534" y="695"/>
                  </a:lnTo>
                  <a:lnTo>
                    <a:pt x="1534" y="695"/>
                  </a:lnTo>
                  <a:lnTo>
                    <a:pt x="1537" y="695"/>
                  </a:lnTo>
                  <a:lnTo>
                    <a:pt x="1534" y="700"/>
                  </a:lnTo>
                  <a:lnTo>
                    <a:pt x="1534" y="700"/>
                  </a:lnTo>
                  <a:lnTo>
                    <a:pt x="1534" y="700"/>
                  </a:lnTo>
                  <a:lnTo>
                    <a:pt x="1534" y="700"/>
                  </a:lnTo>
                  <a:lnTo>
                    <a:pt x="1537" y="700"/>
                  </a:lnTo>
                  <a:lnTo>
                    <a:pt x="1537" y="700"/>
                  </a:lnTo>
                  <a:lnTo>
                    <a:pt x="1537" y="703"/>
                  </a:lnTo>
                  <a:lnTo>
                    <a:pt x="1537" y="700"/>
                  </a:lnTo>
                  <a:lnTo>
                    <a:pt x="1539" y="700"/>
                  </a:lnTo>
                  <a:lnTo>
                    <a:pt x="1537" y="700"/>
                  </a:lnTo>
                  <a:lnTo>
                    <a:pt x="1539" y="697"/>
                  </a:lnTo>
                  <a:lnTo>
                    <a:pt x="1539" y="697"/>
                  </a:lnTo>
                  <a:lnTo>
                    <a:pt x="1539" y="697"/>
                  </a:lnTo>
                  <a:lnTo>
                    <a:pt x="1539" y="697"/>
                  </a:lnTo>
                  <a:lnTo>
                    <a:pt x="1539" y="695"/>
                  </a:lnTo>
                  <a:lnTo>
                    <a:pt x="1539" y="695"/>
                  </a:lnTo>
                  <a:lnTo>
                    <a:pt x="1539" y="695"/>
                  </a:lnTo>
                  <a:lnTo>
                    <a:pt x="1539" y="695"/>
                  </a:lnTo>
                  <a:lnTo>
                    <a:pt x="1539" y="695"/>
                  </a:lnTo>
                  <a:lnTo>
                    <a:pt x="1539" y="695"/>
                  </a:lnTo>
                  <a:lnTo>
                    <a:pt x="1542" y="692"/>
                  </a:lnTo>
                  <a:lnTo>
                    <a:pt x="1542" y="692"/>
                  </a:lnTo>
                  <a:lnTo>
                    <a:pt x="1542" y="692"/>
                  </a:lnTo>
                  <a:lnTo>
                    <a:pt x="1542" y="695"/>
                  </a:lnTo>
                  <a:lnTo>
                    <a:pt x="1542" y="695"/>
                  </a:lnTo>
                  <a:lnTo>
                    <a:pt x="1542" y="697"/>
                  </a:lnTo>
                  <a:lnTo>
                    <a:pt x="1542" y="697"/>
                  </a:lnTo>
                  <a:lnTo>
                    <a:pt x="1542" y="697"/>
                  </a:lnTo>
                  <a:lnTo>
                    <a:pt x="1542" y="697"/>
                  </a:lnTo>
                  <a:lnTo>
                    <a:pt x="1542" y="695"/>
                  </a:lnTo>
                  <a:lnTo>
                    <a:pt x="1542" y="695"/>
                  </a:lnTo>
                  <a:lnTo>
                    <a:pt x="1542" y="695"/>
                  </a:lnTo>
                  <a:lnTo>
                    <a:pt x="1545" y="692"/>
                  </a:lnTo>
                  <a:lnTo>
                    <a:pt x="1545" y="692"/>
                  </a:lnTo>
                  <a:lnTo>
                    <a:pt x="1545" y="692"/>
                  </a:lnTo>
                  <a:lnTo>
                    <a:pt x="1547" y="692"/>
                  </a:lnTo>
                  <a:lnTo>
                    <a:pt x="1547" y="692"/>
                  </a:lnTo>
                  <a:lnTo>
                    <a:pt x="1547" y="695"/>
                  </a:lnTo>
                  <a:lnTo>
                    <a:pt x="1545" y="695"/>
                  </a:lnTo>
                  <a:lnTo>
                    <a:pt x="1547" y="695"/>
                  </a:lnTo>
                  <a:lnTo>
                    <a:pt x="1547" y="695"/>
                  </a:lnTo>
                  <a:lnTo>
                    <a:pt x="1547" y="695"/>
                  </a:lnTo>
                  <a:lnTo>
                    <a:pt x="1547" y="695"/>
                  </a:lnTo>
                  <a:lnTo>
                    <a:pt x="1547" y="692"/>
                  </a:lnTo>
                  <a:lnTo>
                    <a:pt x="1547" y="692"/>
                  </a:lnTo>
                  <a:lnTo>
                    <a:pt x="1547" y="692"/>
                  </a:lnTo>
                  <a:lnTo>
                    <a:pt x="1547" y="692"/>
                  </a:lnTo>
                  <a:lnTo>
                    <a:pt x="1547" y="692"/>
                  </a:lnTo>
                  <a:lnTo>
                    <a:pt x="1547" y="692"/>
                  </a:lnTo>
                  <a:lnTo>
                    <a:pt x="1547" y="695"/>
                  </a:lnTo>
                  <a:lnTo>
                    <a:pt x="1547" y="695"/>
                  </a:lnTo>
                  <a:lnTo>
                    <a:pt x="1547" y="697"/>
                  </a:lnTo>
                  <a:lnTo>
                    <a:pt x="1550" y="697"/>
                  </a:lnTo>
                  <a:lnTo>
                    <a:pt x="1550" y="697"/>
                  </a:lnTo>
                  <a:lnTo>
                    <a:pt x="1550" y="695"/>
                  </a:lnTo>
                  <a:lnTo>
                    <a:pt x="1553" y="695"/>
                  </a:lnTo>
                  <a:lnTo>
                    <a:pt x="1553" y="695"/>
                  </a:lnTo>
                  <a:lnTo>
                    <a:pt x="1553" y="692"/>
                  </a:lnTo>
                  <a:lnTo>
                    <a:pt x="1553" y="689"/>
                  </a:lnTo>
                  <a:lnTo>
                    <a:pt x="1555" y="687"/>
                  </a:lnTo>
                  <a:lnTo>
                    <a:pt x="1558" y="687"/>
                  </a:lnTo>
                  <a:lnTo>
                    <a:pt x="1558" y="684"/>
                  </a:lnTo>
                  <a:lnTo>
                    <a:pt x="1561" y="684"/>
                  </a:lnTo>
                  <a:lnTo>
                    <a:pt x="1561" y="681"/>
                  </a:lnTo>
                  <a:lnTo>
                    <a:pt x="1563" y="681"/>
                  </a:lnTo>
                  <a:lnTo>
                    <a:pt x="1566" y="681"/>
                  </a:lnTo>
                  <a:lnTo>
                    <a:pt x="1566" y="681"/>
                  </a:lnTo>
                  <a:lnTo>
                    <a:pt x="1569" y="681"/>
                  </a:lnTo>
                  <a:lnTo>
                    <a:pt x="1569" y="681"/>
                  </a:lnTo>
                  <a:lnTo>
                    <a:pt x="1571" y="681"/>
                  </a:lnTo>
                  <a:lnTo>
                    <a:pt x="1571" y="684"/>
                  </a:lnTo>
                  <a:lnTo>
                    <a:pt x="1571" y="684"/>
                  </a:lnTo>
                  <a:lnTo>
                    <a:pt x="1561" y="687"/>
                  </a:lnTo>
                  <a:lnTo>
                    <a:pt x="1558" y="687"/>
                  </a:lnTo>
                  <a:lnTo>
                    <a:pt x="1558" y="687"/>
                  </a:lnTo>
                  <a:lnTo>
                    <a:pt x="1561" y="687"/>
                  </a:lnTo>
                  <a:lnTo>
                    <a:pt x="1561" y="689"/>
                  </a:lnTo>
                  <a:lnTo>
                    <a:pt x="1561" y="689"/>
                  </a:lnTo>
                  <a:lnTo>
                    <a:pt x="1561" y="689"/>
                  </a:lnTo>
                  <a:lnTo>
                    <a:pt x="1561" y="689"/>
                  </a:lnTo>
                  <a:lnTo>
                    <a:pt x="1561" y="689"/>
                  </a:lnTo>
                  <a:lnTo>
                    <a:pt x="1558" y="689"/>
                  </a:lnTo>
                  <a:lnTo>
                    <a:pt x="1558" y="689"/>
                  </a:lnTo>
                  <a:lnTo>
                    <a:pt x="1558" y="689"/>
                  </a:lnTo>
                  <a:lnTo>
                    <a:pt x="1558" y="692"/>
                  </a:lnTo>
                  <a:lnTo>
                    <a:pt x="1558" y="692"/>
                  </a:lnTo>
                  <a:lnTo>
                    <a:pt x="1558" y="695"/>
                  </a:lnTo>
                  <a:lnTo>
                    <a:pt x="1558" y="695"/>
                  </a:lnTo>
                  <a:lnTo>
                    <a:pt x="1561" y="695"/>
                  </a:lnTo>
                  <a:lnTo>
                    <a:pt x="1561" y="695"/>
                  </a:lnTo>
                  <a:lnTo>
                    <a:pt x="1561" y="695"/>
                  </a:lnTo>
                  <a:lnTo>
                    <a:pt x="1558" y="695"/>
                  </a:lnTo>
                  <a:lnTo>
                    <a:pt x="1558" y="695"/>
                  </a:lnTo>
                  <a:lnTo>
                    <a:pt x="1558" y="695"/>
                  </a:lnTo>
                  <a:lnTo>
                    <a:pt x="1555" y="695"/>
                  </a:lnTo>
                  <a:lnTo>
                    <a:pt x="1555" y="695"/>
                  </a:lnTo>
                  <a:lnTo>
                    <a:pt x="1558" y="697"/>
                  </a:lnTo>
                  <a:lnTo>
                    <a:pt x="1558" y="697"/>
                  </a:lnTo>
                  <a:lnTo>
                    <a:pt x="1558" y="697"/>
                  </a:lnTo>
                  <a:lnTo>
                    <a:pt x="1558" y="697"/>
                  </a:lnTo>
                  <a:lnTo>
                    <a:pt x="1558" y="697"/>
                  </a:lnTo>
                  <a:lnTo>
                    <a:pt x="1558" y="700"/>
                  </a:lnTo>
                  <a:lnTo>
                    <a:pt x="1558" y="700"/>
                  </a:lnTo>
                  <a:lnTo>
                    <a:pt x="1558" y="700"/>
                  </a:lnTo>
                  <a:lnTo>
                    <a:pt x="1561" y="700"/>
                  </a:lnTo>
                  <a:lnTo>
                    <a:pt x="1561" y="700"/>
                  </a:lnTo>
                  <a:lnTo>
                    <a:pt x="1561" y="700"/>
                  </a:lnTo>
                  <a:lnTo>
                    <a:pt x="1561" y="700"/>
                  </a:lnTo>
                  <a:lnTo>
                    <a:pt x="1561" y="700"/>
                  </a:lnTo>
                  <a:lnTo>
                    <a:pt x="1561" y="700"/>
                  </a:lnTo>
                  <a:lnTo>
                    <a:pt x="1561" y="700"/>
                  </a:lnTo>
                  <a:lnTo>
                    <a:pt x="1561" y="700"/>
                  </a:lnTo>
                  <a:lnTo>
                    <a:pt x="1561" y="703"/>
                  </a:lnTo>
                  <a:lnTo>
                    <a:pt x="1561" y="703"/>
                  </a:lnTo>
                  <a:lnTo>
                    <a:pt x="1561" y="703"/>
                  </a:lnTo>
                  <a:lnTo>
                    <a:pt x="1561" y="703"/>
                  </a:lnTo>
                  <a:lnTo>
                    <a:pt x="1561" y="703"/>
                  </a:lnTo>
                  <a:lnTo>
                    <a:pt x="1563" y="703"/>
                  </a:lnTo>
                  <a:lnTo>
                    <a:pt x="1563" y="700"/>
                  </a:lnTo>
                  <a:lnTo>
                    <a:pt x="1563" y="703"/>
                  </a:lnTo>
                  <a:lnTo>
                    <a:pt x="1563" y="703"/>
                  </a:lnTo>
                  <a:lnTo>
                    <a:pt x="1566" y="703"/>
                  </a:lnTo>
                  <a:lnTo>
                    <a:pt x="1569" y="700"/>
                  </a:lnTo>
                  <a:lnTo>
                    <a:pt x="1569" y="703"/>
                  </a:lnTo>
                  <a:lnTo>
                    <a:pt x="1569" y="703"/>
                  </a:lnTo>
                  <a:lnTo>
                    <a:pt x="1569" y="703"/>
                  </a:lnTo>
                  <a:lnTo>
                    <a:pt x="1569" y="703"/>
                  </a:lnTo>
                  <a:lnTo>
                    <a:pt x="1569" y="703"/>
                  </a:lnTo>
                  <a:lnTo>
                    <a:pt x="1571" y="703"/>
                  </a:lnTo>
                  <a:lnTo>
                    <a:pt x="1571" y="700"/>
                  </a:lnTo>
                  <a:lnTo>
                    <a:pt x="1574" y="697"/>
                  </a:lnTo>
                  <a:lnTo>
                    <a:pt x="1574" y="697"/>
                  </a:lnTo>
                  <a:lnTo>
                    <a:pt x="1579" y="700"/>
                  </a:lnTo>
                  <a:lnTo>
                    <a:pt x="1574" y="700"/>
                  </a:lnTo>
                  <a:lnTo>
                    <a:pt x="1574" y="700"/>
                  </a:lnTo>
                  <a:lnTo>
                    <a:pt x="1574" y="700"/>
                  </a:lnTo>
                  <a:lnTo>
                    <a:pt x="1574" y="703"/>
                  </a:lnTo>
                  <a:lnTo>
                    <a:pt x="1574" y="703"/>
                  </a:lnTo>
                  <a:lnTo>
                    <a:pt x="1574" y="703"/>
                  </a:lnTo>
                  <a:lnTo>
                    <a:pt x="1574" y="703"/>
                  </a:lnTo>
                  <a:lnTo>
                    <a:pt x="1571" y="705"/>
                  </a:lnTo>
                  <a:lnTo>
                    <a:pt x="1569" y="705"/>
                  </a:lnTo>
                  <a:lnTo>
                    <a:pt x="1569" y="705"/>
                  </a:lnTo>
                  <a:lnTo>
                    <a:pt x="1569" y="705"/>
                  </a:lnTo>
                  <a:lnTo>
                    <a:pt x="1566" y="705"/>
                  </a:lnTo>
                  <a:lnTo>
                    <a:pt x="1566" y="705"/>
                  </a:lnTo>
                  <a:lnTo>
                    <a:pt x="1563" y="708"/>
                  </a:lnTo>
                  <a:lnTo>
                    <a:pt x="1566" y="705"/>
                  </a:lnTo>
                  <a:lnTo>
                    <a:pt x="1566" y="708"/>
                  </a:lnTo>
                  <a:lnTo>
                    <a:pt x="1566" y="708"/>
                  </a:lnTo>
                  <a:lnTo>
                    <a:pt x="1566" y="708"/>
                  </a:lnTo>
                  <a:lnTo>
                    <a:pt x="1566" y="708"/>
                  </a:lnTo>
                  <a:lnTo>
                    <a:pt x="1566" y="708"/>
                  </a:lnTo>
                  <a:lnTo>
                    <a:pt x="1563" y="708"/>
                  </a:lnTo>
                  <a:lnTo>
                    <a:pt x="1563" y="708"/>
                  </a:lnTo>
                  <a:lnTo>
                    <a:pt x="1563" y="708"/>
                  </a:lnTo>
                  <a:lnTo>
                    <a:pt x="1563" y="708"/>
                  </a:lnTo>
                  <a:lnTo>
                    <a:pt x="1561" y="708"/>
                  </a:lnTo>
                  <a:lnTo>
                    <a:pt x="1561" y="711"/>
                  </a:lnTo>
                  <a:lnTo>
                    <a:pt x="1561" y="708"/>
                  </a:lnTo>
                  <a:lnTo>
                    <a:pt x="1561" y="708"/>
                  </a:lnTo>
                  <a:lnTo>
                    <a:pt x="1561" y="708"/>
                  </a:lnTo>
                  <a:lnTo>
                    <a:pt x="1561" y="708"/>
                  </a:lnTo>
                  <a:lnTo>
                    <a:pt x="1561" y="711"/>
                  </a:lnTo>
                  <a:lnTo>
                    <a:pt x="1561" y="711"/>
                  </a:lnTo>
                  <a:lnTo>
                    <a:pt x="1561" y="711"/>
                  </a:lnTo>
                  <a:lnTo>
                    <a:pt x="1561" y="711"/>
                  </a:lnTo>
                  <a:lnTo>
                    <a:pt x="1561" y="711"/>
                  </a:lnTo>
                  <a:lnTo>
                    <a:pt x="1561" y="713"/>
                  </a:lnTo>
                  <a:lnTo>
                    <a:pt x="1563" y="711"/>
                  </a:lnTo>
                  <a:lnTo>
                    <a:pt x="1566" y="711"/>
                  </a:lnTo>
                  <a:lnTo>
                    <a:pt x="1566" y="713"/>
                  </a:lnTo>
                  <a:lnTo>
                    <a:pt x="1566" y="713"/>
                  </a:lnTo>
                  <a:lnTo>
                    <a:pt x="1569" y="711"/>
                  </a:lnTo>
                  <a:lnTo>
                    <a:pt x="1569" y="711"/>
                  </a:lnTo>
                  <a:lnTo>
                    <a:pt x="1569" y="711"/>
                  </a:lnTo>
                  <a:lnTo>
                    <a:pt x="1569" y="711"/>
                  </a:lnTo>
                  <a:lnTo>
                    <a:pt x="1571" y="708"/>
                  </a:lnTo>
                  <a:lnTo>
                    <a:pt x="1571" y="705"/>
                  </a:lnTo>
                  <a:lnTo>
                    <a:pt x="1574" y="705"/>
                  </a:lnTo>
                  <a:lnTo>
                    <a:pt x="1571" y="705"/>
                  </a:lnTo>
                  <a:lnTo>
                    <a:pt x="1571" y="705"/>
                  </a:lnTo>
                  <a:lnTo>
                    <a:pt x="1571" y="708"/>
                  </a:lnTo>
                  <a:lnTo>
                    <a:pt x="1571" y="708"/>
                  </a:lnTo>
                  <a:lnTo>
                    <a:pt x="1571" y="708"/>
                  </a:lnTo>
                  <a:lnTo>
                    <a:pt x="1574" y="708"/>
                  </a:lnTo>
                  <a:lnTo>
                    <a:pt x="1574" y="708"/>
                  </a:lnTo>
                  <a:lnTo>
                    <a:pt x="1574" y="708"/>
                  </a:lnTo>
                  <a:lnTo>
                    <a:pt x="1574" y="708"/>
                  </a:lnTo>
                  <a:lnTo>
                    <a:pt x="1574" y="708"/>
                  </a:lnTo>
                  <a:lnTo>
                    <a:pt x="1574" y="705"/>
                  </a:lnTo>
                  <a:lnTo>
                    <a:pt x="1577" y="705"/>
                  </a:lnTo>
                  <a:lnTo>
                    <a:pt x="1577" y="705"/>
                  </a:lnTo>
                  <a:lnTo>
                    <a:pt x="1577" y="705"/>
                  </a:lnTo>
                  <a:lnTo>
                    <a:pt x="1577" y="708"/>
                  </a:lnTo>
                  <a:lnTo>
                    <a:pt x="1577" y="708"/>
                  </a:lnTo>
                  <a:lnTo>
                    <a:pt x="1577" y="708"/>
                  </a:lnTo>
                  <a:lnTo>
                    <a:pt x="1579" y="705"/>
                  </a:lnTo>
                  <a:lnTo>
                    <a:pt x="1579" y="705"/>
                  </a:lnTo>
                  <a:lnTo>
                    <a:pt x="1579" y="703"/>
                  </a:lnTo>
                  <a:lnTo>
                    <a:pt x="1579" y="703"/>
                  </a:lnTo>
                  <a:lnTo>
                    <a:pt x="1579" y="703"/>
                  </a:lnTo>
                  <a:lnTo>
                    <a:pt x="1579" y="703"/>
                  </a:lnTo>
                  <a:lnTo>
                    <a:pt x="1579" y="703"/>
                  </a:lnTo>
                  <a:lnTo>
                    <a:pt x="1582" y="703"/>
                  </a:lnTo>
                  <a:lnTo>
                    <a:pt x="1582" y="703"/>
                  </a:lnTo>
                  <a:lnTo>
                    <a:pt x="1582" y="705"/>
                  </a:lnTo>
                  <a:lnTo>
                    <a:pt x="1582" y="705"/>
                  </a:lnTo>
                  <a:lnTo>
                    <a:pt x="1582" y="705"/>
                  </a:lnTo>
                  <a:lnTo>
                    <a:pt x="1582" y="705"/>
                  </a:lnTo>
                  <a:lnTo>
                    <a:pt x="1579" y="705"/>
                  </a:lnTo>
                  <a:lnTo>
                    <a:pt x="1579" y="705"/>
                  </a:lnTo>
                  <a:lnTo>
                    <a:pt x="1579" y="708"/>
                  </a:lnTo>
                  <a:lnTo>
                    <a:pt x="1579" y="708"/>
                  </a:lnTo>
                  <a:lnTo>
                    <a:pt x="1579" y="708"/>
                  </a:lnTo>
                  <a:lnTo>
                    <a:pt x="1579" y="708"/>
                  </a:lnTo>
                  <a:lnTo>
                    <a:pt x="1577" y="713"/>
                  </a:lnTo>
                  <a:lnTo>
                    <a:pt x="1574" y="713"/>
                  </a:lnTo>
                  <a:lnTo>
                    <a:pt x="1574" y="713"/>
                  </a:lnTo>
                  <a:lnTo>
                    <a:pt x="1574" y="713"/>
                  </a:lnTo>
                  <a:lnTo>
                    <a:pt x="1574" y="713"/>
                  </a:lnTo>
                  <a:lnTo>
                    <a:pt x="1574" y="713"/>
                  </a:lnTo>
                  <a:lnTo>
                    <a:pt x="1574" y="713"/>
                  </a:lnTo>
                  <a:lnTo>
                    <a:pt x="1574" y="713"/>
                  </a:lnTo>
                  <a:lnTo>
                    <a:pt x="1574" y="713"/>
                  </a:lnTo>
                  <a:lnTo>
                    <a:pt x="1577" y="716"/>
                  </a:lnTo>
                  <a:lnTo>
                    <a:pt x="1577" y="713"/>
                  </a:lnTo>
                  <a:lnTo>
                    <a:pt x="1582" y="711"/>
                  </a:lnTo>
                  <a:lnTo>
                    <a:pt x="1582" y="711"/>
                  </a:lnTo>
                  <a:lnTo>
                    <a:pt x="1582" y="711"/>
                  </a:lnTo>
                  <a:lnTo>
                    <a:pt x="1585" y="711"/>
                  </a:lnTo>
                  <a:lnTo>
                    <a:pt x="1585" y="708"/>
                  </a:lnTo>
                  <a:lnTo>
                    <a:pt x="1585" y="708"/>
                  </a:lnTo>
                  <a:lnTo>
                    <a:pt x="1585" y="711"/>
                  </a:lnTo>
                  <a:lnTo>
                    <a:pt x="1585" y="711"/>
                  </a:lnTo>
                  <a:lnTo>
                    <a:pt x="1585" y="711"/>
                  </a:lnTo>
                  <a:lnTo>
                    <a:pt x="1585" y="713"/>
                  </a:lnTo>
                  <a:lnTo>
                    <a:pt x="1582" y="713"/>
                  </a:lnTo>
                  <a:lnTo>
                    <a:pt x="1582" y="713"/>
                  </a:lnTo>
                  <a:lnTo>
                    <a:pt x="1585" y="713"/>
                  </a:lnTo>
                  <a:lnTo>
                    <a:pt x="1585" y="713"/>
                  </a:lnTo>
                  <a:lnTo>
                    <a:pt x="1587" y="711"/>
                  </a:lnTo>
                  <a:lnTo>
                    <a:pt x="1587" y="711"/>
                  </a:lnTo>
                  <a:lnTo>
                    <a:pt x="1587" y="708"/>
                  </a:lnTo>
                  <a:lnTo>
                    <a:pt x="1587" y="708"/>
                  </a:lnTo>
                  <a:lnTo>
                    <a:pt x="1587" y="711"/>
                  </a:lnTo>
                  <a:lnTo>
                    <a:pt x="1587" y="711"/>
                  </a:lnTo>
                  <a:lnTo>
                    <a:pt x="1587" y="711"/>
                  </a:lnTo>
                  <a:lnTo>
                    <a:pt x="1587" y="711"/>
                  </a:lnTo>
                  <a:lnTo>
                    <a:pt x="1590" y="711"/>
                  </a:lnTo>
                  <a:lnTo>
                    <a:pt x="1590" y="711"/>
                  </a:lnTo>
                  <a:lnTo>
                    <a:pt x="1590" y="713"/>
                  </a:lnTo>
                  <a:lnTo>
                    <a:pt x="1587" y="713"/>
                  </a:lnTo>
                  <a:lnTo>
                    <a:pt x="1587" y="713"/>
                  </a:lnTo>
                  <a:lnTo>
                    <a:pt x="1587" y="713"/>
                  </a:lnTo>
                  <a:lnTo>
                    <a:pt x="1593" y="711"/>
                  </a:lnTo>
                  <a:lnTo>
                    <a:pt x="1595" y="711"/>
                  </a:lnTo>
                  <a:lnTo>
                    <a:pt x="1595" y="711"/>
                  </a:lnTo>
                  <a:lnTo>
                    <a:pt x="1595" y="711"/>
                  </a:lnTo>
                  <a:lnTo>
                    <a:pt x="1595" y="711"/>
                  </a:lnTo>
                  <a:lnTo>
                    <a:pt x="1595" y="711"/>
                  </a:lnTo>
                  <a:lnTo>
                    <a:pt x="1595" y="713"/>
                  </a:lnTo>
                  <a:lnTo>
                    <a:pt x="1595" y="713"/>
                  </a:lnTo>
                  <a:lnTo>
                    <a:pt x="1593" y="713"/>
                  </a:lnTo>
                  <a:lnTo>
                    <a:pt x="1593" y="719"/>
                  </a:lnTo>
                  <a:lnTo>
                    <a:pt x="1590" y="721"/>
                  </a:lnTo>
                  <a:lnTo>
                    <a:pt x="1590" y="724"/>
                  </a:lnTo>
                  <a:lnTo>
                    <a:pt x="1587" y="724"/>
                  </a:lnTo>
                  <a:lnTo>
                    <a:pt x="1587" y="724"/>
                  </a:lnTo>
                  <a:lnTo>
                    <a:pt x="1587" y="724"/>
                  </a:lnTo>
                  <a:lnTo>
                    <a:pt x="1590" y="724"/>
                  </a:lnTo>
                  <a:lnTo>
                    <a:pt x="1593" y="724"/>
                  </a:lnTo>
                  <a:lnTo>
                    <a:pt x="1595" y="724"/>
                  </a:lnTo>
                  <a:lnTo>
                    <a:pt x="1598" y="724"/>
                  </a:lnTo>
                  <a:lnTo>
                    <a:pt x="1598" y="724"/>
                  </a:lnTo>
                  <a:lnTo>
                    <a:pt x="1601" y="724"/>
                  </a:lnTo>
                  <a:lnTo>
                    <a:pt x="1601" y="724"/>
                  </a:lnTo>
                  <a:lnTo>
                    <a:pt x="1601" y="727"/>
                  </a:lnTo>
                  <a:lnTo>
                    <a:pt x="1601" y="727"/>
                  </a:lnTo>
                  <a:lnTo>
                    <a:pt x="1603" y="727"/>
                  </a:lnTo>
                  <a:lnTo>
                    <a:pt x="1603" y="727"/>
                  </a:lnTo>
                  <a:lnTo>
                    <a:pt x="1603" y="729"/>
                  </a:lnTo>
                  <a:lnTo>
                    <a:pt x="1603" y="729"/>
                  </a:lnTo>
                  <a:lnTo>
                    <a:pt x="1606" y="729"/>
                  </a:lnTo>
                  <a:lnTo>
                    <a:pt x="1606" y="729"/>
                  </a:lnTo>
                  <a:lnTo>
                    <a:pt x="1606" y="729"/>
                  </a:lnTo>
                  <a:lnTo>
                    <a:pt x="1609" y="729"/>
                  </a:lnTo>
                  <a:lnTo>
                    <a:pt x="1609" y="729"/>
                  </a:lnTo>
                  <a:lnTo>
                    <a:pt x="1611" y="729"/>
                  </a:lnTo>
                  <a:lnTo>
                    <a:pt x="1614" y="724"/>
                  </a:lnTo>
                  <a:lnTo>
                    <a:pt x="1614" y="724"/>
                  </a:lnTo>
                  <a:lnTo>
                    <a:pt x="1614" y="724"/>
                  </a:lnTo>
                  <a:lnTo>
                    <a:pt x="1614" y="721"/>
                  </a:lnTo>
                  <a:lnTo>
                    <a:pt x="1617" y="719"/>
                  </a:lnTo>
                  <a:lnTo>
                    <a:pt x="1617" y="716"/>
                  </a:lnTo>
                  <a:lnTo>
                    <a:pt x="1617" y="716"/>
                  </a:lnTo>
                  <a:lnTo>
                    <a:pt x="1617" y="716"/>
                  </a:lnTo>
                  <a:lnTo>
                    <a:pt x="1619" y="713"/>
                  </a:lnTo>
                  <a:lnTo>
                    <a:pt x="1619" y="713"/>
                  </a:lnTo>
                  <a:lnTo>
                    <a:pt x="1619" y="713"/>
                  </a:lnTo>
                  <a:lnTo>
                    <a:pt x="1619" y="711"/>
                  </a:lnTo>
                  <a:lnTo>
                    <a:pt x="1622" y="711"/>
                  </a:lnTo>
                  <a:lnTo>
                    <a:pt x="1622" y="708"/>
                  </a:lnTo>
                  <a:lnTo>
                    <a:pt x="1622" y="708"/>
                  </a:lnTo>
                  <a:lnTo>
                    <a:pt x="1622" y="705"/>
                  </a:lnTo>
                  <a:lnTo>
                    <a:pt x="1625" y="705"/>
                  </a:lnTo>
                  <a:lnTo>
                    <a:pt x="1625" y="705"/>
                  </a:lnTo>
                  <a:lnTo>
                    <a:pt x="1625" y="703"/>
                  </a:lnTo>
                  <a:lnTo>
                    <a:pt x="1627" y="703"/>
                  </a:lnTo>
                  <a:lnTo>
                    <a:pt x="1627" y="703"/>
                  </a:lnTo>
                  <a:lnTo>
                    <a:pt x="1627" y="703"/>
                  </a:lnTo>
                  <a:lnTo>
                    <a:pt x="1627" y="703"/>
                  </a:lnTo>
                  <a:lnTo>
                    <a:pt x="1627" y="705"/>
                  </a:lnTo>
                  <a:lnTo>
                    <a:pt x="1627" y="705"/>
                  </a:lnTo>
                  <a:lnTo>
                    <a:pt x="1627" y="705"/>
                  </a:lnTo>
                  <a:lnTo>
                    <a:pt x="1627" y="705"/>
                  </a:lnTo>
                  <a:lnTo>
                    <a:pt x="1627" y="705"/>
                  </a:lnTo>
                  <a:lnTo>
                    <a:pt x="1625" y="705"/>
                  </a:lnTo>
                  <a:lnTo>
                    <a:pt x="1625" y="705"/>
                  </a:lnTo>
                  <a:lnTo>
                    <a:pt x="1625" y="705"/>
                  </a:lnTo>
                  <a:lnTo>
                    <a:pt x="1625" y="708"/>
                  </a:lnTo>
                  <a:lnTo>
                    <a:pt x="1625" y="708"/>
                  </a:lnTo>
                  <a:lnTo>
                    <a:pt x="1625" y="708"/>
                  </a:lnTo>
                  <a:lnTo>
                    <a:pt x="1625" y="708"/>
                  </a:lnTo>
                  <a:lnTo>
                    <a:pt x="1625" y="708"/>
                  </a:lnTo>
                  <a:lnTo>
                    <a:pt x="1622" y="711"/>
                  </a:lnTo>
                  <a:lnTo>
                    <a:pt x="1622" y="711"/>
                  </a:lnTo>
                  <a:lnTo>
                    <a:pt x="1622" y="711"/>
                  </a:lnTo>
                  <a:lnTo>
                    <a:pt x="1622" y="713"/>
                  </a:lnTo>
                  <a:lnTo>
                    <a:pt x="1622" y="713"/>
                  </a:lnTo>
                  <a:lnTo>
                    <a:pt x="1622" y="713"/>
                  </a:lnTo>
                  <a:lnTo>
                    <a:pt x="1622" y="716"/>
                  </a:lnTo>
                  <a:lnTo>
                    <a:pt x="1622" y="716"/>
                  </a:lnTo>
                  <a:lnTo>
                    <a:pt x="1622" y="716"/>
                  </a:lnTo>
                  <a:lnTo>
                    <a:pt x="1622" y="716"/>
                  </a:lnTo>
                  <a:lnTo>
                    <a:pt x="1622" y="716"/>
                  </a:lnTo>
                  <a:lnTo>
                    <a:pt x="1622" y="716"/>
                  </a:lnTo>
                  <a:lnTo>
                    <a:pt x="1622" y="716"/>
                  </a:lnTo>
                  <a:lnTo>
                    <a:pt x="1622" y="719"/>
                  </a:lnTo>
                  <a:lnTo>
                    <a:pt x="1622" y="719"/>
                  </a:lnTo>
                  <a:lnTo>
                    <a:pt x="1622" y="719"/>
                  </a:lnTo>
                  <a:lnTo>
                    <a:pt x="1622" y="719"/>
                  </a:lnTo>
                  <a:lnTo>
                    <a:pt x="1622" y="721"/>
                  </a:lnTo>
                  <a:lnTo>
                    <a:pt x="1622" y="721"/>
                  </a:lnTo>
                  <a:lnTo>
                    <a:pt x="1622" y="719"/>
                  </a:lnTo>
                  <a:lnTo>
                    <a:pt x="1625" y="719"/>
                  </a:lnTo>
                  <a:lnTo>
                    <a:pt x="1625" y="719"/>
                  </a:lnTo>
                  <a:lnTo>
                    <a:pt x="1625" y="719"/>
                  </a:lnTo>
                  <a:lnTo>
                    <a:pt x="1625" y="721"/>
                  </a:lnTo>
                  <a:lnTo>
                    <a:pt x="1622" y="721"/>
                  </a:lnTo>
                  <a:lnTo>
                    <a:pt x="1622" y="724"/>
                  </a:lnTo>
                  <a:lnTo>
                    <a:pt x="1625" y="724"/>
                  </a:lnTo>
                  <a:lnTo>
                    <a:pt x="1625" y="724"/>
                  </a:lnTo>
                  <a:lnTo>
                    <a:pt x="1622" y="724"/>
                  </a:lnTo>
                  <a:lnTo>
                    <a:pt x="1622" y="724"/>
                  </a:lnTo>
                  <a:lnTo>
                    <a:pt x="1622" y="724"/>
                  </a:lnTo>
                  <a:lnTo>
                    <a:pt x="1622" y="727"/>
                  </a:lnTo>
                  <a:lnTo>
                    <a:pt x="1622" y="727"/>
                  </a:lnTo>
                  <a:lnTo>
                    <a:pt x="1622" y="727"/>
                  </a:lnTo>
                  <a:lnTo>
                    <a:pt x="1622" y="727"/>
                  </a:lnTo>
                  <a:lnTo>
                    <a:pt x="1622" y="727"/>
                  </a:lnTo>
                  <a:lnTo>
                    <a:pt x="1622" y="727"/>
                  </a:lnTo>
                  <a:lnTo>
                    <a:pt x="1622" y="729"/>
                  </a:lnTo>
                  <a:lnTo>
                    <a:pt x="1622" y="729"/>
                  </a:lnTo>
                  <a:lnTo>
                    <a:pt x="1622" y="729"/>
                  </a:lnTo>
                  <a:lnTo>
                    <a:pt x="1622" y="732"/>
                  </a:lnTo>
                  <a:lnTo>
                    <a:pt x="1622" y="732"/>
                  </a:lnTo>
                  <a:lnTo>
                    <a:pt x="1622" y="732"/>
                  </a:lnTo>
                  <a:lnTo>
                    <a:pt x="1622" y="732"/>
                  </a:lnTo>
                  <a:lnTo>
                    <a:pt x="1622" y="732"/>
                  </a:lnTo>
                  <a:lnTo>
                    <a:pt x="1622" y="732"/>
                  </a:lnTo>
                  <a:lnTo>
                    <a:pt x="1625" y="732"/>
                  </a:lnTo>
                  <a:lnTo>
                    <a:pt x="1625" y="732"/>
                  </a:lnTo>
                  <a:lnTo>
                    <a:pt x="1625" y="732"/>
                  </a:lnTo>
                  <a:lnTo>
                    <a:pt x="1625" y="732"/>
                  </a:lnTo>
                  <a:lnTo>
                    <a:pt x="1625" y="732"/>
                  </a:lnTo>
                  <a:lnTo>
                    <a:pt x="1625" y="732"/>
                  </a:lnTo>
                  <a:lnTo>
                    <a:pt x="1625" y="732"/>
                  </a:lnTo>
                  <a:lnTo>
                    <a:pt x="1625" y="732"/>
                  </a:lnTo>
                  <a:lnTo>
                    <a:pt x="1627" y="732"/>
                  </a:lnTo>
                  <a:lnTo>
                    <a:pt x="1627" y="732"/>
                  </a:lnTo>
                  <a:lnTo>
                    <a:pt x="1627" y="732"/>
                  </a:lnTo>
                  <a:lnTo>
                    <a:pt x="1627" y="732"/>
                  </a:lnTo>
                  <a:lnTo>
                    <a:pt x="1627" y="732"/>
                  </a:lnTo>
                  <a:lnTo>
                    <a:pt x="1630" y="732"/>
                  </a:lnTo>
                  <a:lnTo>
                    <a:pt x="1630" y="735"/>
                  </a:lnTo>
                  <a:lnTo>
                    <a:pt x="1633" y="735"/>
                  </a:lnTo>
                  <a:lnTo>
                    <a:pt x="1633" y="737"/>
                  </a:lnTo>
                  <a:lnTo>
                    <a:pt x="1633" y="735"/>
                  </a:lnTo>
                  <a:lnTo>
                    <a:pt x="1630" y="735"/>
                  </a:lnTo>
                  <a:lnTo>
                    <a:pt x="1630" y="735"/>
                  </a:lnTo>
                  <a:lnTo>
                    <a:pt x="1630" y="735"/>
                  </a:lnTo>
                  <a:lnTo>
                    <a:pt x="1630" y="737"/>
                  </a:lnTo>
                  <a:lnTo>
                    <a:pt x="1633" y="737"/>
                  </a:lnTo>
                  <a:lnTo>
                    <a:pt x="1635" y="737"/>
                  </a:lnTo>
                  <a:lnTo>
                    <a:pt x="1635" y="737"/>
                  </a:lnTo>
                  <a:lnTo>
                    <a:pt x="1635" y="737"/>
                  </a:lnTo>
                  <a:lnTo>
                    <a:pt x="1638" y="735"/>
                  </a:lnTo>
                  <a:lnTo>
                    <a:pt x="1638" y="737"/>
                  </a:lnTo>
                  <a:lnTo>
                    <a:pt x="1638" y="737"/>
                  </a:lnTo>
                  <a:lnTo>
                    <a:pt x="1638" y="737"/>
                  </a:lnTo>
                  <a:lnTo>
                    <a:pt x="1638" y="737"/>
                  </a:lnTo>
                  <a:lnTo>
                    <a:pt x="1638" y="737"/>
                  </a:lnTo>
                  <a:lnTo>
                    <a:pt x="1641" y="737"/>
                  </a:lnTo>
                  <a:lnTo>
                    <a:pt x="1641" y="737"/>
                  </a:lnTo>
                  <a:lnTo>
                    <a:pt x="1641" y="735"/>
                  </a:lnTo>
                  <a:lnTo>
                    <a:pt x="1646" y="737"/>
                  </a:lnTo>
                  <a:lnTo>
                    <a:pt x="1646" y="735"/>
                  </a:lnTo>
                  <a:lnTo>
                    <a:pt x="1646" y="735"/>
                  </a:lnTo>
                  <a:lnTo>
                    <a:pt x="1646" y="735"/>
                  </a:lnTo>
                  <a:lnTo>
                    <a:pt x="1646" y="735"/>
                  </a:lnTo>
                  <a:lnTo>
                    <a:pt x="1646" y="735"/>
                  </a:lnTo>
                  <a:lnTo>
                    <a:pt x="1646" y="737"/>
                  </a:lnTo>
                  <a:lnTo>
                    <a:pt x="1646" y="737"/>
                  </a:lnTo>
                  <a:lnTo>
                    <a:pt x="1646" y="737"/>
                  </a:lnTo>
                  <a:lnTo>
                    <a:pt x="1646" y="737"/>
                  </a:lnTo>
                  <a:lnTo>
                    <a:pt x="1646" y="737"/>
                  </a:lnTo>
                  <a:lnTo>
                    <a:pt x="1646" y="740"/>
                  </a:lnTo>
                  <a:lnTo>
                    <a:pt x="1646" y="740"/>
                  </a:lnTo>
                  <a:lnTo>
                    <a:pt x="1646" y="740"/>
                  </a:lnTo>
                  <a:lnTo>
                    <a:pt x="1654" y="743"/>
                  </a:lnTo>
                  <a:lnTo>
                    <a:pt x="1654" y="743"/>
                  </a:lnTo>
                  <a:lnTo>
                    <a:pt x="1654" y="745"/>
                  </a:lnTo>
                  <a:lnTo>
                    <a:pt x="1654" y="745"/>
                  </a:lnTo>
                  <a:lnTo>
                    <a:pt x="1651" y="745"/>
                  </a:lnTo>
                  <a:lnTo>
                    <a:pt x="1646" y="748"/>
                  </a:lnTo>
                  <a:lnTo>
                    <a:pt x="1651" y="745"/>
                  </a:lnTo>
                  <a:lnTo>
                    <a:pt x="1654" y="745"/>
                  </a:lnTo>
                  <a:lnTo>
                    <a:pt x="1659" y="748"/>
                  </a:lnTo>
                  <a:lnTo>
                    <a:pt x="1659" y="748"/>
                  </a:lnTo>
                  <a:lnTo>
                    <a:pt x="1665" y="745"/>
                  </a:lnTo>
                  <a:lnTo>
                    <a:pt x="1667" y="743"/>
                  </a:lnTo>
                  <a:lnTo>
                    <a:pt x="1673" y="740"/>
                  </a:lnTo>
                  <a:lnTo>
                    <a:pt x="1681" y="740"/>
                  </a:lnTo>
                  <a:lnTo>
                    <a:pt x="1689" y="735"/>
                  </a:lnTo>
                  <a:lnTo>
                    <a:pt x="1694" y="735"/>
                  </a:lnTo>
                  <a:lnTo>
                    <a:pt x="1699" y="735"/>
                  </a:lnTo>
                  <a:lnTo>
                    <a:pt x="1705" y="735"/>
                  </a:lnTo>
                  <a:lnTo>
                    <a:pt x="1710" y="735"/>
                  </a:lnTo>
                  <a:lnTo>
                    <a:pt x="1715" y="735"/>
                  </a:lnTo>
                  <a:lnTo>
                    <a:pt x="1718" y="735"/>
                  </a:lnTo>
                  <a:lnTo>
                    <a:pt x="1723" y="735"/>
                  </a:lnTo>
                  <a:lnTo>
                    <a:pt x="1726" y="735"/>
                  </a:lnTo>
                  <a:lnTo>
                    <a:pt x="1731" y="737"/>
                  </a:lnTo>
                  <a:lnTo>
                    <a:pt x="1734" y="737"/>
                  </a:lnTo>
                  <a:lnTo>
                    <a:pt x="1734" y="737"/>
                  </a:lnTo>
                  <a:lnTo>
                    <a:pt x="1739" y="732"/>
                  </a:lnTo>
                  <a:lnTo>
                    <a:pt x="1742" y="732"/>
                  </a:lnTo>
                  <a:lnTo>
                    <a:pt x="1742" y="732"/>
                  </a:lnTo>
                  <a:lnTo>
                    <a:pt x="1742" y="729"/>
                  </a:lnTo>
                  <a:lnTo>
                    <a:pt x="1742" y="729"/>
                  </a:lnTo>
                  <a:lnTo>
                    <a:pt x="1739" y="729"/>
                  </a:lnTo>
                  <a:lnTo>
                    <a:pt x="1739" y="729"/>
                  </a:lnTo>
                  <a:lnTo>
                    <a:pt x="1739" y="729"/>
                  </a:lnTo>
                  <a:lnTo>
                    <a:pt x="1739" y="727"/>
                  </a:lnTo>
                  <a:lnTo>
                    <a:pt x="1737" y="727"/>
                  </a:lnTo>
                  <a:lnTo>
                    <a:pt x="1737" y="724"/>
                  </a:lnTo>
                  <a:lnTo>
                    <a:pt x="1739" y="724"/>
                  </a:lnTo>
                  <a:lnTo>
                    <a:pt x="1742" y="724"/>
                  </a:lnTo>
                  <a:lnTo>
                    <a:pt x="1742" y="724"/>
                  </a:lnTo>
                  <a:lnTo>
                    <a:pt x="1742" y="727"/>
                  </a:lnTo>
                  <a:lnTo>
                    <a:pt x="1745" y="727"/>
                  </a:lnTo>
                  <a:lnTo>
                    <a:pt x="1745" y="727"/>
                  </a:lnTo>
                  <a:lnTo>
                    <a:pt x="1745" y="727"/>
                  </a:lnTo>
                  <a:lnTo>
                    <a:pt x="1745" y="727"/>
                  </a:lnTo>
                  <a:lnTo>
                    <a:pt x="1745" y="729"/>
                  </a:lnTo>
                  <a:lnTo>
                    <a:pt x="1745" y="729"/>
                  </a:lnTo>
                  <a:lnTo>
                    <a:pt x="1745" y="729"/>
                  </a:lnTo>
                  <a:lnTo>
                    <a:pt x="1747" y="732"/>
                  </a:lnTo>
                  <a:lnTo>
                    <a:pt x="1747" y="732"/>
                  </a:lnTo>
                  <a:lnTo>
                    <a:pt x="1747" y="735"/>
                  </a:lnTo>
                  <a:lnTo>
                    <a:pt x="1747" y="735"/>
                  </a:lnTo>
                  <a:lnTo>
                    <a:pt x="1747" y="735"/>
                  </a:lnTo>
                  <a:lnTo>
                    <a:pt x="1747" y="737"/>
                  </a:lnTo>
                  <a:lnTo>
                    <a:pt x="1745" y="737"/>
                  </a:lnTo>
                  <a:lnTo>
                    <a:pt x="1745" y="737"/>
                  </a:lnTo>
                  <a:lnTo>
                    <a:pt x="1745" y="737"/>
                  </a:lnTo>
                  <a:lnTo>
                    <a:pt x="1745" y="737"/>
                  </a:lnTo>
                  <a:lnTo>
                    <a:pt x="1742" y="740"/>
                  </a:lnTo>
                  <a:lnTo>
                    <a:pt x="1742" y="740"/>
                  </a:lnTo>
                  <a:lnTo>
                    <a:pt x="1742" y="740"/>
                  </a:lnTo>
                  <a:lnTo>
                    <a:pt x="1742" y="740"/>
                  </a:lnTo>
                  <a:lnTo>
                    <a:pt x="1742" y="737"/>
                  </a:lnTo>
                  <a:lnTo>
                    <a:pt x="1742" y="737"/>
                  </a:lnTo>
                  <a:lnTo>
                    <a:pt x="1742" y="737"/>
                  </a:lnTo>
                  <a:lnTo>
                    <a:pt x="1742" y="740"/>
                  </a:lnTo>
                  <a:lnTo>
                    <a:pt x="1742" y="740"/>
                  </a:lnTo>
                  <a:lnTo>
                    <a:pt x="1742" y="740"/>
                  </a:lnTo>
                  <a:lnTo>
                    <a:pt x="1742" y="743"/>
                  </a:lnTo>
                  <a:lnTo>
                    <a:pt x="1745" y="743"/>
                  </a:lnTo>
                  <a:lnTo>
                    <a:pt x="1747" y="743"/>
                  </a:lnTo>
                  <a:lnTo>
                    <a:pt x="1753" y="743"/>
                  </a:lnTo>
                  <a:lnTo>
                    <a:pt x="1758" y="745"/>
                  </a:lnTo>
                  <a:lnTo>
                    <a:pt x="1763" y="745"/>
                  </a:lnTo>
                  <a:lnTo>
                    <a:pt x="1766" y="748"/>
                  </a:lnTo>
                  <a:lnTo>
                    <a:pt x="1769" y="748"/>
                  </a:lnTo>
                  <a:lnTo>
                    <a:pt x="1771" y="748"/>
                  </a:lnTo>
                  <a:lnTo>
                    <a:pt x="1777" y="745"/>
                  </a:lnTo>
                  <a:lnTo>
                    <a:pt x="1782" y="745"/>
                  </a:lnTo>
                  <a:lnTo>
                    <a:pt x="1785" y="745"/>
                  </a:lnTo>
                  <a:lnTo>
                    <a:pt x="1787" y="743"/>
                  </a:lnTo>
                  <a:lnTo>
                    <a:pt x="1790" y="740"/>
                  </a:lnTo>
                  <a:lnTo>
                    <a:pt x="1793" y="737"/>
                  </a:lnTo>
                  <a:lnTo>
                    <a:pt x="1795" y="735"/>
                  </a:lnTo>
                  <a:lnTo>
                    <a:pt x="1798" y="732"/>
                  </a:lnTo>
                  <a:lnTo>
                    <a:pt x="1798" y="729"/>
                  </a:lnTo>
                  <a:lnTo>
                    <a:pt x="1798" y="727"/>
                  </a:lnTo>
                  <a:lnTo>
                    <a:pt x="1801" y="724"/>
                  </a:lnTo>
                  <a:lnTo>
                    <a:pt x="1801" y="724"/>
                  </a:lnTo>
                  <a:lnTo>
                    <a:pt x="1803" y="724"/>
                  </a:lnTo>
                  <a:lnTo>
                    <a:pt x="1803" y="724"/>
                  </a:lnTo>
                  <a:lnTo>
                    <a:pt x="1803" y="724"/>
                  </a:lnTo>
                  <a:lnTo>
                    <a:pt x="1801" y="721"/>
                  </a:lnTo>
                  <a:lnTo>
                    <a:pt x="1803" y="719"/>
                  </a:lnTo>
                  <a:lnTo>
                    <a:pt x="1803" y="719"/>
                  </a:lnTo>
                  <a:lnTo>
                    <a:pt x="1803" y="716"/>
                  </a:lnTo>
                  <a:lnTo>
                    <a:pt x="1803" y="716"/>
                  </a:lnTo>
                  <a:lnTo>
                    <a:pt x="1803" y="716"/>
                  </a:lnTo>
                  <a:lnTo>
                    <a:pt x="1806" y="719"/>
                  </a:lnTo>
                  <a:lnTo>
                    <a:pt x="1806" y="719"/>
                  </a:lnTo>
                  <a:lnTo>
                    <a:pt x="1809" y="719"/>
                  </a:lnTo>
                  <a:lnTo>
                    <a:pt x="1809" y="719"/>
                  </a:lnTo>
                  <a:lnTo>
                    <a:pt x="1809" y="721"/>
                  </a:lnTo>
                  <a:lnTo>
                    <a:pt x="1809" y="721"/>
                  </a:lnTo>
                  <a:lnTo>
                    <a:pt x="1811" y="721"/>
                  </a:lnTo>
                  <a:lnTo>
                    <a:pt x="1811" y="721"/>
                  </a:lnTo>
                  <a:lnTo>
                    <a:pt x="1814" y="727"/>
                  </a:lnTo>
                  <a:lnTo>
                    <a:pt x="1817" y="727"/>
                  </a:lnTo>
                  <a:lnTo>
                    <a:pt x="1822" y="727"/>
                  </a:lnTo>
                  <a:lnTo>
                    <a:pt x="1822" y="727"/>
                  </a:lnTo>
                  <a:lnTo>
                    <a:pt x="1825" y="727"/>
                  </a:lnTo>
                  <a:lnTo>
                    <a:pt x="1827" y="727"/>
                  </a:lnTo>
                  <a:lnTo>
                    <a:pt x="1827" y="727"/>
                  </a:lnTo>
                  <a:lnTo>
                    <a:pt x="1827" y="727"/>
                  </a:lnTo>
                  <a:lnTo>
                    <a:pt x="1827" y="729"/>
                  </a:lnTo>
                  <a:lnTo>
                    <a:pt x="1827" y="729"/>
                  </a:lnTo>
                  <a:lnTo>
                    <a:pt x="1825" y="727"/>
                  </a:lnTo>
                  <a:lnTo>
                    <a:pt x="1822" y="727"/>
                  </a:lnTo>
                  <a:lnTo>
                    <a:pt x="1822" y="727"/>
                  </a:lnTo>
                  <a:lnTo>
                    <a:pt x="1817" y="727"/>
                  </a:lnTo>
                  <a:lnTo>
                    <a:pt x="1814" y="729"/>
                  </a:lnTo>
                  <a:lnTo>
                    <a:pt x="1814" y="729"/>
                  </a:lnTo>
                  <a:lnTo>
                    <a:pt x="1814" y="729"/>
                  </a:lnTo>
                  <a:lnTo>
                    <a:pt x="1817" y="732"/>
                  </a:lnTo>
                  <a:lnTo>
                    <a:pt x="1817" y="732"/>
                  </a:lnTo>
                  <a:lnTo>
                    <a:pt x="1817" y="732"/>
                  </a:lnTo>
                  <a:lnTo>
                    <a:pt x="1814" y="735"/>
                  </a:lnTo>
                  <a:lnTo>
                    <a:pt x="1814" y="735"/>
                  </a:lnTo>
                  <a:lnTo>
                    <a:pt x="1817" y="735"/>
                  </a:lnTo>
                  <a:lnTo>
                    <a:pt x="1817" y="735"/>
                  </a:lnTo>
                  <a:lnTo>
                    <a:pt x="1817" y="735"/>
                  </a:lnTo>
                  <a:lnTo>
                    <a:pt x="1817" y="735"/>
                  </a:lnTo>
                  <a:lnTo>
                    <a:pt x="1817" y="737"/>
                  </a:lnTo>
                  <a:lnTo>
                    <a:pt x="1817" y="737"/>
                  </a:lnTo>
                  <a:lnTo>
                    <a:pt x="1817" y="740"/>
                  </a:lnTo>
                  <a:lnTo>
                    <a:pt x="1817" y="740"/>
                  </a:lnTo>
                  <a:lnTo>
                    <a:pt x="1819" y="743"/>
                  </a:lnTo>
                  <a:lnTo>
                    <a:pt x="1819" y="743"/>
                  </a:lnTo>
                  <a:lnTo>
                    <a:pt x="1819" y="745"/>
                  </a:lnTo>
                  <a:lnTo>
                    <a:pt x="1819" y="745"/>
                  </a:lnTo>
                  <a:lnTo>
                    <a:pt x="1819" y="745"/>
                  </a:lnTo>
                  <a:lnTo>
                    <a:pt x="1817" y="745"/>
                  </a:lnTo>
                  <a:lnTo>
                    <a:pt x="1817" y="745"/>
                  </a:lnTo>
                  <a:lnTo>
                    <a:pt x="1817" y="743"/>
                  </a:lnTo>
                  <a:lnTo>
                    <a:pt x="1817" y="743"/>
                  </a:lnTo>
                  <a:lnTo>
                    <a:pt x="1819" y="743"/>
                  </a:lnTo>
                  <a:lnTo>
                    <a:pt x="1817" y="743"/>
                  </a:lnTo>
                  <a:lnTo>
                    <a:pt x="1817" y="740"/>
                  </a:lnTo>
                  <a:lnTo>
                    <a:pt x="1817" y="737"/>
                  </a:lnTo>
                  <a:lnTo>
                    <a:pt x="1817" y="737"/>
                  </a:lnTo>
                  <a:lnTo>
                    <a:pt x="1814" y="737"/>
                  </a:lnTo>
                  <a:lnTo>
                    <a:pt x="1814" y="737"/>
                  </a:lnTo>
                  <a:lnTo>
                    <a:pt x="1814" y="737"/>
                  </a:lnTo>
                  <a:lnTo>
                    <a:pt x="1814" y="737"/>
                  </a:lnTo>
                  <a:lnTo>
                    <a:pt x="1814" y="735"/>
                  </a:lnTo>
                  <a:lnTo>
                    <a:pt x="1814" y="735"/>
                  </a:lnTo>
                  <a:lnTo>
                    <a:pt x="1814" y="732"/>
                  </a:lnTo>
                  <a:lnTo>
                    <a:pt x="1814" y="732"/>
                  </a:lnTo>
                  <a:lnTo>
                    <a:pt x="1814" y="729"/>
                  </a:lnTo>
                  <a:lnTo>
                    <a:pt x="1814" y="727"/>
                  </a:lnTo>
                  <a:lnTo>
                    <a:pt x="1811" y="724"/>
                  </a:lnTo>
                  <a:lnTo>
                    <a:pt x="1809" y="721"/>
                  </a:lnTo>
                  <a:lnTo>
                    <a:pt x="1806" y="721"/>
                  </a:lnTo>
                  <a:lnTo>
                    <a:pt x="1806" y="719"/>
                  </a:lnTo>
                  <a:lnTo>
                    <a:pt x="1806" y="721"/>
                  </a:lnTo>
                  <a:lnTo>
                    <a:pt x="1806" y="724"/>
                  </a:lnTo>
                  <a:lnTo>
                    <a:pt x="1803" y="724"/>
                  </a:lnTo>
                  <a:lnTo>
                    <a:pt x="1803" y="724"/>
                  </a:lnTo>
                  <a:lnTo>
                    <a:pt x="1803" y="724"/>
                  </a:lnTo>
                  <a:lnTo>
                    <a:pt x="1803" y="724"/>
                  </a:lnTo>
                  <a:lnTo>
                    <a:pt x="1803" y="727"/>
                  </a:lnTo>
                  <a:lnTo>
                    <a:pt x="1803" y="727"/>
                  </a:lnTo>
                  <a:lnTo>
                    <a:pt x="1803" y="727"/>
                  </a:lnTo>
                  <a:lnTo>
                    <a:pt x="1803" y="729"/>
                  </a:lnTo>
                  <a:lnTo>
                    <a:pt x="1803" y="732"/>
                  </a:lnTo>
                  <a:lnTo>
                    <a:pt x="1806" y="735"/>
                  </a:lnTo>
                  <a:lnTo>
                    <a:pt x="1806" y="735"/>
                  </a:lnTo>
                  <a:lnTo>
                    <a:pt x="1806" y="735"/>
                  </a:lnTo>
                  <a:lnTo>
                    <a:pt x="1806" y="737"/>
                  </a:lnTo>
                  <a:lnTo>
                    <a:pt x="1809" y="737"/>
                  </a:lnTo>
                  <a:lnTo>
                    <a:pt x="1809" y="740"/>
                  </a:lnTo>
                  <a:lnTo>
                    <a:pt x="1809" y="740"/>
                  </a:lnTo>
                  <a:lnTo>
                    <a:pt x="1809" y="745"/>
                  </a:lnTo>
                  <a:lnTo>
                    <a:pt x="1806" y="745"/>
                  </a:lnTo>
                  <a:lnTo>
                    <a:pt x="1809" y="745"/>
                  </a:lnTo>
                  <a:lnTo>
                    <a:pt x="1806" y="748"/>
                  </a:lnTo>
                  <a:lnTo>
                    <a:pt x="1806" y="748"/>
                  </a:lnTo>
                  <a:lnTo>
                    <a:pt x="1806" y="748"/>
                  </a:lnTo>
                  <a:lnTo>
                    <a:pt x="1806" y="748"/>
                  </a:lnTo>
                  <a:lnTo>
                    <a:pt x="1806" y="748"/>
                  </a:lnTo>
                  <a:lnTo>
                    <a:pt x="1806" y="748"/>
                  </a:lnTo>
                  <a:lnTo>
                    <a:pt x="1806" y="748"/>
                  </a:lnTo>
                  <a:lnTo>
                    <a:pt x="1803" y="748"/>
                  </a:lnTo>
                  <a:lnTo>
                    <a:pt x="1803" y="751"/>
                  </a:lnTo>
                  <a:lnTo>
                    <a:pt x="1803" y="751"/>
                  </a:lnTo>
                  <a:lnTo>
                    <a:pt x="1803" y="751"/>
                  </a:lnTo>
                  <a:lnTo>
                    <a:pt x="1803" y="751"/>
                  </a:lnTo>
                  <a:lnTo>
                    <a:pt x="1803" y="751"/>
                  </a:lnTo>
                  <a:lnTo>
                    <a:pt x="1803" y="751"/>
                  </a:lnTo>
                  <a:lnTo>
                    <a:pt x="1801" y="751"/>
                  </a:lnTo>
                  <a:lnTo>
                    <a:pt x="1801" y="753"/>
                  </a:lnTo>
                  <a:lnTo>
                    <a:pt x="1809" y="756"/>
                  </a:lnTo>
                  <a:lnTo>
                    <a:pt x="1811" y="756"/>
                  </a:lnTo>
                  <a:lnTo>
                    <a:pt x="1811" y="756"/>
                  </a:lnTo>
                  <a:lnTo>
                    <a:pt x="1814" y="759"/>
                  </a:lnTo>
                  <a:lnTo>
                    <a:pt x="1814" y="759"/>
                  </a:lnTo>
                  <a:lnTo>
                    <a:pt x="1817" y="759"/>
                  </a:lnTo>
                  <a:lnTo>
                    <a:pt x="1817" y="759"/>
                  </a:lnTo>
                  <a:lnTo>
                    <a:pt x="1817" y="759"/>
                  </a:lnTo>
                  <a:lnTo>
                    <a:pt x="1817" y="759"/>
                  </a:lnTo>
                  <a:lnTo>
                    <a:pt x="1819" y="759"/>
                  </a:lnTo>
                  <a:lnTo>
                    <a:pt x="1819" y="759"/>
                  </a:lnTo>
                  <a:lnTo>
                    <a:pt x="1819" y="759"/>
                  </a:lnTo>
                  <a:lnTo>
                    <a:pt x="1819" y="759"/>
                  </a:lnTo>
                  <a:lnTo>
                    <a:pt x="1817" y="759"/>
                  </a:lnTo>
                  <a:lnTo>
                    <a:pt x="1817" y="759"/>
                  </a:lnTo>
                  <a:lnTo>
                    <a:pt x="1814" y="759"/>
                  </a:lnTo>
                  <a:lnTo>
                    <a:pt x="1814" y="759"/>
                  </a:lnTo>
                  <a:lnTo>
                    <a:pt x="1817" y="759"/>
                  </a:lnTo>
                  <a:lnTo>
                    <a:pt x="1817" y="761"/>
                  </a:lnTo>
                  <a:lnTo>
                    <a:pt x="1819" y="761"/>
                  </a:lnTo>
                  <a:lnTo>
                    <a:pt x="1819" y="761"/>
                  </a:lnTo>
                  <a:lnTo>
                    <a:pt x="1819" y="761"/>
                  </a:lnTo>
                  <a:lnTo>
                    <a:pt x="1822" y="761"/>
                  </a:lnTo>
                  <a:lnTo>
                    <a:pt x="1822" y="761"/>
                  </a:lnTo>
                  <a:lnTo>
                    <a:pt x="1822" y="759"/>
                  </a:lnTo>
                  <a:lnTo>
                    <a:pt x="1822" y="759"/>
                  </a:lnTo>
                  <a:lnTo>
                    <a:pt x="1822" y="759"/>
                  </a:lnTo>
                  <a:lnTo>
                    <a:pt x="1822" y="759"/>
                  </a:lnTo>
                  <a:lnTo>
                    <a:pt x="1822" y="759"/>
                  </a:lnTo>
                  <a:lnTo>
                    <a:pt x="1822" y="759"/>
                  </a:lnTo>
                  <a:lnTo>
                    <a:pt x="1822" y="761"/>
                  </a:lnTo>
                  <a:lnTo>
                    <a:pt x="1822" y="761"/>
                  </a:lnTo>
                  <a:lnTo>
                    <a:pt x="1825" y="761"/>
                  </a:lnTo>
                  <a:lnTo>
                    <a:pt x="1825" y="761"/>
                  </a:lnTo>
                  <a:lnTo>
                    <a:pt x="1825" y="761"/>
                  </a:lnTo>
                  <a:lnTo>
                    <a:pt x="1825" y="761"/>
                  </a:lnTo>
                  <a:lnTo>
                    <a:pt x="1827" y="761"/>
                  </a:lnTo>
                  <a:lnTo>
                    <a:pt x="1827" y="761"/>
                  </a:lnTo>
                  <a:lnTo>
                    <a:pt x="1827" y="764"/>
                  </a:lnTo>
                  <a:lnTo>
                    <a:pt x="1825" y="761"/>
                  </a:lnTo>
                  <a:lnTo>
                    <a:pt x="1825" y="761"/>
                  </a:lnTo>
                  <a:lnTo>
                    <a:pt x="1833" y="764"/>
                  </a:lnTo>
                  <a:lnTo>
                    <a:pt x="1838" y="767"/>
                  </a:lnTo>
                  <a:lnTo>
                    <a:pt x="1841" y="767"/>
                  </a:lnTo>
                  <a:lnTo>
                    <a:pt x="1841" y="767"/>
                  </a:lnTo>
                  <a:lnTo>
                    <a:pt x="1843" y="767"/>
                  </a:lnTo>
                  <a:lnTo>
                    <a:pt x="1843" y="769"/>
                  </a:lnTo>
                  <a:lnTo>
                    <a:pt x="1846" y="769"/>
                  </a:lnTo>
                  <a:lnTo>
                    <a:pt x="1846" y="769"/>
                  </a:lnTo>
                  <a:lnTo>
                    <a:pt x="1846" y="769"/>
                  </a:lnTo>
                  <a:lnTo>
                    <a:pt x="1846" y="769"/>
                  </a:lnTo>
                  <a:lnTo>
                    <a:pt x="1846" y="769"/>
                  </a:lnTo>
                  <a:lnTo>
                    <a:pt x="1846" y="769"/>
                  </a:lnTo>
                  <a:lnTo>
                    <a:pt x="1849" y="767"/>
                  </a:lnTo>
                  <a:lnTo>
                    <a:pt x="1849" y="767"/>
                  </a:lnTo>
                  <a:lnTo>
                    <a:pt x="1849" y="767"/>
                  </a:lnTo>
                  <a:lnTo>
                    <a:pt x="1851" y="764"/>
                  </a:lnTo>
                  <a:lnTo>
                    <a:pt x="1851" y="767"/>
                  </a:lnTo>
                  <a:lnTo>
                    <a:pt x="1851" y="767"/>
                  </a:lnTo>
                  <a:lnTo>
                    <a:pt x="1851" y="767"/>
                  </a:lnTo>
                  <a:lnTo>
                    <a:pt x="1851" y="767"/>
                  </a:lnTo>
                  <a:lnTo>
                    <a:pt x="1851" y="769"/>
                  </a:lnTo>
                  <a:lnTo>
                    <a:pt x="1851" y="769"/>
                  </a:lnTo>
                  <a:lnTo>
                    <a:pt x="1851" y="769"/>
                  </a:lnTo>
                  <a:lnTo>
                    <a:pt x="1851" y="769"/>
                  </a:lnTo>
                  <a:lnTo>
                    <a:pt x="1851" y="769"/>
                  </a:lnTo>
                  <a:lnTo>
                    <a:pt x="1849" y="772"/>
                  </a:lnTo>
                  <a:lnTo>
                    <a:pt x="1849" y="772"/>
                  </a:lnTo>
                  <a:lnTo>
                    <a:pt x="1854" y="769"/>
                  </a:lnTo>
                  <a:lnTo>
                    <a:pt x="1857" y="769"/>
                  </a:lnTo>
                  <a:lnTo>
                    <a:pt x="1857" y="772"/>
                  </a:lnTo>
                  <a:lnTo>
                    <a:pt x="1857" y="772"/>
                  </a:lnTo>
                  <a:lnTo>
                    <a:pt x="1854" y="772"/>
                  </a:lnTo>
                  <a:lnTo>
                    <a:pt x="1857" y="772"/>
                  </a:lnTo>
                  <a:lnTo>
                    <a:pt x="1857" y="772"/>
                  </a:lnTo>
                  <a:lnTo>
                    <a:pt x="1859" y="772"/>
                  </a:lnTo>
                  <a:lnTo>
                    <a:pt x="1859" y="772"/>
                  </a:lnTo>
                  <a:lnTo>
                    <a:pt x="1862" y="772"/>
                  </a:lnTo>
                  <a:lnTo>
                    <a:pt x="1865" y="775"/>
                  </a:lnTo>
                  <a:lnTo>
                    <a:pt x="1873" y="780"/>
                  </a:lnTo>
                  <a:lnTo>
                    <a:pt x="1875" y="780"/>
                  </a:lnTo>
                  <a:lnTo>
                    <a:pt x="1875" y="783"/>
                  </a:lnTo>
                  <a:lnTo>
                    <a:pt x="1875" y="785"/>
                  </a:lnTo>
                  <a:lnTo>
                    <a:pt x="1875" y="785"/>
                  </a:lnTo>
                  <a:lnTo>
                    <a:pt x="1875" y="785"/>
                  </a:lnTo>
                  <a:lnTo>
                    <a:pt x="1875" y="788"/>
                  </a:lnTo>
                  <a:lnTo>
                    <a:pt x="1875" y="788"/>
                  </a:lnTo>
                  <a:lnTo>
                    <a:pt x="1878" y="788"/>
                  </a:lnTo>
                  <a:lnTo>
                    <a:pt x="1878" y="788"/>
                  </a:lnTo>
                  <a:lnTo>
                    <a:pt x="1878" y="788"/>
                  </a:lnTo>
                  <a:lnTo>
                    <a:pt x="1886" y="793"/>
                  </a:lnTo>
                  <a:lnTo>
                    <a:pt x="1886" y="793"/>
                  </a:lnTo>
                  <a:lnTo>
                    <a:pt x="1886" y="796"/>
                  </a:lnTo>
                  <a:lnTo>
                    <a:pt x="1889" y="796"/>
                  </a:lnTo>
                  <a:lnTo>
                    <a:pt x="1889" y="796"/>
                  </a:lnTo>
                  <a:lnTo>
                    <a:pt x="1892" y="793"/>
                  </a:lnTo>
                  <a:lnTo>
                    <a:pt x="1892" y="793"/>
                  </a:lnTo>
                  <a:lnTo>
                    <a:pt x="1892" y="793"/>
                  </a:lnTo>
                  <a:lnTo>
                    <a:pt x="1894" y="791"/>
                  </a:lnTo>
                  <a:lnTo>
                    <a:pt x="1894" y="791"/>
                  </a:lnTo>
                  <a:lnTo>
                    <a:pt x="1894" y="791"/>
                  </a:lnTo>
                  <a:lnTo>
                    <a:pt x="1894" y="791"/>
                  </a:lnTo>
                  <a:lnTo>
                    <a:pt x="1894" y="793"/>
                  </a:lnTo>
                  <a:lnTo>
                    <a:pt x="1894" y="793"/>
                  </a:lnTo>
                  <a:lnTo>
                    <a:pt x="1894" y="793"/>
                  </a:lnTo>
                  <a:lnTo>
                    <a:pt x="1894" y="793"/>
                  </a:lnTo>
                  <a:lnTo>
                    <a:pt x="1894" y="793"/>
                  </a:lnTo>
                  <a:lnTo>
                    <a:pt x="1892" y="796"/>
                  </a:lnTo>
                  <a:lnTo>
                    <a:pt x="1892" y="796"/>
                  </a:lnTo>
                  <a:lnTo>
                    <a:pt x="1889" y="796"/>
                  </a:lnTo>
                  <a:lnTo>
                    <a:pt x="1889" y="796"/>
                  </a:lnTo>
                  <a:lnTo>
                    <a:pt x="1889" y="796"/>
                  </a:lnTo>
                  <a:lnTo>
                    <a:pt x="1889" y="796"/>
                  </a:lnTo>
                  <a:lnTo>
                    <a:pt x="1892" y="796"/>
                  </a:lnTo>
                  <a:lnTo>
                    <a:pt x="1892" y="799"/>
                  </a:lnTo>
                  <a:lnTo>
                    <a:pt x="1894" y="799"/>
                  </a:lnTo>
                  <a:lnTo>
                    <a:pt x="1897" y="799"/>
                  </a:lnTo>
                  <a:lnTo>
                    <a:pt x="1900" y="801"/>
                  </a:lnTo>
                  <a:lnTo>
                    <a:pt x="1902" y="801"/>
                  </a:lnTo>
                  <a:lnTo>
                    <a:pt x="1902" y="801"/>
                  </a:lnTo>
                  <a:lnTo>
                    <a:pt x="1902" y="801"/>
                  </a:lnTo>
                  <a:lnTo>
                    <a:pt x="1902" y="804"/>
                  </a:lnTo>
                  <a:lnTo>
                    <a:pt x="1905" y="804"/>
                  </a:lnTo>
                  <a:lnTo>
                    <a:pt x="1908" y="804"/>
                  </a:lnTo>
                  <a:lnTo>
                    <a:pt x="1910" y="807"/>
                  </a:lnTo>
                  <a:lnTo>
                    <a:pt x="1910" y="807"/>
                  </a:lnTo>
                  <a:lnTo>
                    <a:pt x="1913" y="807"/>
                  </a:lnTo>
                  <a:lnTo>
                    <a:pt x="1913" y="807"/>
                  </a:lnTo>
                  <a:lnTo>
                    <a:pt x="1913" y="804"/>
                  </a:lnTo>
                  <a:lnTo>
                    <a:pt x="1916" y="804"/>
                  </a:lnTo>
                  <a:lnTo>
                    <a:pt x="1916" y="804"/>
                  </a:lnTo>
                  <a:lnTo>
                    <a:pt x="1916" y="804"/>
                  </a:lnTo>
                  <a:lnTo>
                    <a:pt x="1918" y="804"/>
                  </a:lnTo>
                  <a:lnTo>
                    <a:pt x="1918" y="807"/>
                  </a:lnTo>
                  <a:lnTo>
                    <a:pt x="1918" y="807"/>
                  </a:lnTo>
                  <a:lnTo>
                    <a:pt x="1918" y="807"/>
                  </a:lnTo>
                  <a:lnTo>
                    <a:pt x="1918" y="807"/>
                  </a:lnTo>
                  <a:lnTo>
                    <a:pt x="1918" y="804"/>
                  </a:lnTo>
                  <a:lnTo>
                    <a:pt x="1921" y="804"/>
                  </a:lnTo>
                  <a:lnTo>
                    <a:pt x="1921" y="807"/>
                  </a:lnTo>
                  <a:lnTo>
                    <a:pt x="1921" y="807"/>
                  </a:lnTo>
                  <a:lnTo>
                    <a:pt x="1921" y="807"/>
                  </a:lnTo>
                  <a:lnTo>
                    <a:pt x="1921" y="807"/>
                  </a:lnTo>
                  <a:lnTo>
                    <a:pt x="1921" y="809"/>
                  </a:lnTo>
                  <a:lnTo>
                    <a:pt x="1921" y="809"/>
                  </a:lnTo>
                  <a:lnTo>
                    <a:pt x="1921" y="809"/>
                  </a:lnTo>
                  <a:lnTo>
                    <a:pt x="1924" y="807"/>
                  </a:lnTo>
                  <a:lnTo>
                    <a:pt x="1924" y="807"/>
                  </a:lnTo>
                  <a:lnTo>
                    <a:pt x="1924" y="809"/>
                  </a:lnTo>
                  <a:lnTo>
                    <a:pt x="1924" y="809"/>
                  </a:lnTo>
                  <a:lnTo>
                    <a:pt x="1924" y="809"/>
                  </a:lnTo>
                  <a:lnTo>
                    <a:pt x="1924" y="809"/>
                  </a:lnTo>
                  <a:lnTo>
                    <a:pt x="1924" y="809"/>
                  </a:lnTo>
                  <a:lnTo>
                    <a:pt x="1926" y="809"/>
                  </a:lnTo>
                  <a:lnTo>
                    <a:pt x="1926" y="809"/>
                  </a:lnTo>
                  <a:lnTo>
                    <a:pt x="1926" y="809"/>
                  </a:lnTo>
                  <a:lnTo>
                    <a:pt x="1926" y="809"/>
                  </a:lnTo>
                  <a:lnTo>
                    <a:pt x="1926" y="809"/>
                  </a:lnTo>
                  <a:lnTo>
                    <a:pt x="1926" y="809"/>
                  </a:lnTo>
                  <a:lnTo>
                    <a:pt x="1926" y="809"/>
                  </a:lnTo>
                  <a:lnTo>
                    <a:pt x="1926" y="809"/>
                  </a:lnTo>
                  <a:lnTo>
                    <a:pt x="1929" y="809"/>
                  </a:lnTo>
                  <a:lnTo>
                    <a:pt x="1929" y="809"/>
                  </a:lnTo>
                  <a:lnTo>
                    <a:pt x="1926" y="809"/>
                  </a:lnTo>
                  <a:lnTo>
                    <a:pt x="1926" y="812"/>
                  </a:lnTo>
                  <a:lnTo>
                    <a:pt x="1926" y="812"/>
                  </a:lnTo>
                  <a:lnTo>
                    <a:pt x="1929" y="815"/>
                  </a:lnTo>
                  <a:lnTo>
                    <a:pt x="1929" y="815"/>
                  </a:lnTo>
                  <a:lnTo>
                    <a:pt x="1929" y="815"/>
                  </a:lnTo>
                  <a:lnTo>
                    <a:pt x="1929" y="815"/>
                  </a:lnTo>
                  <a:lnTo>
                    <a:pt x="1929" y="812"/>
                  </a:lnTo>
                  <a:lnTo>
                    <a:pt x="1929" y="812"/>
                  </a:lnTo>
                  <a:lnTo>
                    <a:pt x="1932" y="812"/>
                  </a:lnTo>
                  <a:lnTo>
                    <a:pt x="1932" y="812"/>
                  </a:lnTo>
                  <a:lnTo>
                    <a:pt x="1932" y="812"/>
                  </a:lnTo>
                  <a:lnTo>
                    <a:pt x="1932" y="809"/>
                  </a:lnTo>
                  <a:lnTo>
                    <a:pt x="1932" y="809"/>
                  </a:lnTo>
                  <a:lnTo>
                    <a:pt x="1932" y="809"/>
                  </a:lnTo>
                  <a:lnTo>
                    <a:pt x="1932" y="809"/>
                  </a:lnTo>
                  <a:lnTo>
                    <a:pt x="1926" y="807"/>
                  </a:lnTo>
                  <a:lnTo>
                    <a:pt x="1929" y="804"/>
                  </a:lnTo>
                  <a:lnTo>
                    <a:pt x="1929" y="804"/>
                  </a:lnTo>
                  <a:lnTo>
                    <a:pt x="1929" y="804"/>
                  </a:lnTo>
                  <a:lnTo>
                    <a:pt x="1929" y="804"/>
                  </a:lnTo>
                  <a:lnTo>
                    <a:pt x="1932" y="804"/>
                  </a:lnTo>
                  <a:lnTo>
                    <a:pt x="1932" y="804"/>
                  </a:lnTo>
                  <a:lnTo>
                    <a:pt x="1932" y="804"/>
                  </a:lnTo>
                  <a:lnTo>
                    <a:pt x="1932" y="804"/>
                  </a:lnTo>
                  <a:lnTo>
                    <a:pt x="1932" y="804"/>
                  </a:lnTo>
                  <a:lnTo>
                    <a:pt x="1932" y="807"/>
                  </a:lnTo>
                  <a:lnTo>
                    <a:pt x="1932" y="807"/>
                  </a:lnTo>
                  <a:lnTo>
                    <a:pt x="1934" y="807"/>
                  </a:lnTo>
                  <a:lnTo>
                    <a:pt x="1934" y="804"/>
                  </a:lnTo>
                  <a:lnTo>
                    <a:pt x="1937" y="807"/>
                  </a:lnTo>
                  <a:lnTo>
                    <a:pt x="1937" y="807"/>
                  </a:lnTo>
                  <a:lnTo>
                    <a:pt x="1937" y="804"/>
                  </a:lnTo>
                  <a:lnTo>
                    <a:pt x="1937" y="804"/>
                  </a:lnTo>
                  <a:lnTo>
                    <a:pt x="1937" y="801"/>
                  </a:lnTo>
                  <a:lnTo>
                    <a:pt x="1937" y="801"/>
                  </a:lnTo>
                  <a:lnTo>
                    <a:pt x="1937" y="801"/>
                  </a:lnTo>
                  <a:lnTo>
                    <a:pt x="1934" y="801"/>
                  </a:lnTo>
                  <a:lnTo>
                    <a:pt x="1934" y="801"/>
                  </a:lnTo>
                  <a:lnTo>
                    <a:pt x="1934" y="801"/>
                  </a:lnTo>
                  <a:lnTo>
                    <a:pt x="1934" y="801"/>
                  </a:lnTo>
                  <a:lnTo>
                    <a:pt x="1934" y="801"/>
                  </a:lnTo>
                  <a:lnTo>
                    <a:pt x="1934" y="801"/>
                  </a:lnTo>
                  <a:lnTo>
                    <a:pt x="1934" y="801"/>
                  </a:lnTo>
                  <a:lnTo>
                    <a:pt x="1932" y="801"/>
                  </a:lnTo>
                  <a:lnTo>
                    <a:pt x="1932" y="804"/>
                  </a:lnTo>
                  <a:lnTo>
                    <a:pt x="1934" y="804"/>
                  </a:lnTo>
                  <a:lnTo>
                    <a:pt x="1934" y="804"/>
                  </a:lnTo>
                  <a:lnTo>
                    <a:pt x="1932" y="804"/>
                  </a:lnTo>
                  <a:lnTo>
                    <a:pt x="1932" y="804"/>
                  </a:lnTo>
                  <a:lnTo>
                    <a:pt x="1932" y="804"/>
                  </a:lnTo>
                  <a:lnTo>
                    <a:pt x="1932" y="804"/>
                  </a:lnTo>
                  <a:lnTo>
                    <a:pt x="1932" y="804"/>
                  </a:lnTo>
                  <a:lnTo>
                    <a:pt x="1932" y="804"/>
                  </a:lnTo>
                  <a:lnTo>
                    <a:pt x="1932" y="804"/>
                  </a:lnTo>
                  <a:lnTo>
                    <a:pt x="1929" y="804"/>
                  </a:lnTo>
                  <a:lnTo>
                    <a:pt x="1932" y="801"/>
                  </a:lnTo>
                  <a:lnTo>
                    <a:pt x="1932" y="801"/>
                  </a:lnTo>
                  <a:lnTo>
                    <a:pt x="1932" y="801"/>
                  </a:lnTo>
                  <a:lnTo>
                    <a:pt x="1932" y="799"/>
                  </a:lnTo>
                  <a:lnTo>
                    <a:pt x="1932" y="799"/>
                  </a:lnTo>
                  <a:lnTo>
                    <a:pt x="1932" y="799"/>
                  </a:lnTo>
                  <a:lnTo>
                    <a:pt x="1932" y="799"/>
                  </a:lnTo>
                  <a:lnTo>
                    <a:pt x="1932" y="799"/>
                  </a:lnTo>
                  <a:lnTo>
                    <a:pt x="1932" y="799"/>
                  </a:lnTo>
                  <a:lnTo>
                    <a:pt x="1932" y="799"/>
                  </a:lnTo>
                  <a:lnTo>
                    <a:pt x="1932" y="799"/>
                  </a:lnTo>
                  <a:lnTo>
                    <a:pt x="1934" y="801"/>
                  </a:lnTo>
                  <a:lnTo>
                    <a:pt x="1937" y="801"/>
                  </a:lnTo>
                  <a:lnTo>
                    <a:pt x="1937" y="801"/>
                  </a:lnTo>
                  <a:lnTo>
                    <a:pt x="1937" y="799"/>
                  </a:lnTo>
                  <a:lnTo>
                    <a:pt x="1940" y="801"/>
                  </a:lnTo>
                  <a:lnTo>
                    <a:pt x="1940" y="801"/>
                  </a:lnTo>
                  <a:lnTo>
                    <a:pt x="1940" y="801"/>
                  </a:lnTo>
                  <a:lnTo>
                    <a:pt x="1940" y="804"/>
                  </a:lnTo>
                  <a:lnTo>
                    <a:pt x="1940" y="804"/>
                  </a:lnTo>
                  <a:lnTo>
                    <a:pt x="1942" y="804"/>
                  </a:lnTo>
                  <a:lnTo>
                    <a:pt x="1945" y="804"/>
                  </a:lnTo>
                  <a:lnTo>
                    <a:pt x="1945" y="801"/>
                  </a:lnTo>
                  <a:lnTo>
                    <a:pt x="1948" y="801"/>
                  </a:lnTo>
                  <a:lnTo>
                    <a:pt x="1948" y="801"/>
                  </a:lnTo>
                  <a:lnTo>
                    <a:pt x="1948" y="799"/>
                  </a:lnTo>
                  <a:lnTo>
                    <a:pt x="1948" y="796"/>
                  </a:lnTo>
                  <a:lnTo>
                    <a:pt x="1948" y="796"/>
                  </a:lnTo>
                  <a:lnTo>
                    <a:pt x="1945" y="793"/>
                  </a:lnTo>
                  <a:lnTo>
                    <a:pt x="1945" y="793"/>
                  </a:lnTo>
                  <a:lnTo>
                    <a:pt x="1945" y="793"/>
                  </a:lnTo>
                  <a:lnTo>
                    <a:pt x="1945" y="791"/>
                  </a:lnTo>
                  <a:lnTo>
                    <a:pt x="1945" y="791"/>
                  </a:lnTo>
                  <a:lnTo>
                    <a:pt x="1945" y="791"/>
                  </a:lnTo>
                  <a:lnTo>
                    <a:pt x="1945" y="791"/>
                  </a:lnTo>
                  <a:lnTo>
                    <a:pt x="1945" y="791"/>
                  </a:lnTo>
                  <a:lnTo>
                    <a:pt x="1945" y="791"/>
                  </a:lnTo>
                  <a:lnTo>
                    <a:pt x="1945" y="791"/>
                  </a:lnTo>
                  <a:lnTo>
                    <a:pt x="1945" y="788"/>
                  </a:lnTo>
                  <a:lnTo>
                    <a:pt x="1945" y="788"/>
                  </a:lnTo>
                  <a:lnTo>
                    <a:pt x="1942" y="788"/>
                  </a:lnTo>
                  <a:lnTo>
                    <a:pt x="1942" y="791"/>
                  </a:lnTo>
                  <a:lnTo>
                    <a:pt x="1940" y="791"/>
                  </a:lnTo>
                  <a:lnTo>
                    <a:pt x="1940" y="791"/>
                  </a:lnTo>
                  <a:lnTo>
                    <a:pt x="1940" y="791"/>
                  </a:lnTo>
                  <a:lnTo>
                    <a:pt x="1940" y="791"/>
                  </a:lnTo>
                  <a:lnTo>
                    <a:pt x="1942" y="788"/>
                  </a:lnTo>
                  <a:lnTo>
                    <a:pt x="1942" y="788"/>
                  </a:lnTo>
                  <a:lnTo>
                    <a:pt x="1942" y="788"/>
                  </a:lnTo>
                  <a:lnTo>
                    <a:pt x="1942" y="788"/>
                  </a:lnTo>
                  <a:lnTo>
                    <a:pt x="1942" y="788"/>
                  </a:lnTo>
                  <a:lnTo>
                    <a:pt x="1942" y="788"/>
                  </a:lnTo>
                  <a:lnTo>
                    <a:pt x="1942" y="785"/>
                  </a:lnTo>
                  <a:lnTo>
                    <a:pt x="1940" y="785"/>
                  </a:lnTo>
                  <a:lnTo>
                    <a:pt x="1940" y="785"/>
                  </a:lnTo>
                  <a:lnTo>
                    <a:pt x="1940" y="785"/>
                  </a:lnTo>
                  <a:lnTo>
                    <a:pt x="1940" y="785"/>
                  </a:lnTo>
                  <a:lnTo>
                    <a:pt x="1937" y="785"/>
                  </a:lnTo>
                  <a:lnTo>
                    <a:pt x="1940" y="785"/>
                  </a:lnTo>
                  <a:lnTo>
                    <a:pt x="1940" y="785"/>
                  </a:lnTo>
                  <a:lnTo>
                    <a:pt x="1940" y="785"/>
                  </a:lnTo>
                  <a:lnTo>
                    <a:pt x="1940" y="783"/>
                  </a:lnTo>
                  <a:lnTo>
                    <a:pt x="1934" y="783"/>
                  </a:lnTo>
                  <a:lnTo>
                    <a:pt x="1934" y="780"/>
                  </a:lnTo>
                  <a:lnTo>
                    <a:pt x="1934" y="783"/>
                  </a:lnTo>
                  <a:lnTo>
                    <a:pt x="1934" y="783"/>
                  </a:lnTo>
                  <a:lnTo>
                    <a:pt x="1934" y="783"/>
                  </a:lnTo>
                  <a:lnTo>
                    <a:pt x="1934" y="783"/>
                  </a:lnTo>
                  <a:lnTo>
                    <a:pt x="1934" y="783"/>
                  </a:lnTo>
                  <a:lnTo>
                    <a:pt x="1934" y="783"/>
                  </a:lnTo>
                  <a:lnTo>
                    <a:pt x="1934" y="783"/>
                  </a:lnTo>
                  <a:lnTo>
                    <a:pt x="1934" y="783"/>
                  </a:lnTo>
                  <a:lnTo>
                    <a:pt x="1932" y="783"/>
                  </a:lnTo>
                  <a:lnTo>
                    <a:pt x="1932" y="783"/>
                  </a:lnTo>
                  <a:lnTo>
                    <a:pt x="1932" y="785"/>
                  </a:lnTo>
                  <a:lnTo>
                    <a:pt x="1932" y="785"/>
                  </a:lnTo>
                  <a:lnTo>
                    <a:pt x="1934" y="785"/>
                  </a:lnTo>
                  <a:lnTo>
                    <a:pt x="1934" y="785"/>
                  </a:lnTo>
                  <a:lnTo>
                    <a:pt x="1934" y="785"/>
                  </a:lnTo>
                  <a:lnTo>
                    <a:pt x="1932" y="785"/>
                  </a:lnTo>
                  <a:lnTo>
                    <a:pt x="1932" y="785"/>
                  </a:lnTo>
                  <a:lnTo>
                    <a:pt x="1929" y="785"/>
                  </a:lnTo>
                  <a:lnTo>
                    <a:pt x="1929" y="788"/>
                  </a:lnTo>
                  <a:lnTo>
                    <a:pt x="1929" y="788"/>
                  </a:lnTo>
                  <a:lnTo>
                    <a:pt x="1929" y="788"/>
                  </a:lnTo>
                  <a:lnTo>
                    <a:pt x="1926" y="788"/>
                  </a:lnTo>
                  <a:lnTo>
                    <a:pt x="1926" y="785"/>
                  </a:lnTo>
                  <a:lnTo>
                    <a:pt x="1929" y="785"/>
                  </a:lnTo>
                  <a:lnTo>
                    <a:pt x="1929" y="785"/>
                  </a:lnTo>
                  <a:lnTo>
                    <a:pt x="1932" y="783"/>
                  </a:lnTo>
                  <a:lnTo>
                    <a:pt x="1932" y="783"/>
                  </a:lnTo>
                  <a:lnTo>
                    <a:pt x="1932" y="780"/>
                  </a:lnTo>
                  <a:lnTo>
                    <a:pt x="1932" y="780"/>
                  </a:lnTo>
                  <a:lnTo>
                    <a:pt x="1932" y="780"/>
                  </a:lnTo>
                  <a:lnTo>
                    <a:pt x="1932" y="780"/>
                  </a:lnTo>
                  <a:lnTo>
                    <a:pt x="1932" y="777"/>
                  </a:lnTo>
                  <a:lnTo>
                    <a:pt x="1929" y="777"/>
                  </a:lnTo>
                  <a:lnTo>
                    <a:pt x="1926" y="777"/>
                  </a:lnTo>
                  <a:lnTo>
                    <a:pt x="1926" y="777"/>
                  </a:lnTo>
                  <a:lnTo>
                    <a:pt x="1926" y="780"/>
                  </a:lnTo>
                  <a:lnTo>
                    <a:pt x="1926" y="780"/>
                  </a:lnTo>
                  <a:lnTo>
                    <a:pt x="1929" y="780"/>
                  </a:lnTo>
                  <a:lnTo>
                    <a:pt x="1929" y="783"/>
                  </a:lnTo>
                  <a:lnTo>
                    <a:pt x="1929" y="783"/>
                  </a:lnTo>
                  <a:lnTo>
                    <a:pt x="1926" y="780"/>
                  </a:lnTo>
                  <a:lnTo>
                    <a:pt x="1926" y="780"/>
                  </a:lnTo>
                  <a:lnTo>
                    <a:pt x="1926" y="780"/>
                  </a:lnTo>
                  <a:lnTo>
                    <a:pt x="1926" y="780"/>
                  </a:lnTo>
                  <a:lnTo>
                    <a:pt x="1926" y="780"/>
                  </a:lnTo>
                  <a:lnTo>
                    <a:pt x="1926" y="780"/>
                  </a:lnTo>
                  <a:lnTo>
                    <a:pt x="1926" y="780"/>
                  </a:lnTo>
                  <a:lnTo>
                    <a:pt x="1926" y="780"/>
                  </a:lnTo>
                  <a:lnTo>
                    <a:pt x="1926" y="777"/>
                  </a:lnTo>
                  <a:lnTo>
                    <a:pt x="1924" y="777"/>
                  </a:lnTo>
                  <a:lnTo>
                    <a:pt x="1924" y="777"/>
                  </a:lnTo>
                  <a:lnTo>
                    <a:pt x="1924" y="777"/>
                  </a:lnTo>
                  <a:lnTo>
                    <a:pt x="1924" y="777"/>
                  </a:lnTo>
                  <a:lnTo>
                    <a:pt x="1921" y="777"/>
                  </a:lnTo>
                  <a:lnTo>
                    <a:pt x="1921" y="777"/>
                  </a:lnTo>
                  <a:lnTo>
                    <a:pt x="1921" y="777"/>
                  </a:lnTo>
                  <a:lnTo>
                    <a:pt x="1924" y="777"/>
                  </a:lnTo>
                  <a:lnTo>
                    <a:pt x="1924" y="777"/>
                  </a:lnTo>
                  <a:lnTo>
                    <a:pt x="1921" y="775"/>
                  </a:lnTo>
                  <a:lnTo>
                    <a:pt x="1921" y="775"/>
                  </a:lnTo>
                  <a:lnTo>
                    <a:pt x="1918" y="775"/>
                  </a:lnTo>
                  <a:lnTo>
                    <a:pt x="1921" y="775"/>
                  </a:lnTo>
                  <a:lnTo>
                    <a:pt x="1921" y="775"/>
                  </a:lnTo>
                  <a:lnTo>
                    <a:pt x="1924" y="775"/>
                  </a:lnTo>
                  <a:lnTo>
                    <a:pt x="1924" y="777"/>
                  </a:lnTo>
                  <a:lnTo>
                    <a:pt x="1924" y="777"/>
                  </a:lnTo>
                  <a:lnTo>
                    <a:pt x="1924" y="775"/>
                  </a:lnTo>
                  <a:lnTo>
                    <a:pt x="1924" y="775"/>
                  </a:lnTo>
                  <a:lnTo>
                    <a:pt x="1926" y="775"/>
                  </a:lnTo>
                  <a:lnTo>
                    <a:pt x="1926" y="775"/>
                  </a:lnTo>
                  <a:lnTo>
                    <a:pt x="1924" y="772"/>
                  </a:lnTo>
                  <a:lnTo>
                    <a:pt x="1921" y="772"/>
                  </a:lnTo>
                  <a:lnTo>
                    <a:pt x="1921" y="772"/>
                  </a:lnTo>
                  <a:lnTo>
                    <a:pt x="1921" y="772"/>
                  </a:lnTo>
                  <a:lnTo>
                    <a:pt x="1921" y="772"/>
                  </a:lnTo>
                  <a:lnTo>
                    <a:pt x="1921" y="772"/>
                  </a:lnTo>
                  <a:lnTo>
                    <a:pt x="1921" y="772"/>
                  </a:lnTo>
                  <a:lnTo>
                    <a:pt x="1918" y="772"/>
                  </a:lnTo>
                  <a:lnTo>
                    <a:pt x="1918" y="772"/>
                  </a:lnTo>
                  <a:lnTo>
                    <a:pt x="1918" y="772"/>
                  </a:lnTo>
                  <a:lnTo>
                    <a:pt x="1918" y="772"/>
                  </a:lnTo>
                  <a:lnTo>
                    <a:pt x="1918" y="772"/>
                  </a:lnTo>
                  <a:lnTo>
                    <a:pt x="1916" y="772"/>
                  </a:lnTo>
                  <a:lnTo>
                    <a:pt x="1916" y="772"/>
                  </a:lnTo>
                  <a:lnTo>
                    <a:pt x="1916" y="772"/>
                  </a:lnTo>
                  <a:lnTo>
                    <a:pt x="1913" y="772"/>
                  </a:lnTo>
                  <a:lnTo>
                    <a:pt x="1913" y="775"/>
                  </a:lnTo>
                  <a:lnTo>
                    <a:pt x="1913" y="775"/>
                  </a:lnTo>
                  <a:lnTo>
                    <a:pt x="1913" y="775"/>
                  </a:lnTo>
                  <a:lnTo>
                    <a:pt x="1913" y="775"/>
                  </a:lnTo>
                  <a:lnTo>
                    <a:pt x="1913" y="772"/>
                  </a:lnTo>
                  <a:lnTo>
                    <a:pt x="1913" y="772"/>
                  </a:lnTo>
                  <a:lnTo>
                    <a:pt x="1913" y="772"/>
                  </a:lnTo>
                  <a:lnTo>
                    <a:pt x="1913" y="772"/>
                  </a:lnTo>
                  <a:lnTo>
                    <a:pt x="1910" y="772"/>
                  </a:lnTo>
                  <a:lnTo>
                    <a:pt x="1908" y="772"/>
                  </a:lnTo>
                  <a:lnTo>
                    <a:pt x="1905" y="772"/>
                  </a:lnTo>
                  <a:lnTo>
                    <a:pt x="1905" y="775"/>
                  </a:lnTo>
                  <a:lnTo>
                    <a:pt x="1905" y="777"/>
                  </a:lnTo>
                  <a:lnTo>
                    <a:pt x="1905" y="777"/>
                  </a:lnTo>
                  <a:lnTo>
                    <a:pt x="1905" y="777"/>
                  </a:lnTo>
                  <a:lnTo>
                    <a:pt x="1902" y="777"/>
                  </a:lnTo>
                  <a:lnTo>
                    <a:pt x="1902" y="777"/>
                  </a:lnTo>
                  <a:lnTo>
                    <a:pt x="1902" y="775"/>
                  </a:lnTo>
                  <a:lnTo>
                    <a:pt x="1905" y="775"/>
                  </a:lnTo>
                  <a:lnTo>
                    <a:pt x="1905" y="775"/>
                  </a:lnTo>
                  <a:lnTo>
                    <a:pt x="1905" y="772"/>
                  </a:lnTo>
                  <a:lnTo>
                    <a:pt x="1905" y="772"/>
                  </a:lnTo>
                  <a:lnTo>
                    <a:pt x="1908" y="769"/>
                  </a:lnTo>
                  <a:lnTo>
                    <a:pt x="1908" y="769"/>
                  </a:lnTo>
                  <a:lnTo>
                    <a:pt x="1908" y="767"/>
                  </a:lnTo>
                  <a:lnTo>
                    <a:pt x="1908" y="767"/>
                  </a:lnTo>
                  <a:lnTo>
                    <a:pt x="1905" y="767"/>
                  </a:lnTo>
                  <a:lnTo>
                    <a:pt x="1905" y="764"/>
                  </a:lnTo>
                  <a:lnTo>
                    <a:pt x="1902" y="764"/>
                  </a:lnTo>
                  <a:lnTo>
                    <a:pt x="1902" y="764"/>
                  </a:lnTo>
                  <a:lnTo>
                    <a:pt x="1902" y="764"/>
                  </a:lnTo>
                  <a:lnTo>
                    <a:pt x="1902" y="761"/>
                  </a:lnTo>
                  <a:lnTo>
                    <a:pt x="1902" y="761"/>
                  </a:lnTo>
                  <a:lnTo>
                    <a:pt x="1902" y="761"/>
                  </a:lnTo>
                  <a:lnTo>
                    <a:pt x="1902" y="761"/>
                  </a:lnTo>
                  <a:lnTo>
                    <a:pt x="1902" y="761"/>
                  </a:lnTo>
                  <a:lnTo>
                    <a:pt x="1905" y="764"/>
                  </a:lnTo>
                  <a:lnTo>
                    <a:pt x="1908" y="764"/>
                  </a:lnTo>
                  <a:lnTo>
                    <a:pt x="1908" y="767"/>
                  </a:lnTo>
                  <a:lnTo>
                    <a:pt x="1910" y="767"/>
                  </a:lnTo>
                  <a:lnTo>
                    <a:pt x="1910" y="767"/>
                  </a:lnTo>
                  <a:lnTo>
                    <a:pt x="1913" y="767"/>
                  </a:lnTo>
                  <a:lnTo>
                    <a:pt x="1913" y="767"/>
                  </a:lnTo>
                  <a:lnTo>
                    <a:pt x="1916" y="769"/>
                  </a:lnTo>
                  <a:lnTo>
                    <a:pt x="1916" y="769"/>
                  </a:lnTo>
                  <a:lnTo>
                    <a:pt x="1916" y="769"/>
                  </a:lnTo>
                  <a:lnTo>
                    <a:pt x="1916" y="769"/>
                  </a:lnTo>
                  <a:lnTo>
                    <a:pt x="1918" y="769"/>
                  </a:lnTo>
                  <a:lnTo>
                    <a:pt x="1918" y="769"/>
                  </a:lnTo>
                  <a:lnTo>
                    <a:pt x="1918" y="769"/>
                  </a:lnTo>
                  <a:lnTo>
                    <a:pt x="1913" y="761"/>
                  </a:lnTo>
                  <a:lnTo>
                    <a:pt x="1916" y="761"/>
                  </a:lnTo>
                  <a:lnTo>
                    <a:pt x="1916" y="761"/>
                  </a:lnTo>
                  <a:lnTo>
                    <a:pt x="1918" y="764"/>
                  </a:lnTo>
                  <a:lnTo>
                    <a:pt x="1921" y="767"/>
                  </a:lnTo>
                  <a:lnTo>
                    <a:pt x="1921" y="764"/>
                  </a:lnTo>
                  <a:lnTo>
                    <a:pt x="1921" y="764"/>
                  </a:lnTo>
                  <a:lnTo>
                    <a:pt x="1921" y="764"/>
                  </a:lnTo>
                  <a:lnTo>
                    <a:pt x="1921" y="764"/>
                  </a:lnTo>
                  <a:lnTo>
                    <a:pt x="1921" y="764"/>
                  </a:lnTo>
                  <a:lnTo>
                    <a:pt x="1924" y="767"/>
                  </a:lnTo>
                  <a:lnTo>
                    <a:pt x="1924" y="769"/>
                  </a:lnTo>
                  <a:lnTo>
                    <a:pt x="1924" y="772"/>
                  </a:lnTo>
                  <a:lnTo>
                    <a:pt x="1926" y="772"/>
                  </a:lnTo>
                  <a:lnTo>
                    <a:pt x="1926" y="772"/>
                  </a:lnTo>
                  <a:lnTo>
                    <a:pt x="1929" y="772"/>
                  </a:lnTo>
                  <a:lnTo>
                    <a:pt x="1932" y="769"/>
                  </a:lnTo>
                  <a:lnTo>
                    <a:pt x="1932" y="769"/>
                  </a:lnTo>
                  <a:lnTo>
                    <a:pt x="1932" y="772"/>
                  </a:lnTo>
                  <a:lnTo>
                    <a:pt x="1932" y="772"/>
                  </a:lnTo>
                  <a:lnTo>
                    <a:pt x="1929" y="772"/>
                  </a:lnTo>
                  <a:lnTo>
                    <a:pt x="1929" y="772"/>
                  </a:lnTo>
                  <a:lnTo>
                    <a:pt x="1934" y="775"/>
                  </a:lnTo>
                  <a:lnTo>
                    <a:pt x="1934" y="775"/>
                  </a:lnTo>
                  <a:lnTo>
                    <a:pt x="1937" y="772"/>
                  </a:lnTo>
                  <a:lnTo>
                    <a:pt x="1937" y="772"/>
                  </a:lnTo>
                  <a:lnTo>
                    <a:pt x="1937" y="772"/>
                  </a:lnTo>
                  <a:lnTo>
                    <a:pt x="1937" y="772"/>
                  </a:lnTo>
                  <a:lnTo>
                    <a:pt x="1937" y="772"/>
                  </a:lnTo>
                  <a:lnTo>
                    <a:pt x="1937" y="769"/>
                  </a:lnTo>
                  <a:lnTo>
                    <a:pt x="1937" y="769"/>
                  </a:lnTo>
                  <a:lnTo>
                    <a:pt x="1937" y="767"/>
                  </a:lnTo>
                  <a:lnTo>
                    <a:pt x="1937" y="767"/>
                  </a:lnTo>
                  <a:lnTo>
                    <a:pt x="1937" y="764"/>
                  </a:lnTo>
                  <a:lnTo>
                    <a:pt x="1937" y="764"/>
                  </a:lnTo>
                  <a:lnTo>
                    <a:pt x="1934" y="764"/>
                  </a:lnTo>
                  <a:lnTo>
                    <a:pt x="1937" y="764"/>
                  </a:lnTo>
                  <a:lnTo>
                    <a:pt x="1937" y="764"/>
                  </a:lnTo>
                  <a:lnTo>
                    <a:pt x="1934" y="761"/>
                  </a:lnTo>
                  <a:lnTo>
                    <a:pt x="1934" y="761"/>
                  </a:lnTo>
                  <a:lnTo>
                    <a:pt x="1932" y="764"/>
                  </a:lnTo>
                  <a:lnTo>
                    <a:pt x="1932" y="764"/>
                  </a:lnTo>
                  <a:lnTo>
                    <a:pt x="1934" y="761"/>
                  </a:lnTo>
                  <a:lnTo>
                    <a:pt x="1934" y="761"/>
                  </a:lnTo>
                  <a:lnTo>
                    <a:pt x="1934" y="759"/>
                  </a:lnTo>
                  <a:lnTo>
                    <a:pt x="1934" y="759"/>
                  </a:lnTo>
                  <a:lnTo>
                    <a:pt x="1934" y="759"/>
                  </a:lnTo>
                  <a:lnTo>
                    <a:pt x="1932" y="756"/>
                  </a:lnTo>
                  <a:lnTo>
                    <a:pt x="1932" y="756"/>
                  </a:lnTo>
                  <a:lnTo>
                    <a:pt x="1932" y="756"/>
                  </a:lnTo>
                  <a:lnTo>
                    <a:pt x="1932" y="756"/>
                  </a:lnTo>
                  <a:lnTo>
                    <a:pt x="1934" y="756"/>
                  </a:lnTo>
                  <a:lnTo>
                    <a:pt x="1934" y="756"/>
                  </a:lnTo>
                  <a:lnTo>
                    <a:pt x="1934" y="756"/>
                  </a:lnTo>
                  <a:lnTo>
                    <a:pt x="1934" y="756"/>
                  </a:lnTo>
                  <a:lnTo>
                    <a:pt x="1934" y="759"/>
                  </a:lnTo>
                  <a:lnTo>
                    <a:pt x="1934" y="759"/>
                  </a:lnTo>
                  <a:lnTo>
                    <a:pt x="1934" y="759"/>
                  </a:lnTo>
                  <a:lnTo>
                    <a:pt x="1937" y="761"/>
                  </a:lnTo>
                  <a:lnTo>
                    <a:pt x="1937" y="761"/>
                  </a:lnTo>
                  <a:lnTo>
                    <a:pt x="1937" y="761"/>
                  </a:lnTo>
                  <a:lnTo>
                    <a:pt x="1937" y="761"/>
                  </a:lnTo>
                  <a:lnTo>
                    <a:pt x="1937" y="764"/>
                  </a:lnTo>
                  <a:lnTo>
                    <a:pt x="1937" y="764"/>
                  </a:lnTo>
                  <a:lnTo>
                    <a:pt x="1940" y="764"/>
                  </a:lnTo>
                  <a:lnTo>
                    <a:pt x="1940" y="764"/>
                  </a:lnTo>
                  <a:lnTo>
                    <a:pt x="1940" y="767"/>
                  </a:lnTo>
                  <a:lnTo>
                    <a:pt x="1940" y="767"/>
                  </a:lnTo>
                  <a:lnTo>
                    <a:pt x="1940" y="767"/>
                  </a:lnTo>
                  <a:lnTo>
                    <a:pt x="1940" y="767"/>
                  </a:lnTo>
                  <a:lnTo>
                    <a:pt x="1942" y="764"/>
                  </a:lnTo>
                  <a:lnTo>
                    <a:pt x="1942" y="761"/>
                  </a:lnTo>
                  <a:lnTo>
                    <a:pt x="1942" y="761"/>
                  </a:lnTo>
                  <a:lnTo>
                    <a:pt x="1940" y="761"/>
                  </a:lnTo>
                  <a:lnTo>
                    <a:pt x="1940" y="761"/>
                  </a:lnTo>
                  <a:lnTo>
                    <a:pt x="1942" y="761"/>
                  </a:lnTo>
                  <a:lnTo>
                    <a:pt x="1948" y="761"/>
                  </a:lnTo>
                  <a:lnTo>
                    <a:pt x="1948" y="761"/>
                  </a:lnTo>
                  <a:lnTo>
                    <a:pt x="1948" y="761"/>
                  </a:lnTo>
                  <a:lnTo>
                    <a:pt x="1942" y="764"/>
                  </a:lnTo>
                  <a:lnTo>
                    <a:pt x="1942" y="764"/>
                  </a:lnTo>
                  <a:lnTo>
                    <a:pt x="1942" y="764"/>
                  </a:lnTo>
                  <a:lnTo>
                    <a:pt x="1942" y="764"/>
                  </a:lnTo>
                  <a:lnTo>
                    <a:pt x="1942" y="764"/>
                  </a:lnTo>
                  <a:lnTo>
                    <a:pt x="1940" y="769"/>
                  </a:lnTo>
                  <a:lnTo>
                    <a:pt x="1940" y="769"/>
                  </a:lnTo>
                  <a:lnTo>
                    <a:pt x="1940" y="769"/>
                  </a:lnTo>
                  <a:lnTo>
                    <a:pt x="1942" y="772"/>
                  </a:lnTo>
                  <a:lnTo>
                    <a:pt x="1942" y="772"/>
                  </a:lnTo>
                  <a:lnTo>
                    <a:pt x="1942" y="772"/>
                  </a:lnTo>
                  <a:lnTo>
                    <a:pt x="1942" y="772"/>
                  </a:lnTo>
                  <a:lnTo>
                    <a:pt x="1945" y="775"/>
                  </a:lnTo>
                  <a:lnTo>
                    <a:pt x="1945" y="775"/>
                  </a:lnTo>
                  <a:lnTo>
                    <a:pt x="1945" y="775"/>
                  </a:lnTo>
                  <a:lnTo>
                    <a:pt x="1945" y="775"/>
                  </a:lnTo>
                  <a:lnTo>
                    <a:pt x="1945" y="777"/>
                  </a:lnTo>
                  <a:lnTo>
                    <a:pt x="1945" y="777"/>
                  </a:lnTo>
                  <a:lnTo>
                    <a:pt x="1945" y="777"/>
                  </a:lnTo>
                  <a:lnTo>
                    <a:pt x="1948" y="780"/>
                  </a:lnTo>
                  <a:lnTo>
                    <a:pt x="1950" y="780"/>
                  </a:lnTo>
                  <a:lnTo>
                    <a:pt x="1950" y="780"/>
                  </a:lnTo>
                  <a:lnTo>
                    <a:pt x="1950" y="780"/>
                  </a:lnTo>
                  <a:lnTo>
                    <a:pt x="1950" y="780"/>
                  </a:lnTo>
                  <a:lnTo>
                    <a:pt x="1950" y="783"/>
                  </a:lnTo>
                  <a:lnTo>
                    <a:pt x="1950" y="783"/>
                  </a:lnTo>
                  <a:lnTo>
                    <a:pt x="1950" y="783"/>
                  </a:lnTo>
                  <a:lnTo>
                    <a:pt x="1950" y="785"/>
                  </a:lnTo>
                  <a:lnTo>
                    <a:pt x="1950" y="785"/>
                  </a:lnTo>
                  <a:lnTo>
                    <a:pt x="1953" y="785"/>
                  </a:lnTo>
                  <a:lnTo>
                    <a:pt x="1953" y="788"/>
                  </a:lnTo>
                  <a:lnTo>
                    <a:pt x="1953" y="788"/>
                  </a:lnTo>
                  <a:lnTo>
                    <a:pt x="1953" y="788"/>
                  </a:lnTo>
                  <a:lnTo>
                    <a:pt x="1953" y="791"/>
                  </a:lnTo>
                  <a:lnTo>
                    <a:pt x="1950" y="791"/>
                  </a:lnTo>
                  <a:lnTo>
                    <a:pt x="1950" y="791"/>
                  </a:lnTo>
                  <a:lnTo>
                    <a:pt x="1950" y="791"/>
                  </a:lnTo>
                  <a:lnTo>
                    <a:pt x="1950" y="791"/>
                  </a:lnTo>
                  <a:lnTo>
                    <a:pt x="1950" y="791"/>
                  </a:lnTo>
                  <a:lnTo>
                    <a:pt x="1950" y="791"/>
                  </a:lnTo>
                  <a:lnTo>
                    <a:pt x="1950" y="791"/>
                  </a:lnTo>
                  <a:lnTo>
                    <a:pt x="1950" y="791"/>
                  </a:lnTo>
                  <a:lnTo>
                    <a:pt x="1953" y="791"/>
                  </a:lnTo>
                  <a:lnTo>
                    <a:pt x="1953" y="791"/>
                  </a:lnTo>
                  <a:lnTo>
                    <a:pt x="1953" y="793"/>
                  </a:lnTo>
                  <a:lnTo>
                    <a:pt x="1953" y="796"/>
                  </a:lnTo>
                  <a:lnTo>
                    <a:pt x="1953" y="796"/>
                  </a:lnTo>
                  <a:lnTo>
                    <a:pt x="1953" y="796"/>
                  </a:lnTo>
                  <a:lnTo>
                    <a:pt x="1961" y="793"/>
                  </a:lnTo>
                  <a:lnTo>
                    <a:pt x="1961" y="791"/>
                  </a:lnTo>
                  <a:lnTo>
                    <a:pt x="1961" y="791"/>
                  </a:lnTo>
                  <a:lnTo>
                    <a:pt x="1964" y="791"/>
                  </a:lnTo>
                  <a:lnTo>
                    <a:pt x="1964" y="791"/>
                  </a:lnTo>
                  <a:lnTo>
                    <a:pt x="1966" y="793"/>
                  </a:lnTo>
                  <a:lnTo>
                    <a:pt x="1966" y="793"/>
                  </a:lnTo>
                  <a:lnTo>
                    <a:pt x="1966" y="793"/>
                  </a:lnTo>
                  <a:lnTo>
                    <a:pt x="1966" y="793"/>
                  </a:lnTo>
                  <a:lnTo>
                    <a:pt x="1966" y="791"/>
                  </a:lnTo>
                  <a:lnTo>
                    <a:pt x="1966" y="791"/>
                  </a:lnTo>
                  <a:lnTo>
                    <a:pt x="1966" y="788"/>
                  </a:lnTo>
                  <a:lnTo>
                    <a:pt x="1966" y="788"/>
                  </a:lnTo>
                  <a:lnTo>
                    <a:pt x="1964" y="788"/>
                  </a:lnTo>
                  <a:lnTo>
                    <a:pt x="1964" y="785"/>
                  </a:lnTo>
                  <a:lnTo>
                    <a:pt x="1964" y="785"/>
                  </a:lnTo>
                  <a:lnTo>
                    <a:pt x="1966" y="785"/>
                  </a:lnTo>
                  <a:lnTo>
                    <a:pt x="1966" y="788"/>
                  </a:lnTo>
                  <a:lnTo>
                    <a:pt x="1966" y="788"/>
                  </a:lnTo>
                  <a:lnTo>
                    <a:pt x="1969" y="791"/>
                  </a:lnTo>
                  <a:lnTo>
                    <a:pt x="1969" y="791"/>
                  </a:lnTo>
                  <a:lnTo>
                    <a:pt x="1969" y="793"/>
                  </a:lnTo>
                  <a:lnTo>
                    <a:pt x="1972" y="796"/>
                  </a:lnTo>
                  <a:lnTo>
                    <a:pt x="1974" y="799"/>
                  </a:lnTo>
                  <a:lnTo>
                    <a:pt x="1974" y="799"/>
                  </a:lnTo>
                  <a:lnTo>
                    <a:pt x="1980" y="799"/>
                  </a:lnTo>
                  <a:lnTo>
                    <a:pt x="1982" y="799"/>
                  </a:lnTo>
                  <a:lnTo>
                    <a:pt x="1982" y="799"/>
                  </a:lnTo>
                  <a:lnTo>
                    <a:pt x="1982" y="799"/>
                  </a:lnTo>
                  <a:lnTo>
                    <a:pt x="1982" y="799"/>
                  </a:lnTo>
                  <a:lnTo>
                    <a:pt x="1982" y="796"/>
                  </a:lnTo>
                  <a:lnTo>
                    <a:pt x="1982" y="796"/>
                  </a:lnTo>
                  <a:lnTo>
                    <a:pt x="1982" y="796"/>
                  </a:lnTo>
                  <a:lnTo>
                    <a:pt x="1982" y="796"/>
                  </a:lnTo>
                  <a:lnTo>
                    <a:pt x="1982" y="793"/>
                  </a:lnTo>
                  <a:lnTo>
                    <a:pt x="1982" y="793"/>
                  </a:lnTo>
                  <a:lnTo>
                    <a:pt x="1982" y="793"/>
                  </a:lnTo>
                  <a:lnTo>
                    <a:pt x="1982" y="793"/>
                  </a:lnTo>
                  <a:lnTo>
                    <a:pt x="1982" y="793"/>
                  </a:lnTo>
                  <a:lnTo>
                    <a:pt x="1982" y="793"/>
                  </a:lnTo>
                  <a:lnTo>
                    <a:pt x="1982" y="791"/>
                  </a:lnTo>
                  <a:lnTo>
                    <a:pt x="1982" y="791"/>
                  </a:lnTo>
                  <a:lnTo>
                    <a:pt x="1980" y="785"/>
                  </a:lnTo>
                  <a:lnTo>
                    <a:pt x="1977" y="783"/>
                  </a:lnTo>
                  <a:lnTo>
                    <a:pt x="1977" y="783"/>
                  </a:lnTo>
                  <a:lnTo>
                    <a:pt x="1977" y="783"/>
                  </a:lnTo>
                  <a:lnTo>
                    <a:pt x="1977" y="780"/>
                  </a:lnTo>
                  <a:lnTo>
                    <a:pt x="1977" y="780"/>
                  </a:lnTo>
                  <a:lnTo>
                    <a:pt x="1977" y="780"/>
                  </a:lnTo>
                  <a:lnTo>
                    <a:pt x="1977" y="780"/>
                  </a:lnTo>
                  <a:lnTo>
                    <a:pt x="1974" y="780"/>
                  </a:lnTo>
                  <a:lnTo>
                    <a:pt x="1974" y="777"/>
                  </a:lnTo>
                  <a:lnTo>
                    <a:pt x="1972" y="775"/>
                  </a:lnTo>
                  <a:lnTo>
                    <a:pt x="1972" y="775"/>
                  </a:lnTo>
                  <a:lnTo>
                    <a:pt x="1972" y="775"/>
                  </a:lnTo>
                  <a:lnTo>
                    <a:pt x="1972" y="772"/>
                  </a:lnTo>
                  <a:lnTo>
                    <a:pt x="1972" y="772"/>
                  </a:lnTo>
                  <a:lnTo>
                    <a:pt x="1972" y="772"/>
                  </a:lnTo>
                  <a:lnTo>
                    <a:pt x="1969" y="767"/>
                  </a:lnTo>
                  <a:lnTo>
                    <a:pt x="1969" y="767"/>
                  </a:lnTo>
                  <a:lnTo>
                    <a:pt x="1969" y="767"/>
                  </a:lnTo>
                  <a:lnTo>
                    <a:pt x="1969" y="764"/>
                  </a:lnTo>
                  <a:lnTo>
                    <a:pt x="1964" y="761"/>
                  </a:lnTo>
                  <a:lnTo>
                    <a:pt x="1964" y="759"/>
                  </a:lnTo>
                  <a:lnTo>
                    <a:pt x="1964" y="759"/>
                  </a:lnTo>
                  <a:lnTo>
                    <a:pt x="1964" y="756"/>
                  </a:lnTo>
                  <a:lnTo>
                    <a:pt x="1964" y="756"/>
                  </a:lnTo>
                  <a:lnTo>
                    <a:pt x="1961" y="756"/>
                  </a:lnTo>
                  <a:lnTo>
                    <a:pt x="1961" y="756"/>
                  </a:lnTo>
                  <a:lnTo>
                    <a:pt x="1961" y="756"/>
                  </a:lnTo>
                  <a:lnTo>
                    <a:pt x="1958" y="753"/>
                  </a:lnTo>
                  <a:lnTo>
                    <a:pt x="1958" y="753"/>
                  </a:lnTo>
                  <a:lnTo>
                    <a:pt x="1958" y="751"/>
                  </a:lnTo>
                  <a:lnTo>
                    <a:pt x="1958" y="751"/>
                  </a:lnTo>
                  <a:lnTo>
                    <a:pt x="1958" y="751"/>
                  </a:lnTo>
                  <a:lnTo>
                    <a:pt x="1958" y="751"/>
                  </a:lnTo>
                  <a:lnTo>
                    <a:pt x="1958" y="748"/>
                  </a:lnTo>
                  <a:lnTo>
                    <a:pt x="1958" y="748"/>
                  </a:lnTo>
                  <a:lnTo>
                    <a:pt x="1958" y="748"/>
                  </a:lnTo>
                  <a:lnTo>
                    <a:pt x="1958" y="745"/>
                  </a:lnTo>
                  <a:lnTo>
                    <a:pt x="1958" y="745"/>
                  </a:lnTo>
                  <a:lnTo>
                    <a:pt x="1956" y="745"/>
                  </a:lnTo>
                  <a:lnTo>
                    <a:pt x="1956" y="743"/>
                  </a:lnTo>
                  <a:lnTo>
                    <a:pt x="1956" y="743"/>
                  </a:lnTo>
                  <a:lnTo>
                    <a:pt x="1953" y="743"/>
                  </a:lnTo>
                  <a:lnTo>
                    <a:pt x="1953" y="740"/>
                  </a:lnTo>
                  <a:lnTo>
                    <a:pt x="1953" y="740"/>
                  </a:lnTo>
                  <a:lnTo>
                    <a:pt x="1950" y="737"/>
                  </a:lnTo>
                  <a:lnTo>
                    <a:pt x="1948" y="737"/>
                  </a:lnTo>
                  <a:lnTo>
                    <a:pt x="1950" y="737"/>
                  </a:lnTo>
                  <a:lnTo>
                    <a:pt x="1950" y="737"/>
                  </a:lnTo>
                  <a:lnTo>
                    <a:pt x="1953" y="737"/>
                  </a:lnTo>
                  <a:lnTo>
                    <a:pt x="1956" y="740"/>
                  </a:lnTo>
                  <a:lnTo>
                    <a:pt x="1956" y="740"/>
                  </a:lnTo>
                  <a:lnTo>
                    <a:pt x="1956" y="743"/>
                  </a:lnTo>
                  <a:lnTo>
                    <a:pt x="1956" y="743"/>
                  </a:lnTo>
                  <a:lnTo>
                    <a:pt x="1958" y="743"/>
                  </a:lnTo>
                  <a:lnTo>
                    <a:pt x="1958" y="743"/>
                  </a:lnTo>
                  <a:lnTo>
                    <a:pt x="1958" y="745"/>
                  </a:lnTo>
                  <a:lnTo>
                    <a:pt x="1958" y="743"/>
                  </a:lnTo>
                  <a:lnTo>
                    <a:pt x="1958" y="743"/>
                  </a:lnTo>
                  <a:lnTo>
                    <a:pt x="1958" y="743"/>
                  </a:lnTo>
                  <a:lnTo>
                    <a:pt x="1958" y="743"/>
                  </a:lnTo>
                  <a:lnTo>
                    <a:pt x="1958" y="740"/>
                  </a:lnTo>
                  <a:lnTo>
                    <a:pt x="1958" y="740"/>
                  </a:lnTo>
                  <a:lnTo>
                    <a:pt x="1958" y="740"/>
                  </a:lnTo>
                  <a:lnTo>
                    <a:pt x="1958" y="740"/>
                  </a:lnTo>
                  <a:lnTo>
                    <a:pt x="1958" y="740"/>
                  </a:lnTo>
                  <a:lnTo>
                    <a:pt x="1958" y="740"/>
                  </a:lnTo>
                  <a:lnTo>
                    <a:pt x="1956" y="737"/>
                  </a:lnTo>
                  <a:lnTo>
                    <a:pt x="1956" y="737"/>
                  </a:lnTo>
                  <a:lnTo>
                    <a:pt x="1956" y="737"/>
                  </a:lnTo>
                  <a:lnTo>
                    <a:pt x="1956" y="737"/>
                  </a:lnTo>
                  <a:lnTo>
                    <a:pt x="1953" y="735"/>
                  </a:lnTo>
                  <a:lnTo>
                    <a:pt x="1953" y="735"/>
                  </a:lnTo>
                  <a:lnTo>
                    <a:pt x="1953" y="735"/>
                  </a:lnTo>
                  <a:lnTo>
                    <a:pt x="1953" y="735"/>
                  </a:lnTo>
                  <a:lnTo>
                    <a:pt x="1953" y="735"/>
                  </a:lnTo>
                  <a:lnTo>
                    <a:pt x="1953" y="735"/>
                  </a:lnTo>
                  <a:lnTo>
                    <a:pt x="1950" y="732"/>
                  </a:lnTo>
                  <a:lnTo>
                    <a:pt x="1950" y="732"/>
                  </a:lnTo>
                  <a:lnTo>
                    <a:pt x="1948" y="732"/>
                  </a:lnTo>
                  <a:lnTo>
                    <a:pt x="1948" y="732"/>
                  </a:lnTo>
                  <a:lnTo>
                    <a:pt x="1948" y="732"/>
                  </a:lnTo>
                  <a:lnTo>
                    <a:pt x="1950" y="732"/>
                  </a:lnTo>
                  <a:lnTo>
                    <a:pt x="1950" y="732"/>
                  </a:lnTo>
                  <a:lnTo>
                    <a:pt x="1953" y="732"/>
                  </a:lnTo>
                  <a:lnTo>
                    <a:pt x="1953" y="729"/>
                  </a:lnTo>
                  <a:lnTo>
                    <a:pt x="1950" y="727"/>
                  </a:lnTo>
                  <a:lnTo>
                    <a:pt x="1950" y="721"/>
                  </a:lnTo>
                  <a:lnTo>
                    <a:pt x="1950" y="719"/>
                  </a:lnTo>
                  <a:lnTo>
                    <a:pt x="1953" y="721"/>
                  </a:lnTo>
                  <a:lnTo>
                    <a:pt x="1953" y="724"/>
                  </a:lnTo>
                  <a:lnTo>
                    <a:pt x="1953" y="729"/>
                  </a:lnTo>
                  <a:lnTo>
                    <a:pt x="1953" y="732"/>
                  </a:lnTo>
                  <a:lnTo>
                    <a:pt x="1956" y="735"/>
                  </a:lnTo>
                  <a:lnTo>
                    <a:pt x="1958" y="737"/>
                  </a:lnTo>
                  <a:lnTo>
                    <a:pt x="1958" y="737"/>
                  </a:lnTo>
                  <a:lnTo>
                    <a:pt x="1961" y="740"/>
                  </a:lnTo>
                  <a:lnTo>
                    <a:pt x="1961" y="743"/>
                  </a:lnTo>
                  <a:lnTo>
                    <a:pt x="1961" y="743"/>
                  </a:lnTo>
                  <a:lnTo>
                    <a:pt x="1964" y="745"/>
                  </a:lnTo>
                  <a:lnTo>
                    <a:pt x="1964" y="745"/>
                  </a:lnTo>
                  <a:lnTo>
                    <a:pt x="1964" y="748"/>
                  </a:lnTo>
                  <a:lnTo>
                    <a:pt x="1964" y="748"/>
                  </a:lnTo>
                  <a:lnTo>
                    <a:pt x="1966" y="748"/>
                  </a:lnTo>
                  <a:lnTo>
                    <a:pt x="1966" y="748"/>
                  </a:lnTo>
                  <a:lnTo>
                    <a:pt x="1966" y="751"/>
                  </a:lnTo>
                  <a:lnTo>
                    <a:pt x="1966" y="753"/>
                  </a:lnTo>
                  <a:lnTo>
                    <a:pt x="1969" y="753"/>
                  </a:lnTo>
                  <a:lnTo>
                    <a:pt x="1969" y="753"/>
                  </a:lnTo>
                  <a:lnTo>
                    <a:pt x="1969" y="756"/>
                  </a:lnTo>
                  <a:lnTo>
                    <a:pt x="1969" y="759"/>
                  </a:lnTo>
                  <a:lnTo>
                    <a:pt x="1969" y="759"/>
                  </a:lnTo>
                  <a:lnTo>
                    <a:pt x="1969" y="759"/>
                  </a:lnTo>
                  <a:lnTo>
                    <a:pt x="1972" y="761"/>
                  </a:lnTo>
                  <a:lnTo>
                    <a:pt x="1974" y="764"/>
                  </a:lnTo>
                  <a:lnTo>
                    <a:pt x="1974" y="764"/>
                  </a:lnTo>
                  <a:lnTo>
                    <a:pt x="1974" y="764"/>
                  </a:lnTo>
                  <a:lnTo>
                    <a:pt x="1974" y="764"/>
                  </a:lnTo>
                  <a:lnTo>
                    <a:pt x="1974" y="764"/>
                  </a:lnTo>
                  <a:lnTo>
                    <a:pt x="1974" y="761"/>
                  </a:lnTo>
                  <a:lnTo>
                    <a:pt x="1974" y="761"/>
                  </a:lnTo>
                  <a:lnTo>
                    <a:pt x="1974" y="761"/>
                  </a:lnTo>
                  <a:lnTo>
                    <a:pt x="1974" y="761"/>
                  </a:lnTo>
                  <a:lnTo>
                    <a:pt x="1974" y="759"/>
                  </a:lnTo>
                  <a:lnTo>
                    <a:pt x="1974" y="759"/>
                  </a:lnTo>
                  <a:lnTo>
                    <a:pt x="1974" y="759"/>
                  </a:lnTo>
                  <a:lnTo>
                    <a:pt x="1977" y="759"/>
                  </a:lnTo>
                  <a:lnTo>
                    <a:pt x="1977" y="759"/>
                  </a:lnTo>
                  <a:lnTo>
                    <a:pt x="1977" y="759"/>
                  </a:lnTo>
                  <a:lnTo>
                    <a:pt x="1977" y="759"/>
                  </a:lnTo>
                  <a:lnTo>
                    <a:pt x="1977" y="761"/>
                  </a:lnTo>
                  <a:lnTo>
                    <a:pt x="1980" y="761"/>
                  </a:lnTo>
                  <a:lnTo>
                    <a:pt x="1980" y="764"/>
                  </a:lnTo>
                  <a:lnTo>
                    <a:pt x="1980" y="767"/>
                  </a:lnTo>
                  <a:lnTo>
                    <a:pt x="1980" y="767"/>
                  </a:lnTo>
                  <a:lnTo>
                    <a:pt x="1980" y="769"/>
                  </a:lnTo>
                  <a:lnTo>
                    <a:pt x="1980" y="769"/>
                  </a:lnTo>
                  <a:lnTo>
                    <a:pt x="1980" y="769"/>
                  </a:lnTo>
                  <a:lnTo>
                    <a:pt x="1980" y="767"/>
                  </a:lnTo>
                  <a:lnTo>
                    <a:pt x="1980" y="769"/>
                  </a:lnTo>
                  <a:lnTo>
                    <a:pt x="1980" y="769"/>
                  </a:lnTo>
                  <a:lnTo>
                    <a:pt x="1977" y="767"/>
                  </a:lnTo>
                  <a:lnTo>
                    <a:pt x="1980" y="769"/>
                  </a:lnTo>
                  <a:lnTo>
                    <a:pt x="1980" y="772"/>
                  </a:lnTo>
                  <a:lnTo>
                    <a:pt x="1982" y="775"/>
                  </a:lnTo>
                  <a:lnTo>
                    <a:pt x="1985" y="775"/>
                  </a:lnTo>
                  <a:lnTo>
                    <a:pt x="1985" y="775"/>
                  </a:lnTo>
                  <a:lnTo>
                    <a:pt x="1988" y="777"/>
                  </a:lnTo>
                  <a:lnTo>
                    <a:pt x="1988" y="777"/>
                  </a:lnTo>
                  <a:lnTo>
                    <a:pt x="1988" y="777"/>
                  </a:lnTo>
                  <a:lnTo>
                    <a:pt x="1988" y="777"/>
                  </a:lnTo>
                  <a:lnTo>
                    <a:pt x="1988" y="777"/>
                  </a:lnTo>
                  <a:lnTo>
                    <a:pt x="1988" y="777"/>
                  </a:lnTo>
                  <a:lnTo>
                    <a:pt x="1988" y="777"/>
                  </a:lnTo>
                  <a:lnTo>
                    <a:pt x="1988" y="777"/>
                  </a:lnTo>
                  <a:lnTo>
                    <a:pt x="1990" y="780"/>
                  </a:lnTo>
                  <a:lnTo>
                    <a:pt x="1990" y="783"/>
                  </a:lnTo>
                  <a:lnTo>
                    <a:pt x="1990" y="783"/>
                  </a:lnTo>
                  <a:lnTo>
                    <a:pt x="1990" y="785"/>
                  </a:lnTo>
                  <a:lnTo>
                    <a:pt x="1993" y="785"/>
                  </a:lnTo>
                  <a:lnTo>
                    <a:pt x="1993" y="785"/>
                  </a:lnTo>
                  <a:lnTo>
                    <a:pt x="1993" y="785"/>
                  </a:lnTo>
                  <a:lnTo>
                    <a:pt x="1996" y="783"/>
                  </a:lnTo>
                  <a:lnTo>
                    <a:pt x="1996" y="783"/>
                  </a:lnTo>
                  <a:lnTo>
                    <a:pt x="1996" y="785"/>
                  </a:lnTo>
                  <a:lnTo>
                    <a:pt x="1996" y="785"/>
                  </a:lnTo>
                  <a:lnTo>
                    <a:pt x="1996" y="785"/>
                  </a:lnTo>
                  <a:lnTo>
                    <a:pt x="1996" y="785"/>
                  </a:lnTo>
                  <a:lnTo>
                    <a:pt x="1996" y="785"/>
                  </a:lnTo>
                  <a:lnTo>
                    <a:pt x="1996" y="785"/>
                  </a:lnTo>
                  <a:lnTo>
                    <a:pt x="1996" y="785"/>
                  </a:lnTo>
                  <a:lnTo>
                    <a:pt x="1998" y="785"/>
                  </a:lnTo>
                  <a:lnTo>
                    <a:pt x="1998" y="785"/>
                  </a:lnTo>
                  <a:lnTo>
                    <a:pt x="1998" y="785"/>
                  </a:lnTo>
                  <a:lnTo>
                    <a:pt x="2001" y="785"/>
                  </a:lnTo>
                  <a:lnTo>
                    <a:pt x="2001" y="785"/>
                  </a:lnTo>
                  <a:lnTo>
                    <a:pt x="2001" y="785"/>
                  </a:lnTo>
                  <a:lnTo>
                    <a:pt x="2004" y="785"/>
                  </a:lnTo>
                  <a:lnTo>
                    <a:pt x="2004" y="785"/>
                  </a:lnTo>
                  <a:lnTo>
                    <a:pt x="2012" y="791"/>
                  </a:lnTo>
                  <a:lnTo>
                    <a:pt x="2014" y="791"/>
                  </a:lnTo>
                  <a:lnTo>
                    <a:pt x="2014" y="791"/>
                  </a:lnTo>
                  <a:lnTo>
                    <a:pt x="2014" y="791"/>
                  </a:lnTo>
                  <a:lnTo>
                    <a:pt x="2017" y="791"/>
                  </a:lnTo>
                  <a:lnTo>
                    <a:pt x="2017" y="788"/>
                  </a:lnTo>
                  <a:lnTo>
                    <a:pt x="2017" y="788"/>
                  </a:lnTo>
                  <a:lnTo>
                    <a:pt x="2017" y="788"/>
                  </a:lnTo>
                  <a:lnTo>
                    <a:pt x="2017" y="785"/>
                  </a:lnTo>
                  <a:lnTo>
                    <a:pt x="2014" y="785"/>
                  </a:lnTo>
                  <a:lnTo>
                    <a:pt x="2014" y="785"/>
                  </a:lnTo>
                  <a:lnTo>
                    <a:pt x="2014" y="783"/>
                  </a:lnTo>
                  <a:lnTo>
                    <a:pt x="2014" y="783"/>
                  </a:lnTo>
                  <a:lnTo>
                    <a:pt x="2014" y="780"/>
                  </a:lnTo>
                  <a:lnTo>
                    <a:pt x="2017" y="780"/>
                  </a:lnTo>
                  <a:lnTo>
                    <a:pt x="2017" y="777"/>
                  </a:lnTo>
                  <a:lnTo>
                    <a:pt x="2014" y="777"/>
                  </a:lnTo>
                  <a:lnTo>
                    <a:pt x="2014" y="775"/>
                  </a:lnTo>
                  <a:lnTo>
                    <a:pt x="2014" y="775"/>
                  </a:lnTo>
                  <a:lnTo>
                    <a:pt x="2014" y="775"/>
                  </a:lnTo>
                  <a:lnTo>
                    <a:pt x="2014" y="775"/>
                  </a:lnTo>
                  <a:lnTo>
                    <a:pt x="2017" y="775"/>
                  </a:lnTo>
                  <a:lnTo>
                    <a:pt x="2017" y="772"/>
                  </a:lnTo>
                  <a:lnTo>
                    <a:pt x="2017" y="772"/>
                  </a:lnTo>
                  <a:lnTo>
                    <a:pt x="2017" y="769"/>
                  </a:lnTo>
                  <a:lnTo>
                    <a:pt x="2014" y="769"/>
                  </a:lnTo>
                  <a:lnTo>
                    <a:pt x="2017" y="769"/>
                  </a:lnTo>
                  <a:lnTo>
                    <a:pt x="2017" y="767"/>
                  </a:lnTo>
                  <a:lnTo>
                    <a:pt x="2017" y="767"/>
                  </a:lnTo>
                  <a:lnTo>
                    <a:pt x="2022" y="767"/>
                  </a:lnTo>
                  <a:lnTo>
                    <a:pt x="2022" y="767"/>
                  </a:lnTo>
                  <a:lnTo>
                    <a:pt x="2020" y="767"/>
                  </a:lnTo>
                  <a:lnTo>
                    <a:pt x="2017" y="769"/>
                  </a:lnTo>
                  <a:lnTo>
                    <a:pt x="2017" y="772"/>
                  </a:lnTo>
                  <a:lnTo>
                    <a:pt x="2017" y="772"/>
                  </a:lnTo>
                  <a:lnTo>
                    <a:pt x="2017" y="772"/>
                  </a:lnTo>
                  <a:lnTo>
                    <a:pt x="2017" y="772"/>
                  </a:lnTo>
                  <a:lnTo>
                    <a:pt x="2017" y="775"/>
                  </a:lnTo>
                  <a:lnTo>
                    <a:pt x="2017" y="775"/>
                  </a:lnTo>
                  <a:lnTo>
                    <a:pt x="2017" y="775"/>
                  </a:lnTo>
                  <a:lnTo>
                    <a:pt x="2017" y="775"/>
                  </a:lnTo>
                  <a:lnTo>
                    <a:pt x="2017" y="777"/>
                  </a:lnTo>
                  <a:lnTo>
                    <a:pt x="2017" y="777"/>
                  </a:lnTo>
                  <a:lnTo>
                    <a:pt x="2020" y="780"/>
                  </a:lnTo>
                  <a:lnTo>
                    <a:pt x="2020" y="780"/>
                  </a:lnTo>
                  <a:lnTo>
                    <a:pt x="2020" y="780"/>
                  </a:lnTo>
                  <a:lnTo>
                    <a:pt x="2020" y="780"/>
                  </a:lnTo>
                  <a:lnTo>
                    <a:pt x="2020" y="783"/>
                  </a:lnTo>
                  <a:lnTo>
                    <a:pt x="2020" y="783"/>
                  </a:lnTo>
                  <a:lnTo>
                    <a:pt x="2017" y="783"/>
                  </a:lnTo>
                  <a:lnTo>
                    <a:pt x="2017" y="783"/>
                  </a:lnTo>
                  <a:lnTo>
                    <a:pt x="2017" y="785"/>
                  </a:lnTo>
                  <a:lnTo>
                    <a:pt x="2017" y="785"/>
                  </a:lnTo>
                  <a:lnTo>
                    <a:pt x="2017" y="785"/>
                  </a:lnTo>
                  <a:lnTo>
                    <a:pt x="2017" y="785"/>
                  </a:lnTo>
                  <a:lnTo>
                    <a:pt x="2017" y="785"/>
                  </a:lnTo>
                  <a:lnTo>
                    <a:pt x="2017" y="785"/>
                  </a:lnTo>
                  <a:lnTo>
                    <a:pt x="2017" y="785"/>
                  </a:lnTo>
                  <a:lnTo>
                    <a:pt x="2017" y="788"/>
                  </a:lnTo>
                  <a:lnTo>
                    <a:pt x="2017" y="788"/>
                  </a:lnTo>
                  <a:lnTo>
                    <a:pt x="2017" y="788"/>
                  </a:lnTo>
                  <a:lnTo>
                    <a:pt x="2017" y="788"/>
                  </a:lnTo>
                  <a:lnTo>
                    <a:pt x="2017" y="788"/>
                  </a:lnTo>
                  <a:lnTo>
                    <a:pt x="2017" y="791"/>
                  </a:lnTo>
                  <a:lnTo>
                    <a:pt x="2017" y="791"/>
                  </a:lnTo>
                  <a:lnTo>
                    <a:pt x="2020" y="791"/>
                  </a:lnTo>
                  <a:lnTo>
                    <a:pt x="2020" y="793"/>
                  </a:lnTo>
                  <a:lnTo>
                    <a:pt x="2020" y="793"/>
                  </a:lnTo>
                  <a:lnTo>
                    <a:pt x="2020" y="793"/>
                  </a:lnTo>
                  <a:lnTo>
                    <a:pt x="2020" y="793"/>
                  </a:lnTo>
                  <a:lnTo>
                    <a:pt x="2020" y="793"/>
                  </a:lnTo>
                  <a:lnTo>
                    <a:pt x="2022" y="793"/>
                  </a:lnTo>
                  <a:lnTo>
                    <a:pt x="2020" y="796"/>
                  </a:lnTo>
                  <a:lnTo>
                    <a:pt x="2020" y="796"/>
                  </a:lnTo>
                  <a:lnTo>
                    <a:pt x="2020" y="796"/>
                  </a:lnTo>
                  <a:lnTo>
                    <a:pt x="2022" y="796"/>
                  </a:lnTo>
                  <a:lnTo>
                    <a:pt x="2022" y="799"/>
                  </a:lnTo>
                  <a:lnTo>
                    <a:pt x="2022" y="799"/>
                  </a:lnTo>
                  <a:lnTo>
                    <a:pt x="2022" y="799"/>
                  </a:lnTo>
                  <a:lnTo>
                    <a:pt x="2022" y="799"/>
                  </a:lnTo>
                  <a:lnTo>
                    <a:pt x="2022" y="799"/>
                  </a:lnTo>
                  <a:lnTo>
                    <a:pt x="2022" y="799"/>
                  </a:lnTo>
                  <a:lnTo>
                    <a:pt x="2025" y="799"/>
                  </a:lnTo>
                  <a:lnTo>
                    <a:pt x="2025" y="799"/>
                  </a:lnTo>
                  <a:lnTo>
                    <a:pt x="2025" y="799"/>
                  </a:lnTo>
                  <a:lnTo>
                    <a:pt x="2025" y="799"/>
                  </a:lnTo>
                  <a:lnTo>
                    <a:pt x="2025" y="799"/>
                  </a:lnTo>
                  <a:lnTo>
                    <a:pt x="2025" y="801"/>
                  </a:lnTo>
                  <a:lnTo>
                    <a:pt x="2025" y="801"/>
                  </a:lnTo>
                  <a:lnTo>
                    <a:pt x="2025" y="801"/>
                  </a:lnTo>
                  <a:lnTo>
                    <a:pt x="2028" y="801"/>
                  </a:lnTo>
                  <a:lnTo>
                    <a:pt x="2028" y="801"/>
                  </a:lnTo>
                  <a:lnTo>
                    <a:pt x="2028" y="801"/>
                  </a:lnTo>
                  <a:lnTo>
                    <a:pt x="2028" y="801"/>
                  </a:lnTo>
                  <a:lnTo>
                    <a:pt x="2028" y="801"/>
                  </a:lnTo>
                  <a:lnTo>
                    <a:pt x="2028" y="801"/>
                  </a:lnTo>
                  <a:lnTo>
                    <a:pt x="2028" y="801"/>
                  </a:lnTo>
                  <a:lnTo>
                    <a:pt x="2030" y="801"/>
                  </a:lnTo>
                  <a:lnTo>
                    <a:pt x="2030" y="801"/>
                  </a:lnTo>
                  <a:lnTo>
                    <a:pt x="2030" y="799"/>
                  </a:lnTo>
                  <a:lnTo>
                    <a:pt x="2030" y="799"/>
                  </a:lnTo>
                  <a:lnTo>
                    <a:pt x="2030" y="796"/>
                  </a:lnTo>
                  <a:lnTo>
                    <a:pt x="2030" y="793"/>
                  </a:lnTo>
                  <a:lnTo>
                    <a:pt x="2030" y="791"/>
                  </a:lnTo>
                  <a:lnTo>
                    <a:pt x="2030" y="791"/>
                  </a:lnTo>
                  <a:lnTo>
                    <a:pt x="2030" y="791"/>
                  </a:lnTo>
                  <a:lnTo>
                    <a:pt x="2033" y="788"/>
                  </a:lnTo>
                  <a:lnTo>
                    <a:pt x="2033" y="788"/>
                  </a:lnTo>
                  <a:lnTo>
                    <a:pt x="2033" y="788"/>
                  </a:lnTo>
                  <a:lnTo>
                    <a:pt x="2033" y="788"/>
                  </a:lnTo>
                  <a:lnTo>
                    <a:pt x="2033" y="791"/>
                  </a:lnTo>
                  <a:lnTo>
                    <a:pt x="2033" y="791"/>
                  </a:lnTo>
                  <a:lnTo>
                    <a:pt x="2033" y="791"/>
                  </a:lnTo>
                  <a:lnTo>
                    <a:pt x="2033" y="791"/>
                  </a:lnTo>
                  <a:lnTo>
                    <a:pt x="2033" y="793"/>
                  </a:lnTo>
                  <a:lnTo>
                    <a:pt x="2033" y="793"/>
                  </a:lnTo>
                  <a:lnTo>
                    <a:pt x="2033" y="796"/>
                  </a:lnTo>
                  <a:lnTo>
                    <a:pt x="2033" y="796"/>
                  </a:lnTo>
                  <a:lnTo>
                    <a:pt x="2033" y="799"/>
                  </a:lnTo>
                  <a:lnTo>
                    <a:pt x="2036" y="796"/>
                  </a:lnTo>
                  <a:lnTo>
                    <a:pt x="2036" y="799"/>
                  </a:lnTo>
                  <a:lnTo>
                    <a:pt x="2036" y="799"/>
                  </a:lnTo>
                  <a:lnTo>
                    <a:pt x="2036" y="799"/>
                  </a:lnTo>
                  <a:lnTo>
                    <a:pt x="2036" y="801"/>
                  </a:lnTo>
                  <a:lnTo>
                    <a:pt x="2036" y="801"/>
                  </a:lnTo>
                  <a:lnTo>
                    <a:pt x="2036" y="801"/>
                  </a:lnTo>
                  <a:lnTo>
                    <a:pt x="2036" y="801"/>
                  </a:lnTo>
                  <a:lnTo>
                    <a:pt x="2036" y="801"/>
                  </a:lnTo>
                  <a:lnTo>
                    <a:pt x="2033" y="801"/>
                  </a:lnTo>
                  <a:lnTo>
                    <a:pt x="2033" y="801"/>
                  </a:lnTo>
                  <a:lnTo>
                    <a:pt x="2033" y="801"/>
                  </a:lnTo>
                  <a:lnTo>
                    <a:pt x="2033" y="801"/>
                  </a:lnTo>
                  <a:lnTo>
                    <a:pt x="2033" y="801"/>
                  </a:lnTo>
                  <a:lnTo>
                    <a:pt x="2030" y="804"/>
                  </a:lnTo>
                  <a:lnTo>
                    <a:pt x="2033" y="804"/>
                  </a:lnTo>
                  <a:lnTo>
                    <a:pt x="2033" y="804"/>
                  </a:lnTo>
                  <a:lnTo>
                    <a:pt x="2033" y="807"/>
                  </a:lnTo>
                  <a:lnTo>
                    <a:pt x="2033" y="807"/>
                  </a:lnTo>
                  <a:lnTo>
                    <a:pt x="2033" y="807"/>
                  </a:lnTo>
                  <a:lnTo>
                    <a:pt x="2036" y="809"/>
                  </a:lnTo>
                  <a:lnTo>
                    <a:pt x="2038" y="812"/>
                  </a:lnTo>
                  <a:lnTo>
                    <a:pt x="2041" y="812"/>
                  </a:lnTo>
                  <a:lnTo>
                    <a:pt x="2041" y="812"/>
                  </a:lnTo>
                  <a:lnTo>
                    <a:pt x="2041" y="809"/>
                  </a:lnTo>
                  <a:lnTo>
                    <a:pt x="2041" y="809"/>
                  </a:lnTo>
                  <a:lnTo>
                    <a:pt x="2041" y="807"/>
                  </a:lnTo>
                  <a:lnTo>
                    <a:pt x="2041" y="804"/>
                  </a:lnTo>
                  <a:lnTo>
                    <a:pt x="2041" y="807"/>
                  </a:lnTo>
                  <a:lnTo>
                    <a:pt x="2041" y="807"/>
                  </a:lnTo>
                  <a:lnTo>
                    <a:pt x="2041" y="807"/>
                  </a:lnTo>
                  <a:lnTo>
                    <a:pt x="2041" y="807"/>
                  </a:lnTo>
                  <a:lnTo>
                    <a:pt x="2041" y="807"/>
                  </a:lnTo>
                  <a:lnTo>
                    <a:pt x="2041" y="804"/>
                  </a:lnTo>
                  <a:lnTo>
                    <a:pt x="2041" y="804"/>
                  </a:lnTo>
                  <a:lnTo>
                    <a:pt x="2041" y="804"/>
                  </a:lnTo>
                  <a:lnTo>
                    <a:pt x="2041" y="801"/>
                  </a:lnTo>
                  <a:lnTo>
                    <a:pt x="2041" y="801"/>
                  </a:lnTo>
                  <a:lnTo>
                    <a:pt x="2054" y="799"/>
                  </a:lnTo>
                  <a:lnTo>
                    <a:pt x="2054" y="801"/>
                  </a:lnTo>
                  <a:lnTo>
                    <a:pt x="2057" y="801"/>
                  </a:lnTo>
                  <a:lnTo>
                    <a:pt x="2057" y="801"/>
                  </a:lnTo>
                  <a:lnTo>
                    <a:pt x="2057" y="801"/>
                  </a:lnTo>
                  <a:lnTo>
                    <a:pt x="2054" y="801"/>
                  </a:lnTo>
                  <a:lnTo>
                    <a:pt x="2052" y="801"/>
                  </a:lnTo>
                  <a:lnTo>
                    <a:pt x="2052" y="801"/>
                  </a:lnTo>
                  <a:lnTo>
                    <a:pt x="2052" y="801"/>
                  </a:lnTo>
                  <a:lnTo>
                    <a:pt x="2052" y="801"/>
                  </a:lnTo>
                  <a:lnTo>
                    <a:pt x="2052" y="801"/>
                  </a:lnTo>
                  <a:lnTo>
                    <a:pt x="2049" y="801"/>
                  </a:lnTo>
                  <a:lnTo>
                    <a:pt x="2046" y="801"/>
                  </a:lnTo>
                  <a:lnTo>
                    <a:pt x="2046" y="801"/>
                  </a:lnTo>
                  <a:lnTo>
                    <a:pt x="2044" y="801"/>
                  </a:lnTo>
                  <a:lnTo>
                    <a:pt x="2044" y="801"/>
                  </a:lnTo>
                  <a:lnTo>
                    <a:pt x="2041" y="801"/>
                  </a:lnTo>
                  <a:lnTo>
                    <a:pt x="2041" y="804"/>
                  </a:lnTo>
                  <a:lnTo>
                    <a:pt x="2044" y="809"/>
                  </a:lnTo>
                  <a:lnTo>
                    <a:pt x="2046" y="812"/>
                  </a:lnTo>
                  <a:lnTo>
                    <a:pt x="2046" y="812"/>
                  </a:lnTo>
                  <a:lnTo>
                    <a:pt x="2046" y="815"/>
                  </a:lnTo>
                  <a:lnTo>
                    <a:pt x="2049" y="815"/>
                  </a:lnTo>
                  <a:lnTo>
                    <a:pt x="2052" y="815"/>
                  </a:lnTo>
                  <a:lnTo>
                    <a:pt x="2052" y="815"/>
                  </a:lnTo>
                  <a:lnTo>
                    <a:pt x="2054" y="815"/>
                  </a:lnTo>
                  <a:lnTo>
                    <a:pt x="2057" y="817"/>
                  </a:lnTo>
                  <a:lnTo>
                    <a:pt x="2060" y="817"/>
                  </a:lnTo>
                  <a:lnTo>
                    <a:pt x="2060" y="817"/>
                  </a:lnTo>
                  <a:lnTo>
                    <a:pt x="2060" y="817"/>
                  </a:lnTo>
                  <a:lnTo>
                    <a:pt x="2062" y="817"/>
                  </a:lnTo>
                  <a:lnTo>
                    <a:pt x="2062" y="817"/>
                  </a:lnTo>
                  <a:lnTo>
                    <a:pt x="2062" y="817"/>
                  </a:lnTo>
                  <a:lnTo>
                    <a:pt x="2062" y="820"/>
                  </a:lnTo>
                  <a:lnTo>
                    <a:pt x="2065" y="820"/>
                  </a:lnTo>
                  <a:lnTo>
                    <a:pt x="2065" y="823"/>
                  </a:lnTo>
                  <a:lnTo>
                    <a:pt x="2068" y="823"/>
                  </a:lnTo>
                  <a:lnTo>
                    <a:pt x="2070" y="823"/>
                  </a:lnTo>
                  <a:lnTo>
                    <a:pt x="2070" y="823"/>
                  </a:lnTo>
                  <a:lnTo>
                    <a:pt x="2068" y="823"/>
                  </a:lnTo>
                  <a:lnTo>
                    <a:pt x="2068" y="823"/>
                  </a:lnTo>
                  <a:lnTo>
                    <a:pt x="2068" y="823"/>
                  </a:lnTo>
                  <a:lnTo>
                    <a:pt x="2068" y="823"/>
                  </a:lnTo>
                  <a:lnTo>
                    <a:pt x="2065" y="823"/>
                  </a:lnTo>
                  <a:lnTo>
                    <a:pt x="2065" y="820"/>
                  </a:lnTo>
                  <a:lnTo>
                    <a:pt x="2065" y="820"/>
                  </a:lnTo>
                  <a:lnTo>
                    <a:pt x="2062" y="820"/>
                  </a:lnTo>
                  <a:lnTo>
                    <a:pt x="2062" y="820"/>
                  </a:lnTo>
                  <a:lnTo>
                    <a:pt x="2060" y="820"/>
                  </a:lnTo>
                  <a:lnTo>
                    <a:pt x="2052" y="817"/>
                  </a:lnTo>
                  <a:lnTo>
                    <a:pt x="2049" y="817"/>
                  </a:lnTo>
                  <a:lnTo>
                    <a:pt x="2049" y="817"/>
                  </a:lnTo>
                  <a:lnTo>
                    <a:pt x="2046" y="817"/>
                  </a:lnTo>
                  <a:lnTo>
                    <a:pt x="2046" y="817"/>
                  </a:lnTo>
                  <a:lnTo>
                    <a:pt x="2046" y="817"/>
                  </a:lnTo>
                  <a:lnTo>
                    <a:pt x="2046" y="815"/>
                  </a:lnTo>
                  <a:lnTo>
                    <a:pt x="2046" y="815"/>
                  </a:lnTo>
                  <a:lnTo>
                    <a:pt x="2046" y="815"/>
                  </a:lnTo>
                  <a:lnTo>
                    <a:pt x="2046" y="817"/>
                  </a:lnTo>
                  <a:lnTo>
                    <a:pt x="2044" y="817"/>
                  </a:lnTo>
                  <a:lnTo>
                    <a:pt x="2044" y="817"/>
                  </a:lnTo>
                  <a:lnTo>
                    <a:pt x="2044" y="817"/>
                  </a:lnTo>
                  <a:lnTo>
                    <a:pt x="2044" y="817"/>
                  </a:lnTo>
                  <a:lnTo>
                    <a:pt x="2044" y="817"/>
                  </a:lnTo>
                  <a:lnTo>
                    <a:pt x="2044" y="823"/>
                  </a:lnTo>
                  <a:lnTo>
                    <a:pt x="2044" y="823"/>
                  </a:lnTo>
                  <a:lnTo>
                    <a:pt x="2044" y="823"/>
                  </a:lnTo>
                  <a:lnTo>
                    <a:pt x="2046" y="825"/>
                  </a:lnTo>
                  <a:lnTo>
                    <a:pt x="2046" y="825"/>
                  </a:lnTo>
                  <a:lnTo>
                    <a:pt x="2049" y="825"/>
                  </a:lnTo>
                  <a:lnTo>
                    <a:pt x="2052" y="823"/>
                  </a:lnTo>
                  <a:lnTo>
                    <a:pt x="2052" y="823"/>
                  </a:lnTo>
                  <a:lnTo>
                    <a:pt x="2054" y="823"/>
                  </a:lnTo>
                  <a:lnTo>
                    <a:pt x="2057" y="820"/>
                  </a:lnTo>
                  <a:lnTo>
                    <a:pt x="2057" y="820"/>
                  </a:lnTo>
                  <a:lnTo>
                    <a:pt x="2057" y="823"/>
                  </a:lnTo>
                  <a:lnTo>
                    <a:pt x="2054" y="823"/>
                  </a:lnTo>
                  <a:lnTo>
                    <a:pt x="2052" y="825"/>
                  </a:lnTo>
                  <a:lnTo>
                    <a:pt x="2052" y="825"/>
                  </a:lnTo>
                  <a:lnTo>
                    <a:pt x="2052" y="828"/>
                  </a:lnTo>
                  <a:lnTo>
                    <a:pt x="2052" y="828"/>
                  </a:lnTo>
                  <a:lnTo>
                    <a:pt x="2052" y="831"/>
                  </a:lnTo>
                  <a:lnTo>
                    <a:pt x="2052" y="831"/>
                  </a:lnTo>
                  <a:lnTo>
                    <a:pt x="2054" y="833"/>
                  </a:lnTo>
                  <a:lnTo>
                    <a:pt x="2054" y="833"/>
                  </a:lnTo>
                  <a:lnTo>
                    <a:pt x="2057" y="833"/>
                  </a:lnTo>
                  <a:lnTo>
                    <a:pt x="2057" y="833"/>
                  </a:lnTo>
                  <a:lnTo>
                    <a:pt x="2057" y="833"/>
                  </a:lnTo>
                  <a:lnTo>
                    <a:pt x="2057" y="833"/>
                  </a:lnTo>
                  <a:lnTo>
                    <a:pt x="2057" y="833"/>
                  </a:lnTo>
                  <a:lnTo>
                    <a:pt x="2060" y="831"/>
                  </a:lnTo>
                  <a:lnTo>
                    <a:pt x="2060" y="831"/>
                  </a:lnTo>
                  <a:lnTo>
                    <a:pt x="2060" y="831"/>
                  </a:lnTo>
                  <a:lnTo>
                    <a:pt x="2060" y="831"/>
                  </a:lnTo>
                  <a:lnTo>
                    <a:pt x="2060" y="831"/>
                  </a:lnTo>
                  <a:lnTo>
                    <a:pt x="2060" y="833"/>
                  </a:lnTo>
                  <a:lnTo>
                    <a:pt x="2060" y="833"/>
                  </a:lnTo>
                  <a:lnTo>
                    <a:pt x="2060" y="833"/>
                  </a:lnTo>
                  <a:lnTo>
                    <a:pt x="2057" y="833"/>
                  </a:lnTo>
                  <a:lnTo>
                    <a:pt x="2057" y="836"/>
                  </a:lnTo>
                  <a:lnTo>
                    <a:pt x="2057" y="836"/>
                  </a:lnTo>
                  <a:lnTo>
                    <a:pt x="2057" y="836"/>
                  </a:lnTo>
                  <a:lnTo>
                    <a:pt x="2060" y="839"/>
                  </a:lnTo>
                  <a:lnTo>
                    <a:pt x="2060" y="839"/>
                  </a:lnTo>
                  <a:lnTo>
                    <a:pt x="2062" y="836"/>
                  </a:lnTo>
                  <a:lnTo>
                    <a:pt x="2065" y="836"/>
                  </a:lnTo>
                  <a:lnTo>
                    <a:pt x="2065" y="839"/>
                  </a:lnTo>
                  <a:lnTo>
                    <a:pt x="2065" y="839"/>
                  </a:lnTo>
                  <a:lnTo>
                    <a:pt x="2065" y="836"/>
                  </a:lnTo>
                  <a:lnTo>
                    <a:pt x="2068" y="836"/>
                  </a:lnTo>
                  <a:lnTo>
                    <a:pt x="2068" y="836"/>
                  </a:lnTo>
                  <a:lnTo>
                    <a:pt x="2068" y="836"/>
                  </a:lnTo>
                  <a:lnTo>
                    <a:pt x="2070" y="833"/>
                  </a:lnTo>
                  <a:lnTo>
                    <a:pt x="2070" y="833"/>
                  </a:lnTo>
                  <a:lnTo>
                    <a:pt x="2070" y="833"/>
                  </a:lnTo>
                  <a:lnTo>
                    <a:pt x="2070" y="833"/>
                  </a:lnTo>
                  <a:lnTo>
                    <a:pt x="2070" y="836"/>
                  </a:lnTo>
                  <a:lnTo>
                    <a:pt x="2070" y="836"/>
                  </a:lnTo>
                  <a:lnTo>
                    <a:pt x="2070" y="836"/>
                  </a:lnTo>
                  <a:lnTo>
                    <a:pt x="2068" y="836"/>
                  </a:lnTo>
                  <a:lnTo>
                    <a:pt x="2068" y="836"/>
                  </a:lnTo>
                  <a:lnTo>
                    <a:pt x="2068" y="839"/>
                  </a:lnTo>
                  <a:lnTo>
                    <a:pt x="2068" y="839"/>
                  </a:lnTo>
                  <a:lnTo>
                    <a:pt x="2065" y="841"/>
                  </a:lnTo>
                  <a:lnTo>
                    <a:pt x="2060" y="841"/>
                  </a:lnTo>
                  <a:lnTo>
                    <a:pt x="2057" y="841"/>
                  </a:lnTo>
                  <a:lnTo>
                    <a:pt x="2057" y="844"/>
                  </a:lnTo>
                  <a:lnTo>
                    <a:pt x="2057" y="844"/>
                  </a:lnTo>
                  <a:lnTo>
                    <a:pt x="2057" y="844"/>
                  </a:lnTo>
                  <a:lnTo>
                    <a:pt x="2057" y="844"/>
                  </a:lnTo>
                  <a:lnTo>
                    <a:pt x="2057" y="844"/>
                  </a:lnTo>
                  <a:lnTo>
                    <a:pt x="2057" y="847"/>
                  </a:lnTo>
                  <a:lnTo>
                    <a:pt x="2060" y="847"/>
                  </a:lnTo>
                  <a:lnTo>
                    <a:pt x="2057" y="847"/>
                  </a:lnTo>
                  <a:lnTo>
                    <a:pt x="2057" y="849"/>
                  </a:lnTo>
                  <a:lnTo>
                    <a:pt x="2057" y="849"/>
                  </a:lnTo>
                  <a:lnTo>
                    <a:pt x="2057" y="849"/>
                  </a:lnTo>
                  <a:lnTo>
                    <a:pt x="2057" y="849"/>
                  </a:lnTo>
                  <a:lnTo>
                    <a:pt x="2060" y="849"/>
                  </a:lnTo>
                  <a:lnTo>
                    <a:pt x="2060" y="849"/>
                  </a:lnTo>
                  <a:lnTo>
                    <a:pt x="2060" y="849"/>
                  </a:lnTo>
                  <a:lnTo>
                    <a:pt x="2062" y="852"/>
                  </a:lnTo>
                  <a:lnTo>
                    <a:pt x="2062" y="852"/>
                  </a:lnTo>
                  <a:lnTo>
                    <a:pt x="2062" y="852"/>
                  </a:lnTo>
                  <a:lnTo>
                    <a:pt x="2065" y="852"/>
                  </a:lnTo>
                  <a:lnTo>
                    <a:pt x="2068" y="852"/>
                  </a:lnTo>
                  <a:lnTo>
                    <a:pt x="2068" y="852"/>
                  </a:lnTo>
                  <a:lnTo>
                    <a:pt x="2068" y="852"/>
                  </a:lnTo>
                  <a:lnTo>
                    <a:pt x="2068" y="849"/>
                  </a:lnTo>
                  <a:lnTo>
                    <a:pt x="2068" y="847"/>
                  </a:lnTo>
                  <a:lnTo>
                    <a:pt x="2068" y="847"/>
                  </a:lnTo>
                  <a:lnTo>
                    <a:pt x="2068" y="847"/>
                  </a:lnTo>
                  <a:lnTo>
                    <a:pt x="2070" y="847"/>
                  </a:lnTo>
                  <a:lnTo>
                    <a:pt x="2070" y="847"/>
                  </a:lnTo>
                  <a:lnTo>
                    <a:pt x="2070" y="849"/>
                  </a:lnTo>
                  <a:lnTo>
                    <a:pt x="2070" y="849"/>
                  </a:lnTo>
                  <a:lnTo>
                    <a:pt x="2070" y="849"/>
                  </a:lnTo>
                  <a:lnTo>
                    <a:pt x="2070" y="847"/>
                  </a:lnTo>
                  <a:lnTo>
                    <a:pt x="2070" y="849"/>
                  </a:lnTo>
                  <a:lnTo>
                    <a:pt x="2070" y="847"/>
                  </a:lnTo>
                  <a:lnTo>
                    <a:pt x="2073" y="847"/>
                  </a:lnTo>
                  <a:lnTo>
                    <a:pt x="2073" y="847"/>
                  </a:lnTo>
                  <a:lnTo>
                    <a:pt x="2073" y="847"/>
                  </a:lnTo>
                  <a:lnTo>
                    <a:pt x="2073" y="849"/>
                  </a:lnTo>
                  <a:lnTo>
                    <a:pt x="2073" y="849"/>
                  </a:lnTo>
                  <a:lnTo>
                    <a:pt x="2073" y="849"/>
                  </a:lnTo>
                  <a:lnTo>
                    <a:pt x="2073" y="849"/>
                  </a:lnTo>
                  <a:lnTo>
                    <a:pt x="2073" y="852"/>
                  </a:lnTo>
                  <a:lnTo>
                    <a:pt x="2073" y="852"/>
                  </a:lnTo>
                  <a:lnTo>
                    <a:pt x="2073" y="852"/>
                  </a:lnTo>
                  <a:lnTo>
                    <a:pt x="2073" y="852"/>
                  </a:lnTo>
                  <a:lnTo>
                    <a:pt x="2073" y="852"/>
                  </a:lnTo>
                  <a:lnTo>
                    <a:pt x="2073" y="852"/>
                  </a:lnTo>
                  <a:lnTo>
                    <a:pt x="2073" y="852"/>
                  </a:lnTo>
                  <a:lnTo>
                    <a:pt x="2073" y="852"/>
                  </a:lnTo>
                  <a:lnTo>
                    <a:pt x="2076" y="852"/>
                  </a:lnTo>
                  <a:lnTo>
                    <a:pt x="2076" y="852"/>
                  </a:lnTo>
                  <a:lnTo>
                    <a:pt x="2076" y="852"/>
                  </a:lnTo>
                  <a:lnTo>
                    <a:pt x="2076" y="852"/>
                  </a:lnTo>
                  <a:lnTo>
                    <a:pt x="2078" y="852"/>
                  </a:lnTo>
                  <a:lnTo>
                    <a:pt x="2078" y="852"/>
                  </a:lnTo>
                  <a:lnTo>
                    <a:pt x="2081" y="852"/>
                  </a:lnTo>
                  <a:lnTo>
                    <a:pt x="2081" y="852"/>
                  </a:lnTo>
                  <a:lnTo>
                    <a:pt x="2081" y="852"/>
                  </a:lnTo>
                  <a:lnTo>
                    <a:pt x="2084" y="852"/>
                  </a:lnTo>
                  <a:lnTo>
                    <a:pt x="2084" y="852"/>
                  </a:lnTo>
                  <a:lnTo>
                    <a:pt x="2084" y="852"/>
                  </a:lnTo>
                  <a:lnTo>
                    <a:pt x="2084" y="849"/>
                  </a:lnTo>
                  <a:lnTo>
                    <a:pt x="2084" y="849"/>
                  </a:lnTo>
                  <a:lnTo>
                    <a:pt x="2086" y="847"/>
                  </a:lnTo>
                  <a:lnTo>
                    <a:pt x="2086" y="847"/>
                  </a:lnTo>
                  <a:lnTo>
                    <a:pt x="2086" y="847"/>
                  </a:lnTo>
                  <a:lnTo>
                    <a:pt x="2086" y="847"/>
                  </a:lnTo>
                  <a:lnTo>
                    <a:pt x="2086" y="849"/>
                  </a:lnTo>
                  <a:lnTo>
                    <a:pt x="2086" y="849"/>
                  </a:lnTo>
                  <a:lnTo>
                    <a:pt x="2086" y="849"/>
                  </a:lnTo>
                  <a:lnTo>
                    <a:pt x="2089" y="852"/>
                  </a:lnTo>
                  <a:lnTo>
                    <a:pt x="2089" y="855"/>
                  </a:lnTo>
                  <a:lnTo>
                    <a:pt x="2089" y="855"/>
                  </a:lnTo>
                  <a:lnTo>
                    <a:pt x="2086" y="855"/>
                  </a:lnTo>
                  <a:lnTo>
                    <a:pt x="2086" y="855"/>
                  </a:lnTo>
                  <a:lnTo>
                    <a:pt x="2086" y="855"/>
                  </a:lnTo>
                  <a:lnTo>
                    <a:pt x="2086" y="855"/>
                  </a:lnTo>
                  <a:lnTo>
                    <a:pt x="2086" y="855"/>
                  </a:lnTo>
                  <a:lnTo>
                    <a:pt x="2084" y="855"/>
                  </a:lnTo>
                  <a:lnTo>
                    <a:pt x="2084" y="855"/>
                  </a:lnTo>
                  <a:lnTo>
                    <a:pt x="2084" y="855"/>
                  </a:lnTo>
                  <a:lnTo>
                    <a:pt x="2084" y="858"/>
                  </a:lnTo>
                  <a:lnTo>
                    <a:pt x="2084" y="858"/>
                  </a:lnTo>
                  <a:lnTo>
                    <a:pt x="2086" y="858"/>
                  </a:lnTo>
                  <a:lnTo>
                    <a:pt x="2086" y="858"/>
                  </a:lnTo>
                  <a:lnTo>
                    <a:pt x="2086" y="858"/>
                  </a:lnTo>
                  <a:lnTo>
                    <a:pt x="2086" y="860"/>
                  </a:lnTo>
                  <a:lnTo>
                    <a:pt x="2086" y="860"/>
                  </a:lnTo>
                  <a:lnTo>
                    <a:pt x="2086" y="860"/>
                  </a:lnTo>
                  <a:lnTo>
                    <a:pt x="2089" y="860"/>
                  </a:lnTo>
                  <a:lnTo>
                    <a:pt x="2089" y="860"/>
                  </a:lnTo>
                  <a:lnTo>
                    <a:pt x="2092" y="860"/>
                  </a:lnTo>
                  <a:lnTo>
                    <a:pt x="2092" y="863"/>
                  </a:lnTo>
                  <a:lnTo>
                    <a:pt x="2092" y="863"/>
                  </a:lnTo>
                  <a:lnTo>
                    <a:pt x="2092" y="863"/>
                  </a:lnTo>
                  <a:lnTo>
                    <a:pt x="2097" y="866"/>
                  </a:lnTo>
                  <a:lnTo>
                    <a:pt x="2102" y="866"/>
                  </a:lnTo>
                  <a:lnTo>
                    <a:pt x="2102" y="866"/>
                  </a:lnTo>
                  <a:lnTo>
                    <a:pt x="2102" y="866"/>
                  </a:lnTo>
                  <a:lnTo>
                    <a:pt x="2102" y="863"/>
                  </a:lnTo>
                  <a:lnTo>
                    <a:pt x="2102" y="863"/>
                  </a:lnTo>
                  <a:lnTo>
                    <a:pt x="2105" y="863"/>
                  </a:lnTo>
                  <a:lnTo>
                    <a:pt x="2105" y="863"/>
                  </a:lnTo>
                  <a:lnTo>
                    <a:pt x="2105" y="863"/>
                  </a:lnTo>
                  <a:lnTo>
                    <a:pt x="2105" y="860"/>
                  </a:lnTo>
                  <a:lnTo>
                    <a:pt x="2105" y="860"/>
                  </a:lnTo>
                  <a:lnTo>
                    <a:pt x="2105" y="860"/>
                  </a:lnTo>
                  <a:lnTo>
                    <a:pt x="2108" y="860"/>
                  </a:lnTo>
                  <a:lnTo>
                    <a:pt x="2105" y="860"/>
                  </a:lnTo>
                  <a:lnTo>
                    <a:pt x="2105" y="860"/>
                  </a:lnTo>
                  <a:lnTo>
                    <a:pt x="2105" y="860"/>
                  </a:lnTo>
                  <a:lnTo>
                    <a:pt x="2105" y="860"/>
                  </a:lnTo>
                  <a:lnTo>
                    <a:pt x="2105" y="863"/>
                  </a:lnTo>
                  <a:lnTo>
                    <a:pt x="2105" y="863"/>
                  </a:lnTo>
                  <a:lnTo>
                    <a:pt x="2105" y="863"/>
                  </a:lnTo>
                  <a:lnTo>
                    <a:pt x="2105" y="866"/>
                  </a:lnTo>
                  <a:lnTo>
                    <a:pt x="2105" y="866"/>
                  </a:lnTo>
                  <a:lnTo>
                    <a:pt x="2105" y="866"/>
                  </a:lnTo>
                  <a:lnTo>
                    <a:pt x="2102" y="868"/>
                  </a:lnTo>
                  <a:lnTo>
                    <a:pt x="2105" y="868"/>
                  </a:lnTo>
                  <a:lnTo>
                    <a:pt x="2105" y="868"/>
                  </a:lnTo>
                  <a:lnTo>
                    <a:pt x="2105" y="868"/>
                  </a:lnTo>
                  <a:lnTo>
                    <a:pt x="2105" y="871"/>
                  </a:lnTo>
                  <a:lnTo>
                    <a:pt x="2105" y="871"/>
                  </a:lnTo>
                  <a:lnTo>
                    <a:pt x="2105" y="871"/>
                  </a:lnTo>
                  <a:lnTo>
                    <a:pt x="2102" y="871"/>
                  </a:lnTo>
                  <a:lnTo>
                    <a:pt x="2105" y="874"/>
                  </a:lnTo>
                  <a:lnTo>
                    <a:pt x="2105" y="874"/>
                  </a:lnTo>
                  <a:lnTo>
                    <a:pt x="2105" y="874"/>
                  </a:lnTo>
                  <a:lnTo>
                    <a:pt x="2108" y="876"/>
                  </a:lnTo>
                  <a:lnTo>
                    <a:pt x="2108" y="874"/>
                  </a:lnTo>
                  <a:lnTo>
                    <a:pt x="2110" y="874"/>
                  </a:lnTo>
                  <a:lnTo>
                    <a:pt x="2110" y="871"/>
                  </a:lnTo>
                  <a:lnTo>
                    <a:pt x="2113" y="871"/>
                  </a:lnTo>
                  <a:lnTo>
                    <a:pt x="2113" y="874"/>
                  </a:lnTo>
                  <a:lnTo>
                    <a:pt x="2113" y="876"/>
                  </a:lnTo>
                  <a:lnTo>
                    <a:pt x="2113" y="876"/>
                  </a:lnTo>
                  <a:lnTo>
                    <a:pt x="2113" y="879"/>
                  </a:lnTo>
                  <a:lnTo>
                    <a:pt x="2113" y="879"/>
                  </a:lnTo>
                  <a:lnTo>
                    <a:pt x="2113" y="879"/>
                  </a:lnTo>
                  <a:lnTo>
                    <a:pt x="2116" y="879"/>
                  </a:lnTo>
                  <a:lnTo>
                    <a:pt x="2116" y="879"/>
                  </a:lnTo>
                  <a:lnTo>
                    <a:pt x="2118" y="879"/>
                  </a:lnTo>
                  <a:lnTo>
                    <a:pt x="2118" y="882"/>
                  </a:lnTo>
                  <a:lnTo>
                    <a:pt x="2121" y="882"/>
                  </a:lnTo>
                  <a:lnTo>
                    <a:pt x="2121" y="882"/>
                  </a:lnTo>
                  <a:lnTo>
                    <a:pt x="2124" y="887"/>
                  </a:lnTo>
                  <a:lnTo>
                    <a:pt x="2124" y="884"/>
                  </a:lnTo>
                  <a:lnTo>
                    <a:pt x="2124" y="884"/>
                  </a:lnTo>
                  <a:lnTo>
                    <a:pt x="2126" y="884"/>
                  </a:lnTo>
                  <a:lnTo>
                    <a:pt x="2126" y="884"/>
                  </a:lnTo>
                  <a:lnTo>
                    <a:pt x="2126" y="884"/>
                  </a:lnTo>
                  <a:lnTo>
                    <a:pt x="2126" y="884"/>
                  </a:lnTo>
                  <a:lnTo>
                    <a:pt x="2129" y="884"/>
                  </a:lnTo>
                  <a:lnTo>
                    <a:pt x="2129" y="884"/>
                  </a:lnTo>
                  <a:lnTo>
                    <a:pt x="2129" y="884"/>
                  </a:lnTo>
                  <a:lnTo>
                    <a:pt x="2132" y="887"/>
                  </a:lnTo>
                  <a:lnTo>
                    <a:pt x="2132" y="890"/>
                  </a:lnTo>
                  <a:lnTo>
                    <a:pt x="2134" y="892"/>
                  </a:lnTo>
                  <a:lnTo>
                    <a:pt x="2137" y="892"/>
                  </a:lnTo>
                  <a:lnTo>
                    <a:pt x="2142" y="890"/>
                  </a:lnTo>
                  <a:lnTo>
                    <a:pt x="2145" y="890"/>
                  </a:lnTo>
                  <a:lnTo>
                    <a:pt x="2148" y="890"/>
                  </a:lnTo>
                  <a:lnTo>
                    <a:pt x="2148" y="890"/>
                  </a:lnTo>
                  <a:lnTo>
                    <a:pt x="2148" y="887"/>
                  </a:lnTo>
                  <a:lnTo>
                    <a:pt x="2150" y="887"/>
                  </a:lnTo>
                  <a:lnTo>
                    <a:pt x="2150" y="887"/>
                  </a:lnTo>
                  <a:lnTo>
                    <a:pt x="2150" y="887"/>
                  </a:lnTo>
                  <a:lnTo>
                    <a:pt x="2150" y="890"/>
                  </a:lnTo>
                  <a:lnTo>
                    <a:pt x="2148" y="890"/>
                  </a:lnTo>
                  <a:lnTo>
                    <a:pt x="2148" y="892"/>
                  </a:lnTo>
                  <a:lnTo>
                    <a:pt x="2148" y="892"/>
                  </a:lnTo>
                  <a:lnTo>
                    <a:pt x="2142" y="892"/>
                  </a:lnTo>
                  <a:lnTo>
                    <a:pt x="2140" y="892"/>
                  </a:lnTo>
                  <a:lnTo>
                    <a:pt x="2137" y="895"/>
                  </a:lnTo>
                  <a:lnTo>
                    <a:pt x="2134" y="898"/>
                  </a:lnTo>
                  <a:lnTo>
                    <a:pt x="2134" y="898"/>
                  </a:lnTo>
                  <a:lnTo>
                    <a:pt x="2137" y="903"/>
                  </a:lnTo>
                  <a:lnTo>
                    <a:pt x="2140" y="906"/>
                  </a:lnTo>
                  <a:lnTo>
                    <a:pt x="2140" y="908"/>
                  </a:lnTo>
                  <a:lnTo>
                    <a:pt x="2140" y="908"/>
                  </a:lnTo>
                  <a:lnTo>
                    <a:pt x="2140" y="908"/>
                  </a:lnTo>
                  <a:lnTo>
                    <a:pt x="2140" y="911"/>
                  </a:lnTo>
                  <a:lnTo>
                    <a:pt x="2140" y="911"/>
                  </a:lnTo>
                  <a:lnTo>
                    <a:pt x="2137" y="911"/>
                  </a:lnTo>
                  <a:lnTo>
                    <a:pt x="2137" y="911"/>
                  </a:lnTo>
                  <a:lnTo>
                    <a:pt x="2137" y="914"/>
                  </a:lnTo>
                  <a:lnTo>
                    <a:pt x="2137" y="914"/>
                  </a:lnTo>
                  <a:lnTo>
                    <a:pt x="2137" y="914"/>
                  </a:lnTo>
                  <a:lnTo>
                    <a:pt x="2137" y="916"/>
                  </a:lnTo>
                  <a:lnTo>
                    <a:pt x="2137" y="916"/>
                  </a:lnTo>
                  <a:lnTo>
                    <a:pt x="2137" y="919"/>
                  </a:lnTo>
                  <a:lnTo>
                    <a:pt x="2137" y="919"/>
                  </a:lnTo>
                  <a:lnTo>
                    <a:pt x="2140" y="919"/>
                  </a:lnTo>
                  <a:lnTo>
                    <a:pt x="2140" y="922"/>
                  </a:lnTo>
                  <a:lnTo>
                    <a:pt x="2140" y="922"/>
                  </a:lnTo>
                  <a:lnTo>
                    <a:pt x="2140" y="922"/>
                  </a:lnTo>
                  <a:lnTo>
                    <a:pt x="2137" y="922"/>
                  </a:lnTo>
                  <a:lnTo>
                    <a:pt x="2134" y="922"/>
                  </a:lnTo>
                  <a:lnTo>
                    <a:pt x="2134" y="924"/>
                  </a:lnTo>
                  <a:lnTo>
                    <a:pt x="2134" y="924"/>
                  </a:lnTo>
                  <a:lnTo>
                    <a:pt x="2137" y="927"/>
                  </a:lnTo>
                  <a:lnTo>
                    <a:pt x="2137" y="927"/>
                  </a:lnTo>
                  <a:lnTo>
                    <a:pt x="2137" y="927"/>
                  </a:lnTo>
                  <a:lnTo>
                    <a:pt x="2134" y="927"/>
                  </a:lnTo>
                  <a:lnTo>
                    <a:pt x="2134" y="927"/>
                  </a:lnTo>
                  <a:lnTo>
                    <a:pt x="2132" y="927"/>
                  </a:lnTo>
                  <a:lnTo>
                    <a:pt x="2134" y="927"/>
                  </a:lnTo>
                  <a:lnTo>
                    <a:pt x="2134" y="930"/>
                  </a:lnTo>
                  <a:lnTo>
                    <a:pt x="2134" y="930"/>
                  </a:lnTo>
                  <a:lnTo>
                    <a:pt x="2137" y="930"/>
                  </a:lnTo>
                  <a:lnTo>
                    <a:pt x="2140" y="935"/>
                  </a:lnTo>
                  <a:lnTo>
                    <a:pt x="2140" y="938"/>
                  </a:lnTo>
                  <a:lnTo>
                    <a:pt x="2142" y="938"/>
                  </a:lnTo>
                  <a:lnTo>
                    <a:pt x="2148" y="940"/>
                  </a:lnTo>
                  <a:lnTo>
                    <a:pt x="2150" y="940"/>
                  </a:lnTo>
                  <a:lnTo>
                    <a:pt x="2150" y="940"/>
                  </a:lnTo>
                  <a:lnTo>
                    <a:pt x="2150" y="940"/>
                  </a:lnTo>
                  <a:lnTo>
                    <a:pt x="2150" y="938"/>
                  </a:lnTo>
                  <a:lnTo>
                    <a:pt x="2150" y="938"/>
                  </a:lnTo>
                  <a:lnTo>
                    <a:pt x="2150" y="938"/>
                  </a:lnTo>
                  <a:lnTo>
                    <a:pt x="2150" y="938"/>
                  </a:lnTo>
                  <a:lnTo>
                    <a:pt x="2150" y="935"/>
                  </a:lnTo>
                  <a:lnTo>
                    <a:pt x="2150" y="935"/>
                  </a:lnTo>
                  <a:lnTo>
                    <a:pt x="2148" y="935"/>
                  </a:lnTo>
                  <a:lnTo>
                    <a:pt x="2148" y="935"/>
                  </a:lnTo>
                  <a:lnTo>
                    <a:pt x="2148" y="932"/>
                  </a:lnTo>
                  <a:lnTo>
                    <a:pt x="2148" y="932"/>
                  </a:lnTo>
                  <a:lnTo>
                    <a:pt x="2148" y="932"/>
                  </a:lnTo>
                  <a:lnTo>
                    <a:pt x="2148" y="932"/>
                  </a:lnTo>
                  <a:lnTo>
                    <a:pt x="2148" y="932"/>
                  </a:lnTo>
                  <a:lnTo>
                    <a:pt x="2148" y="932"/>
                  </a:lnTo>
                  <a:lnTo>
                    <a:pt x="2145" y="930"/>
                  </a:lnTo>
                  <a:lnTo>
                    <a:pt x="2145" y="930"/>
                  </a:lnTo>
                  <a:lnTo>
                    <a:pt x="2150" y="932"/>
                  </a:lnTo>
                  <a:lnTo>
                    <a:pt x="2150" y="932"/>
                  </a:lnTo>
                  <a:lnTo>
                    <a:pt x="2150" y="932"/>
                  </a:lnTo>
                  <a:lnTo>
                    <a:pt x="2150" y="932"/>
                  </a:lnTo>
                  <a:lnTo>
                    <a:pt x="2150" y="930"/>
                  </a:lnTo>
                  <a:lnTo>
                    <a:pt x="2150" y="927"/>
                  </a:lnTo>
                  <a:lnTo>
                    <a:pt x="2150" y="924"/>
                  </a:lnTo>
                  <a:lnTo>
                    <a:pt x="2148" y="924"/>
                  </a:lnTo>
                  <a:lnTo>
                    <a:pt x="2150" y="924"/>
                  </a:lnTo>
                  <a:lnTo>
                    <a:pt x="2150" y="924"/>
                  </a:lnTo>
                  <a:lnTo>
                    <a:pt x="2150" y="922"/>
                  </a:lnTo>
                  <a:lnTo>
                    <a:pt x="2150" y="922"/>
                  </a:lnTo>
                  <a:lnTo>
                    <a:pt x="2150" y="919"/>
                  </a:lnTo>
                  <a:lnTo>
                    <a:pt x="2150" y="919"/>
                  </a:lnTo>
                  <a:lnTo>
                    <a:pt x="2150" y="916"/>
                  </a:lnTo>
                  <a:lnTo>
                    <a:pt x="2150" y="916"/>
                  </a:lnTo>
                  <a:lnTo>
                    <a:pt x="2148" y="916"/>
                  </a:lnTo>
                  <a:lnTo>
                    <a:pt x="2145" y="916"/>
                  </a:lnTo>
                  <a:lnTo>
                    <a:pt x="2142" y="916"/>
                  </a:lnTo>
                  <a:lnTo>
                    <a:pt x="2145" y="916"/>
                  </a:lnTo>
                  <a:lnTo>
                    <a:pt x="2145" y="916"/>
                  </a:lnTo>
                  <a:lnTo>
                    <a:pt x="2145" y="916"/>
                  </a:lnTo>
                  <a:lnTo>
                    <a:pt x="2145" y="914"/>
                  </a:lnTo>
                  <a:lnTo>
                    <a:pt x="2145" y="914"/>
                  </a:lnTo>
                  <a:lnTo>
                    <a:pt x="2145" y="914"/>
                  </a:lnTo>
                  <a:lnTo>
                    <a:pt x="2148" y="914"/>
                  </a:lnTo>
                  <a:lnTo>
                    <a:pt x="2148" y="914"/>
                  </a:lnTo>
                  <a:lnTo>
                    <a:pt x="2148" y="914"/>
                  </a:lnTo>
                  <a:lnTo>
                    <a:pt x="2150" y="911"/>
                  </a:lnTo>
                  <a:lnTo>
                    <a:pt x="2150" y="911"/>
                  </a:lnTo>
                  <a:lnTo>
                    <a:pt x="2150" y="911"/>
                  </a:lnTo>
                  <a:lnTo>
                    <a:pt x="2150" y="911"/>
                  </a:lnTo>
                  <a:lnTo>
                    <a:pt x="2150" y="908"/>
                  </a:lnTo>
                  <a:lnTo>
                    <a:pt x="2153" y="908"/>
                  </a:lnTo>
                  <a:lnTo>
                    <a:pt x="2153" y="908"/>
                  </a:lnTo>
                  <a:lnTo>
                    <a:pt x="2153" y="908"/>
                  </a:lnTo>
                  <a:lnTo>
                    <a:pt x="2153" y="908"/>
                  </a:lnTo>
                  <a:lnTo>
                    <a:pt x="2153" y="908"/>
                  </a:lnTo>
                  <a:lnTo>
                    <a:pt x="2153" y="906"/>
                  </a:lnTo>
                  <a:lnTo>
                    <a:pt x="2153" y="906"/>
                  </a:lnTo>
                  <a:lnTo>
                    <a:pt x="2156" y="903"/>
                  </a:lnTo>
                  <a:lnTo>
                    <a:pt x="2156" y="903"/>
                  </a:lnTo>
                  <a:lnTo>
                    <a:pt x="2156" y="903"/>
                  </a:lnTo>
                  <a:lnTo>
                    <a:pt x="2158" y="900"/>
                  </a:lnTo>
                  <a:lnTo>
                    <a:pt x="2158" y="900"/>
                  </a:lnTo>
                  <a:lnTo>
                    <a:pt x="2158" y="900"/>
                  </a:lnTo>
                  <a:lnTo>
                    <a:pt x="2161" y="903"/>
                  </a:lnTo>
                  <a:lnTo>
                    <a:pt x="2161" y="903"/>
                  </a:lnTo>
                  <a:lnTo>
                    <a:pt x="2161" y="900"/>
                  </a:lnTo>
                  <a:lnTo>
                    <a:pt x="2164" y="900"/>
                  </a:lnTo>
                  <a:lnTo>
                    <a:pt x="2164" y="900"/>
                  </a:lnTo>
                  <a:lnTo>
                    <a:pt x="2166" y="898"/>
                  </a:lnTo>
                  <a:lnTo>
                    <a:pt x="2166" y="895"/>
                  </a:lnTo>
                  <a:lnTo>
                    <a:pt x="2166" y="895"/>
                  </a:lnTo>
                  <a:lnTo>
                    <a:pt x="2166" y="895"/>
                  </a:lnTo>
                  <a:lnTo>
                    <a:pt x="2166" y="892"/>
                  </a:lnTo>
                  <a:lnTo>
                    <a:pt x="2169" y="892"/>
                  </a:lnTo>
                  <a:lnTo>
                    <a:pt x="2169" y="890"/>
                  </a:lnTo>
                  <a:lnTo>
                    <a:pt x="2169" y="890"/>
                  </a:lnTo>
                  <a:lnTo>
                    <a:pt x="2169" y="892"/>
                  </a:lnTo>
                  <a:lnTo>
                    <a:pt x="2169" y="892"/>
                  </a:lnTo>
                  <a:lnTo>
                    <a:pt x="2169" y="892"/>
                  </a:lnTo>
                  <a:lnTo>
                    <a:pt x="2169" y="892"/>
                  </a:lnTo>
                  <a:lnTo>
                    <a:pt x="2166" y="895"/>
                  </a:lnTo>
                  <a:lnTo>
                    <a:pt x="2166" y="898"/>
                  </a:lnTo>
                  <a:lnTo>
                    <a:pt x="2166" y="900"/>
                  </a:lnTo>
                  <a:lnTo>
                    <a:pt x="2166" y="900"/>
                  </a:lnTo>
                  <a:lnTo>
                    <a:pt x="2169" y="900"/>
                  </a:lnTo>
                  <a:lnTo>
                    <a:pt x="2169" y="900"/>
                  </a:lnTo>
                  <a:lnTo>
                    <a:pt x="2169" y="900"/>
                  </a:lnTo>
                  <a:lnTo>
                    <a:pt x="2169" y="900"/>
                  </a:lnTo>
                  <a:lnTo>
                    <a:pt x="2169" y="903"/>
                  </a:lnTo>
                  <a:lnTo>
                    <a:pt x="2169" y="903"/>
                  </a:lnTo>
                  <a:lnTo>
                    <a:pt x="2172" y="903"/>
                  </a:lnTo>
                  <a:lnTo>
                    <a:pt x="2174" y="903"/>
                  </a:lnTo>
                  <a:lnTo>
                    <a:pt x="2177" y="906"/>
                  </a:lnTo>
                  <a:lnTo>
                    <a:pt x="2177" y="908"/>
                  </a:lnTo>
                  <a:lnTo>
                    <a:pt x="2177" y="908"/>
                  </a:lnTo>
                  <a:lnTo>
                    <a:pt x="2177" y="908"/>
                  </a:lnTo>
                  <a:lnTo>
                    <a:pt x="2177" y="908"/>
                  </a:lnTo>
                  <a:lnTo>
                    <a:pt x="2180" y="908"/>
                  </a:lnTo>
                  <a:lnTo>
                    <a:pt x="2180" y="906"/>
                  </a:lnTo>
                  <a:lnTo>
                    <a:pt x="2180" y="906"/>
                  </a:lnTo>
                  <a:lnTo>
                    <a:pt x="2180" y="906"/>
                  </a:lnTo>
                  <a:lnTo>
                    <a:pt x="2180" y="908"/>
                  </a:lnTo>
                  <a:lnTo>
                    <a:pt x="2180" y="908"/>
                  </a:lnTo>
                  <a:lnTo>
                    <a:pt x="2180" y="908"/>
                  </a:lnTo>
                  <a:lnTo>
                    <a:pt x="2182" y="911"/>
                  </a:lnTo>
                  <a:lnTo>
                    <a:pt x="2182" y="911"/>
                  </a:lnTo>
                  <a:lnTo>
                    <a:pt x="2182" y="911"/>
                  </a:lnTo>
                  <a:lnTo>
                    <a:pt x="2182" y="914"/>
                  </a:lnTo>
                  <a:lnTo>
                    <a:pt x="2185" y="914"/>
                  </a:lnTo>
                  <a:lnTo>
                    <a:pt x="2182" y="914"/>
                  </a:lnTo>
                  <a:lnTo>
                    <a:pt x="2182" y="914"/>
                  </a:lnTo>
                  <a:lnTo>
                    <a:pt x="2185" y="916"/>
                  </a:lnTo>
                  <a:lnTo>
                    <a:pt x="2185" y="916"/>
                  </a:lnTo>
                  <a:lnTo>
                    <a:pt x="2185" y="919"/>
                  </a:lnTo>
                  <a:lnTo>
                    <a:pt x="2188" y="922"/>
                  </a:lnTo>
                  <a:lnTo>
                    <a:pt x="2188" y="924"/>
                  </a:lnTo>
                  <a:lnTo>
                    <a:pt x="2190" y="930"/>
                  </a:lnTo>
                  <a:lnTo>
                    <a:pt x="2193" y="935"/>
                  </a:lnTo>
                  <a:lnTo>
                    <a:pt x="2193" y="938"/>
                  </a:lnTo>
                  <a:lnTo>
                    <a:pt x="2196" y="938"/>
                  </a:lnTo>
                  <a:lnTo>
                    <a:pt x="2198" y="935"/>
                  </a:lnTo>
                  <a:lnTo>
                    <a:pt x="2198" y="935"/>
                  </a:lnTo>
                  <a:lnTo>
                    <a:pt x="2201" y="932"/>
                  </a:lnTo>
                  <a:lnTo>
                    <a:pt x="2201" y="932"/>
                  </a:lnTo>
                  <a:lnTo>
                    <a:pt x="2201" y="932"/>
                  </a:lnTo>
                  <a:lnTo>
                    <a:pt x="2201" y="935"/>
                  </a:lnTo>
                  <a:lnTo>
                    <a:pt x="2201" y="935"/>
                  </a:lnTo>
                  <a:lnTo>
                    <a:pt x="2204" y="935"/>
                  </a:lnTo>
                  <a:lnTo>
                    <a:pt x="2204" y="935"/>
                  </a:lnTo>
                  <a:lnTo>
                    <a:pt x="2204" y="935"/>
                  </a:lnTo>
                  <a:lnTo>
                    <a:pt x="2193" y="940"/>
                  </a:lnTo>
                  <a:lnTo>
                    <a:pt x="2193" y="940"/>
                  </a:lnTo>
                  <a:lnTo>
                    <a:pt x="2193" y="940"/>
                  </a:lnTo>
                  <a:lnTo>
                    <a:pt x="2190" y="940"/>
                  </a:lnTo>
                  <a:lnTo>
                    <a:pt x="2190" y="943"/>
                  </a:lnTo>
                  <a:lnTo>
                    <a:pt x="2190" y="943"/>
                  </a:lnTo>
                  <a:lnTo>
                    <a:pt x="2190" y="943"/>
                  </a:lnTo>
                  <a:lnTo>
                    <a:pt x="2190" y="943"/>
                  </a:lnTo>
                  <a:lnTo>
                    <a:pt x="2190" y="948"/>
                  </a:lnTo>
                  <a:lnTo>
                    <a:pt x="2190" y="948"/>
                  </a:lnTo>
                  <a:lnTo>
                    <a:pt x="2190" y="951"/>
                  </a:lnTo>
                  <a:lnTo>
                    <a:pt x="2190" y="951"/>
                  </a:lnTo>
                  <a:lnTo>
                    <a:pt x="2193" y="954"/>
                  </a:lnTo>
                  <a:lnTo>
                    <a:pt x="2193" y="954"/>
                  </a:lnTo>
                  <a:lnTo>
                    <a:pt x="2193" y="954"/>
                  </a:lnTo>
                  <a:lnTo>
                    <a:pt x="2196" y="954"/>
                  </a:lnTo>
                  <a:lnTo>
                    <a:pt x="2198" y="951"/>
                  </a:lnTo>
                  <a:lnTo>
                    <a:pt x="2198" y="951"/>
                  </a:lnTo>
                  <a:lnTo>
                    <a:pt x="2198" y="948"/>
                  </a:lnTo>
                  <a:lnTo>
                    <a:pt x="2198" y="948"/>
                  </a:lnTo>
                  <a:lnTo>
                    <a:pt x="2198" y="948"/>
                  </a:lnTo>
                  <a:lnTo>
                    <a:pt x="2201" y="948"/>
                  </a:lnTo>
                  <a:lnTo>
                    <a:pt x="2201" y="948"/>
                  </a:lnTo>
                  <a:lnTo>
                    <a:pt x="2201" y="951"/>
                  </a:lnTo>
                  <a:lnTo>
                    <a:pt x="2201" y="951"/>
                  </a:lnTo>
                  <a:lnTo>
                    <a:pt x="2204" y="951"/>
                  </a:lnTo>
                  <a:lnTo>
                    <a:pt x="2204" y="946"/>
                  </a:lnTo>
                  <a:lnTo>
                    <a:pt x="2204" y="943"/>
                  </a:lnTo>
                  <a:lnTo>
                    <a:pt x="2206" y="940"/>
                  </a:lnTo>
                  <a:lnTo>
                    <a:pt x="2206" y="940"/>
                  </a:lnTo>
                  <a:lnTo>
                    <a:pt x="2206" y="935"/>
                  </a:lnTo>
                  <a:lnTo>
                    <a:pt x="2206" y="935"/>
                  </a:lnTo>
                  <a:lnTo>
                    <a:pt x="2206" y="932"/>
                  </a:lnTo>
                  <a:lnTo>
                    <a:pt x="2206" y="932"/>
                  </a:lnTo>
                  <a:lnTo>
                    <a:pt x="2206" y="932"/>
                  </a:lnTo>
                  <a:lnTo>
                    <a:pt x="2206" y="932"/>
                  </a:lnTo>
                  <a:lnTo>
                    <a:pt x="2209" y="930"/>
                  </a:lnTo>
                  <a:lnTo>
                    <a:pt x="2209" y="932"/>
                  </a:lnTo>
                  <a:lnTo>
                    <a:pt x="2206" y="940"/>
                  </a:lnTo>
                  <a:lnTo>
                    <a:pt x="2204" y="943"/>
                  </a:lnTo>
                  <a:lnTo>
                    <a:pt x="2204" y="946"/>
                  </a:lnTo>
                  <a:lnTo>
                    <a:pt x="2204" y="948"/>
                  </a:lnTo>
                  <a:lnTo>
                    <a:pt x="2204" y="948"/>
                  </a:lnTo>
                  <a:lnTo>
                    <a:pt x="2204" y="951"/>
                  </a:lnTo>
                  <a:lnTo>
                    <a:pt x="2204" y="951"/>
                  </a:lnTo>
                  <a:lnTo>
                    <a:pt x="2204" y="951"/>
                  </a:lnTo>
                  <a:lnTo>
                    <a:pt x="2204" y="951"/>
                  </a:lnTo>
                  <a:lnTo>
                    <a:pt x="2204" y="951"/>
                  </a:lnTo>
                  <a:lnTo>
                    <a:pt x="2201" y="951"/>
                  </a:lnTo>
                  <a:lnTo>
                    <a:pt x="2201" y="951"/>
                  </a:lnTo>
                  <a:lnTo>
                    <a:pt x="2201" y="951"/>
                  </a:lnTo>
                  <a:lnTo>
                    <a:pt x="2201" y="951"/>
                  </a:lnTo>
                  <a:lnTo>
                    <a:pt x="2201" y="951"/>
                  </a:lnTo>
                  <a:lnTo>
                    <a:pt x="2198" y="951"/>
                  </a:lnTo>
                  <a:lnTo>
                    <a:pt x="2198" y="951"/>
                  </a:lnTo>
                  <a:lnTo>
                    <a:pt x="2198" y="954"/>
                  </a:lnTo>
                  <a:lnTo>
                    <a:pt x="2196" y="954"/>
                  </a:lnTo>
                  <a:lnTo>
                    <a:pt x="2196" y="954"/>
                  </a:lnTo>
                  <a:lnTo>
                    <a:pt x="2196" y="956"/>
                  </a:lnTo>
                  <a:lnTo>
                    <a:pt x="2196" y="959"/>
                  </a:lnTo>
                  <a:lnTo>
                    <a:pt x="2196" y="959"/>
                  </a:lnTo>
                  <a:lnTo>
                    <a:pt x="2196" y="959"/>
                  </a:lnTo>
                  <a:lnTo>
                    <a:pt x="2196" y="959"/>
                  </a:lnTo>
                  <a:lnTo>
                    <a:pt x="2196" y="959"/>
                  </a:lnTo>
                  <a:lnTo>
                    <a:pt x="2198" y="959"/>
                  </a:lnTo>
                  <a:lnTo>
                    <a:pt x="2198" y="962"/>
                  </a:lnTo>
                  <a:lnTo>
                    <a:pt x="2198" y="962"/>
                  </a:lnTo>
                  <a:lnTo>
                    <a:pt x="2201" y="962"/>
                  </a:lnTo>
                  <a:lnTo>
                    <a:pt x="2201" y="964"/>
                  </a:lnTo>
                  <a:lnTo>
                    <a:pt x="2198" y="964"/>
                  </a:lnTo>
                  <a:lnTo>
                    <a:pt x="2198" y="964"/>
                  </a:lnTo>
                  <a:lnTo>
                    <a:pt x="2201" y="964"/>
                  </a:lnTo>
                  <a:lnTo>
                    <a:pt x="2201" y="967"/>
                  </a:lnTo>
                  <a:lnTo>
                    <a:pt x="2201" y="967"/>
                  </a:lnTo>
                  <a:lnTo>
                    <a:pt x="2201" y="967"/>
                  </a:lnTo>
                  <a:lnTo>
                    <a:pt x="2201" y="967"/>
                  </a:lnTo>
                  <a:lnTo>
                    <a:pt x="2201" y="970"/>
                  </a:lnTo>
                  <a:lnTo>
                    <a:pt x="2204" y="970"/>
                  </a:lnTo>
                  <a:lnTo>
                    <a:pt x="2206" y="972"/>
                  </a:lnTo>
                  <a:lnTo>
                    <a:pt x="2206" y="972"/>
                  </a:lnTo>
                  <a:lnTo>
                    <a:pt x="2209" y="970"/>
                  </a:lnTo>
                  <a:lnTo>
                    <a:pt x="2209" y="970"/>
                  </a:lnTo>
                  <a:lnTo>
                    <a:pt x="2209" y="967"/>
                  </a:lnTo>
                  <a:lnTo>
                    <a:pt x="2209" y="967"/>
                  </a:lnTo>
                  <a:lnTo>
                    <a:pt x="2209" y="967"/>
                  </a:lnTo>
                  <a:lnTo>
                    <a:pt x="2209" y="967"/>
                  </a:lnTo>
                  <a:lnTo>
                    <a:pt x="2209" y="967"/>
                  </a:lnTo>
                  <a:lnTo>
                    <a:pt x="2209" y="964"/>
                  </a:lnTo>
                  <a:lnTo>
                    <a:pt x="2209" y="964"/>
                  </a:lnTo>
                  <a:lnTo>
                    <a:pt x="2209" y="964"/>
                  </a:lnTo>
                  <a:lnTo>
                    <a:pt x="2206" y="962"/>
                  </a:lnTo>
                  <a:lnTo>
                    <a:pt x="2206" y="959"/>
                  </a:lnTo>
                  <a:lnTo>
                    <a:pt x="2206" y="959"/>
                  </a:lnTo>
                  <a:lnTo>
                    <a:pt x="2206" y="959"/>
                  </a:lnTo>
                  <a:lnTo>
                    <a:pt x="2206" y="959"/>
                  </a:lnTo>
                  <a:lnTo>
                    <a:pt x="2206" y="959"/>
                  </a:lnTo>
                  <a:lnTo>
                    <a:pt x="2206" y="959"/>
                  </a:lnTo>
                  <a:lnTo>
                    <a:pt x="2209" y="962"/>
                  </a:lnTo>
                  <a:lnTo>
                    <a:pt x="2209" y="962"/>
                  </a:lnTo>
                  <a:lnTo>
                    <a:pt x="2209" y="962"/>
                  </a:lnTo>
                  <a:lnTo>
                    <a:pt x="2209" y="964"/>
                  </a:lnTo>
                  <a:lnTo>
                    <a:pt x="2209" y="964"/>
                  </a:lnTo>
                  <a:lnTo>
                    <a:pt x="2212" y="964"/>
                  </a:lnTo>
                  <a:lnTo>
                    <a:pt x="2212" y="967"/>
                  </a:lnTo>
                  <a:lnTo>
                    <a:pt x="2212" y="967"/>
                  </a:lnTo>
                  <a:lnTo>
                    <a:pt x="2212" y="967"/>
                  </a:lnTo>
                  <a:lnTo>
                    <a:pt x="2212" y="970"/>
                  </a:lnTo>
                  <a:lnTo>
                    <a:pt x="2212" y="970"/>
                  </a:lnTo>
                  <a:lnTo>
                    <a:pt x="2212" y="970"/>
                  </a:lnTo>
                  <a:lnTo>
                    <a:pt x="2212" y="970"/>
                  </a:lnTo>
                  <a:lnTo>
                    <a:pt x="2212" y="970"/>
                  </a:lnTo>
                  <a:lnTo>
                    <a:pt x="2212" y="970"/>
                  </a:lnTo>
                  <a:lnTo>
                    <a:pt x="2214" y="970"/>
                  </a:lnTo>
                  <a:lnTo>
                    <a:pt x="2214" y="964"/>
                  </a:lnTo>
                  <a:lnTo>
                    <a:pt x="2214" y="964"/>
                  </a:lnTo>
                  <a:lnTo>
                    <a:pt x="2214" y="962"/>
                  </a:lnTo>
                  <a:lnTo>
                    <a:pt x="2214" y="962"/>
                  </a:lnTo>
                  <a:lnTo>
                    <a:pt x="2214" y="962"/>
                  </a:lnTo>
                  <a:lnTo>
                    <a:pt x="2214" y="964"/>
                  </a:lnTo>
                  <a:lnTo>
                    <a:pt x="2214" y="967"/>
                  </a:lnTo>
                  <a:lnTo>
                    <a:pt x="2214" y="967"/>
                  </a:lnTo>
                  <a:lnTo>
                    <a:pt x="2217" y="967"/>
                  </a:lnTo>
                  <a:lnTo>
                    <a:pt x="2217" y="962"/>
                  </a:lnTo>
                  <a:lnTo>
                    <a:pt x="2220" y="959"/>
                  </a:lnTo>
                  <a:lnTo>
                    <a:pt x="2220" y="956"/>
                  </a:lnTo>
                  <a:lnTo>
                    <a:pt x="2222" y="956"/>
                  </a:lnTo>
                  <a:lnTo>
                    <a:pt x="2222" y="954"/>
                  </a:lnTo>
                  <a:lnTo>
                    <a:pt x="2222" y="954"/>
                  </a:lnTo>
                  <a:lnTo>
                    <a:pt x="2222" y="951"/>
                  </a:lnTo>
                  <a:lnTo>
                    <a:pt x="2222" y="951"/>
                  </a:lnTo>
                  <a:lnTo>
                    <a:pt x="2222" y="948"/>
                  </a:lnTo>
                  <a:lnTo>
                    <a:pt x="2222" y="948"/>
                  </a:lnTo>
                  <a:lnTo>
                    <a:pt x="2222" y="948"/>
                  </a:lnTo>
                  <a:lnTo>
                    <a:pt x="2222" y="946"/>
                  </a:lnTo>
                  <a:lnTo>
                    <a:pt x="2222" y="946"/>
                  </a:lnTo>
                  <a:lnTo>
                    <a:pt x="2222" y="943"/>
                  </a:lnTo>
                  <a:lnTo>
                    <a:pt x="2222" y="943"/>
                  </a:lnTo>
                  <a:lnTo>
                    <a:pt x="2222" y="940"/>
                  </a:lnTo>
                  <a:lnTo>
                    <a:pt x="2222" y="940"/>
                  </a:lnTo>
                  <a:lnTo>
                    <a:pt x="2222" y="938"/>
                  </a:lnTo>
                  <a:lnTo>
                    <a:pt x="2222" y="938"/>
                  </a:lnTo>
                  <a:lnTo>
                    <a:pt x="2222" y="935"/>
                  </a:lnTo>
                  <a:lnTo>
                    <a:pt x="2222" y="935"/>
                  </a:lnTo>
                  <a:lnTo>
                    <a:pt x="2222" y="935"/>
                  </a:lnTo>
                  <a:lnTo>
                    <a:pt x="2222" y="935"/>
                  </a:lnTo>
                  <a:lnTo>
                    <a:pt x="2222" y="932"/>
                  </a:lnTo>
                  <a:lnTo>
                    <a:pt x="2222" y="932"/>
                  </a:lnTo>
                  <a:lnTo>
                    <a:pt x="2225" y="932"/>
                  </a:lnTo>
                  <a:lnTo>
                    <a:pt x="2225" y="932"/>
                  </a:lnTo>
                  <a:lnTo>
                    <a:pt x="2225" y="930"/>
                  </a:lnTo>
                  <a:lnTo>
                    <a:pt x="2225" y="930"/>
                  </a:lnTo>
                  <a:lnTo>
                    <a:pt x="2225" y="927"/>
                  </a:lnTo>
                  <a:lnTo>
                    <a:pt x="2222" y="924"/>
                  </a:lnTo>
                  <a:close/>
                  <a:moveTo>
                    <a:pt x="2190" y="967"/>
                  </a:moveTo>
                  <a:lnTo>
                    <a:pt x="2188" y="967"/>
                  </a:lnTo>
                  <a:lnTo>
                    <a:pt x="2188" y="967"/>
                  </a:lnTo>
                  <a:lnTo>
                    <a:pt x="2188" y="964"/>
                  </a:lnTo>
                  <a:lnTo>
                    <a:pt x="2188" y="964"/>
                  </a:lnTo>
                  <a:lnTo>
                    <a:pt x="2188" y="964"/>
                  </a:lnTo>
                  <a:lnTo>
                    <a:pt x="2188" y="964"/>
                  </a:lnTo>
                  <a:lnTo>
                    <a:pt x="2188" y="962"/>
                  </a:lnTo>
                  <a:lnTo>
                    <a:pt x="2185" y="962"/>
                  </a:lnTo>
                  <a:lnTo>
                    <a:pt x="2185" y="967"/>
                  </a:lnTo>
                  <a:lnTo>
                    <a:pt x="2182" y="964"/>
                  </a:lnTo>
                  <a:lnTo>
                    <a:pt x="2182" y="967"/>
                  </a:lnTo>
                  <a:lnTo>
                    <a:pt x="2182" y="967"/>
                  </a:lnTo>
                  <a:lnTo>
                    <a:pt x="2180" y="967"/>
                  </a:lnTo>
                  <a:lnTo>
                    <a:pt x="2180" y="970"/>
                  </a:lnTo>
                  <a:lnTo>
                    <a:pt x="2180" y="970"/>
                  </a:lnTo>
                  <a:lnTo>
                    <a:pt x="2180" y="970"/>
                  </a:lnTo>
                  <a:lnTo>
                    <a:pt x="2182" y="970"/>
                  </a:lnTo>
                  <a:lnTo>
                    <a:pt x="2182" y="970"/>
                  </a:lnTo>
                  <a:lnTo>
                    <a:pt x="2185" y="972"/>
                  </a:lnTo>
                  <a:lnTo>
                    <a:pt x="2185" y="972"/>
                  </a:lnTo>
                  <a:lnTo>
                    <a:pt x="2185" y="972"/>
                  </a:lnTo>
                  <a:lnTo>
                    <a:pt x="2185" y="972"/>
                  </a:lnTo>
                  <a:lnTo>
                    <a:pt x="2188" y="972"/>
                  </a:lnTo>
                  <a:lnTo>
                    <a:pt x="2188" y="972"/>
                  </a:lnTo>
                  <a:lnTo>
                    <a:pt x="2188" y="970"/>
                  </a:lnTo>
                  <a:lnTo>
                    <a:pt x="2188" y="970"/>
                  </a:lnTo>
                  <a:lnTo>
                    <a:pt x="2190" y="970"/>
                  </a:lnTo>
                  <a:lnTo>
                    <a:pt x="2190" y="970"/>
                  </a:lnTo>
                  <a:lnTo>
                    <a:pt x="2190" y="967"/>
                  </a:lnTo>
                  <a:lnTo>
                    <a:pt x="2190" y="967"/>
                  </a:lnTo>
                  <a:lnTo>
                    <a:pt x="2190" y="967"/>
                  </a:lnTo>
                  <a:lnTo>
                    <a:pt x="2190" y="967"/>
                  </a:lnTo>
                  <a:close/>
                  <a:moveTo>
                    <a:pt x="2182" y="964"/>
                  </a:moveTo>
                  <a:lnTo>
                    <a:pt x="2182" y="962"/>
                  </a:lnTo>
                  <a:lnTo>
                    <a:pt x="2182" y="959"/>
                  </a:lnTo>
                  <a:lnTo>
                    <a:pt x="2182" y="959"/>
                  </a:lnTo>
                  <a:lnTo>
                    <a:pt x="2182" y="959"/>
                  </a:lnTo>
                  <a:lnTo>
                    <a:pt x="2180" y="959"/>
                  </a:lnTo>
                  <a:lnTo>
                    <a:pt x="2180" y="959"/>
                  </a:lnTo>
                  <a:lnTo>
                    <a:pt x="2180" y="956"/>
                  </a:lnTo>
                  <a:lnTo>
                    <a:pt x="2180" y="956"/>
                  </a:lnTo>
                  <a:lnTo>
                    <a:pt x="2180" y="956"/>
                  </a:lnTo>
                  <a:lnTo>
                    <a:pt x="2180" y="954"/>
                  </a:lnTo>
                  <a:lnTo>
                    <a:pt x="2180" y="954"/>
                  </a:lnTo>
                  <a:lnTo>
                    <a:pt x="2177" y="954"/>
                  </a:lnTo>
                  <a:lnTo>
                    <a:pt x="2177" y="951"/>
                  </a:lnTo>
                  <a:lnTo>
                    <a:pt x="2177" y="951"/>
                  </a:lnTo>
                  <a:lnTo>
                    <a:pt x="2174" y="951"/>
                  </a:lnTo>
                  <a:lnTo>
                    <a:pt x="2172" y="948"/>
                  </a:lnTo>
                  <a:lnTo>
                    <a:pt x="2172" y="948"/>
                  </a:lnTo>
                  <a:lnTo>
                    <a:pt x="2169" y="948"/>
                  </a:lnTo>
                  <a:lnTo>
                    <a:pt x="2169" y="948"/>
                  </a:lnTo>
                  <a:lnTo>
                    <a:pt x="2169" y="948"/>
                  </a:lnTo>
                  <a:lnTo>
                    <a:pt x="2169" y="951"/>
                  </a:lnTo>
                  <a:lnTo>
                    <a:pt x="2169" y="951"/>
                  </a:lnTo>
                  <a:lnTo>
                    <a:pt x="2169" y="951"/>
                  </a:lnTo>
                  <a:lnTo>
                    <a:pt x="2169" y="951"/>
                  </a:lnTo>
                  <a:lnTo>
                    <a:pt x="2169" y="954"/>
                  </a:lnTo>
                  <a:lnTo>
                    <a:pt x="2169" y="954"/>
                  </a:lnTo>
                  <a:lnTo>
                    <a:pt x="2172" y="954"/>
                  </a:lnTo>
                  <a:lnTo>
                    <a:pt x="2172" y="954"/>
                  </a:lnTo>
                  <a:lnTo>
                    <a:pt x="2172" y="954"/>
                  </a:lnTo>
                  <a:lnTo>
                    <a:pt x="2172" y="956"/>
                  </a:lnTo>
                  <a:lnTo>
                    <a:pt x="2172" y="956"/>
                  </a:lnTo>
                  <a:lnTo>
                    <a:pt x="2172" y="956"/>
                  </a:lnTo>
                  <a:lnTo>
                    <a:pt x="2172" y="956"/>
                  </a:lnTo>
                  <a:lnTo>
                    <a:pt x="2174" y="956"/>
                  </a:lnTo>
                  <a:lnTo>
                    <a:pt x="2174" y="959"/>
                  </a:lnTo>
                  <a:lnTo>
                    <a:pt x="2174" y="959"/>
                  </a:lnTo>
                  <a:lnTo>
                    <a:pt x="2172" y="959"/>
                  </a:lnTo>
                  <a:lnTo>
                    <a:pt x="2172" y="959"/>
                  </a:lnTo>
                  <a:lnTo>
                    <a:pt x="2172" y="962"/>
                  </a:lnTo>
                  <a:lnTo>
                    <a:pt x="2172" y="962"/>
                  </a:lnTo>
                  <a:lnTo>
                    <a:pt x="2172" y="962"/>
                  </a:lnTo>
                  <a:lnTo>
                    <a:pt x="2172" y="964"/>
                  </a:lnTo>
                  <a:lnTo>
                    <a:pt x="2172" y="967"/>
                  </a:lnTo>
                  <a:lnTo>
                    <a:pt x="2174" y="967"/>
                  </a:lnTo>
                  <a:lnTo>
                    <a:pt x="2174" y="967"/>
                  </a:lnTo>
                  <a:lnTo>
                    <a:pt x="2174" y="967"/>
                  </a:lnTo>
                  <a:lnTo>
                    <a:pt x="2174" y="967"/>
                  </a:lnTo>
                  <a:lnTo>
                    <a:pt x="2174" y="967"/>
                  </a:lnTo>
                  <a:lnTo>
                    <a:pt x="2174" y="967"/>
                  </a:lnTo>
                  <a:lnTo>
                    <a:pt x="2174" y="967"/>
                  </a:lnTo>
                  <a:lnTo>
                    <a:pt x="2174" y="967"/>
                  </a:lnTo>
                  <a:lnTo>
                    <a:pt x="2174" y="967"/>
                  </a:lnTo>
                  <a:lnTo>
                    <a:pt x="2174" y="964"/>
                  </a:lnTo>
                  <a:lnTo>
                    <a:pt x="2174" y="964"/>
                  </a:lnTo>
                  <a:lnTo>
                    <a:pt x="2177" y="964"/>
                  </a:lnTo>
                  <a:lnTo>
                    <a:pt x="2174" y="962"/>
                  </a:lnTo>
                  <a:lnTo>
                    <a:pt x="2174" y="962"/>
                  </a:lnTo>
                  <a:lnTo>
                    <a:pt x="2174" y="962"/>
                  </a:lnTo>
                  <a:lnTo>
                    <a:pt x="2174" y="962"/>
                  </a:lnTo>
                  <a:lnTo>
                    <a:pt x="2174" y="962"/>
                  </a:lnTo>
                  <a:lnTo>
                    <a:pt x="2174" y="962"/>
                  </a:lnTo>
                  <a:lnTo>
                    <a:pt x="2177" y="962"/>
                  </a:lnTo>
                  <a:lnTo>
                    <a:pt x="2177" y="962"/>
                  </a:lnTo>
                  <a:lnTo>
                    <a:pt x="2177" y="964"/>
                  </a:lnTo>
                  <a:lnTo>
                    <a:pt x="2177" y="964"/>
                  </a:lnTo>
                  <a:lnTo>
                    <a:pt x="2177" y="964"/>
                  </a:lnTo>
                  <a:lnTo>
                    <a:pt x="2177" y="964"/>
                  </a:lnTo>
                  <a:lnTo>
                    <a:pt x="2180" y="964"/>
                  </a:lnTo>
                  <a:lnTo>
                    <a:pt x="2180" y="964"/>
                  </a:lnTo>
                  <a:lnTo>
                    <a:pt x="2182" y="964"/>
                  </a:lnTo>
                  <a:close/>
                  <a:moveTo>
                    <a:pt x="1406" y="799"/>
                  </a:moveTo>
                  <a:lnTo>
                    <a:pt x="1406" y="799"/>
                  </a:lnTo>
                  <a:lnTo>
                    <a:pt x="1406" y="799"/>
                  </a:lnTo>
                  <a:lnTo>
                    <a:pt x="1406" y="799"/>
                  </a:lnTo>
                  <a:close/>
                  <a:moveTo>
                    <a:pt x="968" y="1061"/>
                  </a:moveTo>
                  <a:lnTo>
                    <a:pt x="968" y="1061"/>
                  </a:lnTo>
                  <a:lnTo>
                    <a:pt x="968" y="1061"/>
                  </a:lnTo>
                  <a:lnTo>
                    <a:pt x="968" y="1061"/>
                  </a:lnTo>
                  <a:lnTo>
                    <a:pt x="968" y="1061"/>
                  </a:lnTo>
                  <a:lnTo>
                    <a:pt x="968" y="1058"/>
                  </a:lnTo>
                  <a:lnTo>
                    <a:pt x="968" y="1058"/>
                  </a:lnTo>
                  <a:lnTo>
                    <a:pt x="966" y="1061"/>
                  </a:lnTo>
                  <a:lnTo>
                    <a:pt x="966" y="1061"/>
                  </a:lnTo>
                  <a:lnTo>
                    <a:pt x="966" y="1061"/>
                  </a:lnTo>
                  <a:lnTo>
                    <a:pt x="966" y="1061"/>
                  </a:lnTo>
                  <a:lnTo>
                    <a:pt x="968" y="1061"/>
                  </a:lnTo>
                  <a:close/>
                  <a:moveTo>
                    <a:pt x="1056" y="1031"/>
                  </a:moveTo>
                  <a:lnTo>
                    <a:pt x="1056" y="1031"/>
                  </a:lnTo>
                  <a:lnTo>
                    <a:pt x="1056" y="1031"/>
                  </a:lnTo>
                  <a:lnTo>
                    <a:pt x="1059" y="1031"/>
                  </a:lnTo>
                  <a:lnTo>
                    <a:pt x="1059" y="1028"/>
                  </a:lnTo>
                  <a:lnTo>
                    <a:pt x="1056" y="1028"/>
                  </a:lnTo>
                  <a:lnTo>
                    <a:pt x="1056" y="1028"/>
                  </a:lnTo>
                  <a:lnTo>
                    <a:pt x="1056" y="1031"/>
                  </a:lnTo>
                  <a:lnTo>
                    <a:pt x="1056" y="1031"/>
                  </a:lnTo>
                  <a:lnTo>
                    <a:pt x="1056" y="1031"/>
                  </a:lnTo>
                  <a:lnTo>
                    <a:pt x="1056" y="1031"/>
                  </a:lnTo>
                  <a:close/>
                  <a:moveTo>
                    <a:pt x="1062" y="1031"/>
                  </a:moveTo>
                  <a:lnTo>
                    <a:pt x="1062" y="1031"/>
                  </a:lnTo>
                  <a:lnTo>
                    <a:pt x="1062" y="1031"/>
                  </a:lnTo>
                  <a:lnTo>
                    <a:pt x="1062" y="1028"/>
                  </a:lnTo>
                  <a:lnTo>
                    <a:pt x="1059" y="1028"/>
                  </a:lnTo>
                  <a:lnTo>
                    <a:pt x="1059" y="1031"/>
                  </a:lnTo>
                  <a:lnTo>
                    <a:pt x="1059" y="1031"/>
                  </a:lnTo>
                  <a:lnTo>
                    <a:pt x="1059" y="1031"/>
                  </a:lnTo>
                  <a:lnTo>
                    <a:pt x="1062" y="1031"/>
                  </a:lnTo>
                  <a:close/>
                  <a:moveTo>
                    <a:pt x="1070" y="858"/>
                  </a:moveTo>
                  <a:lnTo>
                    <a:pt x="1070" y="858"/>
                  </a:lnTo>
                  <a:lnTo>
                    <a:pt x="1072" y="858"/>
                  </a:lnTo>
                  <a:lnTo>
                    <a:pt x="1075" y="858"/>
                  </a:lnTo>
                  <a:lnTo>
                    <a:pt x="1075" y="858"/>
                  </a:lnTo>
                  <a:lnTo>
                    <a:pt x="1075" y="855"/>
                  </a:lnTo>
                  <a:lnTo>
                    <a:pt x="1078" y="852"/>
                  </a:lnTo>
                  <a:lnTo>
                    <a:pt x="1078" y="852"/>
                  </a:lnTo>
                  <a:lnTo>
                    <a:pt x="1080" y="852"/>
                  </a:lnTo>
                  <a:lnTo>
                    <a:pt x="1080" y="852"/>
                  </a:lnTo>
                  <a:lnTo>
                    <a:pt x="1080" y="849"/>
                  </a:lnTo>
                  <a:lnTo>
                    <a:pt x="1083" y="844"/>
                  </a:lnTo>
                  <a:lnTo>
                    <a:pt x="1083" y="844"/>
                  </a:lnTo>
                  <a:lnTo>
                    <a:pt x="1083" y="841"/>
                  </a:lnTo>
                  <a:lnTo>
                    <a:pt x="1086" y="841"/>
                  </a:lnTo>
                  <a:lnTo>
                    <a:pt x="1086" y="841"/>
                  </a:lnTo>
                  <a:lnTo>
                    <a:pt x="1086" y="841"/>
                  </a:lnTo>
                  <a:lnTo>
                    <a:pt x="1078" y="847"/>
                  </a:lnTo>
                  <a:lnTo>
                    <a:pt x="1075" y="847"/>
                  </a:lnTo>
                  <a:lnTo>
                    <a:pt x="1075" y="847"/>
                  </a:lnTo>
                  <a:lnTo>
                    <a:pt x="1072" y="847"/>
                  </a:lnTo>
                  <a:lnTo>
                    <a:pt x="1072" y="847"/>
                  </a:lnTo>
                  <a:lnTo>
                    <a:pt x="1070" y="849"/>
                  </a:lnTo>
                  <a:lnTo>
                    <a:pt x="1070" y="852"/>
                  </a:lnTo>
                  <a:lnTo>
                    <a:pt x="1070" y="852"/>
                  </a:lnTo>
                  <a:lnTo>
                    <a:pt x="1070" y="852"/>
                  </a:lnTo>
                  <a:lnTo>
                    <a:pt x="1067" y="849"/>
                  </a:lnTo>
                  <a:lnTo>
                    <a:pt x="1070" y="852"/>
                  </a:lnTo>
                  <a:lnTo>
                    <a:pt x="1070" y="852"/>
                  </a:lnTo>
                  <a:lnTo>
                    <a:pt x="1070" y="855"/>
                  </a:lnTo>
                  <a:lnTo>
                    <a:pt x="1070" y="855"/>
                  </a:lnTo>
                  <a:lnTo>
                    <a:pt x="1070" y="855"/>
                  </a:lnTo>
                  <a:lnTo>
                    <a:pt x="1070" y="855"/>
                  </a:lnTo>
                  <a:lnTo>
                    <a:pt x="1070" y="858"/>
                  </a:lnTo>
                  <a:lnTo>
                    <a:pt x="1070" y="858"/>
                  </a:lnTo>
                  <a:close/>
                  <a:moveTo>
                    <a:pt x="1094" y="852"/>
                  </a:moveTo>
                  <a:lnTo>
                    <a:pt x="1094" y="852"/>
                  </a:lnTo>
                  <a:lnTo>
                    <a:pt x="1094" y="849"/>
                  </a:lnTo>
                  <a:lnTo>
                    <a:pt x="1094" y="849"/>
                  </a:lnTo>
                  <a:lnTo>
                    <a:pt x="1094" y="849"/>
                  </a:lnTo>
                  <a:lnTo>
                    <a:pt x="1094" y="849"/>
                  </a:lnTo>
                  <a:lnTo>
                    <a:pt x="1094" y="849"/>
                  </a:lnTo>
                  <a:lnTo>
                    <a:pt x="1094" y="849"/>
                  </a:lnTo>
                  <a:lnTo>
                    <a:pt x="1094" y="847"/>
                  </a:lnTo>
                  <a:lnTo>
                    <a:pt x="1094" y="847"/>
                  </a:lnTo>
                  <a:lnTo>
                    <a:pt x="1094" y="849"/>
                  </a:lnTo>
                  <a:lnTo>
                    <a:pt x="1094" y="852"/>
                  </a:lnTo>
                  <a:lnTo>
                    <a:pt x="1094" y="852"/>
                  </a:lnTo>
                  <a:lnTo>
                    <a:pt x="1094" y="852"/>
                  </a:lnTo>
                  <a:lnTo>
                    <a:pt x="1094" y="852"/>
                  </a:lnTo>
                  <a:close/>
                  <a:moveTo>
                    <a:pt x="1099" y="855"/>
                  </a:moveTo>
                  <a:lnTo>
                    <a:pt x="1099" y="855"/>
                  </a:lnTo>
                  <a:lnTo>
                    <a:pt x="1099" y="855"/>
                  </a:lnTo>
                  <a:lnTo>
                    <a:pt x="1099" y="855"/>
                  </a:lnTo>
                  <a:lnTo>
                    <a:pt x="1099" y="855"/>
                  </a:lnTo>
                  <a:lnTo>
                    <a:pt x="1099" y="852"/>
                  </a:lnTo>
                  <a:lnTo>
                    <a:pt x="1099" y="852"/>
                  </a:lnTo>
                  <a:lnTo>
                    <a:pt x="1099" y="852"/>
                  </a:lnTo>
                  <a:lnTo>
                    <a:pt x="1099" y="852"/>
                  </a:lnTo>
                  <a:lnTo>
                    <a:pt x="1099" y="852"/>
                  </a:lnTo>
                  <a:lnTo>
                    <a:pt x="1099" y="849"/>
                  </a:lnTo>
                  <a:lnTo>
                    <a:pt x="1099" y="849"/>
                  </a:lnTo>
                  <a:lnTo>
                    <a:pt x="1096" y="849"/>
                  </a:lnTo>
                  <a:lnTo>
                    <a:pt x="1096" y="849"/>
                  </a:lnTo>
                  <a:lnTo>
                    <a:pt x="1096" y="852"/>
                  </a:lnTo>
                  <a:lnTo>
                    <a:pt x="1096" y="852"/>
                  </a:lnTo>
                  <a:lnTo>
                    <a:pt x="1096" y="852"/>
                  </a:lnTo>
                  <a:lnTo>
                    <a:pt x="1099" y="852"/>
                  </a:lnTo>
                  <a:lnTo>
                    <a:pt x="1099" y="855"/>
                  </a:lnTo>
                  <a:close/>
                  <a:moveTo>
                    <a:pt x="974" y="1071"/>
                  </a:moveTo>
                  <a:lnTo>
                    <a:pt x="974" y="1071"/>
                  </a:lnTo>
                  <a:lnTo>
                    <a:pt x="974" y="1071"/>
                  </a:lnTo>
                  <a:lnTo>
                    <a:pt x="976" y="1069"/>
                  </a:lnTo>
                  <a:lnTo>
                    <a:pt x="976" y="1069"/>
                  </a:lnTo>
                  <a:lnTo>
                    <a:pt x="976" y="1069"/>
                  </a:lnTo>
                  <a:lnTo>
                    <a:pt x="976" y="1069"/>
                  </a:lnTo>
                  <a:lnTo>
                    <a:pt x="976" y="1069"/>
                  </a:lnTo>
                  <a:lnTo>
                    <a:pt x="976" y="1069"/>
                  </a:lnTo>
                  <a:lnTo>
                    <a:pt x="974" y="1071"/>
                  </a:lnTo>
                  <a:lnTo>
                    <a:pt x="974" y="1071"/>
                  </a:lnTo>
                  <a:lnTo>
                    <a:pt x="974" y="1071"/>
                  </a:lnTo>
                  <a:lnTo>
                    <a:pt x="974" y="1071"/>
                  </a:lnTo>
                  <a:lnTo>
                    <a:pt x="974" y="1071"/>
                  </a:lnTo>
                  <a:close/>
                  <a:moveTo>
                    <a:pt x="1059" y="1037"/>
                  </a:moveTo>
                  <a:lnTo>
                    <a:pt x="1056" y="1039"/>
                  </a:lnTo>
                  <a:lnTo>
                    <a:pt x="1056" y="1037"/>
                  </a:lnTo>
                  <a:lnTo>
                    <a:pt x="1056" y="1037"/>
                  </a:lnTo>
                  <a:lnTo>
                    <a:pt x="1056" y="1039"/>
                  </a:lnTo>
                  <a:lnTo>
                    <a:pt x="1059" y="1037"/>
                  </a:lnTo>
                  <a:lnTo>
                    <a:pt x="1062" y="1039"/>
                  </a:lnTo>
                  <a:lnTo>
                    <a:pt x="1062" y="1037"/>
                  </a:lnTo>
                  <a:lnTo>
                    <a:pt x="1062" y="1037"/>
                  </a:lnTo>
                  <a:lnTo>
                    <a:pt x="1059" y="1037"/>
                  </a:lnTo>
                  <a:lnTo>
                    <a:pt x="1059" y="1037"/>
                  </a:lnTo>
                  <a:lnTo>
                    <a:pt x="1059" y="1037"/>
                  </a:lnTo>
                  <a:lnTo>
                    <a:pt x="1059" y="1037"/>
                  </a:lnTo>
                  <a:lnTo>
                    <a:pt x="1059" y="1037"/>
                  </a:lnTo>
                  <a:close/>
                  <a:moveTo>
                    <a:pt x="2169" y="946"/>
                  </a:moveTo>
                  <a:lnTo>
                    <a:pt x="2169" y="946"/>
                  </a:lnTo>
                  <a:lnTo>
                    <a:pt x="2172" y="943"/>
                  </a:lnTo>
                  <a:lnTo>
                    <a:pt x="2172" y="940"/>
                  </a:lnTo>
                  <a:lnTo>
                    <a:pt x="2169" y="940"/>
                  </a:lnTo>
                  <a:lnTo>
                    <a:pt x="2169" y="938"/>
                  </a:lnTo>
                  <a:lnTo>
                    <a:pt x="2166" y="938"/>
                  </a:lnTo>
                  <a:lnTo>
                    <a:pt x="2166" y="938"/>
                  </a:lnTo>
                  <a:lnTo>
                    <a:pt x="2166" y="935"/>
                  </a:lnTo>
                  <a:lnTo>
                    <a:pt x="2166" y="935"/>
                  </a:lnTo>
                  <a:lnTo>
                    <a:pt x="2166" y="932"/>
                  </a:lnTo>
                  <a:lnTo>
                    <a:pt x="2166" y="932"/>
                  </a:lnTo>
                  <a:lnTo>
                    <a:pt x="2169" y="932"/>
                  </a:lnTo>
                  <a:lnTo>
                    <a:pt x="2169" y="930"/>
                  </a:lnTo>
                  <a:lnTo>
                    <a:pt x="2169" y="935"/>
                  </a:lnTo>
                  <a:lnTo>
                    <a:pt x="2169" y="935"/>
                  </a:lnTo>
                  <a:lnTo>
                    <a:pt x="2169" y="938"/>
                  </a:lnTo>
                  <a:lnTo>
                    <a:pt x="2169" y="938"/>
                  </a:lnTo>
                  <a:lnTo>
                    <a:pt x="2172" y="940"/>
                  </a:lnTo>
                  <a:lnTo>
                    <a:pt x="2172" y="940"/>
                  </a:lnTo>
                  <a:lnTo>
                    <a:pt x="2172" y="940"/>
                  </a:lnTo>
                  <a:lnTo>
                    <a:pt x="2172" y="940"/>
                  </a:lnTo>
                  <a:lnTo>
                    <a:pt x="2172" y="943"/>
                  </a:lnTo>
                  <a:lnTo>
                    <a:pt x="2172" y="943"/>
                  </a:lnTo>
                  <a:lnTo>
                    <a:pt x="2172" y="943"/>
                  </a:lnTo>
                  <a:lnTo>
                    <a:pt x="2172" y="943"/>
                  </a:lnTo>
                  <a:lnTo>
                    <a:pt x="2174" y="940"/>
                  </a:lnTo>
                  <a:lnTo>
                    <a:pt x="2174" y="940"/>
                  </a:lnTo>
                  <a:lnTo>
                    <a:pt x="2174" y="940"/>
                  </a:lnTo>
                  <a:lnTo>
                    <a:pt x="2174" y="938"/>
                  </a:lnTo>
                  <a:lnTo>
                    <a:pt x="2174" y="938"/>
                  </a:lnTo>
                  <a:lnTo>
                    <a:pt x="2174" y="935"/>
                  </a:lnTo>
                  <a:lnTo>
                    <a:pt x="2174" y="932"/>
                  </a:lnTo>
                  <a:lnTo>
                    <a:pt x="2172" y="932"/>
                  </a:lnTo>
                  <a:lnTo>
                    <a:pt x="2169" y="927"/>
                  </a:lnTo>
                  <a:lnTo>
                    <a:pt x="2169" y="924"/>
                  </a:lnTo>
                  <a:lnTo>
                    <a:pt x="2169" y="922"/>
                  </a:lnTo>
                  <a:lnTo>
                    <a:pt x="2169" y="922"/>
                  </a:lnTo>
                  <a:lnTo>
                    <a:pt x="2169" y="924"/>
                  </a:lnTo>
                  <a:lnTo>
                    <a:pt x="2172" y="927"/>
                  </a:lnTo>
                  <a:lnTo>
                    <a:pt x="2172" y="927"/>
                  </a:lnTo>
                  <a:lnTo>
                    <a:pt x="2172" y="930"/>
                  </a:lnTo>
                  <a:lnTo>
                    <a:pt x="2174" y="930"/>
                  </a:lnTo>
                  <a:lnTo>
                    <a:pt x="2174" y="932"/>
                  </a:lnTo>
                  <a:lnTo>
                    <a:pt x="2174" y="932"/>
                  </a:lnTo>
                  <a:lnTo>
                    <a:pt x="2177" y="935"/>
                  </a:lnTo>
                  <a:lnTo>
                    <a:pt x="2177" y="935"/>
                  </a:lnTo>
                  <a:lnTo>
                    <a:pt x="2174" y="938"/>
                  </a:lnTo>
                  <a:lnTo>
                    <a:pt x="2174" y="938"/>
                  </a:lnTo>
                  <a:lnTo>
                    <a:pt x="2174" y="940"/>
                  </a:lnTo>
                  <a:lnTo>
                    <a:pt x="2174" y="940"/>
                  </a:lnTo>
                  <a:lnTo>
                    <a:pt x="2174" y="940"/>
                  </a:lnTo>
                  <a:lnTo>
                    <a:pt x="2174" y="940"/>
                  </a:lnTo>
                  <a:lnTo>
                    <a:pt x="2174" y="940"/>
                  </a:lnTo>
                  <a:lnTo>
                    <a:pt x="2174" y="943"/>
                  </a:lnTo>
                  <a:lnTo>
                    <a:pt x="2174" y="943"/>
                  </a:lnTo>
                  <a:lnTo>
                    <a:pt x="2174" y="943"/>
                  </a:lnTo>
                  <a:lnTo>
                    <a:pt x="2172" y="946"/>
                  </a:lnTo>
                  <a:lnTo>
                    <a:pt x="2172" y="946"/>
                  </a:lnTo>
                  <a:lnTo>
                    <a:pt x="2172" y="946"/>
                  </a:lnTo>
                  <a:lnTo>
                    <a:pt x="2174" y="948"/>
                  </a:lnTo>
                  <a:lnTo>
                    <a:pt x="2174" y="948"/>
                  </a:lnTo>
                  <a:lnTo>
                    <a:pt x="2174" y="948"/>
                  </a:lnTo>
                  <a:lnTo>
                    <a:pt x="2177" y="948"/>
                  </a:lnTo>
                  <a:lnTo>
                    <a:pt x="2177" y="946"/>
                  </a:lnTo>
                  <a:lnTo>
                    <a:pt x="2180" y="946"/>
                  </a:lnTo>
                  <a:lnTo>
                    <a:pt x="2180" y="943"/>
                  </a:lnTo>
                  <a:lnTo>
                    <a:pt x="2180" y="943"/>
                  </a:lnTo>
                  <a:lnTo>
                    <a:pt x="2180" y="943"/>
                  </a:lnTo>
                  <a:lnTo>
                    <a:pt x="2177" y="940"/>
                  </a:lnTo>
                  <a:lnTo>
                    <a:pt x="2177" y="940"/>
                  </a:lnTo>
                  <a:lnTo>
                    <a:pt x="2177" y="938"/>
                  </a:lnTo>
                  <a:lnTo>
                    <a:pt x="2177" y="938"/>
                  </a:lnTo>
                  <a:lnTo>
                    <a:pt x="2180" y="938"/>
                  </a:lnTo>
                  <a:lnTo>
                    <a:pt x="2177" y="935"/>
                  </a:lnTo>
                  <a:lnTo>
                    <a:pt x="2180" y="935"/>
                  </a:lnTo>
                  <a:lnTo>
                    <a:pt x="2180" y="938"/>
                  </a:lnTo>
                  <a:lnTo>
                    <a:pt x="2180" y="938"/>
                  </a:lnTo>
                  <a:lnTo>
                    <a:pt x="2180" y="938"/>
                  </a:lnTo>
                  <a:lnTo>
                    <a:pt x="2180" y="938"/>
                  </a:lnTo>
                  <a:lnTo>
                    <a:pt x="2180" y="940"/>
                  </a:lnTo>
                  <a:lnTo>
                    <a:pt x="2180" y="940"/>
                  </a:lnTo>
                  <a:lnTo>
                    <a:pt x="2180" y="940"/>
                  </a:lnTo>
                  <a:lnTo>
                    <a:pt x="2180" y="940"/>
                  </a:lnTo>
                  <a:lnTo>
                    <a:pt x="2180" y="943"/>
                  </a:lnTo>
                  <a:lnTo>
                    <a:pt x="2180" y="943"/>
                  </a:lnTo>
                  <a:lnTo>
                    <a:pt x="2180" y="946"/>
                  </a:lnTo>
                  <a:lnTo>
                    <a:pt x="2180" y="948"/>
                  </a:lnTo>
                  <a:lnTo>
                    <a:pt x="2180" y="948"/>
                  </a:lnTo>
                  <a:lnTo>
                    <a:pt x="2182" y="948"/>
                  </a:lnTo>
                  <a:lnTo>
                    <a:pt x="2185" y="951"/>
                  </a:lnTo>
                  <a:lnTo>
                    <a:pt x="2185" y="948"/>
                  </a:lnTo>
                  <a:lnTo>
                    <a:pt x="2185" y="948"/>
                  </a:lnTo>
                  <a:lnTo>
                    <a:pt x="2185" y="946"/>
                  </a:lnTo>
                  <a:lnTo>
                    <a:pt x="2185" y="946"/>
                  </a:lnTo>
                  <a:lnTo>
                    <a:pt x="2185" y="946"/>
                  </a:lnTo>
                  <a:lnTo>
                    <a:pt x="2185" y="946"/>
                  </a:lnTo>
                  <a:lnTo>
                    <a:pt x="2188" y="946"/>
                  </a:lnTo>
                  <a:lnTo>
                    <a:pt x="2188" y="946"/>
                  </a:lnTo>
                  <a:lnTo>
                    <a:pt x="2188" y="943"/>
                  </a:lnTo>
                  <a:lnTo>
                    <a:pt x="2188" y="943"/>
                  </a:lnTo>
                  <a:lnTo>
                    <a:pt x="2188" y="940"/>
                  </a:lnTo>
                  <a:lnTo>
                    <a:pt x="2188" y="938"/>
                  </a:lnTo>
                  <a:lnTo>
                    <a:pt x="2188" y="938"/>
                  </a:lnTo>
                  <a:lnTo>
                    <a:pt x="2188" y="938"/>
                  </a:lnTo>
                  <a:lnTo>
                    <a:pt x="2188" y="935"/>
                  </a:lnTo>
                  <a:lnTo>
                    <a:pt x="2185" y="935"/>
                  </a:lnTo>
                  <a:lnTo>
                    <a:pt x="2185" y="935"/>
                  </a:lnTo>
                  <a:lnTo>
                    <a:pt x="2185" y="935"/>
                  </a:lnTo>
                  <a:lnTo>
                    <a:pt x="2185" y="932"/>
                  </a:lnTo>
                  <a:lnTo>
                    <a:pt x="2185" y="932"/>
                  </a:lnTo>
                  <a:lnTo>
                    <a:pt x="2185" y="932"/>
                  </a:lnTo>
                  <a:lnTo>
                    <a:pt x="2188" y="932"/>
                  </a:lnTo>
                  <a:lnTo>
                    <a:pt x="2188" y="935"/>
                  </a:lnTo>
                  <a:lnTo>
                    <a:pt x="2188" y="935"/>
                  </a:lnTo>
                  <a:lnTo>
                    <a:pt x="2188" y="932"/>
                  </a:lnTo>
                  <a:lnTo>
                    <a:pt x="2188" y="932"/>
                  </a:lnTo>
                  <a:lnTo>
                    <a:pt x="2188" y="932"/>
                  </a:lnTo>
                  <a:lnTo>
                    <a:pt x="2188" y="930"/>
                  </a:lnTo>
                  <a:lnTo>
                    <a:pt x="2185" y="930"/>
                  </a:lnTo>
                  <a:lnTo>
                    <a:pt x="2185" y="930"/>
                  </a:lnTo>
                  <a:lnTo>
                    <a:pt x="2185" y="927"/>
                  </a:lnTo>
                  <a:lnTo>
                    <a:pt x="2185" y="927"/>
                  </a:lnTo>
                  <a:lnTo>
                    <a:pt x="2185" y="927"/>
                  </a:lnTo>
                  <a:lnTo>
                    <a:pt x="2185" y="927"/>
                  </a:lnTo>
                  <a:lnTo>
                    <a:pt x="2185" y="924"/>
                  </a:lnTo>
                  <a:lnTo>
                    <a:pt x="2182" y="922"/>
                  </a:lnTo>
                  <a:lnTo>
                    <a:pt x="2185" y="922"/>
                  </a:lnTo>
                  <a:lnTo>
                    <a:pt x="2185" y="922"/>
                  </a:lnTo>
                  <a:lnTo>
                    <a:pt x="2185" y="922"/>
                  </a:lnTo>
                  <a:lnTo>
                    <a:pt x="2185" y="922"/>
                  </a:lnTo>
                  <a:lnTo>
                    <a:pt x="2185" y="922"/>
                  </a:lnTo>
                  <a:lnTo>
                    <a:pt x="2185" y="919"/>
                  </a:lnTo>
                  <a:lnTo>
                    <a:pt x="2182" y="916"/>
                  </a:lnTo>
                  <a:lnTo>
                    <a:pt x="2182" y="916"/>
                  </a:lnTo>
                  <a:lnTo>
                    <a:pt x="2182" y="916"/>
                  </a:lnTo>
                  <a:lnTo>
                    <a:pt x="2182" y="916"/>
                  </a:lnTo>
                  <a:lnTo>
                    <a:pt x="2182" y="914"/>
                  </a:lnTo>
                  <a:lnTo>
                    <a:pt x="2180" y="914"/>
                  </a:lnTo>
                  <a:lnTo>
                    <a:pt x="2177" y="911"/>
                  </a:lnTo>
                  <a:lnTo>
                    <a:pt x="2177" y="911"/>
                  </a:lnTo>
                  <a:lnTo>
                    <a:pt x="2177" y="908"/>
                  </a:lnTo>
                  <a:lnTo>
                    <a:pt x="2169" y="903"/>
                  </a:lnTo>
                  <a:lnTo>
                    <a:pt x="2166" y="903"/>
                  </a:lnTo>
                  <a:lnTo>
                    <a:pt x="2166" y="900"/>
                  </a:lnTo>
                  <a:lnTo>
                    <a:pt x="2164" y="900"/>
                  </a:lnTo>
                  <a:lnTo>
                    <a:pt x="2164" y="903"/>
                  </a:lnTo>
                  <a:lnTo>
                    <a:pt x="2161" y="903"/>
                  </a:lnTo>
                  <a:lnTo>
                    <a:pt x="2161" y="906"/>
                  </a:lnTo>
                  <a:lnTo>
                    <a:pt x="2158" y="906"/>
                  </a:lnTo>
                  <a:lnTo>
                    <a:pt x="2158" y="906"/>
                  </a:lnTo>
                  <a:lnTo>
                    <a:pt x="2158" y="906"/>
                  </a:lnTo>
                  <a:lnTo>
                    <a:pt x="2158" y="906"/>
                  </a:lnTo>
                  <a:lnTo>
                    <a:pt x="2158" y="908"/>
                  </a:lnTo>
                  <a:lnTo>
                    <a:pt x="2156" y="908"/>
                  </a:lnTo>
                  <a:lnTo>
                    <a:pt x="2153" y="908"/>
                  </a:lnTo>
                  <a:lnTo>
                    <a:pt x="2156" y="908"/>
                  </a:lnTo>
                  <a:lnTo>
                    <a:pt x="2156" y="911"/>
                  </a:lnTo>
                  <a:lnTo>
                    <a:pt x="2156" y="911"/>
                  </a:lnTo>
                  <a:lnTo>
                    <a:pt x="2158" y="911"/>
                  </a:lnTo>
                  <a:lnTo>
                    <a:pt x="2161" y="911"/>
                  </a:lnTo>
                  <a:lnTo>
                    <a:pt x="2161" y="911"/>
                  </a:lnTo>
                  <a:lnTo>
                    <a:pt x="2161" y="911"/>
                  </a:lnTo>
                  <a:lnTo>
                    <a:pt x="2153" y="914"/>
                  </a:lnTo>
                  <a:lnTo>
                    <a:pt x="2153" y="914"/>
                  </a:lnTo>
                  <a:lnTo>
                    <a:pt x="2153" y="916"/>
                  </a:lnTo>
                  <a:lnTo>
                    <a:pt x="2153" y="916"/>
                  </a:lnTo>
                  <a:lnTo>
                    <a:pt x="2156" y="916"/>
                  </a:lnTo>
                  <a:lnTo>
                    <a:pt x="2156" y="916"/>
                  </a:lnTo>
                  <a:lnTo>
                    <a:pt x="2156" y="916"/>
                  </a:lnTo>
                  <a:lnTo>
                    <a:pt x="2156" y="916"/>
                  </a:lnTo>
                  <a:lnTo>
                    <a:pt x="2158" y="916"/>
                  </a:lnTo>
                  <a:lnTo>
                    <a:pt x="2158" y="914"/>
                  </a:lnTo>
                  <a:lnTo>
                    <a:pt x="2158" y="914"/>
                  </a:lnTo>
                  <a:lnTo>
                    <a:pt x="2158" y="914"/>
                  </a:lnTo>
                  <a:lnTo>
                    <a:pt x="2158" y="914"/>
                  </a:lnTo>
                  <a:lnTo>
                    <a:pt x="2158" y="914"/>
                  </a:lnTo>
                  <a:lnTo>
                    <a:pt x="2158" y="914"/>
                  </a:lnTo>
                  <a:lnTo>
                    <a:pt x="2161" y="916"/>
                  </a:lnTo>
                  <a:lnTo>
                    <a:pt x="2161" y="916"/>
                  </a:lnTo>
                  <a:lnTo>
                    <a:pt x="2158" y="916"/>
                  </a:lnTo>
                  <a:lnTo>
                    <a:pt x="2156" y="919"/>
                  </a:lnTo>
                  <a:lnTo>
                    <a:pt x="2156" y="919"/>
                  </a:lnTo>
                  <a:lnTo>
                    <a:pt x="2153" y="919"/>
                  </a:lnTo>
                  <a:lnTo>
                    <a:pt x="2153" y="922"/>
                  </a:lnTo>
                  <a:lnTo>
                    <a:pt x="2153" y="924"/>
                  </a:lnTo>
                  <a:lnTo>
                    <a:pt x="2156" y="924"/>
                  </a:lnTo>
                  <a:lnTo>
                    <a:pt x="2156" y="922"/>
                  </a:lnTo>
                  <a:lnTo>
                    <a:pt x="2156" y="922"/>
                  </a:lnTo>
                  <a:lnTo>
                    <a:pt x="2158" y="919"/>
                  </a:lnTo>
                  <a:lnTo>
                    <a:pt x="2161" y="919"/>
                  </a:lnTo>
                  <a:lnTo>
                    <a:pt x="2161" y="919"/>
                  </a:lnTo>
                  <a:lnTo>
                    <a:pt x="2161" y="919"/>
                  </a:lnTo>
                  <a:lnTo>
                    <a:pt x="2161" y="919"/>
                  </a:lnTo>
                  <a:lnTo>
                    <a:pt x="2158" y="922"/>
                  </a:lnTo>
                  <a:lnTo>
                    <a:pt x="2158" y="922"/>
                  </a:lnTo>
                  <a:lnTo>
                    <a:pt x="2158" y="922"/>
                  </a:lnTo>
                  <a:lnTo>
                    <a:pt x="2158" y="922"/>
                  </a:lnTo>
                  <a:lnTo>
                    <a:pt x="2156" y="922"/>
                  </a:lnTo>
                  <a:lnTo>
                    <a:pt x="2156" y="922"/>
                  </a:lnTo>
                  <a:lnTo>
                    <a:pt x="2158" y="924"/>
                  </a:lnTo>
                  <a:lnTo>
                    <a:pt x="2158" y="924"/>
                  </a:lnTo>
                  <a:lnTo>
                    <a:pt x="2158" y="924"/>
                  </a:lnTo>
                  <a:lnTo>
                    <a:pt x="2156" y="924"/>
                  </a:lnTo>
                  <a:lnTo>
                    <a:pt x="2156" y="924"/>
                  </a:lnTo>
                  <a:lnTo>
                    <a:pt x="2156" y="924"/>
                  </a:lnTo>
                  <a:lnTo>
                    <a:pt x="2156" y="924"/>
                  </a:lnTo>
                  <a:lnTo>
                    <a:pt x="2156" y="924"/>
                  </a:lnTo>
                  <a:lnTo>
                    <a:pt x="2156" y="927"/>
                  </a:lnTo>
                  <a:lnTo>
                    <a:pt x="2156" y="927"/>
                  </a:lnTo>
                  <a:lnTo>
                    <a:pt x="2156" y="927"/>
                  </a:lnTo>
                  <a:lnTo>
                    <a:pt x="2156" y="930"/>
                  </a:lnTo>
                  <a:lnTo>
                    <a:pt x="2158" y="930"/>
                  </a:lnTo>
                  <a:lnTo>
                    <a:pt x="2158" y="930"/>
                  </a:lnTo>
                  <a:lnTo>
                    <a:pt x="2161" y="930"/>
                  </a:lnTo>
                  <a:lnTo>
                    <a:pt x="2161" y="932"/>
                  </a:lnTo>
                  <a:lnTo>
                    <a:pt x="2161" y="932"/>
                  </a:lnTo>
                  <a:lnTo>
                    <a:pt x="2158" y="932"/>
                  </a:lnTo>
                  <a:lnTo>
                    <a:pt x="2158" y="932"/>
                  </a:lnTo>
                  <a:lnTo>
                    <a:pt x="2158" y="932"/>
                  </a:lnTo>
                  <a:lnTo>
                    <a:pt x="2158" y="935"/>
                  </a:lnTo>
                  <a:lnTo>
                    <a:pt x="2158" y="935"/>
                  </a:lnTo>
                  <a:lnTo>
                    <a:pt x="2156" y="940"/>
                  </a:lnTo>
                  <a:lnTo>
                    <a:pt x="2156" y="940"/>
                  </a:lnTo>
                  <a:lnTo>
                    <a:pt x="2156" y="940"/>
                  </a:lnTo>
                  <a:lnTo>
                    <a:pt x="2158" y="943"/>
                  </a:lnTo>
                  <a:lnTo>
                    <a:pt x="2161" y="943"/>
                  </a:lnTo>
                  <a:lnTo>
                    <a:pt x="2161" y="943"/>
                  </a:lnTo>
                  <a:lnTo>
                    <a:pt x="2161" y="943"/>
                  </a:lnTo>
                  <a:lnTo>
                    <a:pt x="2161" y="943"/>
                  </a:lnTo>
                  <a:lnTo>
                    <a:pt x="2164" y="946"/>
                  </a:lnTo>
                  <a:lnTo>
                    <a:pt x="2164" y="946"/>
                  </a:lnTo>
                  <a:lnTo>
                    <a:pt x="2166" y="946"/>
                  </a:lnTo>
                  <a:lnTo>
                    <a:pt x="2169" y="948"/>
                  </a:lnTo>
                  <a:lnTo>
                    <a:pt x="2169" y="948"/>
                  </a:lnTo>
                  <a:lnTo>
                    <a:pt x="2169" y="946"/>
                  </a:lnTo>
                  <a:close/>
                  <a:moveTo>
                    <a:pt x="984" y="1063"/>
                  </a:moveTo>
                  <a:lnTo>
                    <a:pt x="984" y="1063"/>
                  </a:lnTo>
                  <a:lnTo>
                    <a:pt x="984" y="1063"/>
                  </a:lnTo>
                  <a:lnTo>
                    <a:pt x="982" y="1063"/>
                  </a:lnTo>
                  <a:lnTo>
                    <a:pt x="979" y="1066"/>
                  </a:lnTo>
                  <a:lnTo>
                    <a:pt x="976" y="1066"/>
                  </a:lnTo>
                  <a:lnTo>
                    <a:pt x="976" y="1069"/>
                  </a:lnTo>
                  <a:lnTo>
                    <a:pt x="976" y="1066"/>
                  </a:lnTo>
                  <a:lnTo>
                    <a:pt x="984" y="1063"/>
                  </a:lnTo>
                  <a:lnTo>
                    <a:pt x="984" y="1063"/>
                  </a:lnTo>
                  <a:close/>
                  <a:moveTo>
                    <a:pt x="2086" y="946"/>
                  </a:moveTo>
                  <a:lnTo>
                    <a:pt x="2089" y="946"/>
                  </a:lnTo>
                  <a:lnTo>
                    <a:pt x="2089" y="946"/>
                  </a:lnTo>
                  <a:lnTo>
                    <a:pt x="2089" y="943"/>
                  </a:lnTo>
                  <a:lnTo>
                    <a:pt x="2089" y="940"/>
                  </a:lnTo>
                  <a:lnTo>
                    <a:pt x="2089" y="940"/>
                  </a:lnTo>
                  <a:lnTo>
                    <a:pt x="2089" y="940"/>
                  </a:lnTo>
                  <a:lnTo>
                    <a:pt x="2089" y="940"/>
                  </a:lnTo>
                  <a:lnTo>
                    <a:pt x="2092" y="943"/>
                  </a:lnTo>
                  <a:lnTo>
                    <a:pt x="2092" y="940"/>
                  </a:lnTo>
                  <a:lnTo>
                    <a:pt x="2092" y="940"/>
                  </a:lnTo>
                  <a:lnTo>
                    <a:pt x="2094" y="938"/>
                  </a:lnTo>
                  <a:lnTo>
                    <a:pt x="2094" y="938"/>
                  </a:lnTo>
                  <a:lnTo>
                    <a:pt x="2094" y="935"/>
                  </a:lnTo>
                  <a:lnTo>
                    <a:pt x="2094" y="935"/>
                  </a:lnTo>
                  <a:lnTo>
                    <a:pt x="2094" y="938"/>
                  </a:lnTo>
                  <a:lnTo>
                    <a:pt x="2094" y="938"/>
                  </a:lnTo>
                  <a:lnTo>
                    <a:pt x="2092" y="938"/>
                  </a:lnTo>
                  <a:lnTo>
                    <a:pt x="2089" y="940"/>
                  </a:lnTo>
                  <a:lnTo>
                    <a:pt x="2089" y="940"/>
                  </a:lnTo>
                  <a:lnTo>
                    <a:pt x="2089" y="938"/>
                  </a:lnTo>
                  <a:lnTo>
                    <a:pt x="2089" y="938"/>
                  </a:lnTo>
                  <a:lnTo>
                    <a:pt x="2086" y="938"/>
                  </a:lnTo>
                  <a:lnTo>
                    <a:pt x="2086" y="938"/>
                  </a:lnTo>
                  <a:lnTo>
                    <a:pt x="2086" y="938"/>
                  </a:lnTo>
                  <a:lnTo>
                    <a:pt x="2084" y="938"/>
                  </a:lnTo>
                  <a:lnTo>
                    <a:pt x="2084" y="938"/>
                  </a:lnTo>
                  <a:lnTo>
                    <a:pt x="2084" y="940"/>
                  </a:lnTo>
                  <a:lnTo>
                    <a:pt x="2084" y="940"/>
                  </a:lnTo>
                  <a:lnTo>
                    <a:pt x="2084" y="938"/>
                  </a:lnTo>
                  <a:lnTo>
                    <a:pt x="2084" y="938"/>
                  </a:lnTo>
                  <a:lnTo>
                    <a:pt x="2081" y="938"/>
                  </a:lnTo>
                  <a:lnTo>
                    <a:pt x="2081" y="940"/>
                  </a:lnTo>
                  <a:lnTo>
                    <a:pt x="2084" y="940"/>
                  </a:lnTo>
                  <a:lnTo>
                    <a:pt x="2084" y="940"/>
                  </a:lnTo>
                  <a:lnTo>
                    <a:pt x="2081" y="940"/>
                  </a:lnTo>
                  <a:lnTo>
                    <a:pt x="2081" y="940"/>
                  </a:lnTo>
                  <a:lnTo>
                    <a:pt x="2081" y="943"/>
                  </a:lnTo>
                  <a:lnTo>
                    <a:pt x="2084" y="946"/>
                  </a:lnTo>
                  <a:lnTo>
                    <a:pt x="2086" y="946"/>
                  </a:lnTo>
                  <a:close/>
                  <a:moveTo>
                    <a:pt x="2092" y="935"/>
                  </a:moveTo>
                  <a:lnTo>
                    <a:pt x="2092" y="935"/>
                  </a:lnTo>
                  <a:lnTo>
                    <a:pt x="2092" y="935"/>
                  </a:lnTo>
                  <a:lnTo>
                    <a:pt x="2094" y="935"/>
                  </a:lnTo>
                  <a:lnTo>
                    <a:pt x="2094" y="935"/>
                  </a:lnTo>
                  <a:lnTo>
                    <a:pt x="2094" y="935"/>
                  </a:lnTo>
                  <a:lnTo>
                    <a:pt x="2094" y="938"/>
                  </a:lnTo>
                  <a:lnTo>
                    <a:pt x="2097" y="938"/>
                  </a:lnTo>
                  <a:lnTo>
                    <a:pt x="2097" y="938"/>
                  </a:lnTo>
                  <a:lnTo>
                    <a:pt x="2097" y="938"/>
                  </a:lnTo>
                  <a:lnTo>
                    <a:pt x="2097" y="938"/>
                  </a:lnTo>
                  <a:lnTo>
                    <a:pt x="2097" y="938"/>
                  </a:lnTo>
                  <a:lnTo>
                    <a:pt x="2097" y="938"/>
                  </a:lnTo>
                  <a:lnTo>
                    <a:pt x="2097" y="935"/>
                  </a:lnTo>
                  <a:lnTo>
                    <a:pt x="2097" y="935"/>
                  </a:lnTo>
                  <a:lnTo>
                    <a:pt x="2097" y="932"/>
                  </a:lnTo>
                  <a:lnTo>
                    <a:pt x="2097" y="932"/>
                  </a:lnTo>
                  <a:lnTo>
                    <a:pt x="2094" y="932"/>
                  </a:lnTo>
                  <a:lnTo>
                    <a:pt x="2094" y="932"/>
                  </a:lnTo>
                  <a:lnTo>
                    <a:pt x="2094" y="932"/>
                  </a:lnTo>
                  <a:lnTo>
                    <a:pt x="2094" y="930"/>
                  </a:lnTo>
                  <a:lnTo>
                    <a:pt x="2094" y="930"/>
                  </a:lnTo>
                  <a:lnTo>
                    <a:pt x="2092" y="930"/>
                  </a:lnTo>
                  <a:lnTo>
                    <a:pt x="2092" y="930"/>
                  </a:lnTo>
                  <a:lnTo>
                    <a:pt x="2092" y="932"/>
                  </a:lnTo>
                  <a:lnTo>
                    <a:pt x="2092" y="932"/>
                  </a:lnTo>
                  <a:lnTo>
                    <a:pt x="2092" y="932"/>
                  </a:lnTo>
                  <a:lnTo>
                    <a:pt x="2092" y="932"/>
                  </a:lnTo>
                  <a:lnTo>
                    <a:pt x="2094" y="932"/>
                  </a:lnTo>
                  <a:lnTo>
                    <a:pt x="2092" y="935"/>
                  </a:lnTo>
                  <a:lnTo>
                    <a:pt x="2092" y="935"/>
                  </a:lnTo>
                  <a:close/>
                  <a:moveTo>
                    <a:pt x="2092" y="962"/>
                  </a:moveTo>
                  <a:lnTo>
                    <a:pt x="2092" y="962"/>
                  </a:lnTo>
                  <a:lnTo>
                    <a:pt x="2092" y="962"/>
                  </a:lnTo>
                  <a:lnTo>
                    <a:pt x="2092" y="962"/>
                  </a:lnTo>
                  <a:lnTo>
                    <a:pt x="2094" y="964"/>
                  </a:lnTo>
                  <a:lnTo>
                    <a:pt x="2094" y="964"/>
                  </a:lnTo>
                  <a:lnTo>
                    <a:pt x="2094" y="962"/>
                  </a:lnTo>
                  <a:lnTo>
                    <a:pt x="2097" y="962"/>
                  </a:lnTo>
                  <a:lnTo>
                    <a:pt x="2097" y="962"/>
                  </a:lnTo>
                  <a:lnTo>
                    <a:pt x="2097" y="962"/>
                  </a:lnTo>
                  <a:lnTo>
                    <a:pt x="2097" y="959"/>
                  </a:lnTo>
                  <a:lnTo>
                    <a:pt x="2097" y="959"/>
                  </a:lnTo>
                  <a:lnTo>
                    <a:pt x="2097" y="959"/>
                  </a:lnTo>
                  <a:lnTo>
                    <a:pt x="2097" y="956"/>
                  </a:lnTo>
                  <a:lnTo>
                    <a:pt x="2094" y="956"/>
                  </a:lnTo>
                  <a:lnTo>
                    <a:pt x="2092" y="956"/>
                  </a:lnTo>
                  <a:lnTo>
                    <a:pt x="2092" y="956"/>
                  </a:lnTo>
                  <a:lnTo>
                    <a:pt x="2092" y="959"/>
                  </a:lnTo>
                  <a:lnTo>
                    <a:pt x="2092" y="959"/>
                  </a:lnTo>
                  <a:lnTo>
                    <a:pt x="2092" y="962"/>
                  </a:lnTo>
                  <a:close/>
                  <a:moveTo>
                    <a:pt x="2081" y="930"/>
                  </a:moveTo>
                  <a:lnTo>
                    <a:pt x="2081" y="930"/>
                  </a:lnTo>
                  <a:lnTo>
                    <a:pt x="2084" y="927"/>
                  </a:lnTo>
                  <a:lnTo>
                    <a:pt x="2084" y="927"/>
                  </a:lnTo>
                  <a:lnTo>
                    <a:pt x="2084" y="924"/>
                  </a:lnTo>
                  <a:lnTo>
                    <a:pt x="2084" y="924"/>
                  </a:lnTo>
                  <a:lnTo>
                    <a:pt x="2086" y="924"/>
                  </a:lnTo>
                  <a:lnTo>
                    <a:pt x="2086" y="924"/>
                  </a:lnTo>
                  <a:lnTo>
                    <a:pt x="2086" y="924"/>
                  </a:lnTo>
                  <a:lnTo>
                    <a:pt x="2089" y="924"/>
                  </a:lnTo>
                  <a:lnTo>
                    <a:pt x="2089" y="924"/>
                  </a:lnTo>
                  <a:lnTo>
                    <a:pt x="2089" y="924"/>
                  </a:lnTo>
                  <a:lnTo>
                    <a:pt x="2089" y="922"/>
                  </a:lnTo>
                  <a:lnTo>
                    <a:pt x="2089" y="922"/>
                  </a:lnTo>
                  <a:lnTo>
                    <a:pt x="2089" y="919"/>
                  </a:lnTo>
                  <a:lnTo>
                    <a:pt x="2089" y="919"/>
                  </a:lnTo>
                  <a:lnTo>
                    <a:pt x="2089" y="919"/>
                  </a:lnTo>
                  <a:lnTo>
                    <a:pt x="2089" y="919"/>
                  </a:lnTo>
                  <a:lnTo>
                    <a:pt x="2089" y="916"/>
                  </a:lnTo>
                  <a:lnTo>
                    <a:pt x="2089" y="914"/>
                  </a:lnTo>
                  <a:lnTo>
                    <a:pt x="2089" y="914"/>
                  </a:lnTo>
                  <a:lnTo>
                    <a:pt x="2086" y="914"/>
                  </a:lnTo>
                  <a:lnTo>
                    <a:pt x="2086" y="914"/>
                  </a:lnTo>
                  <a:lnTo>
                    <a:pt x="2084" y="914"/>
                  </a:lnTo>
                  <a:lnTo>
                    <a:pt x="2084" y="914"/>
                  </a:lnTo>
                  <a:lnTo>
                    <a:pt x="2084" y="916"/>
                  </a:lnTo>
                  <a:lnTo>
                    <a:pt x="2084" y="916"/>
                  </a:lnTo>
                  <a:lnTo>
                    <a:pt x="2081" y="916"/>
                  </a:lnTo>
                  <a:lnTo>
                    <a:pt x="2081" y="919"/>
                  </a:lnTo>
                  <a:lnTo>
                    <a:pt x="2081" y="919"/>
                  </a:lnTo>
                  <a:lnTo>
                    <a:pt x="2081" y="919"/>
                  </a:lnTo>
                  <a:lnTo>
                    <a:pt x="2078" y="919"/>
                  </a:lnTo>
                  <a:lnTo>
                    <a:pt x="2076" y="919"/>
                  </a:lnTo>
                  <a:lnTo>
                    <a:pt x="2076" y="919"/>
                  </a:lnTo>
                  <a:lnTo>
                    <a:pt x="2078" y="922"/>
                  </a:lnTo>
                  <a:lnTo>
                    <a:pt x="2081" y="919"/>
                  </a:lnTo>
                  <a:lnTo>
                    <a:pt x="2081" y="919"/>
                  </a:lnTo>
                  <a:lnTo>
                    <a:pt x="2081" y="922"/>
                  </a:lnTo>
                  <a:lnTo>
                    <a:pt x="2081" y="922"/>
                  </a:lnTo>
                  <a:lnTo>
                    <a:pt x="2078" y="922"/>
                  </a:lnTo>
                  <a:lnTo>
                    <a:pt x="2076" y="924"/>
                  </a:lnTo>
                  <a:lnTo>
                    <a:pt x="2076" y="924"/>
                  </a:lnTo>
                  <a:lnTo>
                    <a:pt x="2076" y="924"/>
                  </a:lnTo>
                  <a:lnTo>
                    <a:pt x="2076" y="924"/>
                  </a:lnTo>
                  <a:lnTo>
                    <a:pt x="2073" y="930"/>
                  </a:lnTo>
                  <a:lnTo>
                    <a:pt x="2073" y="932"/>
                  </a:lnTo>
                  <a:lnTo>
                    <a:pt x="2076" y="935"/>
                  </a:lnTo>
                  <a:lnTo>
                    <a:pt x="2076" y="935"/>
                  </a:lnTo>
                  <a:lnTo>
                    <a:pt x="2076" y="935"/>
                  </a:lnTo>
                  <a:lnTo>
                    <a:pt x="2078" y="935"/>
                  </a:lnTo>
                  <a:lnTo>
                    <a:pt x="2078" y="935"/>
                  </a:lnTo>
                  <a:lnTo>
                    <a:pt x="2078" y="935"/>
                  </a:lnTo>
                  <a:lnTo>
                    <a:pt x="2078" y="932"/>
                  </a:lnTo>
                  <a:lnTo>
                    <a:pt x="2081" y="932"/>
                  </a:lnTo>
                  <a:lnTo>
                    <a:pt x="2081" y="932"/>
                  </a:lnTo>
                  <a:lnTo>
                    <a:pt x="2081" y="932"/>
                  </a:lnTo>
                  <a:lnTo>
                    <a:pt x="2078" y="932"/>
                  </a:lnTo>
                  <a:lnTo>
                    <a:pt x="2078" y="930"/>
                  </a:lnTo>
                  <a:lnTo>
                    <a:pt x="2078" y="930"/>
                  </a:lnTo>
                  <a:lnTo>
                    <a:pt x="2081" y="930"/>
                  </a:lnTo>
                  <a:close/>
                  <a:moveTo>
                    <a:pt x="2092" y="959"/>
                  </a:moveTo>
                  <a:lnTo>
                    <a:pt x="2092" y="959"/>
                  </a:lnTo>
                  <a:lnTo>
                    <a:pt x="2089" y="956"/>
                  </a:lnTo>
                  <a:lnTo>
                    <a:pt x="2089" y="956"/>
                  </a:lnTo>
                  <a:lnTo>
                    <a:pt x="2089" y="956"/>
                  </a:lnTo>
                  <a:lnTo>
                    <a:pt x="2086" y="956"/>
                  </a:lnTo>
                  <a:lnTo>
                    <a:pt x="2086" y="956"/>
                  </a:lnTo>
                  <a:lnTo>
                    <a:pt x="2084" y="956"/>
                  </a:lnTo>
                  <a:lnTo>
                    <a:pt x="2084" y="956"/>
                  </a:lnTo>
                  <a:lnTo>
                    <a:pt x="2084" y="959"/>
                  </a:lnTo>
                  <a:lnTo>
                    <a:pt x="2084" y="959"/>
                  </a:lnTo>
                  <a:lnTo>
                    <a:pt x="2084" y="959"/>
                  </a:lnTo>
                  <a:lnTo>
                    <a:pt x="2084" y="959"/>
                  </a:lnTo>
                  <a:lnTo>
                    <a:pt x="2084" y="959"/>
                  </a:lnTo>
                  <a:lnTo>
                    <a:pt x="2086" y="959"/>
                  </a:lnTo>
                  <a:lnTo>
                    <a:pt x="2086" y="959"/>
                  </a:lnTo>
                  <a:lnTo>
                    <a:pt x="2086" y="959"/>
                  </a:lnTo>
                  <a:lnTo>
                    <a:pt x="2084" y="962"/>
                  </a:lnTo>
                  <a:lnTo>
                    <a:pt x="2084" y="964"/>
                  </a:lnTo>
                  <a:lnTo>
                    <a:pt x="2084" y="964"/>
                  </a:lnTo>
                  <a:lnTo>
                    <a:pt x="2084" y="964"/>
                  </a:lnTo>
                  <a:lnTo>
                    <a:pt x="2084" y="964"/>
                  </a:lnTo>
                  <a:lnTo>
                    <a:pt x="2086" y="964"/>
                  </a:lnTo>
                  <a:lnTo>
                    <a:pt x="2086" y="962"/>
                  </a:lnTo>
                  <a:lnTo>
                    <a:pt x="2086" y="962"/>
                  </a:lnTo>
                  <a:lnTo>
                    <a:pt x="2089" y="964"/>
                  </a:lnTo>
                  <a:lnTo>
                    <a:pt x="2089" y="964"/>
                  </a:lnTo>
                  <a:lnTo>
                    <a:pt x="2089" y="962"/>
                  </a:lnTo>
                  <a:lnTo>
                    <a:pt x="2089" y="962"/>
                  </a:lnTo>
                  <a:lnTo>
                    <a:pt x="2089" y="959"/>
                  </a:lnTo>
                  <a:lnTo>
                    <a:pt x="2092" y="959"/>
                  </a:lnTo>
                  <a:close/>
                  <a:moveTo>
                    <a:pt x="2105" y="876"/>
                  </a:moveTo>
                  <a:lnTo>
                    <a:pt x="2105" y="876"/>
                  </a:lnTo>
                  <a:lnTo>
                    <a:pt x="2105" y="876"/>
                  </a:lnTo>
                  <a:lnTo>
                    <a:pt x="2105" y="876"/>
                  </a:lnTo>
                  <a:lnTo>
                    <a:pt x="2102" y="876"/>
                  </a:lnTo>
                  <a:lnTo>
                    <a:pt x="2102" y="876"/>
                  </a:lnTo>
                  <a:lnTo>
                    <a:pt x="2102" y="876"/>
                  </a:lnTo>
                  <a:lnTo>
                    <a:pt x="2102" y="874"/>
                  </a:lnTo>
                  <a:lnTo>
                    <a:pt x="2102" y="874"/>
                  </a:lnTo>
                  <a:lnTo>
                    <a:pt x="2100" y="874"/>
                  </a:lnTo>
                  <a:lnTo>
                    <a:pt x="2100" y="874"/>
                  </a:lnTo>
                  <a:lnTo>
                    <a:pt x="2100" y="874"/>
                  </a:lnTo>
                  <a:lnTo>
                    <a:pt x="2100" y="874"/>
                  </a:lnTo>
                  <a:lnTo>
                    <a:pt x="2100" y="871"/>
                  </a:lnTo>
                  <a:lnTo>
                    <a:pt x="2097" y="871"/>
                  </a:lnTo>
                  <a:lnTo>
                    <a:pt x="2097" y="871"/>
                  </a:lnTo>
                  <a:lnTo>
                    <a:pt x="2097" y="871"/>
                  </a:lnTo>
                  <a:lnTo>
                    <a:pt x="2094" y="871"/>
                  </a:lnTo>
                  <a:lnTo>
                    <a:pt x="2094" y="868"/>
                  </a:lnTo>
                  <a:lnTo>
                    <a:pt x="2094" y="868"/>
                  </a:lnTo>
                  <a:lnTo>
                    <a:pt x="2092" y="866"/>
                  </a:lnTo>
                  <a:lnTo>
                    <a:pt x="2089" y="866"/>
                  </a:lnTo>
                  <a:lnTo>
                    <a:pt x="2089" y="868"/>
                  </a:lnTo>
                  <a:lnTo>
                    <a:pt x="2089" y="868"/>
                  </a:lnTo>
                  <a:lnTo>
                    <a:pt x="2086" y="866"/>
                  </a:lnTo>
                  <a:lnTo>
                    <a:pt x="2086" y="868"/>
                  </a:lnTo>
                  <a:lnTo>
                    <a:pt x="2086" y="868"/>
                  </a:lnTo>
                  <a:lnTo>
                    <a:pt x="2086" y="868"/>
                  </a:lnTo>
                  <a:lnTo>
                    <a:pt x="2089" y="871"/>
                  </a:lnTo>
                  <a:lnTo>
                    <a:pt x="2089" y="871"/>
                  </a:lnTo>
                  <a:lnTo>
                    <a:pt x="2089" y="871"/>
                  </a:lnTo>
                  <a:lnTo>
                    <a:pt x="2089" y="874"/>
                  </a:lnTo>
                  <a:lnTo>
                    <a:pt x="2089" y="874"/>
                  </a:lnTo>
                  <a:lnTo>
                    <a:pt x="2089" y="874"/>
                  </a:lnTo>
                  <a:lnTo>
                    <a:pt x="2092" y="876"/>
                  </a:lnTo>
                  <a:lnTo>
                    <a:pt x="2092" y="876"/>
                  </a:lnTo>
                  <a:lnTo>
                    <a:pt x="2092" y="879"/>
                  </a:lnTo>
                  <a:lnTo>
                    <a:pt x="2092" y="879"/>
                  </a:lnTo>
                  <a:lnTo>
                    <a:pt x="2092" y="879"/>
                  </a:lnTo>
                  <a:lnTo>
                    <a:pt x="2089" y="882"/>
                  </a:lnTo>
                  <a:lnTo>
                    <a:pt x="2092" y="882"/>
                  </a:lnTo>
                  <a:lnTo>
                    <a:pt x="2092" y="884"/>
                  </a:lnTo>
                  <a:lnTo>
                    <a:pt x="2092" y="887"/>
                  </a:lnTo>
                  <a:lnTo>
                    <a:pt x="2094" y="887"/>
                  </a:lnTo>
                  <a:lnTo>
                    <a:pt x="2097" y="887"/>
                  </a:lnTo>
                  <a:lnTo>
                    <a:pt x="2100" y="884"/>
                  </a:lnTo>
                  <a:lnTo>
                    <a:pt x="2100" y="884"/>
                  </a:lnTo>
                  <a:lnTo>
                    <a:pt x="2100" y="884"/>
                  </a:lnTo>
                  <a:lnTo>
                    <a:pt x="2100" y="884"/>
                  </a:lnTo>
                  <a:lnTo>
                    <a:pt x="2097" y="882"/>
                  </a:lnTo>
                  <a:lnTo>
                    <a:pt x="2100" y="882"/>
                  </a:lnTo>
                  <a:lnTo>
                    <a:pt x="2100" y="882"/>
                  </a:lnTo>
                  <a:lnTo>
                    <a:pt x="2100" y="882"/>
                  </a:lnTo>
                  <a:lnTo>
                    <a:pt x="2100" y="882"/>
                  </a:lnTo>
                  <a:lnTo>
                    <a:pt x="2102" y="882"/>
                  </a:lnTo>
                  <a:lnTo>
                    <a:pt x="2102" y="882"/>
                  </a:lnTo>
                  <a:lnTo>
                    <a:pt x="2102" y="882"/>
                  </a:lnTo>
                  <a:lnTo>
                    <a:pt x="2102" y="882"/>
                  </a:lnTo>
                  <a:lnTo>
                    <a:pt x="2102" y="879"/>
                  </a:lnTo>
                  <a:lnTo>
                    <a:pt x="2105" y="879"/>
                  </a:lnTo>
                  <a:lnTo>
                    <a:pt x="2105" y="879"/>
                  </a:lnTo>
                  <a:lnTo>
                    <a:pt x="2105" y="879"/>
                  </a:lnTo>
                  <a:lnTo>
                    <a:pt x="2105" y="876"/>
                  </a:lnTo>
                  <a:lnTo>
                    <a:pt x="2105" y="876"/>
                  </a:lnTo>
                  <a:lnTo>
                    <a:pt x="2105" y="876"/>
                  </a:lnTo>
                  <a:lnTo>
                    <a:pt x="2105" y="876"/>
                  </a:lnTo>
                  <a:close/>
                  <a:moveTo>
                    <a:pt x="2070" y="935"/>
                  </a:moveTo>
                  <a:lnTo>
                    <a:pt x="2070" y="935"/>
                  </a:lnTo>
                  <a:lnTo>
                    <a:pt x="2070" y="935"/>
                  </a:lnTo>
                  <a:lnTo>
                    <a:pt x="2070" y="938"/>
                  </a:lnTo>
                  <a:lnTo>
                    <a:pt x="2070" y="938"/>
                  </a:lnTo>
                  <a:lnTo>
                    <a:pt x="2070" y="938"/>
                  </a:lnTo>
                  <a:lnTo>
                    <a:pt x="2070" y="940"/>
                  </a:lnTo>
                  <a:lnTo>
                    <a:pt x="2073" y="940"/>
                  </a:lnTo>
                  <a:lnTo>
                    <a:pt x="2073" y="938"/>
                  </a:lnTo>
                  <a:lnTo>
                    <a:pt x="2073" y="935"/>
                  </a:lnTo>
                  <a:lnTo>
                    <a:pt x="2070" y="935"/>
                  </a:lnTo>
                  <a:close/>
                  <a:moveTo>
                    <a:pt x="2164" y="946"/>
                  </a:moveTo>
                  <a:lnTo>
                    <a:pt x="2156" y="943"/>
                  </a:lnTo>
                  <a:lnTo>
                    <a:pt x="2156" y="943"/>
                  </a:lnTo>
                  <a:lnTo>
                    <a:pt x="2156" y="943"/>
                  </a:lnTo>
                  <a:lnTo>
                    <a:pt x="2156" y="946"/>
                  </a:lnTo>
                  <a:lnTo>
                    <a:pt x="2156" y="946"/>
                  </a:lnTo>
                  <a:lnTo>
                    <a:pt x="2156" y="946"/>
                  </a:lnTo>
                  <a:lnTo>
                    <a:pt x="2156" y="946"/>
                  </a:lnTo>
                  <a:lnTo>
                    <a:pt x="2156" y="948"/>
                  </a:lnTo>
                  <a:lnTo>
                    <a:pt x="2158" y="948"/>
                  </a:lnTo>
                  <a:lnTo>
                    <a:pt x="2158" y="951"/>
                  </a:lnTo>
                  <a:lnTo>
                    <a:pt x="2161" y="956"/>
                  </a:lnTo>
                  <a:lnTo>
                    <a:pt x="2164" y="959"/>
                  </a:lnTo>
                  <a:lnTo>
                    <a:pt x="2164" y="959"/>
                  </a:lnTo>
                  <a:lnTo>
                    <a:pt x="2166" y="959"/>
                  </a:lnTo>
                  <a:lnTo>
                    <a:pt x="2166" y="959"/>
                  </a:lnTo>
                  <a:lnTo>
                    <a:pt x="2166" y="959"/>
                  </a:lnTo>
                  <a:lnTo>
                    <a:pt x="2166" y="959"/>
                  </a:lnTo>
                  <a:lnTo>
                    <a:pt x="2166" y="956"/>
                  </a:lnTo>
                  <a:lnTo>
                    <a:pt x="2166" y="956"/>
                  </a:lnTo>
                  <a:lnTo>
                    <a:pt x="2164" y="956"/>
                  </a:lnTo>
                  <a:lnTo>
                    <a:pt x="2164" y="954"/>
                  </a:lnTo>
                  <a:lnTo>
                    <a:pt x="2164" y="954"/>
                  </a:lnTo>
                  <a:lnTo>
                    <a:pt x="2164" y="954"/>
                  </a:lnTo>
                  <a:lnTo>
                    <a:pt x="2164" y="954"/>
                  </a:lnTo>
                  <a:lnTo>
                    <a:pt x="2166" y="954"/>
                  </a:lnTo>
                  <a:lnTo>
                    <a:pt x="2166" y="951"/>
                  </a:lnTo>
                  <a:lnTo>
                    <a:pt x="2164" y="948"/>
                  </a:lnTo>
                  <a:lnTo>
                    <a:pt x="2164" y="948"/>
                  </a:lnTo>
                  <a:lnTo>
                    <a:pt x="2166" y="948"/>
                  </a:lnTo>
                  <a:lnTo>
                    <a:pt x="2166" y="948"/>
                  </a:lnTo>
                  <a:lnTo>
                    <a:pt x="2166" y="951"/>
                  </a:lnTo>
                  <a:lnTo>
                    <a:pt x="2166" y="951"/>
                  </a:lnTo>
                  <a:lnTo>
                    <a:pt x="2166" y="948"/>
                  </a:lnTo>
                  <a:lnTo>
                    <a:pt x="2164" y="946"/>
                  </a:lnTo>
                  <a:close/>
                  <a:moveTo>
                    <a:pt x="2097" y="964"/>
                  </a:moveTo>
                  <a:lnTo>
                    <a:pt x="2097" y="964"/>
                  </a:lnTo>
                  <a:lnTo>
                    <a:pt x="2097" y="964"/>
                  </a:lnTo>
                  <a:lnTo>
                    <a:pt x="2094" y="964"/>
                  </a:lnTo>
                  <a:lnTo>
                    <a:pt x="2092" y="964"/>
                  </a:lnTo>
                  <a:lnTo>
                    <a:pt x="2092" y="964"/>
                  </a:lnTo>
                  <a:lnTo>
                    <a:pt x="2092" y="964"/>
                  </a:lnTo>
                  <a:lnTo>
                    <a:pt x="2092" y="967"/>
                  </a:lnTo>
                  <a:lnTo>
                    <a:pt x="2092" y="967"/>
                  </a:lnTo>
                  <a:lnTo>
                    <a:pt x="2092" y="967"/>
                  </a:lnTo>
                  <a:lnTo>
                    <a:pt x="2092" y="967"/>
                  </a:lnTo>
                  <a:lnTo>
                    <a:pt x="2092" y="970"/>
                  </a:lnTo>
                  <a:lnTo>
                    <a:pt x="2092" y="970"/>
                  </a:lnTo>
                  <a:lnTo>
                    <a:pt x="2092" y="970"/>
                  </a:lnTo>
                  <a:lnTo>
                    <a:pt x="2092" y="970"/>
                  </a:lnTo>
                  <a:lnTo>
                    <a:pt x="2092" y="972"/>
                  </a:lnTo>
                  <a:lnTo>
                    <a:pt x="2092" y="972"/>
                  </a:lnTo>
                  <a:lnTo>
                    <a:pt x="2092" y="972"/>
                  </a:lnTo>
                  <a:lnTo>
                    <a:pt x="2092" y="972"/>
                  </a:lnTo>
                  <a:lnTo>
                    <a:pt x="2092" y="972"/>
                  </a:lnTo>
                  <a:lnTo>
                    <a:pt x="2092" y="972"/>
                  </a:lnTo>
                  <a:lnTo>
                    <a:pt x="2092" y="972"/>
                  </a:lnTo>
                  <a:lnTo>
                    <a:pt x="2092" y="972"/>
                  </a:lnTo>
                  <a:lnTo>
                    <a:pt x="2092" y="975"/>
                  </a:lnTo>
                  <a:lnTo>
                    <a:pt x="2092" y="975"/>
                  </a:lnTo>
                  <a:lnTo>
                    <a:pt x="2094" y="975"/>
                  </a:lnTo>
                  <a:lnTo>
                    <a:pt x="2094" y="978"/>
                  </a:lnTo>
                  <a:lnTo>
                    <a:pt x="2094" y="978"/>
                  </a:lnTo>
                  <a:lnTo>
                    <a:pt x="2094" y="975"/>
                  </a:lnTo>
                  <a:lnTo>
                    <a:pt x="2094" y="975"/>
                  </a:lnTo>
                  <a:lnTo>
                    <a:pt x="2094" y="972"/>
                  </a:lnTo>
                  <a:lnTo>
                    <a:pt x="2094" y="970"/>
                  </a:lnTo>
                  <a:lnTo>
                    <a:pt x="2094" y="970"/>
                  </a:lnTo>
                  <a:lnTo>
                    <a:pt x="2094" y="970"/>
                  </a:lnTo>
                  <a:lnTo>
                    <a:pt x="2094" y="970"/>
                  </a:lnTo>
                  <a:lnTo>
                    <a:pt x="2094" y="970"/>
                  </a:lnTo>
                  <a:lnTo>
                    <a:pt x="2094" y="970"/>
                  </a:lnTo>
                  <a:lnTo>
                    <a:pt x="2097" y="970"/>
                  </a:lnTo>
                  <a:lnTo>
                    <a:pt x="2097" y="970"/>
                  </a:lnTo>
                  <a:lnTo>
                    <a:pt x="2097" y="970"/>
                  </a:lnTo>
                  <a:lnTo>
                    <a:pt x="2097" y="967"/>
                  </a:lnTo>
                  <a:lnTo>
                    <a:pt x="2097" y="967"/>
                  </a:lnTo>
                  <a:lnTo>
                    <a:pt x="2097" y="967"/>
                  </a:lnTo>
                  <a:lnTo>
                    <a:pt x="2097" y="967"/>
                  </a:lnTo>
                  <a:lnTo>
                    <a:pt x="2097" y="967"/>
                  </a:lnTo>
                  <a:lnTo>
                    <a:pt x="2097" y="967"/>
                  </a:lnTo>
                  <a:lnTo>
                    <a:pt x="2097" y="967"/>
                  </a:lnTo>
                  <a:lnTo>
                    <a:pt x="2097" y="967"/>
                  </a:lnTo>
                  <a:lnTo>
                    <a:pt x="2097" y="964"/>
                  </a:lnTo>
                  <a:lnTo>
                    <a:pt x="2097" y="964"/>
                  </a:lnTo>
                  <a:lnTo>
                    <a:pt x="2097" y="964"/>
                  </a:lnTo>
                  <a:close/>
                  <a:moveTo>
                    <a:pt x="2140" y="994"/>
                  </a:moveTo>
                  <a:lnTo>
                    <a:pt x="2140" y="994"/>
                  </a:lnTo>
                  <a:lnTo>
                    <a:pt x="2140" y="991"/>
                  </a:lnTo>
                  <a:lnTo>
                    <a:pt x="2140" y="991"/>
                  </a:lnTo>
                  <a:lnTo>
                    <a:pt x="2140" y="991"/>
                  </a:lnTo>
                  <a:lnTo>
                    <a:pt x="2137" y="991"/>
                  </a:lnTo>
                  <a:lnTo>
                    <a:pt x="2137" y="991"/>
                  </a:lnTo>
                  <a:lnTo>
                    <a:pt x="2137" y="991"/>
                  </a:lnTo>
                  <a:lnTo>
                    <a:pt x="2137" y="991"/>
                  </a:lnTo>
                  <a:lnTo>
                    <a:pt x="2137" y="991"/>
                  </a:lnTo>
                  <a:lnTo>
                    <a:pt x="2140" y="991"/>
                  </a:lnTo>
                  <a:lnTo>
                    <a:pt x="2140" y="991"/>
                  </a:lnTo>
                  <a:lnTo>
                    <a:pt x="2140" y="991"/>
                  </a:lnTo>
                  <a:lnTo>
                    <a:pt x="2140" y="988"/>
                  </a:lnTo>
                  <a:lnTo>
                    <a:pt x="2140" y="988"/>
                  </a:lnTo>
                  <a:lnTo>
                    <a:pt x="2140" y="988"/>
                  </a:lnTo>
                  <a:lnTo>
                    <a:pt x="2140" y="988"/>
                  </a:lnTo>
                  <a:lnTo>
                    <a:pt x="2140" y="988"/>
                  </a:lnTo>
                  <a:lnTo>
                    <a:pt x="2140" y="988"/>
                  </a:lnTo>
                  <a:lnTo>
                    <a:pt x="2140" y="986"/>
                  </a:lnTo>
                  <a:lnTo>
                    <a:pt x="2137" y="986"/>
                  </a:lnTo>
                  <a:lnTo>
                    <a:pt x="2137" y="986"/>
                  </a:lnTo>
                  <a:lnTo>
                    <a:pt x="2137" y="986"/>
                  </a:lnTo>
                  <a:lnTo>
                    <a:pt x="2137" y="986"/>
                  </a:lnTo>
                  <a:lnTo>
                    <a:pt x="2137" y="986"/>
                  </a:lnTo>
                  <a:lnTo>
                    <a:pt x="2137" y="986"/>
                  </a:lnTo>
                  <a:lnTo>
                    <a:pt x="2134" y="986"/>
                  </a:lnTo>
                  <a:lnTo>
                    <a:pt x="2134" y="986"/>
                  </a:lnTo>
                  <a:lnTo>
                    <a:pt x="2134" y="986"/>
                  </a:lnTo>
                  <a:lnTo>
                    <a:pt x="2134" y="986"/>
                  </a:lnTo>
                  <a:lnTo>
                    <a:pt x="2134" y="986"/>
                  </a:lnTo>
                  <a:lnTo>
                    <a:pt x="2134" y="986"/>
                  </a:lnTo>
                  <a:lnTo>
                    <a:pt x="2134" y="986"/>
                  </a:lnTo>
                  <a:lnTo>
                    <a:pt x="2134" y="986"/>
                  </a:lnTo>
                  <a:lnTo>
                    <a:pt x="2134" y="986"/>
                  </a:lnTo>
                  <a:lnTo>
                    <a:pt x="2134" y="986"/>
                  </a:lnTo>
                  <a:lnTo>
                    <a:pt x="2134" y="986"/>
                  </a:lnTo>
                  <a:lnTo>
                    <a:pt x="2134" y="986"/>
                  </a:lnTo>
                  <a:lnTo>
                    <a:pt x="2132" y="986"/>
                  </a:lnTo>
                  <a:lnTo>
                    <a:pt x="2132" y="986"/>
                  </a:lnTo>
                  <a:lnTo>
                    <a:pt x="2132" y="986"/>
                  </a:lnTo>
                  <a:lnTo>
                    <a:pt x="2132" y="986"/>
                  </a:lnTo>
                  <a:lnTo>
                    <a:pt x="2132" y="986"/>
                  </a:lnTo>
                  <a:lnTo>
                    <a:pt x="2132" y="988"/>
                  </a:lnTo>
                  <a:lnTo>
                    <a:pt x="2132" y="988"/>
                  </a:lnTo>
                  <a:lnTo>
                    <a:pt x="2132" y="988"/>
                  </a:lnTo>
                  <a:lnTo>
                    <a:pt x="2132" y="988"/>
                  </a:lnTo>
                  <a:lnTo>
                    <a:pt x="2134" y="988"/>
                  </a:lnTo>
                  <a:lnTo>
                    <a:pt x="2134" y="991"/>
                  </a:lnTo>
                  <a:lnTo>
                    <a:pt x="2134" y="991"/>
                  </a:lnTo>
                  <a:lnTo>
                    <a:pt x="2134" y="991"/>
                  </a:lnTo>
                  <a:lnTo>
                    <a:pt x="2134" y="991"/>
                  </a:lnTo>
                  <a:lnTo>
                    <a:pt x="2134" y="991"/>
                  </a:lnTo>
                  <a:lnTo>
                    <a:pt x="2134" y="991"/>
                  </a:lnTo>
                  <a:lnTo>
                    <a:pt x="2137" y="991"/>
                  </a:lnTo>
                  <a:lnTo>
                    <a:pt x="2137" y="991"/>
                  </a:lnTo>
                  <a:lnTo>
                    <a:pt x="2137" y="994"/>
                  </a:lnTo>
                  <a:lnTo>
                    <a:pt x="2137" y="994"/>
                  </a:lnTo>
                  <a:lnTo>
                    <a:pt x="2137" y="994"/>
                  </a:lnTo>
                  <a:lnTo>
                    <a:pt x="2137" y="994"/>
                  </a:lnTo>
                  <a:lnTo>
                    <a:pt x="2137" y="994"/>
                  </a:lnTo>
                  <a:lnTo>
                    <a:pt x="2140" y="994"/>
                  </a:lnTo>
                  <a:lnTo>
                    <a:pt x="2140" y="994"/>
                  </a:lnTo>
                  <a:lnTo>
                    <a:pt x="2140" y="996"/>
                  </a:lnTo>
                  <a:lnTo>
                    <a:pt x="2140" y="996"/>
                  </a:lnTo>
                  <a:lnTo>
                    <a:pt x="2142" y="996"/>
                  </a:lnTo>
                  <a:lnTo>
                    <a:pt x="2142" y="994"/>
                  </a:lnTo>
                  <a:lnTo>
                    <a:pt x="2140" y="994"/>
                  </a:lnTo>
                  <a:close/>
                  <a:moveTo>
                    <a:pt x="2166" y="991"/>
                  </a:moveTo>
                  <a:lnTo>
                    <a:pt x="2166" y="991"/>
                  </a:lnTo>
                  <a:lnTo>
                    <a:pt x="2166" y="988"/>
                  </a:lnTo>
                  <a:lnTo>
                    <a:pt x="2164" y="988"/>
                  </a:lnTo>
                  <a:lnTo>
                    <a:pt x="2164" y="988"/>
                  </a:lnTo>
                  <a:lnTo>
                    <a:pt x="2164" y="988"/>
                  </a:lnTo>
                  <a:lnTo>
                    <a:pt x="2164" y="986"/>
                  </a:lnTo>
                  <a:lnTo>
                    <a:pt x="2164" y="986"/>
                  </a:lnTo>
                  <a:lnTo>
                    <a:pt x="2164" y="986"/>
                  </a:lnTo>
                  <a:lnTo>
                    <a:pt x="2166" y="986"/>
                  </a:lnTo>
                  <a:lnTo>
                    <a:pt x="2166" y="986"/>
                  </a:lnTo>
                  <a:lnTo>
                    <a:pt x="2166" y="983"/>
                  </a:lnTo>
                  <a:lnTo>
                    <a:pt x="2164" y="983"/>
                  </a:lnTo>
                  <a:lnTo>
                    <a:pt x="2164" y="983"/>
                  </a:lnTo>
                  <a:lnTo>
                    <a:pt x="2164" y="983"/>
                  </a:lnTo>
                  <a:lnTo>
                    <a:pt x="2164" y="983"/>
                  </a:lnTo>
                  <a:lnTo>
                    <a:pt x="2164" y="983"/>
                  </a:lnTo>
                  <a:lnTo>
                    <a:pt x="2164" y="983"/>
                  </a:lnTo>
                  <a:lnTo>
                    <a:pt x="2164" y="983"/>
                  </a:lnTo>
                  <a:lnTo>
                    <a:pt x="2164" y="980"/>
                  </a:lnTo>
                  <a:lnTo>
                    <a:pt x="2164" y="980"/>
                  </a:lnTo>
                  <a:lnTo>
                    <a:pt x="2161" y="980"/>
                  </a:lnTo>
                  <a:lnTo>
                    <a:pt x="2161" y="980"/>
                  </a:lnTo>
                  <a:lnTo>
                    <a:pt x="2161" y="980"/>
                  </a:lnTo>
                  <a:lnTo>
                    <a:pt x="2161" y="978"/>
                  </a:lnTo>
                  <a:lnTo>
                    <a:pt x="2161" y="978"/>
                  </a:lnTo>
                  <a:lnTo>
                    <a:pt x="2161" y="978"/>
                  </a:lnTo>
                  <a:lnTo>
                    <a:pt x="2161" y="978"/>
                  </a:lnTo>
                  <a:lnTo>
                    <a:pt x="2161" y="975"/>
                  </a:lnTo>
                  <a:lnTo>
                    <a:pt x="2161" y="975"/>
                  </a:lnTo>
                  <a:lnTo>
                    <a:pt x="2161" y="975"/>
                  </a:lnTo>
                  <a:lnTo>
                    <a:pt x="2161" y="975"/>
                  </a:lnTo>
                  <a:lnTo>
                    <a:pt x="2161" y="975"/>
                  </a:lnTo>
                  <a:lnTo>
                    <a:pt x="2161" y="975"/>
                  </a:lnTo>
                  <a:lnTo>
                    <a:pt x="2158" y="975"/>
                  </a:lnTo>
                  <a:lnTo>
                    <a:pt x="2158" y="972"/>
                  </a:lnTo>
                  <a:lnTo>
                    <a:pt x="2158" y="972"/>
                  </a:lnTo>
                  <a:lnTo>
                    <a:pt x="2161" y="972"/>
                  </a:lnTo>
                  <a:lnTo>
                    <a:pt x="2161" y="972"/>
                  </a:lnTo>
                  <a:lnTo>
                    <a:pt x="2158" y="970"/>
                  </a:lnTo>
                  <a:lnTo>
                    <a:pt x="2158" y="970"/>
                  </a:lnTo>
                  <a:lnTo>
                    <a:pt x="2161" y="970"/>
                  </a:lnTo>
                  <a:lnTo>
                    <a:pt x="2158" y="970"/>
                  </a:lnTo>
                  <a:lnTo>
                    <a:pt x="2158" y="972"/>
                  </a:lnTo>
                  <a:lnTo>
                    <a:pt x="2156" y="972"/>
                  </a:lnTo>
                  <a:lnTo>
                    <a:pt x="2156" y="975"/>
                  </a:lnTo>
                  <a:lnTo>
                    <a:pt x="2156" y="975"/>
                  </a:lnTo>
                  <a:lnTo>
                    <a:pt x="2156" y="975"/>
                  </a:lnTo>
                  <a:lnTo>
                    <a:pt x="2156" y="975"/>
                  </a:lnTo>
                  <a:lnTo>
                    <a:pt x="2156" y="975"/>
                  </a:lnTo>
                  <a:lnTo>
                    <a:pt x="2156" y="975"/>
                  </a:lnTo>
                  <a:lnTo>
                    <a:pt x="2153" y="975"/>
                  </a:lnTo>
                  <a:lnTo>
                    <a:pt x="2153" y="975"/>
                  </a:lnTo>
                  <a:lnTo>
                    <a:pt x="2153" y="975"/>
                  </a:lnTo>
                  <a:lnTo>
                    <a:pt x="2153" y="975"/>
                  </a:lnTo>
                  <a:lnTo>
                    <a:pt x="2150" y="975"/>
                  </a:lnTo>
                  <a:lnTo>
                    <a:pt x="2150" y="975"/>
                  </a:lnTo>
                  <a:lnTo>
                    <a:pt x="2153" y="972"/>
                  </a:lnTo>
                  <a:lnTo>
                    <a:pt x="2153" y="972"/>
                  </a:lnTo>
                  <a:lnTo>
                    <a:pt x="2156" y="972"/>
                  </a:lnTo>
                  <a:lnTo>
                    <a:pt x="2156" y="970"/>
                  </a:lnTo>
                  <a:lnTo>
                    <a:pt x="2156" y="970"/>
                  </a:lnTo>
                  <a:lnTo>
                    <a:pt x="2156" y="970"/>
                  </a:lnTo>
                  <a:lnTo>
                    <a:pt x="2153" y="970"/>
                  </a:lnTo>
                  <a:lnTo>
                    <a:pt x="2153" y="970"/>
                  </a:lnTo>
                  <a:lnTo>
                    <a:pt x="2153" y="970"/>
                  </a:lnTo>
                  <a:lnTo>
                    <a:pt x="2153" y="970"/>
                  </a:lnTo>
                  <a:lnTo>
                    <a:pt x="2156" y="970"/>
                  </a:lnTo>
                  <a:lnTo>
                    <a:pt x="2156" y="967"/>
                  </a:lnTo>
                  <a:lnTo>
                    <a:pt x="2153" y="967"/>
                  </a:lnTo>
                  <a:lnTo>
                    <a:pt x="2153" y="967"/>
                  </a:lnTo>
                  <a:lnTo>
                    <a:pt x="2153" y="967"/>
                  </a:lnTo>
                  <a:lnTo>
                    <a:pt x="2153" y="967"/>
                  </a:lnTo>
                  <a:lnTo>
                    <a:pt x="2153" y="967"/>
                  </a:lnTo>
                  <a:lnTo>
                    <a:pt x="2156" y="967"/>
                  </a:lnTo>
                  <a:lnTo>
                    <a:pt x="2156" y="967"/>
                  </a:lnTo>
                  <a:lnTo>
                    <a:pt x="2156" y="967"/>
                  </a:lnTo>
                  <a:lnTo>
                    <a:pt x="2156" y="967"/>
                  </a:lnTo>
                  <a:lnTo>
                    <a:pt x="2156" y="964"/>
                  </a:lnTo>
                  <a:lnTo>
                    <a:pt x="2156" y="964"/>
                  </a:lnTo>
                  <a:lnTo>
                    <a:pt x="2156" y="964"/>
                  </a:lnTo>
                  <a:lnTo>
                    <a:pt x="2156" y="964"/>
                  </a:lnTo>
                  <a:lnTo>
                    <a:pt x="2156" y="962"/>
                  </a:lnTo>
                  <a:lnTo>
                    <a:pt x="2156" y="962"/>
                  </a:lnTo>
                  <a:lnTo>
                    <a:pt x="2156" y="959"/>
                  </a:lnTo>
                  <a:lnTo>
                    <a:pt x="2156" y="959"/>
                  </a:lnTo>
                  <a:lnTo>
                    <a:pt x="2156" y="956"/>
                  </a:lnTo>
                  <a:lnTo>
                    <a:pt x="2156" y="956"/>
                  </a:lnTo>
                  <a:lnTo>
                    <a:pt x="2153" y="956"/>
                  </a:lnTo>
                  <a:lnTo>
                    <a:pt x="2153" y="954"/>
                  </a:lnTo>
                  <a:lnTo>
                    <a:pt x="2153" y="954"/>
                  </a:lnTo>
                  <a:lnTo>
                    <a:pt x="2153" y="956"/>
                  </a:lnTo>
                  <a:lnTo>
                    <a:pt x="2150" y="956"/>
                  </a:lnTo>
                  <a:lnTo>
                    <a:pt x="2150" y="959"/>
                  </a:lnTo>
                  <a:lnTo>
                    <a:pt x="2150" y="962"/>
                  </a:lnTo>
                  <a:lnTo>
                    <a:pt x="2148" y="959"/>
                  </a:lnTo>
                  <a:lnTo>
                    <a:pt x="2148" y="959"/>
                  </a:lnTo>
                  <a:lnTo>
                    <a:pt x="2148" y="962"/>
                  </a:lnTo>
                  <a:lnTo>
                    <a:pt x="2148" y="962"/>
                  </a:lnTo>
                  <a:lnTo>
                    <a:pt x="2148" y="962"/>
                  </a:lnTo>
                  <a:lnTo>
                    <a:pt x="2145" y="962"/>
                  </a:lnTo>
                  <a:lnTo>
                    <a:pt x="2145" y="962"/>
                  </a:lnTo>
                  <a:lnTo>
                    <a:pt x="2145" y="962"/>
                  </a:lnTo>
                  <a:lnTo>
                    <a:pt x="2145" y="959"/>
                  </a:lnTo>
                  <a:lnTo>
                    <a:pt x="2145" y="959"/>
                  </a:lnTo>
                  <a:lnTo>
                    <a:pt x="2145" y="959"/>
                  </a:lnTo>
                  <a:lnTo>
                    <a:pt x="2145" y="959"/>
                  </a:lnTo>
                  <a:lnTo>
                    <a:pt x="2148" y="959"/>
                  </a:lnTo>
                  <a:lnTo>
                    <a:pt x="2148" y="959"/>
                  </a:lnTo>
                  <a:lnTo>
                    <a:pt x="2150" y="956"/>
                  </a:lnTo>
                  <a:lnTo>
                    <a:pt x="2150" y="956"/>
                  </a:lnTo>
                  <a:lnTo>
                    <a:pt x="2150" y="956"/>
                  </a:lnTo>
                  <a:lnTo>
                    <a:pt x="2150" y="954"/>
                  </a:lnTo>
                  <a:lnTo>
                    <a:pt x="2148" y="954"/>
                  </a:lnTo>
                  <a:lnTo>
                    <a:pt x="2148" y="954"/>
                  </a:lnTo>
                  <a:lnTo>
                    <a:pt x="2148" y="954"/>
                  </a:lnTo>
                  <a:lnTo>
                    <a:pt x="2148" y="954"/>
                  </a:lnTo>
                  <a:lnTo>
                    <a:pt x="2148" y="954"/>
                  </a:lnTo>
                  <a:lnTo>
                    <a:pt x="2148" y="954"/>
                  </a:lnTo>
                  <a:lnTo>
                    <a:pt x="2145" y="951"/>
                  </a:lnTo>
                  <a:lnTo>
                    <a:pt x="2145" y="951"/>
                  </a:lnTo>
                  <a:lnTo>
                    <a:pt x="2145" y="951"/>
                  </a:lnTo>
                  <a:lnTo>
                    <a:pt x="2145" y="951"/>
                  </a:lnTo>
                  <a:lnTo>
                    <a:pt x="2145" y="951"/>
                  </a:lnTo>
                  <a:lnTo>
                    <a:pt x="2145" y="951"/>
                  </a:lnTo>
                  <a:lnTo>
                    <a:pt x="2145" y="951"/>
                  </a:lnTo>
                  <a:lnTo>
                    <a:pt x="2145" y="951"/>
                  </a:lnTo>
                  <a:lnTo>
                    <a:pt x="2142" y="951"/>
                  </a:lnTo>
                  <a:lnTo>
                    <a:pt x="2142" y="948"/>
                  </a:lnTo>
                  <a:lnTo>
                    <a:pt x="2140" y="948"/>
                  </a:lnTo>
                  <a:lnTo>
                    <a:pt x="2140" y="951"/>
                  </a:lnTo>
                  <a:lnTo>
                    <a:pt x="2140" y="951"/>
                  </a:lnTo>
                  <a:lnTo>
                    <a:pt x="2137" y="951"/>
                  </a:lnTo>
                  <a:lnTo>
                    <a:pt x="2137" y="951"/>
                  </a:lnTo>
                  <a:lnTo>
                    <a:pt x="2137" y="951"/>
                  </a:lnTo>
                  <a:lnTo>
                    <a:pt x="2137" y="951"/>
                  </a:lnTo>
                  <a:lnTo>
                    <a:pt x="2137" y="954"/>
                  </a:lnTo>
                  <a:lnTo>
                    <a:pt x="2137" y="951"/>
                  </a:lnTo>
                  <a:lnTo>
                    <a:pt x="2137" y="951"/>
                  </a:lnTo>
                  <a:lnTo>
                    <a:pt x="2134" y="951"/>
                  </a:lnTo>
                  <a:lnTo>
                    <a:pt x="2134" y="951"/>
                  </a:lnTo>
                  <a:lnTo>
                    <a:pt x="2134" y="954"/>
                  </a:lnTo>
                  <a:lnTo>
                    <a:pt x="2134" y="954"/>
                  </a:lnTo>
                  <a:lnTo>
                    <a:pt x="2132" y="951"/>
                  </a:lnTo>
                  <a:lnTo>
                    <a:pt x="2132" y="951"/>
                  </a:lnTo>
                  <a:lnTo>
                    <a:pt x="2134" y="951"/>
                  </a:lnTo>
                  <a:lnTo>
                    <a:pt x="2137" y="948"/>
                  </a:lnTo>
                  <a:lnTo>
                    <a:pt x="2137" y="948"/>
                  </a:lnTo>
                  <a:lnTo>
                    <a:pt x="2137" y="948"/>
                  </a:lnTo>
                  <a:lnTo>
                    <a:pt x="2137" y="948"/>
                  </a:lnTo>
                  <a:lnTo>
                    <a:pt x="2137" y="948"/>
                  </a:lnTo>
                  <a:lnTo>
                    <a:pt x="2137" y="948"/>
                  </a:lnTo>
                  <a:lnTo>
                    <a:pt x="2140" y="948"/>
                  </a:lnTo>
                  <a:lnTo>
                    <a:pt x="2140" y="948"/>
                  </a:lnTo>
                  <a:lnTo>
                    <a:pt x="2140" y="948"/>
                  </a:lnTo>
                  <a:lnTo>
                    <a:pt x="2140" y="946"/>
                  </a:lnTo>
                  <a:lnTo>
                    <a:pt x="2137" y="946"/>
                  </a:lnTo>
                  <a:lnTo>
                    <a:pt x="2134" y="946"/>
                  </a:lnTo>
                  <a:lnTo>
                    <a:pt x="2134" y="946"/>
                  </a:lnTo>
                  <a:lnTo>
                    <a:pt x="2134" y="946"/>
                  </a:lnTo>
                  <a:lnTo>
                    <a:pt x="2134" y="943"/>
                  </a:lnTo>
                  <a:lnTo>
                    <a:pt x="2132" y="946"/>
                  </a:lnTo>
                  <a:lnTo>
                    <a:pt x="2132" y="946"/>
                  </a:lnTo>
                  <a:lnTo>
                    <a:pt x="2132" y="946"/>
                  </a:lnTo>
                  <a:lnTo>
                    <a:pt x="2132" y="946"/>
                  </a:lnTo>
                  <a:lnTo>
                    <a:pt x="2129" y="946"/>
                  </a:lnTo>
                  <a:lnTo>
                    <a:pt x="2129" y="946"/>
                  </a:lnTo>
                  <a:lnTo>
                    <a:pt x="2129" y="946"/>
                  </a:lnTo>
                  <a:lnTo>
                    <a:pt x="2129" y="946"/>
                  </a:lnTo>
                  <a:lnTo>
                    <a:pt x="2129" y="946"/>
                  </a:lnTo>
                  <a:lnTo>
                    <a:pt x="2129" y="946"/>
                  </a:lnTo>
                  <a:lnTo>
                    <a:pt x="2129" y="948"/>
                  </a:lnTo>
                  <a:lnTo>
                    <a:pt x="2129" y="948"/>
                  </a:lnTo>
                  <a:lnTo>
                    <a:pt x="2129" y="948"/>
                  </a:lnTo>
                  <a:lnTo>
                    <a:pt x="2129" y="948"/>
                  </a:lnTo>
                  <a:lnTo>
                    <a:pt x="2129" y="948"/>
                  </a:lnTo>
                  <a:lnTo>
                    <a:pt x="2126" y="951"/>
                  </a:lnTo>
                  <a:lnTo>
                    <a:pt x="2126" y="951"/>
                  </a:lnTo>
                  <a:lnTo>
                    <a:pt x="2126" y="954"/>
                  </a:lnTo>
                  <a:lnTo>
                    <a:pt x="2126" y="954"/>
                  </a:lnTo>
                  <a:lnTo>
                    <a:pt x="2126" y="951"/>
                  </a:lnTo>
                  <a:lnTo>
                    <a:pt x="2126" y="951"/>
                  </a:lnTo>
                  <a:lnTo>
                    <a:pt x="2124" y="951"/>
                  </a:lnTo>
                  <a:lnTo>
                    <a:pt x="2124" y="951"/>
                  </a:lnTo>
                  <a:lnTo>
                    <a:pt x="2124" y="951"/>
                  </a:lnTo>
                  <a:lnTo>
                    <a:pt x="2126" y="948"/>
                  </a:lnTo>
                  <a:lnTo>
                    <a:pt x="2126" y="946"/>
                  </a:lnTo>
                  <a:lnTo>
                    <a:pt x="2129" y="943"/>
                  </a:lnTo>
                  <a:lnTo>
                    <a:pt x="2129" y="943"/>
                  </a:lnTo>
                  <a:lnTo>
                    <a:pt x="2126" y="943"/>
                  </a:lnTo>
                  <a:lnTo>
                    <a:pt x="2126" y="943"/>
                  </a:lnTo>
                  <a:lnTo>
                    <a:pt x="2126" y="943"/>
                  </a:lnTo>
                  <a:lnTo>
                    <a:pt x="2126" y="943"/>
                  </a:lnTo>
                  <a:lnTo>
                    <a:pt x="2126" y="940"/>
                  </a:lnTo>
                  <a:lnTo>
                    <a:pt x="2126" y="940"/>
                  </a:lnTo>
                  <a:lnTo>
                    <a:pt x="2126" y="940"/>
                  </a:lnTo>
                  <a:lnTo>
                    <a:pt x="2126" y="940"/>
                  </a:lnTo>
                  <a:lnTo>
                    <a:pt x="2126" y="940"/>
                  </a:lnTo>
                  <a:lnTo>
                    <a:pt x="2126" y="940"/>
                  </a:lnTo>
                  <a:lnTo>
                    <a:pt x="2126" y="938"/>
                  </a:lnTo>
                  <a:lnTo>
                    <a:pt x="2129" y="940"/>
                  </a:lnTo>
                  <a:lnTo>
                    <a:pt x="2132" y="943"/>
                  </a:lnTo>
                  <a:lnTo>
                    <a:pt x="2132" y="943"/>
                  </a:lnTo>
                  <a:lnTo>
                    <a:pt x="2134" y="943"/>
                  </a:lnTo>
                  <a:lnTo>
                    <a:pt x="2137" y="943"/>
                  </a:lnTo>
                  <a:lnTo>
                    <a:pt x="2140" y="943"/>
                  </a:lnTo>
                  <a:lnTo>
                    <a:pt x="2140" y="946"/>
                  </a:lnTo>
                  <a:lnTo>
                    <a:pt x="2142" y="946"/>
                  </a:lnTo>
                  <a:lnTo>
                    <a:pt x="2145" y="946"/>
                  </a:lnTo>
                  <a:lnTo>
                    <a:pt x="2145" y="943"/>
                  </a:lnTo>
                  <a:lnTo>
                    <a:pt x="2142" y="943"/>
                  </a:lnTo>
                  <a:lnTo>
                    <a:pt x="2142" y="943"/>
                  </a:lnTo>
                  <a:lnTo>
                    <a:pt x="2140" y="940"/>
                  </a:lnTo>
                  <a:lnTo>
                    <a:pt x="2140" y="940"/>
                  </a:lnTo>
                  <a:lnTo>
                    <a:pt x="2137" y="940"/>
                  </a:lnTo>
                  <a:lnTo>
                    <a:pt x="2137" y="940"/>
                  </a:lnTo>
                  <a:lnTo>
                    <a:pt x="2134" y="938"/>
                  </a:lnTo>
                  <a:lnTo>
                    <a:pt x="2134" y="938"/>
                  </a:lnTo>
                  <a:lnTo>
                    <a:pt x="2134" y="938"/>
                  </a:lnTo>
                  <a:lnTo>
                    <a:pt x="2132" y="935"/>
                  </a:lnTo>
                  <a:lnTo>
                    <a:pt x="2132" y="935"/>
                  </a:lnTo>
                  <a:lnTo>
                    <a:pt x="2132" y="935"/>
                  </a:lnTo>
                  <a:lnTo>
                    <a:pt x="2132" y="935"/>
                  </a:lnTo>
                  <a:lnTo>
                    <a:pt x="2129" y="935"/>
                  </a:lnTo>
                  <a:lnTo>
                    <a:pt x="2129" y="938"/>
                  </a:lnTo>
                  <a:lnTo>
                    <a:pt x="2129" y="938"/>
                  </a:lnTo>
                  <a:lnTo>
                    <a:pt x="2129" y="938"/>
                  </a:lnTo>
                  <a:lnTo>
                    <a:pt x="2129" y="935"/>
                  </a:lnTo>
                  <a:lnTo>
                    <a:pt x="2129" y="935"/>
                  </a:lnTo>
                  <a:lnTo>
                    <a:pt x="2129" y="935"/>
                  </a:lnTo>
                  <a:lnTo>
                    <a:pt x="2129" y="932"/>
                  </a:lnTo>
                  <a:lnTo>
                    <a:pt x="2126" y="932"/>
                  </a:lnTo>
                  <a:lnTo>
                    <a:pt x="2126" y="932"/>
                  </a:lnTo>
                  <a:lnTo>
                    <a:pt x="2126" y="930"/>
                  </a:lnTo>
                  <a:lnTo>
                    <a:pt x="2126" y="930"/>
                  </a:lnTo>
                  <a:lnTo>
                    <a:pt x="2126" y="930"/>
                  </a:lnTo>
                  <a:lnTo>
                    <a:pt x="2126" y="927"/>
                  </a:lnTo>
                  <a:lnTo>
                    <a:pt x="2124" y="924"/>
                  </a:lnTo>
                  <a:lnTo>
                    <a:pt x="2121" y="924"/>
                  </a:lnTo>
                  <a:lnTo>
                    <a:pt x="2121" y="924"/>
                  </a:lnTo>
                  <a:lnTo>
                    <a:pt x="2121" y="924"/>
                  </a:lnTo>
                  <a:lnTo>
                    <a:pt x="2118" y="922"/>
                  </a:lnTo>
                  <a:lnTo>
                    <a:pt x="2118" y="922"/>
                  </a:lnTo>
                  <a:lnTo>
                    <a:pt x="2118" y="922"/>
                  </a:lnTo>
                  <a:lnTo>
                    <a:pt x="2118" y="922"/>
                  </a:lnTo>
                  <a:lnTo>
                    <a:pt x="2116" y="922"/>
                  </a:lnTo>
                  <a:lnTo>
                    <a:pt x="2116" y="919"/>
                  </a:lnTo>
                  <a:lnTo>
                    <a:pt x="2113" y="919"/>
                  </a:lnTo>
                  <a:lnTo>
                    <a:pt x="2113" y="919"/>
                  </a:lnTo>
                  <a:lnTo>
                    <a:pt x="2113" y="919"/>
                  </a:lnTo>
                  <a:lnTo>
                    <a:pt x="2110" y="916"/>
                  </a:lnTo>
                  <a:lnTo>
                    <a:pt x="2108" y="916"/>
                  </a:lnTo>
                  <a:lnTo>
                    <a:pt x="2108" y="916"/>
                  </a:lnTo>
                  <a:lnTo>
                    <a:pt x="2108" y="916"/>
                  </a:lnTo>
                  <a:lnTo>
                    <a:pt x="2108" y="916"/>
                  </a:lnTo>
                  <a:lnTo>
                    <a:pt x="2105" y="916"/>
                  </a:lnTo>
                  <a:lnTo>
                    <a:pt x="2105" y="916"/>
                  </a:lnTo>
                  <a:lnTo>
                    <a:pt x="2105" y="916"/>
                  </a:lnTo>
                  <a:lnTo>
                    <a:pt x="2105" y="916"/>
                  </a:lnTo>
                  <a:lnTo>
                    <a:pt x="2105" y="916"/>
                  </a:lnTo>
                  <a:lnTo>
                    <a:pt x="2105" y="916"/>
                  </a:lnTo>
                  <a:lnTo>
                    <a:pt x="2105" y="916"/>
                  </a:lnTo>
                  <a:lnTo>
                    <a:pt x="2105" y="916"/>
                  </a:lnTo>
                  <a:lnTo>
                    <a:pt x="2102" y="916"/>
                  </a:lnTo>
                  <a:lnTo>
                    <a:pt x="2102" y="916"/>
                  </a:lnTo>
                  <a:lnTo>
                    <a:pt x="2102" y="914"/>
                  </a:lnTo>
                  <a:lnTo>
                    <a:pt x="2102" y="914"/>
                  </a:lnTo>
                  <a:lnTo>
                    <a:pt x="2102" y="916"/>
                  </a:lnTo>
                  <a:lnTo>
                    <a:pt x="2102" y="916"/>
                  </a:lnTo>
                  <a:lnTo>
                    <a:pt x="2102" y="916"/>
                  </a:lnTo>
                  <a:lnTo>
                    <a:pt x="2102" y="916"/>
                  </a:lnTo>
                  <a:lnTo>
                    <a:pt x="2100" y="916"/>
                  </a:lnTo>
                  <a:lnTo>
                    <a:pt x="2100" y="916"/>
                  </a:lnTo>
                  <a:lnTo>
                    <a:pt x="2100" y="916"/>
                  </a:lnTo>
                  <a:lnTo>
                    <a:pt x="2097" y="916"/>
                  </a:lnTo>
                  <a:lnTo>
                    <a:pt x="2097" y="916"/>
                  </a:lnTo>
                  <a:lnTo>
                    <a:pt x="2097" y="916"/>
                  </a:lnTo>
                  <a:lnTo>
                    <a:pt x="2094" y="914"/>
                  </a:lnTo>
                  <a:lnTo>
                    <a:pt x="2094" y="914"/>
                  </a:lnTo>
                  <a:lnTo>
                    <a:pt x="2094" y="914"/>
                  </a:lnTo>
                  <a:lnTo>
                    <a:pt x="2097" y="914"/>
                  </a:lnTo>
                  <a:lnTo>
                    <a:pt x="2097" y="914"/>
                  </a:lnTo>
                  <a:lnTo>
                    <a:pt x="2097" y="911"/>
                  </a:lnTo>
                  <a:lnTo>
                    <a:pt x="2097" y="911"/>
                  </a:lnTo>
                  <a:lnTo>
                    <a:pt x="2097" y="911"/>
                  </a:lnTo>
                  <a:lnTo>
                    <a:pt x="2097" y="908"/>
                  </a:lnTo>
                  <a:lnTo>
                    <a:pt x="2097" y="908"/>
                  </a:lnTo>
                  <a:lnTo>
                    <a:pt x="2097" y="908"/>
                  </a:lnTo>
                  <a:lnTo>
                    <a:pt x="2097" y="908"/>
                  </a:lnTo>
                  <a:lnTo>
                    <a:pt x="2094" y="908"/>
                  </a:lnTo>
                  <a:lnTo>
                    <a:pt x="2094" y="908"/>
                  </a:lnTo>
                  <a:lnTo>
                    <a:pt x="2094" y="908"/>
                  </a:lnTo>
                  <a:lnTo>
                    <a:pt x="2094" y="908"/>
                  </a:lnTo>
                  <a:lnTo>
                    <a:pt x="2094" y="908"/>
                  </a:lnTo>
                  <a:lnTo>
                    <a:pt x="2094" y="908"/>
                  </a:lnTo>
                  <a:lnTo>
                    <a:pt x="2094" y="906"/>
                  </a:lnTo>
                  <a:lnTo>
                    <a:pt x="2094" y="906"/>
                  </a:lnTo>
                  <a:lnTo>
                    <a:pt x="2094" y="906"/>
                  </a:lnTo>
                  <a:lnTo>
                    <a:pt x="2094" y="906"/>
                  </a:lnTo>
                  <a:lnTo>
                    <a:pt x="2094" y="906"/>
                  </a:lnTo>
                  <a:lnTo>
                    <a:pt x="2092" y="906"/>
                  </a:lnTo>
                  <a:lnTo>
                    <a:pt x="2092" y="906"/>
                  </a:lnTo>
                  <a:lnTo>
                    <a:pt x="2092" y="906"/>
                  </a:lnTo>
                  <a:lnTo>
                    <a:pt x="2092" y="906"/>
                  </a:lnTo>
                  <a:lnTo>
                    <a:pt x="2092" y="906"/>
                  </a:lnTo>
                  <a:lnTo>
                    <a:pt x="2092" y="903"/>
                  </a:lnTo>
                  <a:lnTo>
                    <a:pt x="2092" y="903"/>
                  </a:lnTo>
                  <a:lnTo>
                    <a:pt x="2092" y="903"/>
                  </a:lnTo>
                  <a:lnTo>
                    <a:pt x="2089" y="903"/>
                  </a:lnTo>
                  <a:lnTo>
                    <a:pt x="2089" y="903"/>
                  </a:lnTo>
                  <a:lnTo>
                    <a:pt x="2089" y="900"/>
                  </a:lnTo>
                  <a:lnTo>
                    <a:pt x="2089" y="900"/>
                  </a:lnTo>
                  <a:lnTo>
                    <a:pt x="2086" y="900"/>
                  </a:lnTo>
                  <a:lnTo>
                    <a:pt x="2086" y="903"/>
                  </a:lnTo>
                  <a:lnTo>
                    <a:pt x="2084" y="903"/>
                  </a:lnTo>
                  <a:lnTo>
                    <a:pt x="2084" y="906"/>
                  </a:lnTo>
                  <a:lnTo>
                    <a:pt x="2084" y="906"/>
                  </a:lnTo>
                  <a:lnTo>
                    <a:pt x="2084" y="906"/>
                  </a:lnTo>
                  <a:lnTo>
                    <a:pt x="2084" y="906"/>
                  </a:lnTo>
                  <a:lnTo>
                    <a:pt x="2086" y="906"/>
                  </a:lnTo>
                  <a:lnTo>
                    <a:pt x="2084" y="906"/>
                  </a:lnTo>
                  <a:lnTo>
                    <a:pt x="2084" y="906"/>
                  </a:lnTo>
                  <a:lnTo>
                    <a:pt x="2084" y="903"/>
                  </a:lnTo>
                  <a:lnTo>
                    <a:pt x="2084" y="903"/>
                  </a:lnTo>
                  <a:lnTo>
                    <a:pt x="2084" y="903"/>
                  </a:lnTo>
                  <a:lnTo>
                    <a:pt x="2081" y="903"/>
                  </a:lnTo>
                  <a:lnTo>
                    <a:pt x="2078" y="903"/>
                  </a:lnTo>
                  <a:lnTo>
                    <a:pt x="2073" y="903"/>
                  </a:lnTo>
                  <a:lnTo>
                    <a:pt x="2073" y="906"/>
                  </a:lnTo>
                  <a:lnTo>
                    <a:pt x="2073" y="906"/>
                  </a:lnTo>
                  <a:lnTo>
                    <a:pt x="2073" y="906"/>
                  </a:lnTo>
                  <a:lnTo>
                    <a:pt x="2073" y="906"/>
                  </a:lnTo>
                  <a:lnTo>
                    <a:pt x="2076" y="908"/>
                  </a:lnTo>
                  <a:lnTo>
                    <a:pt x="2076" y="908"/>
                  </a:lnTo>
                  <a:lnTo>
                    <a:pt x="2073" y="908"/>
                  </a:lnTo>
                  <a:lnTo>
                    <a:pt x="2073" y="908"/>
                  </a:lnTo>
                  <a:lnTo>
                    <a:pt x="2073" y="911"/>
                  </a:lnTo>
                  <a:lnTo>
                    <a:pt x="2073" y="911"/>
                  </a:lnTo>
                  <a:lnTo>
                    <a:pt x="2073" y="911"/>
                  </a:lnTo>
                  <a:lnTo>
                    <a:pt x="2073" y="911"/>
                  </a:lnTo>
                  <a:lnTo>
                    <a:pt x="2073" y="911"/>
                  </a:lnTo>
                  <a:lnTo>
                    <a:pt x="2076" y="914"/>
                  </a:lnTo>
                  <a:lnTo>
                    <a:pt x="2076" y="914"/>
                  </a:lnTo>
                  <a:lnTo>
                    <a:pt x="2076" y="914"/>
                  </a:lnTo>
                  <a:lnTo>
                    <a:pt x="2076" y="914"/>
                  </a:lnTo>
                  <a:lnTo>
                    <a:pt x="2076" y="914"/>
                  </a:lnTo>
                  <a:lnTo>
                    <a:pt x="2076" y="914"/>
                  </a:lnTo>
                  <a:lnTo>
                    <a:pt x="2076" y="914"/>
                  </a:lnTo>
                  <a:lnTo>
                    <a:pt x="2076" y="914"/>
                  </a:lnTo>
                  <a:lnTo>
                    <a:pt x="2078" y="914"/>
                  </a:lnTo>
                  <a:lnTo>
                    <a:pt x="2078" y="914"/>
                  </a:lnTo>
                  <a:lnTo>
                    <a:pt x="2078" y="914"/>
                  </a:lnTo>
                  <a:lnTo>
                    <a:pt x="2081" y="914"/>
                  </a:lnTo>
                  <a:lnTo>
                    <a:pt x="2081" y="914"/>
                  </a:lnTo>
                  <a:lnTo>
                    <a:pt x="2084" y="914"/>
                  </a:lnTo>
                  <a:lnTo>
                    <a:pt x="2086" y="914"/>
                  </a:lnTo>
                  <a:lnTo>
                    <a:pt x="2086" y="914"/>
                  </a:lnTo>
                  <a:lnTo>
                    <a:pt x="2089" y="914"/>
                  </a:lnTo>
                  <a:lnTo>
                    <a:pt x="2089" y="916"/>
                  </a:lnTo>
                  <a:lnTo>
                    <a:pt x="2089" y="919"/>
                  </a:lnTo>
                  <a:lnTo>
                    <a:pt x="2092" y="919"/>
                  </a:lnTo>
                  <a:lnTo>
                    <a:pt x="2092" y="922"/>
                  </a:lnTo>
                  <a:lnTo>
                    <a:pt x="2092" y="924"/>
                  </a:lnTo>
                  <a:lnTo>
                    <a:pt x="2094" y="924"/>
                  </a:lnTo>
                  <a:lnTo>
                    <a:pt x="2094" y="924"/>
                  </a:lnTo>
                  <a:lnTo>
                    <a:pt x="2094" y="924"/>
                  </a:lnTo>
                  <a:lnTo>
                    <a:pt x="2094" y="927"/>
                  </a:lnTo>
                  <a:lnTo>
                    <a:pt x="2094" y="927"/>
                  </a:lnTo>
                  <a:lnTo>
                    <a:pt x="2094" y="927"/>
                  </a:lnTo>
                  <a:lnTo>
                    <a:pt x="2094" y="927"/>
                  </a:lnTo>
                  <a:lnTo>
                    <a:pt x="2094" y="930"/>
                  </a:lnTo>
                  <a:lnTo>
                    <a:pt x="2094" y="930"/>
                  </a:lnTo>
                  <a:lnTo>
                    <a:pt x="2094" y="930"/>
                  </a:lnTo>
                  <a:lnTo>
                    <a:pt x="2097" y="930"/>
                  </a:lnTo>
                  <a:lnTo>
                    <a:pt x="2097" y="930"/>
                  </a:lnTo>
                  <a:lnTo>
                    <a:pt x="2097" y="930"/>
                  </a:lnTo>
                  <a:lnTo>
                    <a:pt x="2097" y="930"/>
                  </a:lnTo>
                  <a:lnTo>
                    <a:pt x="2097" y="930"/>
                  </a:lnTo>
                  <a:lnTo>
                    <a:pt x="2097" y="930"/>
                  </a:lnTo>
                  <a:lnTo>
                    <a:pt x="2097" y="930"/>
                  </a:lnTo>
                  <a:lnTo>
                    <a:pt x="2100" y="930"/>
                  </a:lnTo>
                  <a:lnTo>
                    <a:pt x="2100" y="930"/>
                  </a:lnTo>
                  <a:lnTo>
                    <a:pt x="2100" y="932"/>
                  </a:lnTo>
                  <a:lnTo>
                    <a:pt x="2100" y="932"/>
                  </a:lnTo>
                  <a:lnTo>
                    <a:pt x="2100" y="932"/>
                  </a:lnTo>
                  <a:lnTo>
                    <a:pt x="2100" y="935"/>
                  </a:lnTo>
                  <a:lnTo>
                    <a:pt x="2100" y="935"/>
                  </a:lnTo>
                  <a:lnTo>
                    <a:pt x="2097" y="938"/>
                  </a:lnTo>
                  <a:lnTo>
                    <a:pt x="2097" y="938"/>
                  </a:lnTo>
                  <a:lnTo>
                    <a:pt x="2097" y="940"/>
                  </a:lnTo>
                  <a:lnTo>
                    <a:pt x="2097" y="940"/>
                  </a:lnTo>
                  <a:lnTo>
                    <a:pt x="2097" y="940"/>
                  </a:lnTo>
                  <a:lnTo>
                    <a:pt x="2094" y="938"/>
                  </a:lnTo>
                  <a:lnTo>
                    <a:pt x="2094" y="940"/>
                  </a:lnTo>
                  <a:lnTo>
                    <a:pt x="2094" y="940"/>
                  </a:lnTo>
                  <a:lnTo>
                    <a:pt x="2094" y="943"/>
                  </a:lnTo>
                  <a:lnTo>
                    <a:pt x="2094" y="943"/>
                  </a:lnTo>
                  <a:lnTo>
                    <a:pt x="2094" y="943"/>
                  </a:lnTo>
                  <a:lnTo>
                    <a:pt x="2094" y="943"/>
                  </a:lnTo>
                  <a:lnTo>
                    <a:pt x="2094" y="943"/>
                  </a:lnTo>
                  <a:lnTo>
                    <a:pt x="2094" y="943"/>
                  </a:lnTo>
                  <a:lnTo>
                    <a:pt x="2094" y="943"/>
                  </a:lnTo>
                  <a:lnTo>
                    <a:pt x="2094" y="943"/>
                  </a:lnTo>
                  <a:lnTo>
                    <a:pt x="2094" y="943"/>
                  </a:lnTo>
                  <a:lnTo>
                    <a:pt x="2094" y="943"/>
                  </a:lnTo>
                  <a:lnTo>
                    <a:pt x="2094" y="946"/>
                  </a:lnTo>
                  <a:lnTo>
                    <a:pt x="2094" y="946"/>
                  </a:lnTo>
                  <a:lnTo>
                    <a:pt x="2094" y="946"/>
                  </a:lnTo>
                  <a:lnTo>
                    <a:pt x="2094" y="946"/>
                  </a:lnTo>
                  <a:lnTo>
                    <a:pt x="2094" y="946"/>
                  </a:lnTo>
                  <a:lnTo>
                    <a:pt x="2094" y="948"/>
                  </a:lnTo>
                  <a:lnTo>
                    <a:pt x="2094" y="948"/>
                  </a:lnTo>
                  <a:lnTo>
                    <a:pt x="2097" y="948"/>
                  </a:lnTo>
                  <a:lnTo>
                    <a:pt x="2100" y="951"/>
                  </a:lnTo>
                  <a:lnTo>
                    <a:pt x="2102" y="948"/>
                  </a:lnTo>
                  <a:lnTo>
                    <a:pt x="2108" y="946"/>
                  </a:lnTo>
                  <a:lnTo>
                    <a:pt x="2108" y="946"/>
                  </a:lnTo>
                  <a:lnTo>
                    <a:pt x="2110" y="943"/>
                  </a:lnTo>
                  <a:lnTo>
                    <a:pt x="2110" y="943"/>
                  </a:lnTo>
                  <a:lnTo>
                    <a:pt x="2110" y="943"/>
                  </a:lnTo>
                  <a:lnTo>
                    <a:pt x="2113" y="943"/>
                  </a:lnTo>
                  <a:lnTo>
                    <a:pt x="2113" y="943"/>
                  </a:lnTo>
                  <a:lnTo>
                    <a:pt x="2113" y="943"/>
                  </a:lnTo>
                  <a:lnTo>
                    <a:pt x="2110" y="943"/>
                  </a:lnTo>
                  <a:lnTo>
                    <a:pt x="2110" y="946"/>
                  </a:lnTo>
                  <a:lnTo>
                    <a:pt x="2110" y="946"/>
                  </a:lnTo>
                  <a:lnTo>
                    <a:pt x="2108" y="946"/>
                  </a:lnTo>
                  <a:lnTo>
                    <a:pt x="2108" y="948"/>
                  </a:lnTo>
                  <a:lnTo>
                    <a:pt x="2108" y="948"/>
                  </a:lnTo>
                  <a:lnTo>
                    <a:pt x="2108" y="948"/>
                  </a:lnTo>
                  <a:lnTo>
                    <a:pt x="2108" y="951"/>
                  </a:lnTo>
                  <a:lnTo>
                    <a:pt x="2108" y="951"/>
                  </a:lnTo>
                  <a:lnTo>
                    <a:pt x="2108" y="954"/>
                  </a:lnTo>
                  <a:lnTo>
                    <a:pt x="2108" y="954"/>
                  </a:lnTo>
                  <a:lnTo>
                    <a:pt x="2108" y="954"/>
                  </a:lnTo>
                  <a:lnTo>
                    <a:pt x="2108" y="956"/>
                  </a:lnTo>
                  <a:lnTo>
                    <a:pt x="2110" y="956"/>
                  </a:lnTo>
                  <a:lnTo>
                    <a:pt x="2113" y="956"/>
                  </a:lnTo>
                  <a:lnTo>
                    <a:pt x="2113" y="956"/>
                  </a:lnTo>
                  <a:lnTo>
                    <a:pt x="2113" y="956"/>
                  </a:lnTo>
                  <a:lnTo>
                    <a:pt x="2113" y="956"/>
                  </a:lnTo>
                  <a:lnTo>
                    <a:pt x="2110" y="956"/>
                  </a:lnTo>
                  <a:lnTo>
                    <a:pt x="2110" y="959"/>
                  </a:lnTo>
                  <a:lnTo>
                    <a:pt x="2110" y="956"/>
                  </a:lnTo>
                  <a:lnTo>
                    <a:pt x="2113" y="956"/>
                  </a:lnTo>
                  <a:lnTo>
                    <a:pt x="2113" y="959"/>
                  </a:lnTo>
                  <a:lnTo>
                    <a:pt x="2113" y="959"/>
                  </a:lnTo>
                  <a:lnTo>
                    <a:pt x="2113" y="959"/>
                  </a:lnTo>
                  <a:lnTo>
                    <a:pt x="2113" y="959"/>
                  </a:lnTo>
                  <a:lnTo>
                    <a:pt x="2116" y="959"/>
                  </a:lnTo>
                  <a:lnTo>
                    <a:pt x="2118" y="959"/>
                  </a:lnTo>
                  <a:lnTo>
                    <a:pt x="2121" y="959"/>
                  </a:lnTo>
                  <a:lnTo>
                    <a:pt x="2118" y="959"/>
                  </a:lnTo>
                  <a:lnTo>
                    <a:pt x="2113" y="962"/>
                  </a:lnTo>
                  <a:lnTo>
                    <a:pt x="2113" y="962"/>
                  </a:lnTo>
                  <a:lnTo>
                    <a:pt x="2113" y="962"/>
                  </a:lnTo>
                  <a:lnTo>
                    <a:pt x="2113" y="962"/>
                  </a:lnTo>
                  <a:lnTo>
                    <a:pt x="2113" y="962"/>
                  </a:lnTo>
                  <a:lnTo>
                    <a:pt x="2110" y="962"/>
                  </a:lnTo>
                  <a:lnTo>
                    <a:pt x="2108" y="962"/>
                  </a:lnTo>
                  <a:lnTo>
                    <a:pt x="2108" y="962"/>
                  </a:lnTo>
                  <a:lnTo>
                    <a:pt x="2108" y="962"/>
                  </a:lnTo>
                  <a:lnTo>
                    <a:pt x="2108" y="962"/>
                  </a:lnTo>
                  <a:lnTo>
                    <a:pt x="2108" y="962"/>
                  </a:lnTo>
                  <a:lnTo>
                    <a:pt x="2108" y="962"/>
                  </a:lnTo>
                  <a:lnTo>
                    <a:pt x="2108" y="962"/>
                  </a:lnTo>
                  <a:lnTo>
                    <a:pt x="2108" y="962"/>
                  </a:lnTo>
                  <a:lnTo>
                    <a:pt x="2108" y="962"/>
                  </a:lnTo>
                  <a:lnTo>
                    <a:pt x="2105" y="964"/>
                  </a:lnTo>
                  <a:lnTo>
                    <a:pt x="2105" y="964"/>
                  </a:lnTo>
                  <a:lnTo>
                    <a:pt x="2105" y="964"/>
                  </a:lnTo>
                  <a:lnTo>
                    <a:pt x="2105" y="964"/>
                  </a:lnTo>
                  <a:lnTo>
                    <a:pt x="2105" y="964"/>
                  </a:lnTo>
                  <a:lnTo>
                    <a:pt x="2105" y="967"/>
                  </a:lnTo>
                  <a:lnTo>
                    <a:pt x="2108" y="967"/>
                  </a:lnTo>
                  <a:lnTo>
                    <a:pt x="2108" y="967"/>
                  </a:lnTo>
                  <a:lnTo>
                    <a:pt x="2108" y="967"/>
                  </a:lnTo>
                  <a:lnTo>
                    <a:pt x="2108" y="967"/>
                  </a:lnTo>
                  <a:lnTo>
                    <a:pt x="2108" y="970"/>
                  </a:lnTo>
                  <a:lnTo>
                    <a:pt x="2108" y="970"/>
                  </a:lnTo>
                  <a:lnTo>
                    <a:pt x="2110" y="970"/>
                  </a:lnTo>
                  <a:lnTo>
                    <a:pt x="2110" y="970"/>
                  </a:lnTo>
                  <a:lnTo>
                    <a:pt x="2110" y="967"/>
                  </a:lnTo>
                  <a:lnTo>
                    <a:pt x="2110" y="967"/>
                  </a:lnTo>
                  <a:lnTo>
                    <a:pt x="2113" y="967"/>
                  </a:lnTo>
                  <a:lnTo>
                    <a:pt x="2113" y="967"/>
                  </a:lnTo>
                  <a:lnTo>
                    <a:pt x="2113" y="967"/>
                  </a:lnTo>
                  <a:lnTo>
                    <a:pt x="2113" y="970"/>
                  </a:lnTo>
                  <a:lnTo>
                    <a:pt x="2113" y="967"/>
                  </a:lnTo>
                  <a:lnTo>
                    <a:pt x="2113" y="967"/>
                  </a:lnTo>
                  <a:lnTo>
                    <a:pt x="2118" y="967"/>
                  </a:lnTo>
                  <a:lnTo>
                    <a:pt x="2118" y="964"/>
                  </a:lnTo>
                  <a:lnTo>
                    <a:pt x="2118" y="964"/>
                  </a:lnTo>
                  <a:lnTo>
                    <a:pt x="2121" y="964"/>
                  </a:lnTo>
                  <a:lnTo>
                    <a:pt x="2121" y="967"/>
                  </a:lnTo>
                  <a:lnTo>
                    <a:pt x="2121" y="967"/>
                  </a:lnTo>
                  <a:lnTo>
                    <a:pt x="2118" y="970"/>
                  </a:lnTo>
                  <a:lnTo>
                    <a:pt x="2116" y="970"/>
                  </a:lnTo>
                  <a:lnTo>
                    <a:pt x="2116" y="970"/>
                  </a:lnTo>
                  <a:lnTo>
                    <a:pt x="2116" y="972"/>
                  </a:lnTo>
                  <a:lnTo>
                    <a:pt x="2121" y="970"/>
                  </a:lnTo>
                  <a:lnTo>
                    <a:pt x="2121" y="970"/>
                  </a:lnTo>
                  <a:lnTo>
                    <a:pt x="2121" y="970"/>
                  </a:lnTo>
                  <a:lnTo>
                    <a:pt x="2124" y="967"/>
                  </a:lnTo>
                  <a:lnTo>
                    <a:pt x="2124" y="967"/>
                  </a:lnTo>
                  <a:lnTo>
                    <a:pt x="2124" y="967"/>
                  </a:lnTo>
                  <a:lnTo>
                    <a:pt x="2124" y="967"/>
                  </a:lnTo>
                  <a:lnTo>
                    <a:pt x="2124" y="964"/>
                  </a:lnTo>
                  <a:lnTo>
                    <a:pt x="2124" y="964"/>
                  </a:lnTo>
                  <a:lnTo>
                    <a:pt x="2124" y="964"/>
                  </a:lnTo>
                  <a:lnTo>
                    <a:pt x="2124" y="964"/>
                  </a:lnTo>
                  <a:lnTo>
                    <a:pt x="2124" y="967"/>
                  </a:lnTo>
                  <a:lnTo>
                    <a:pt x="2124" y="967"/>
                  </a:lnTo>
                  <a:lnTo>
                    <a:pt x="2126" y="970"/>
                  </a:lnTo>
                  <a:lnTo>
                    <a:pt x="2126" y="970"/>
                  </a:lnTo>
                  <a:lnTo>
                    <a:pt x="2126" y="970"/>
                  </a:lnTo>
                  <a:lnTo>
                    <a:pt x="2129" y="970"/>
                  </a:lnTo>
                  <a:lnTo>
                    <a:pt x="2129" y="972"/>
                  </a:lnTo>
                  <a:lnTo>
                    <a:pt x="2132" y="972"/>
                  </a:lnTo>
                  <a:lnTo>
                    <a:pt x="2132" y="970"/>
                  </a:lnTo>
                  <a:lnTo>
                    <a:pt x="2134" y="970"/>
                  </a:lnTo>
                  <a:lnTo>
                    <a:pt x="2132" y="970"/>
                  </a:lnTo>
                  <a:lnTo>
                    <a:pt x="2132" y="967"/>
                  </a:lnTo>
                  <a:lnTo>
                    <a:pt x="2132" y="967"/>
                  </a:lnTo>
                  <a:lnTo>
                    <a:pt x="2132" y="967"/>
                  </a:lnTo>
                  <a:lnTo>
                    <a:pt x="2132" y="967"/>
                  </a:lnTo>
                  <a:lnTo>
                    <a:pt x="2129" y="964"/>
                  </a:lnTo>
                  <a:lnTo>
                    <a:pt x="2129" y="964"/>
                  </a:lnTo>
                  <a:lnTo>
                    <a:pt x="2132" y="964"/>
                  </a:lnTo>
                  <a:lnTo>
                    <a:pt x="2132" y="964"/>
                  </a:lnTo>
                  <a:lnTo>
                    <a:pt x="2132" y="967"/>
                  </a:lnTo>
                  <a:lnTo>
                    <a:pt x="2134" y="967"/>
                  </a:lnTo>
                  <a:lnTo>
                    <a:pt x="2134" y="967"/>
                  </a:lnTo>
                  <a:lnTo>
                    <a:pt x="2134" y="970"/>
                  </a:lnTo>
                  <a:lnTo>
                    <a:pt x="2134" y="970"/>
                  </a:lnTo>
                  <a:lnTo>
                    <a:pt x="2134" y="972"/>
                  </a:lnTo>
                  <a:lnTo>
                    <a:pt x="2134" y="975"/>
                  </a:lnTo>
                  <a:lnTo>
                    <a:pt x="2134" y="975"/>
                  </a:lnTo>
                  <a:lnTo>
                    <a:pt x="2134" y="975"/>
                  </a:lnTo>
                  <a:lnTo>
                    <a:pt x="2134" y="972"/>
                  </a:lnTo>
                  <a:lnTo>
                    <a:pt x="2137" y="972"/>
                  </a:lnTo>
                  <a:lnTo>
                    <a:pt x="2137" y="972"/>
                  </a:lnTo>
                  <a:lnTo>
                    <a:pt x="2137" y="972"/>
                  </a:lnTo>
                  <a:lnTo>
                    <a:pt x="2137" y="972"/>
                  </a:lnTo>
                  <a:lnTo>
                    <a:pt x="2137" y="972"/>
                  </a:lnTo>
                  <a:lnTo>
                    <a:pt x="2137" y="975"/>
                  </a:lnTo>
                  <a:lnTo>
                    <a:pt x="2140" y="975"/>
                  </a:lnTo>
                  <a:lnTo>
                    <a:pt x="2140" y="975"/>
                  </a:lnTo>
                  <a:lnTo>
                    <a:pt x="2140" y="975"/>
                  </a:lnTo>
                  <a:lnTo>
                    <a:pt x="2140" y="975"/>
                  </a:lnTo>
                  <a:lnTo>
                    <a:pt x="2140" y="975"/>
                  </a:lnTo>
                  <a:lnTo>
                    <a:pt x="2137" y="975"/>
                  </a:lnTo>
                  <a:lnTo>
                    <a:pt x="2137" y="978"/>
                  </a:lnTo>
                  <a:lnTo>
                    <a:pt x="2137" y="978"/>
                  </a:lnTo>
                  <a:lnTo>
                    <a:pt x="2137" y="978"/>
                  </a:lnTo>
                  <a:lnTo>
                    <a:pt x="2140" y="978"/>
                  </a:lnTo>
                  <a:lnTo>
                    <a:pt x="2140" y="978"/>
                  </a:lnTo>
                  <a:lnTo>
                    <a:pt x="2140" y="978"/>
                  </a:lnTo>
                  <a:lnTo>
                    <a:pt x="2140" y="978"/>
                  </a:lnTo>
                  <a:lnTo>
                    <a:pt x="2140" y="980"/>
                  </a:lnTo>
                  <a:lnTo>
                    <a:pt x="2140" y="980"/>
                  </a:lnTo>
                  <a:lnTo>
                    <a:pt x="2140" y="980"/>
                  </a:lnTo>
                  <a:lnTo>
                    <a:pt x="2137" y="980"/>
                  </a:lnTo>
                  <a:lnTo>
                    <a:pt x="2137" y="980"/>
                  </a:lnTo>
                  <a:lnTo>
                    <a:pt x="2137" y="980"/>
                  </a:lnTo>
                  <a:lnTo>
                    <a:pt x="2137" y="980"/>
                  </a:lnTo>
                  <a:lnTo>
                    <a:pt x="2140" y="983"/>
                  </a:lnTo>
                  <a:lnTo>
                    <a:pt x="2140" y="983"/>
                  </a:lnTo>
                  <a:lnTo>
                    <a:pt x="2142" y="983"/>
                  </a:lnTo>
                  <a:lnTo>
                    <a:pt x="2142" y="980"/>
                  </a:lnTo>
                  <a:lnTo>
                    <a:pt x="2142" y="978"/>
                  </a:lnTo>
                  <a:lnTo>
                    <a:pt x="2142" y="978"/>
                  </a:lnTo>
                  <a:lnTo>
                    <a:pt x="2142" y="980"/>
                  </a:lnTo>
                  <a:lnTo>
                    <a:pt x="2142" y="980"/>
                  </a:lnTo>
                  <a:lnTo>
                    <a:pt x="2142" y="980"/>
                  </a:lnTo>
                  <a:lnTo>
                    <a:pt x="2142" y="983"/>
                  </a:lnTo>
                  <a:lnTo>
                    <a:pt x="2142" y="983"/>
                  </a:lnTo>
                  <a:lnTo>
                    <a:pt x="2142" y="983"/>
                  </a:lnTo>
                  <a:lnTo>
                    <a:pt x="2142" y="983"/>
                  </a:lnTo>
                  <a:lnTo>
                    <a:pt x="2142" y="983"/>
                  </a:lnTo>
                  <a:lnTo>
                    <a:pt x="2142" y="983"/>
                  </a:lnTo>
                  <a:lnTo>
                    <a:pt x="2142" y="983"/>
                  </a:lnTo>
                  <a:lnTo>
                    <a:pt x="2145" y="983"/>
                  </a:lnTo>
                  <a:lnTo>
                    <a:pt x="2145" y="983"/>
                  </a:lnTo>
                  <a:lnTo>
                    <a:pt x="2145" y="983"/>
                  </a:lnTo>
                  <a:lnTo>
                    <a:pt x="2145" y="983"/>
                  </a:lnTo>
                  <a:lnTo>
                    <a:pt x="2145" y="980"/>
                  </a:lnTo>
                  <a:lnTo>
                    <a:pt x="2145" y="980"/>
                  </a:lnTo>
                  <a:lnTo>
                    <a:pt x="2145" y="980"/>
                  </a:lnTo>
                  <a:lnTo>
                    <a:pt x="2145" y="980"/>
                  </a:lnTo>
                  <a:lnTo>
                    <a:pt x="2145" y="978"/>
                  </a:lnTo>
                  <a:lnTo>
                    <a:pt x="2145" y="975"/>
                  </a:lnTo>
                  <a:lnTo>
                    <a:pt x="2145" y="975"/>
                  </a:lnTo>
                  <a:lnTo>
                    <a:pt x="2145" y="978"/>
                  </a:lnTo>
                  <a:lnTo>
                    <a:pt x="2145" y="978"/>
                  </a:lnTo>
                  <a:lnTo>
                    <a:pt x="2145" y="978"/>
                  </a:lnTo>
                  <a:lnTo>
                    <a:pt x="2145" y="980"/>
                  </a:lnTo>
                  <a:lnTo>
                    <a:pt x="2148" y="980"/>
                  </a:lnTo>
                  <a:lnTo>
                    <a:pt x="2148" y="980"/>
                  </a:lnTo>
                  <a:lnTo>
                    <a:pt x="2148" y="980"/>
                  </a:lnTo>
                  <a:lnTo>
                    <a:pt x="2148" y="980"/>
                  </a:lnTo>
                  <a:lnTo>
                    <a:pt x="2145" y="980"/>
                  </a:lnTo>
                  <a:lnTo>
                    <a:pt x="2148" y="980"/>
                  </a:lnTo>
                  <a:lnTo>
                    <a:pt x="2148" y="983"/>
                  </a:lnTo>
                  <a:lnTo>
                    <a:pt x="2148" y="983"/>
                  </a:lnTo>
                  <a:lnTo>
                    <a:pt x="2148" y="983"/>
                  </a:lnTo>
                  <a:lnTo>
                    <a:pt x="2148" y="983"/>
                  </a:lnTo>
                  <a:lnTo>
                    <a:pt x="2148" y="983"/>
                  </a:lnTo>
                  <a:lnTo>
                    <a:pt x="2148" y="983"/>
                  </a:lnTo>
                  <a:lnTo>
                    <a:pt x="2148" y="983"/>
                  </a:lnTo>
                  <a:lnTo>
                    <a:pt x="2150" y="983"/>
                  </a:lnTo>
                  <a:lnTo>
                    <a:pt x="2150" y="983"/>
                  </a:lnTo>
                  <a:lnTo>
                    <a:pt x="2150" y="983"/>
                  </a:lnTo>
                  <a:lnTo>
                    <a:pt x="2153" y="983"/>
                  </a:lnTo>
                  <a:lnTo>
                    <a:pt x="2150" y="983"/>
                  </a:lnTo>
                  <a:lnTo>
                    <a:pt x="2150" y="986"/>
                  </a:lnTo>
                  <a:lnTo>
                    <a:pt x="2150" y="986"/>
                  </a:lnTo>
                  <a:lnTo>
                    <a:pt x="2150" y="986"/>
                  </a:lnTo>
                  <a:lnTo>
                    <a:pt x="2153" y="986"/>
                  </a:lnTo>
                  <a:lnTo>
                    <a:pt x="2153" y="986"/>
                  </a:lnTo>
                  <a:lnTo>
                    <a:pt x="2153" y="986"/>
                  </a:lnTo>
                  <a:lnTo>
                    <a:pt x="2150" y="988"/>
                  </a:lnTo>
                  <a:lnTo>
                    <a:pt x="2150" y="988"/>
                  </a:lnTo>
                  <a:lnTo>
                    <a:pt x="2150" y="988"/>
                  </a:lnTo>
                  <a:lnTo>
                    <a:pt x="2153" y="988"/>
                  </a:lnTo>
                  <a:lnTo>
                    <a:pt x="2153" y="988"/>
                  </a:lnTo>
                  <a:lnTo>
                    <a:pt x="2153" y="988"/>
                  </a:lnTo>
                  <a:lnTo>
                    <a:pt x="2153" y="988"/>
                  </a:lnTo>
                  <a:lnTo>
                    <a:pt x="2153" y="988"/>
                  </a:lnTo>
                  <a:lnTo>
                    <a:pt x="2153" y="986"/>
                  </a:lnTo>
                  <a:lnTo>
                    <a:pt x="2156" y="986"/>
                  </a:lnTo>
                  <a:lnTo>
                    <a:pt x="2156" y="986"/>
                  </a:lnTo>
                  <a:lnTo>
                    <a:pt x="2156" y="988"/>
                  </a:lnTo>
                  <a:lnTo>
                    <a:pt x="2156" y="988"/>
                  </a:lnTo>
                  <a:lnTo>
                    <a:pt x="2156" y="988"/>
                  </a:lnTo>
                  <a:lnTo>
                    <a:pt x="2153" y="988"/>
                  </a:lnTo>
                  <a:lnTo>
                    <a:pt x="2153" y="991"/>
                  </a:lnTo>
                  <a:lnTo>
                    <a:pt x="2153" y="991"/>
                  </a:lnTo>
                  <a:lnTo>
                    <a:pt x="2153" y="991"/>
                  </a:lnTo>
                  <a:lnTo>
                    <a:pt x="2156" y="994"/>
                  </a:lnTo>
                  <a:lnTo>
                    <a:pt x="2156" y="994"/>
                  </a:lnTo>
                  <a:lnTo>
                    <a:pt x="2156" y="991"/>
                  </a:lnTo>
                  <a:lnTo>
                    <a:pt x="2158" y="991"/>
                  </a:lnTo>
                  <a:lnTo>
                    <a:pt x="2161" y="994"/>
                  </a:lnTo>
                  <a:lnTo>
                    <a:pt x="2161" y="994"/>
                  </a:lnTo>
                  <a:lnTo>
                    <a:pt x="2161" y="991"/>
                  </a:lnTo>
                  <a:lnTo>
                    <a:pt x="2161" y="991"/>
                  </a:lnTo>
                  <a:lnTo>
                    <a:pt x="2161" y="991"/>
                  </a:lnTo>
                  <a:lnTo>
                    <a:pt x="2164" y="991"/>
                  </a:lnTo>
                  <a:lnTo>
                    <a:pt x="2164" y="991"/>
                  </a:lnTo>
                  <a:lnTo>
                    <a:pt x="2166" y="991"/>
                  </a:lnTo>
                  <a:lnTo>
                    <a:pt x="2166" y="991"/>
                  </a:lnTo>
                  <a:lnTo>
                    <a:pt x="2166" y="991"/>
                  </a:lnTo>
                  <a:close/>
                  <a:moveTo>
                    <a:pt x="2124" y="972"/>
                  </a:moveTo>
                  <a:lnTo>
                    <a:pt x="2124" y="972"/>
                  </a:lnTo>
                  <a:lnTo>
                    <a:pt x="2124" y="972"/>
                  </a:lnTo>
                  <a:lnTo>
                    <a:pt x="2124" y="972"/>
                  </a:lnTo>
                  <a:lnTo>
                    <a:pt x="2124" y="975"/>
                  </a:lnTo>
                  <a:lnTo>
                    <a:pt x="2124" y="975"/>
                  </a:lnTo>
                  <a:lnTo>
                    <a:pt x="2126" y="975"/>
                  </a:lnTo>
                  <a:lnTo>
                    <a:pt x="2126" y="978"/>
                  </a:lnTo>
                  <a:lnTo>
                    <a:pt x="2126" y="975"/>
                  </a:lnTo>
                  <a:lnTo>
                    <a:pt x="2126" y="978"/>
                  </a:lnTo>
                  <a:lnTo>
                    <a:pt x="2129" y="978"/>
                  </a:lnTo>
                  <a:lnTo>
                    <a:pt x="2129" y="978"/>
                  </a:lnTo>
                  <a:lnTo>
                    <a:pt x="2126" y="978"/>
                  </a:lnTo>
                  <a:lnTo>
                    <a:pt x="2126" y="978"/>
                  </a:lnTo>
                  <a:lnTo>
                    <a:pt x="2126" y="978"/>
                  </a:lnTo>
                  <a:lnTo>
                    <a:pt x="2126" y="980"/>
                  </a:lnTo>
                  <a:lnTo>
                    <a:pt x="2126" y="980"/>
                  </a:lnTo>
                  <a:lnTo>
                    <a:pt x="2126" y="980"/>
                  </a:lnTo>
                  <a:lnTo>
                    <a:pt x="2129" y="980"/>
                  </a:lnTo>
                  <a:lnTo>
                    <a:pt x="2129" y="980"/>
                  </a:lnTo>
                  <a:lnTo>
                    <a:pt x="2129" y="980"/>
                  </a:lnTo>
                  <a:lnTo>
                    <a:pt x="2132" y="980"/>
                  </a:lnTo>
                  <a:lnTo>
                    <a:pt x="2132" y="980"/>
                  </a:lnTo>
                  <a:lnTo>
                    <a:pt x="2132" y="983"/>
                  </a:lnTo>
                  <a:lnTo>
                    <a:pt x="2134" y="978"/>
                  </a:lnTo>
                  <a:lnTo>
                    <a:pt x="2134" y="978"/>
                  </a:lnTo>
                  <a:lnTo>
                    <a:pt x="2129" y="972"/>
                  </a:lnTo>
                  <a:lnTo>
                    <a:pt x="2129" y="972"/>
                  </a:lnTo>
                  <a:lnTo>
                    <a:pt x="2126" y="970"/>
                  </a:lnTo>
                  <a:lnTo>
                    <a:pt x="2126" y="970"/>
                  </a:lnTo>
                  <a:lnTo>
                    <a:pt x="2124" y="970"/>
                  </a:lnTo>
                  <a:lnTo>
                    <a:pt x="2124" y="970"/>
                  </a:lnTo>
                  <a:lnTo>
                    <a:pt x="2124" y="972"/>
                  </a:lnTo>
                  <a:lnTo>
                    <a:pt x="2124" y="972"/>
                  </a:lnTo>
                  <a:lnTo>
                    <a:pt x="2124" y="972"/>
                  </a:lnTo>
                  <a:lnTo>
                    <a:pt x="2124" y="972"/>
                  </a:lnTo>
                  <a:close/>
                  <a:moveTo>
                    <a:pt x="2140" y="999"/>
                  </a:moveTo>
                  <a:lnTo>
                    <a:pt x="2140" y="999"/>
                  </a:lnTo>
                  <a:lnTo>
                    <a:pt x="2137" y="999"/>
                  </a:lnTo>
                  <a:lnTo>
                    <a:pt x="2137" y="999"/>
                  </a:lnTo>
                  <a:lnTo>
                    <a:pt x="2137" y="999"/>
                  </a:lnTo>
                  <a:lnTo>
                    <a:pt x="2137" y="996"/>
                  </a:lnTo>
                  <a:lnTo>
                    <a:pt x="2137" y="996"/>
                  </a:lnTo>
                  <a:lnTo>
                    <a:pt x="2137" y="996"/>
                  </a:lnTo>
                  <a:lnTo>
                    <a:pt x="2137" y="996"/>
                  </a:lnTo>
                  <a:lnTo>
                    <a:pt x="2137" y="994"/>
                  </a:lnTo>
                  <a:lnTo>
                    <a:pt x="2134" y="994"/>
                  </a:lnTo>
                  <a:lnTo>
                    <a:pt x="2134" y="994"/>
                  </a:lnTo>
                  <a:lnTo>
                    <a:pt x="2134" y="994"/>
                  </a:lnTo>
                  <a:lnTo>
                    <a:pt x="2134" y="994"/>
                  </a:lnTo>
                  <a:lnTo>
                    <a:pt x="2134" y="994"/>
                  </a:lnTo>
                  <a:lnTo>
                    <a:pt x="2132" y="994"/>
                  </a:lnTo>
                  <a:lnTo>
                    <a:pt x="2132" y="994"/>
                  </a:lnTo>
                  <a:lnTo>
                    <a:pt x="2132" y="991"/>
                  </a:lnTo>
                  <a:lnTo>
                    <a:pt x="2132" y="991"/>
                  </a:lnTo>
                  <a:lnTo>
                    <a:pt x="2132" y="991"/>
                  </a:lnTo>
                  <a:lnTo>
                    <a:pt x="2132" y="991"/>
                  </a:lnTo>
                  <a:lnTo>
                    <a:pt x="2132" y="991"/>
                  </a:lnTo>
                  <a:lnTo>
                    <a:pt x="2129" y="988"/>
                  </a:lnTo>
                  <a:lnTo>
                    <a:pt x="2129" y="988"/>
                  </a:lnTo>
                  <a:lnTo>
                    <a:pt x="2129" y="988"/>
                  </a:lnTo>
                  <a:lnTo>
                    <a:pt x="2129" y="988"/>
                  </a:lnTo>
                  <a:lnTo>
                    <a:pt x="2126" y="988"/>
                  </a:lnTo>
                  <a:lnTo>
                    <a:pt x="2126" y="988"/>
                  </a:lnTo>
                  <a:lnTo>
                    <a:pt x="2126" y="988"/>
                  </a:lnTo>
                  <a:lnTo>
                    <a:pt x="2126" y="986"/>
                  </a:lnTo>
                  <a:lnTo>
                    <a:pt x="2126" y="986"/>
                  </a:lnTo>
                  <a:lnTo>
                    <a:pt x="2126" y="988"/>
                  </a:lnTo>
                  <a:lnTo>
                    <a:pt x="2126" y="988"/>
                  </a:lnTo>
                  <a:lnTo>
                    <a:pt x="2126" y="986"/>
                  </a:lnTo>
                  <a:lnTo>
                    <a:pt x="2124" y="983"/>
                  </a:lnTo>
                  <a:lnTo>
                    <a:pt x="2124" y="983"/>
                  </a:lnTo>
                  <a:lnTo>
                    <a:pt x="2121" y="983"/>
                  </a:lnTo>
                  <a:lnTo>
                    <a:pt x="2121" y="983"/>
                  </a:lnTo>
                  <a:lnTo>
                    <a:pt x="2121" y="983"/>
                  </a:lnTo>
                  <a:lnTo>
                    <a:pt x="2118" y="983"/>
                  </a:lnTo>
                  <a:lnTo>
                    <a:pt x="2121" y="983"/>
                  </a:lnTo>
                  <a:lnTo>
                    <a:pt x="2121" y="980"/>
                  </a:lnTo>
                  <a:lnTo>
                    <a:pt x="2121" y="980"/>
                  </a:lnTo>
                  <a:lnTo>
                    <a:pt x="2118" y="980"/>
                  </a:lnTo>
                  <a:lnTo>
                    <a:pt x="2118" y="978"/>
                  </a:lnTo>
                  <a:lnTo>
                    <a:pt x="2118" y="978"/>
                  </a:lnTo>
                  <a:lnTo>
                    <a:pt x="2121" y="980"/>
                  </a:lnTo>
                  <a:lnTo>
                    <a:pt x="2124" y="980"/>
                  </a:lnTo>
                  <a:lnTo>
                    <a:pt x="2121" y="978"/>
                  </a:lnTo>
                  <a:lnTo>
                    <a:pt x="2121" y="978"/>
                  </a:lnTo>
                  <a:lnTo>
                    <a:pt x="2121" y="978"/>
                  </a:lnTo>
                  <a:lnTo>
                    <a:pt x="2121" y="978"/>
                  </a:lnTo>
                  <a:lnTo>
                    <a:pt x="2118" y="975"/>
                  </a:lnTo>
                  <a:lnTo>
                    <a:pt x="2118" y="975"/>
                  </a:lnTo>
                  <a:lnTo>
                    <a:pt x="2116" y="975"/>
                  </a:lnTo>
                  <a:lnTo>
                    <a:pt x="2116" y="972"/>
                  </a:lnTo>
                  <a:lnTo>
                    <a:pt x="2116" y="972"/>
                  </a:lnTo>
                  <a:lnTo>
                    <a:pt x="2116" y="972"/>
                  </a:lnTo>
                  <a:lnTo>
                    <a:pt x="2113" y="972"/>
                  </a:lnTo>
                  <a:lnTo>
                    <a:pt x="2113" y="972"/>
                  </a:lnTo>
                  <a:lnTo>
                    <a:pt x="2113" y="970"/>
                  </a:lnTo>
                  <a:lnTo>
                    <a:pt x="2113" y="970"/>
                  </a:lnTo>
                  <a:lnTo>
                    <a:pt x="2113" y="970"/>
                  </a:lnTo>
                  <a:lnTo>
                    <a:pt x="2113" y="970"/>
                  </a:lnTo>
                  <a:lnTo>
                    <a:pt x="2110" y="970"/>
                  </a:lnTo>
                  <a:lnTo>
                    <a:pt x="2110" y="972"/>
                  </a:lnTo>
                  <a:lnTo>
                    <a:pt x="2110" y="972"/>
                  </a:lnTo>
                  <a:lnTo>
                    <a:pt x="2110" y="972"/>
                  </a:lnTo>
                  <a:lnTo>
                    <a:pt x="2113" y="975"/>
                  </a:lnTo>
                  <a:lnTo>
                    <a:pt x="2110" y="975"/>
                  </a:lnTo>
                  <a:lnTo>
                    <a:pt x="2110" y="975"/>
                  </a:lnTo>
                  <a:lnTo>
                    <a:pt x="2110" y="975"/>
                  </a:lnTo>
                  <a:lnTo>
                    <a:pt x="2113" y="975"/>
                  </a:lnTo>
                  <a:lnTo>
                    <a:pt x="2113" y="975"/>
                  </a:lnTo>
                  <a:lnTo>
                    <a:pt x="2113" y="978"/>
                  </a:lnTo>
                  <a:lnTo>
                    <a:pt x="2113" y="978"/>
                  </a:lnTo>
                  <a:lnTo>
                    <a:pt x="2110" y="978"/>
                  </a:lnTo>
                  <a:lnTo>
                    <a:pt x="2110" y="978"/>
                  </a:lnTo>
                  <a:lnTo>
                    <a:pt x="2113" y="978"/>
                  </a:lnTo>
                  <a:lnTo>
                    <a:pt x="2113" y="978"/>
                  </a:lnTo>
                  <a:lnTo>
                    <a:pt x="2113" y="978"/>
                  </a:lnTo>
                  <a:lnTo>
                    <a:pt x="2116" y="978"/>
                  </a:lnTo>
                  <a:lnTo>
                    <a:pt x="2116" y="980"/>
                  </a:lnTo>
                  <a:lnTo>
                    <a:pt x="2113" y="980"/>
                  </a:lnTo>
                  <a:lnTo>
                    <a:pt x="2113" y="980"/>
                  </a:lnTo>
                  <a:lnTo>
                    <a:pt x="2113" y="980"/>
                  </a:lnTo>
                  <a:lnTo>
                    <a:pt x="2113" y="983"/>
                  </a:lnTo>
                  <a:lnTo>
                    <a:pt x="2113" y="983"/>
                  </a:lnTo>
                  <a:lnTo>
                    <a:pt x="2113" y="983"/>
                  </a:lnTo>
                  <a:lnTo>
                    <a:pt x="2116" y="986"/>
                  </a:lnTo>
                  <a:lnTo>
                    <a:pt x="2118" y="986"/>
                  </a:lnTo>
                  <a:lnTo>
                    <a:pt x="2116" y="988"/>
                  </a:lnTo>
                  <a:lnTo>
                    <a:pt x="2118" y="988"/>
                  </a:lnTo>
                  <a:lnTo>
                    <a:pt x="2118" y="988"/>
                  </a:lnTo>
                  <a:lnTo>
                    <a:pt x="2118" y="988"/>
                  </a:lnTo>
                  <a:lnTo>
                    <a:pt x="2118" y="988"/>
                  </a:lnTo>
                  <a:lnTo>
                    <a:pt x="2118" y="991"/>
                  </a:lnTo>
                  <a:lnTo>
                    <a:pt x="2118" y="991"/>
                  </a:lnTo>
                  <a:lnTo>
                    <a:pt x="2118" y="988"/>
                  </a:lnTo>
                  <a:lnTo>
                    <a:pt x="2121" y="988"/>
                  </a:lnTo>
                  <a:lnTo>
                    <a:pt x="2121" y="988"/>
                  </a:lnTo>
                  <a:lnTo>
                    <a:pt x="2121" y="988"/>
                  </a:lnTo>
                  <a:lnTo>
                    <a:pt x="2121" y="988"/>
                  </a:lnTo>
                  <a:lnTo>
                    <a:pt x="2121" y="991"/>
                  </a:lnTo>
                  <a:lnTo>
                    <a:pt x="2121" y="991"/>
                  </a:lnTo>
                  <a:lnTo>
                    <a:pt x="2121" y="991"/>
                  </a:lnTo>
                  <a:lnTo>
                    <a:pt x="2121" y="991"/>
                  </a:lnTo>
                  <a:lnTo>
                    <a:pt x="2121" y="991"/>
                  </a:lnTo>
                  <a:lnTo>
                    <a:pt x="2124" y="991"/>
                  </a:lnTo>
                  <a:lnTo>
                    <a:pt x="2124" y="991"/>
                  </a:lnTo>
                  <a:lnTo>
                    <a:pt x="2124" y="991"/>
                  </a:lnTo>
                  <a:lnTo>
                    <a:pt x="2124" y="994"/>
                  </a:lnTo>
                  <a:lnTo>
                    <a:pt x="2124" y="994"/>
                  </a:lnTo>
                  <a:lnTo>
                    <a:pt x="2124" y="994"/>
                  </a:lnTo>
                  <a:lnTo>
                    <a:pt x="2126" y="994"/>
                  </a:lnTo>
                  <a:lnTo>
                    <a:pt x="2126" y="996"/>
                  </a:lnTo>
                  <a:lnTo>
                    <a:pt x="2129" y="994"/>
                  </a:lnTo>
                  <a:lnTo>
                    <a:pt x="2129" y="994"/>
                  </a:lnTo>
                  <a:lnTo>
                    <a:pt x="2129" y="994"/>
                  </a:lnTo>
                  <a:lnTo>
                    <a:pt x="2129" y="994"/>
                  </a:lnTo>
                  <a:lnTo>
                    <a:pt x="2129" y="996"/>
                  </a:lnTo>
                  <a:lnTo>
                    <a:pt x="2129" y="996"/>
                  </a:lnTo>
                  <a:lnTo>
                    <a:pt x="2129" y="996"/>
                  </a:lnTo>
                  <a:lnTo>
                    <a:pt x="2129" y="996"/>
                  </a:lnTo>
                  <a:lnTo>
                    <a:pt x="2134" y="999"/>
                  </a:lnTo>
                  <a:lnTo>
                    <a:pt x="2134" y="999"/>
                  </a:lnTo>
                  <a:lnTo>
                    <a:pt x="2132" y="999"/>
                  </a:lnTo>
                  <a:lnTo>
                    <a:pt x="2132" y="999"/>
                  </a:lnTo>
                  <a:lnTo>
                    <a:pt x="2134" y="1002"/>
                  </a:lnTo>
                  <a:lnTo>
                    <a:pt x="2134" y="1002"/>
                  </a:lnTo>
                  <a:lnTo>
                    <a:pt x="2134" y="1002"/>
                  </a:lnTo>
                  <a:lnTo>
                    <a:pt x="2137" y="1002"/>
                  </a:lnTo>
                  <a:lnTo>
                    <a:pt x="2137" y="1002"/>
                  </a:lnTo>
                  <a:lnTo>
                    <a:pt x="2137" y="1002"/>
                  </a:lnTo>
                  <a:lnTo>
                    <a:pt x="2140" y="1002"/>
                  </a:lnTo>
                  <a:lnTo>
                    <a:pt x="2140" y="1002"/>
                  </a:lnTo>
                  <a:lnTo>
                    <a:pt x="2142" y="1002"/>
                  </a:lnTo>
                  <a:lnTo>
                    <a:pt x="2140" y="999"/>
                  </a:lnTo>
                  <a:lnTo>
                    <a:pt x="2140" y="999"/>
                  </a:lnTo>
                  <a:close/>
                  <a:moveTo>
                    <a:pt x="2100" y="959"/>
                  </a:moveTo>
                  <a:lnTo>
                    <a:pt x="2100" y="959"/>
                  </a:lnTo>
                  <a:lnTo>
                    <a:pt x="2102" y="956"/>
                  </a:lnTo>
                  <a:lnTo>
                    <a:pt x="2102" y="956"/>
                  </a:lnTo>
                  <a:lnTo>
                    <a:pt x="2102" y="956"/>
                  </a:lnTo>
                  <a:lnTo>
                    <a:pt x="2102" y="956"/>
                  </a:lnTo>
                  <a:lnTo>
                    <a:pt x="2102" y="954"/>
                  </a:lnTo>
                  <a:lnTo>
                    <a:pt x="2102" y="954"/>
                  </a:lnTo>
                  <a:lnTo>
                    <a:pt x="2100" y="954"/>
                  </a:lnTo>
                  <a:lnTo>
                    <a:pt x="2100" y="954"/>
                  </a:lnTo>
                  <a:lnTo>
                    <a:pt x="2100" y="954"/>
                  </a:lnTo>
                  <a:lnTo>
                    <a:pt x="2097" y="954"/>
                  </a:lnTo>
                  <a:lnTo>
                    <a:pt x="2094" y="954"/>
                  </a:lnTo>
                  <a:lnTo>
                    <a:pt x="2094" y="954"/>
                  </a:lnTo>
                  <a:lnTo>
                    <a:pt x="2094" y="956"/>
                  </a:lnTo>
                  <a:lnTo>
                    <a:pt x="2097" y="956"/>
                  </a:lnTo>
                  <a:lnTo>
                    <a:pt x="2097" y="956"/>
                  </a:lnTo>
                  <a:lnTo>
                    <a:pt x="2100" y="959"/>
                  </a:lnTo>
                  <a:lnTo>
                    <a:pt x="2100" y="959"/>
                  </a:lnTo>
                  <a:lnTo>
                    <a:pt x="2100" y="959"/>
                  </a:lnTo>
                  <a:close/>
                  <a:moveTo>
                    <a:pt x="2108" y="970"/>
                  </a:moveTo>
                  <a:lnTo>
                    <a:pt x="2108" y="970"/>
                  </a:lnTo>
                  <a:lnTo>
                    <a:pt x="2108" y="970"/>
                  </a:lnTo>
                  <a:lnTo>
                    <a:pt x="2105" y="970"/>
                  </a:lnTo>
                  <a:lnTo>
                    <a:pt x="2105" y="972"/>
                  </a:lnTo>
                  <a:lnTo>
                    <a:pt x="2105" y="970"/>
                  </a:lnTo>
                  <a:lnTo>
                    <a:pt x="2105" y="970"/>
                  </a:lnTo>
                  <a:lnTo>
                    <a:pt x="2105" y="967"/>
                  </a:lnTo>
                  <a:lnTo>
                    <a:pt x="2105" y="967"/>
                  </a:lnTo>
                  <a:lnTo>
                    <a:pt x="2102" y="967"/>
                  </a:lnTo>
                  <a:lnTo>
                    <a:pt x="2102" y="967"/>
                  </a:lnTo>
                  <a:lnTo>
                    <a:pt x="2102" y="967"/>
                  </a:lnTo>
                  <a:lnTo>
                    <a:pt x="2102" y="967"/>
                  </a:lnTo>
                  <a:lnTo>
                    <a:pt x="2102" y="970"/>
                  </a:lnTo>
                  <a:lnTo>
                    <a:pt x="2102" y="970"/>
                  </a:lnTo>
                  <a:lnTo>
                    <a:pt x="2100" y="970"/>
                  </a:lnTo>
                  <a:lnTo>
                    <a:pt x="2100" y="970"/>
                  </a:lnTo>
                  <a:lnTo>
                    <a:pt x="2100" y="970"/>
                  </a:lnTo>
                  <a:lnTo>
                    <a:pt x="2100" y="972"/>
                  </a:lnTo>
                  <a:lnTo>
                    <a:pt x="2102" y="972"/>
                  </a:lnTo>
                  <a:lnTo>
                    <a:pt x="2102" y="972"/>
                  </a:lnTo>
                  <a:lnTo>
                    <a:pt x="2102" y="972"/>
                  </a:lnTo>
                  <a:lnTo>
                    <a:pt x="2100" y="972"/>
                  </a:lnTo>
                  <a:lnTo>
                    <a:pt x="2100" y="972"/>
                  </a:lnTo>
                  <a:lnTo>
                    <a:pt x="2100" y="975"/>
                  </a:lnTo>
                  <a:lnTo>
                    <a:pt x="2102" y="975"/>
                  </a:lnTo>
                  <a:lnTo>
                    <a:pt x="2102" y="975"/>
                  </a:lnTo>
                  <a:lnTo>
                    <a:pt x="2102" y="978"/>
                  </a:lnTo>
                  <a:lnTo>
                    <a:pt x="2102" y="978"/>
                  </a:lnTo>
                  <a:lnTo>
                    <a:pt x="2102" y="975"/>
                  </a:lnTo>
                  <a:lnTo>
                    <a:pt x="2102" y="975"/>
                  </a:lnTo>
                  <a:lnTo>
                    <a:pt x="2102" y="975"/>
                  </a:lnTo>
                  <a:lnTo>
                    <a:pt x="2102" y="975"/>
                  </a:lnTo>
                  <a:lnTo>
                    <a:pt x="2105" y="975"/>
                  </a:lnTo>
                  <a:lnTo>
                    <a:pt x="2105" y="975"/>
                  </a:lnTo>
                  <a:lnTo>
                    <a:pt x="2105" y="975"/>
                  </a:lnTo>
                  <a:lnTo>
                    <a:pt x="2105" y="975"/>
                  </a:lnTo>
                  <a:lnTo>
                    <a:pt x="2105" y="975"/>
                  </a:lnTo>
                  <a:lnTo>
                    <a:pt x="2108" y="975"/>
                  </a:lnTo>
                  <a:lnTo>
                    <a:pt x="2108" y="975"/>
                  </a:lnTo>
                  <a:lnTo>
                    <a:pt x="2108" y="975"/>
                  </a:lnTo>
                  <a:lnTo>
                    <a:pt x="2108" y="972"/>
                  </a:lnTo>
                  <a:lnTo>
                    <a:pt x="2108" y="972"/>
                  </a:lnTo>
                  <a:lnTo>
                    <a:pt x="2108" y="972"/>
                  </a:lnTo>
                  <a:lnTo>
                    <a:pt x="2108" y="970"/>
                  </a:lnTo>
                  <a:lnTo>
                    <a:pt x="2108" y="970"/>
                  </a:lnTo>
                  <a:close/>
                  <a:moveTo>
                    <a:pt x="1441" y="692"/>
                  </a:moveTo>
                  <a:lnTo>
                    <a:pt x="1443" y="692"/>
                  </a:lnTo>
                  <a:lnTo>
                    <a:pt x="1443" y="689"/>
                  </a:lnTo>
                  <a:lnTo>
                    <a:pt x="1443" y="689"/>
                  </a:lnTo>
                  <a:lnTo>
                    <a:pt x="1443" y="689"/>
                  </a:lnTo>
                  <a:lnTo>
                    <a:pt x="1441" y="689"/>
                  </a:lnTo>
                  <a:lnTo>
                    <a:pt x="1441" y="689"/>
                  </a:lnTo>
                  <a:lnTo>
                    <a:pt x="1441" y="692"/>
                  </a:lnTo>
                  <a:lnTo>
                    <a:pt x="1441" y="692"/>
                  </a:lnTo>
                  <a:lnTo>
                    <a:pt x="1441" y="692"/>
                  </a:lnTo>
                  <a:lnTo>
                    <a:pt x="1441" y="692"/>
                  </a:lnTo>
                  <a:lnTo>
                    <a:pt x="1441" y="692"/>
                  </a:lnTo>
                  <a:close/>
                  <a:moveTo>
                    <a:pt x="1016" y="307"/>
                  </a:moveTo>
                  <a:lnTo>
                    <a:pt x="1016" y="307"/>
                  </a:lnTo>
                  <a:lnTo>
                    <a:pt x="1019" y="307"/>
                  </a:lnTo>
                  <a:lnTo>
                    <a:pt x="1019" y="307"/>
                  </a:lnTo>
                  <a:lnTo>
                    <a:pt x="1024" y="307"/>
                  </a:lnTo>
                  <a:lnTo>
                    <a:pt x="1024" y="307"/>
                  </a:lnTo>
                  <a:lnTo>
                    <a:pt x="1024" y="307"/>
                  </a:lnTo>
                  <a:lnTo>
                    <a:pt x="1024" y="307"/>
                  </a:lnTo>
                  <a:lnTo>
                    <a:pt x="1024" y="307"/>
                  </a:lnTo>
                  <a:lnTo>
                    <a:pt x="1024" y="307"/>
                  </a:lnTo>
                  <a:lnTo>
                    <a:pt x="1027" y="304"/>
                  </a:lnTo>
                  <a:lnTo>
                    <a:pt x="1027" y="304"/>
                  </a:lnTo>
                  <a:lnTo>
                    <a:pt x="1027" y="304"/>
                  </a:lnTo>
                  <a:lnTo>
                    <a:pt x="1027" y="304"/>
                  </a:lnTo>
                  <a:lnTo>
                    <a:pt x="1027" y="304"/>
                  </a:lnTo>
                  <a:lnTo>
                    <a:pt x="1027" y="304"/>
                  </a:lnTo>
                  <a:lnTo>
                    <a:pt x="1027" y="304"/>
                  </a:lnTo>
                  <a:lnTo>
                    <a:pt x="1030" y="304"/>
                  </a:lnTo>
                  <a:lnTo>
                    <a:pt x="1030" y="304"/>
                  </a:lnTo>
                  <a:lnTo>
                    <a:pt x="1027" y="304"/>
                  </a:lnTo>
                  <a:lnTo>
                    <a:pt x="1011" y="310"/>
                  </a:lnTo>
                  <a:lnTo>
                    <a:pt x="1014" y="310"/>
                  </a:lnTo>
                  <a:lnTo>
                    <a:pt x="1016" y="307"/>
                  </a:lnTo>
                  <a:close/>
                  <a:moveTo>
                    <a:pt x="1011" y="310"/>
                  </a:moveTo>
                  <a:lnTo>
                    <a:pt x="1011" y="310"/>
                  </a:lnTo>
                  <a:lnTo>
                    <a:pt x="1011" y="310"/>
                  </a:lnTo>
                  <a:lnTo>
                    <a:pt x="1011" y="310"/>
                  </a:lnTo>
                  <a:close/>
                  <a:moveTo>
                    <a:pt x="1011" y="310"/>
                  </a:moveTo>
                  <a:lnTo>
                    <a:pt x="1011" y="310"/>
                  </a:lnTo>
                  <a:lnTo>
                    <a:pt x="1008" y="310"/>
                  </a:lnTo>
                  <a:lnTo>
                    <a:pt x="1011" y="310"/>
                  </a:lnTo>
                  <a:lnTo>
                    <a:pt x="1011" y="310"/>
                  </a:lnTo>
                  <a:close/>
                  <a:moveTo>
                    <a:pt x="1008" y="310"/>
                  </a:moveTo>
                  <a:lnTo>
                    <a:pt x="1008" y="310"/>
                  </a:lnTo>
                  <a:lnTo>
                    <a:pt x="1008" y="310"/>
                  </a:lnTo>
                  <a:lnTo>
                    <a:pt x="1008" y="310"/>
                  </a:lnTo>
                  <a:lnTo>
                    <a:pt x="1008" y="310"/>
                  </a:lnTo>
                  <a:close/>
                  <a:moveTo>
                    <a:pt x="1003" y="312"/>
                  </a:moveTo>
                  <a:lnTo>
                    <a:pt x="1003" y="312"/>
                  </a:lnTo>
                  <a:lnTo>
                    <a:pt x="1003" y="312"/>
                  </a:lnTo>
                  <a:lnTo>
                    <a:pt x="1003" y="312"/>
                  </a:lnTo>
                  <a:lnTo>
                    <a:pt x="1006" y="310"/>
                  </a:lnTo>
                  <a:lnTo>
                    <a:pt x="1006" y="310"/>
                  </a:lnTo>
                  <a:lnTo>
                    <a:pt x="1008" y="310"/>
                  </a:lnTo>
                  <a:lnTo>
                    <a:pt x="1000" y="312"/>
                  </a:lnTo>
                  <a:lnTo>
                    <a:pt x="1000" y="312"/>
                  </a:lnTo>
                  <a:lnTo>
                    <a:pt x="1000" y="312"/>
                  </a:lnTo>
                  <a:lnTo>
                    <a:pt x="1000" y="312"/>
                  </a:lnTo>
                  <a:lnTo>
                    <a:pt x="1003" y="312"/>
                  </a:lnTo>
                  <a:close/>
                  <a:moveTo>
                    <a:pt x="987" y="320"/>
                  </a:moveTo>
                  <a:lnTo>
                    <a:pt x="990" y="318"/>
                  </a:lnTo>
                  <a:lnTo>
                    <a:pt x="990" y="318"/>
                  </a:lnTo>
                  <a:lnTo>
                    <a:pt x="990" y="318"/>
                  </a:lnTo>
                  <a:lnTo>
                    <a:pt x="990" y="318"/>
                  </a:lnTo>
                  <a:lnTo>
                    <a:pt x="990" y="318"/>
                  </a:lnTo>
                  <a:lnTo>
                    <a:pt x="987" y="318"/>
                  </a:lnTo>
                  <a:lnTo>
                    <a:pt x="987" y="318"/>
                  </a:lnTo>
                  <a:lnTo>
                    <a:pt x="987" y="320"/>
                  </a:lnTo>
                  <a:lnTo>
                    <a:pt x="987" y="320"/>
                  </a:lnTo>
                  <a:lnTo>
                    <a:pt x="987" y="320"/>
                  </a:lnTo>
                  <a:close/>
                  <a:moveTo>
                    <a:pt x="992" y="318"/>
                  </a:moveTo>
                  <a:lnTo>
                    <a:pt x="995" y="315"/>
                  </a:lnTo>
                  <a:lnTo>
                    <a:pt x="995" y="315"/>
                  </a:lnTo>
                  <a:lnTo>
                    <a:pt x="998" y="315"/>
                  </a:lnTo>
                  <a:lnTo>
                    <a:pt x="998" y="315"/>
                  </a:lnTo>
                  <a:lnTo>
                    <a:pt x="995" y="315"/>
                  </a:lnTo>
                  <a:lnTo>
                    <a:pt x="992" y="315"/>
                  </a:lnTo>
                  <a:lnTo>
                    <a:pt x="992" y="315"/>
                  </a:lnTo>
                  <a:lnTo>
                    <a:pt x="992" y="318"/>
                  </a:lnTo>
                  <a:lnTo>
                    <a:pt x="992" y="318"/>
                  </a:lnTo>
                  <a:lnTo>
                    <a:pt x="992" y="318"/>
                  </a:lnTo>
                  <a:lnTo>
                    <a:pt x="992" y="318"/>
                  </a:lnTo>
                  <a:close/>
                  <a:moveTo>
                    <a:pt x="1099" y="109"/>
                  </a:moveTo>
                  <a:lnTo>
                    <a:pt x="1099" y="107"/>
                  </a:lnTo>
                  <a:lnTo>
                    <a:pt x="1099" y="104"/>
                  </a:lnTo>
                  <a:lnTo>
                    <a:pt x="1099" y="101"/>
                  </a:lnTo>
                  <a:lnTo>
                    <a:pt x="1102" y="101"/>
                  </a:lnTo>
                  <a:lnTo>
                    <a:pt x="1102" y="101"/>
                  </a:lnTo>
                  <a:lnTo>
                    <a:pt x="1099" y="101"/>
                  </a:lnTo>
                  <a:lnTo>
                    <a:pt x="1099" y="104"/>
                  </a:lnTo>
                  <a:lnTo>
                    <a:pt x="1099" y="107"/>
                  </a:lnTo>
                  <a:lnTo>
                    <a:pt x="1099" y="109"/>
                  </a:lnTo>
                  <a:lnTo>
                    <a:pt x="1099" y="112"/>
                  </a:lnTo>
                  <a:lnTo>
                    <a:pt x="1099" y="112"/>
                  </a:lnTo>
                  <a:lnTo>
                    <a:pt x="1099" y="115"/>
                  </a:lnTo>
                  <a:lnTo>
                    <a:pt x="1099" y="109"/>
                  </a:lnTo>
                  <a:lnTo>
                    <a:pt x="1099" y="109"/>
                  </a:lnTo>
                  <a:close/>
                  <a:moveTo>
                    <a:pt x="1102" y="841"/>
                  </a:moveTo>
                  <a:lnTo>
                    <a:pt x="1102" y="844"/>
                  </a:lnTo>
                  <a:lnTo>
                    <a:pt x="1102" y="841"/>
                  </a:lnTo>
                  <a:lnTo>
                    <a:pt x="1102" y="841"/>
                  </a:lnTo>
                  <a:lnTo>
                    <a:pt x="1102" y="841"/>
                  </a:lnTo>
                  <a:lnTo>
                    <a:pt x="1102" y="841"/>
                  </a:lnTo>
                  <a:lnTo>
                    <a:pt x="1102" y="841"/>
                  </a:lnTo>
                  <a:lnTo>
                    <a:pt x="1102" y="841"/>
                  </a:lnTo>
                  <a:lnTo>
                    <a:pt x="1102" y="841"/>
                  </a:lnTo>
                  <a:lnTo>
                    <a:pt x="1102" y="841"/>
                  </a:lnTo>
                  <a:lnTo>
                    <a:pt x="1102" y="841"/>
                  </a:lnTo>
                  <a:lnTo>
                    <a:pt x="1102" y="841"/>
                  </a:lnTo>
                  <a:lnTo>
                    <a:pt x="1102" y="841"/>
                  </a:lnTo>
                  <a:lnTo>
                    <a:pt x="1102" y="841"/>
                  </a:lnTo>
                  <a:lnTo>
                    <a:pt x="1102" y="841"/>
                  </a:lnTo>
                  <a:close/>
                  <a:moveTo>
                    <a:pt x="1609" y="83"/>
                  </a:moveTo>
                  <a:lnTo>
                    <a:pt x="1609" y="83"/>
                  </a:lnTo>
                  <a:lnTo>
                    <a:pt x="1609" y="83"/>
                  </a:lnTo>
                  <a:lnTo>
                    <a:pt x="1611" y="83"/>
                  </a:lnTo>
                  <a:lnTo>
                    <a:pt x="1614" y="83"/>
                  </a:lnTo>
                  <a:lnTo>
                    <a:pt x="1617" y="85"/>
                  </a:lnTo>
                  <a:lnTo>
                    <a:pt x="1617" y="88"/>
                  </a:lnTo>
                  <a:lnTo>
                    <a:pt x="1619" y="88"/>
                  </a:lnTo>
                  <a:lnTo>
                    <a:pt x="1619" y="88"/>
                  </a:lnTo>
                  <a:lnTo>
                    <a:pt x="1617" y="85"/>
                  </a:lnTo>
                  <a:lnTo>
                    <a:pt x="1617" y="85"/>
                  </a:lnTo>
                  <a:lnTo>
                    <a:pt x="1614" y="83"/>
                  </a:lnTo>
                  <a:lnTo>
                    <a:pt x="1606" y="80"/>
                  </a:lnTo>
                  <a:lnTo>
                    <a:pt x="1606" y="80"/>
                  </a:lnTo>
                  <a:lnTo>
                    <a:pt x="1606" y="83"/>
                  </a:lnTo>
                  <a:lnTo>
                    <a:pt x="1609" y="83"/>
                  </a:lnTo>
                  <a:close/>
                  <a:moveTo>
                    <a:pt x="1136" y="61"/>
                  </a:moveTo>
                  <a:lnTo>
                    <a:pt x="1144" y="64"/>
                  </a:lnTo>
                  <a:lnTo>
                    <a:pt x="1136" y="61"/>
                  </a:lnTo>
                  <a:lnTo>
                    <a:pt x="1134" y="61"/>
                  </a:lnTo>
                  <a:lnTo>
                    <a:pt x="1134" y="64"/>
                  </a:lnTo>
                  <a:lnTo>
                    <a:pt x="1134" y="64"/>
                  </a:lnTo>
                  <a:lnTo>
                    <a:pt x="1134" y="61"/>
                  </a:lnTo>
                  <a:lnTo>
                    <a:pt x="1136" y="61"/>
                  </a:lnTo>
                  <a:close/>
                  <a:moveTo>
                    <a:pt x="1115" y="83"/>
                  </a:moveTo>
                  <a:lnTo>
                    <a:pt x="1115" y="80"/>
                  </a:lnTo>
                  <a:lnTo>
                    <a:pt x="1118" y="77"/>
                  </a:lnTo>
                  <a:lnTo>
                    <a:pt x="1118" y="77"/>
                  </a:lnTo>
                  <a:lnTo>
                    <a:pt x="1118" y="77"/>
                  </a:lnTo>
                  <a:lnTo>
                    <a:pt x="1118" y="77"/>
                  </a:lnTo>
                  <a:lnTo>
                    <a:pt x="1115" y="77"/>
                  </a:lnTo>
                  <a:lnTo>
                    <a:pt x="1115" y="80"/>
                  </a:lnTo>
                  <a:lnTo>
                    <a:pt x="1115" y="80"/>
                  </a:lnTo>
                  <a:lnTo>
                    <a:pt x="1112" y="83"/>
                  </a:lnTo>
                  <a:lnTo>
                    <a:pt x="1110" y="85"/>
                  </a:lnTo>
                  <a:lnTo>
                    <a:pt x="1112" y="83"/>
                  </a:lnTo>
                  <a:lnTo>
                    <a:pt x="1115" y="83"/>
                  </a:lnTo>
                  <a:close/>
                  <a:moveTo>
                    <a:pt x="1120" y="75"/>
                  </a:moveTo>
                  <a:lnTo>
                    <a:pt x="1120" y="72"/>
                  </a:lnTo>
                  <a:lnTo>
                    <a:pt x="1123" y="69"/>
                  </a:lnTo>
                  <a:lnTo>
                    <a:pt x="1128" y="67"/>
                  </a:lnTo>
                  <a:lnTo>
                    <a:pt x="1126" y="67"/>
                  </a:lnTo>
                  <a:lnTo>
                    <a:pt x="1120" y="72"/>
                  </a:lnTo>
                  <a:lnTo>
                    <a:pt x="1120" y="72"/>
                  </a:lnTo>
                  <a:lnTo>
                    <a:pt x="1118" y="75"/>
                  </a:lnTo>
                  <a:lnTo>
                    <a:pt x="1118" y="75"/>
                  </a:lnTo>
                  <a:lnTo>
                    <a:pt x="1120" y="75"/>
                  </a:lnTo>
                  <a:close/>
                  <a:moveTo>
                    <a:pt x="1104" y="93"/>
                  </a:moveTo>
                  <a:lnTo>
                    <a:pt x="1104" y="93"/>
                  </a:lnTo>
                  <a:lnTo>
                    <a:pt x="1110" y="88"/>
                  </a:lnTo>
                  <a:lnTo>
                    <a:pt x="1110" y="85"/>
                  </a:lnTo>
                  <a:lnTo>
                    <a:pt x="1104" y="91"/>
                  </a:lnTo>
                  <a:lnTo>
                    <a:pt x="1104" y="93"/>
                  </a:lnTo>
                  <a:lnTo>
                    <a:pt x="1104" y="93"/>
                  </a:lnTo>
                  <a:lnTo>
                    <a:pt x="1102" y="101"/>
                  </a:lnTo>
                  <a:lnTo>
                    <a:pt x="1102" y="99"/>
                  </a:lnTo>
                  <a:lnTo>
                    <a:pt x="1104" y="93"/>
                  </a:lnTo>
                  <a:close/>
                  <a:moveTo>
                    <a:pt x="971" y="326"/>
                  </a:moveTo>
                  <a:lnTo>
                    <a:pt x="974" y="326"/>
                  </a:lnTo>
                  <a:lnTo>
                    <a:pt x="976" y="323"/>
                  </a:lnTo>
                  <a:lnTo>
                    <a:pt x="976" y="323"/>
                  </a:lnTo>
                  <a:lnTo>
                    <a:pt x="976" y="323"/>
                  </a:lnTo>
                  <a:lnTo>
                    <a:pt x="976" y="323"/>
                  </a:lnTo>
                  <a:lnTo>
                    <a:pt x="979" y="323"/>
                  </a:lnTo>
                  <a:lnTo>
                    <a:pt x="982" y="320"/>
                  </a:lnTo>
                  <a:lnTo>
                    <a:pt x="984" y="320"/>
                  </a:lnTo>
                  <a:lnTo>
                    <a:pt x="984" y="320"/>
                  </a:lnTo>
                  <a:lnTo>
                    <a:pt x="984" y="320"/>
                  </a:lnTo>
                  <a:lnTo>
                    <a:pt x="987" y="320"/>
                  </a:lnTo>
                  <a:lnTo>
                    <a:pt x="984" y="320"/>
                  </a:lnTo>
                  <a:lnTo>
                    <a:pt x="982" y="320"/>
                  </a:lnTo>
                  <a:lnTo>
                    <a:pt x="968" y="326"/>
                  </a:lnTo>
                  <a:lnTo>
                    <a:pt x="968" y="326"/>
                  </a:lnTo>
                  <a:lnTo>
                    <a:pt x="968" y="329"/>
                  </a:lnTo>
                  <a:lnTo>
                    <a:pt x="968" y="326"/>
                  </a:lnTo>
                  <a:lnTo>
                    <a:pt x="971" y="326"/>
                  </a:lnTo>
                  <a:close/>
                  <a:moveTo>
                    <a:pt x="1430" y="56"/>
                  </a:moveTo>
                  <a:lnTo>
                    <a:pt x="1433" y="59"/>
                  </a:lnTo>
                  <a:lnTo>
                    <a:pt x="1435" y="59"/>
                  </a:lnTo>
                  <a:lnTo>
                    <a:pt x="1435" y="59"/>
                  </a:lnTo>
                  <a:lnTo>
                    <a:pt x="1435" y="59"/>
                  </a:lnTo>
                  <a:lnTo>
                    <a:pt x="1438" y="59"/>
                  </a:lnTo>
                  <a:lnTo>
                    <a:pt x="1438" y="59"/>
                  </a:lnTo>
                  <a:lnTo>
                    <a:pt x="1435" y="59"/>
                  </a:lnTo>
                  <a:lnTo>
                    <a:pt x="1435" y="59"/>
                  </a:lnTo>
                  <a:lnTo>
                    <a:pt x="1435" y="59"/>
                  </a:lnTo>
                  <a:lnTo>
                    <a:pt x="1435" y="59"/>
                  </a:lnTo>
                  <a:lnTo>
                    <a:pt x="1435" y="59"/>
                  </a:lnTo>
                  <a:lnTo>
                    <a:pt x="1427" y="56"/>
                  </a:lnTo>
                  <a:lnTo>
                    <a:pt x="1427" y="56"/>
                  </a:lnTo>
                  <a:lnTo>
                    <a:pt x="1427" y="56"/>
                  </a:lnTo>
                  <a:lnTo>
                    <a:pt x="1427" y="56"/>
                  </a:lnTo>
                  <a:lnTo>
                    <a:pt x="1427" y="56"/>
                  </a:lnTo>
                  <a:lnTo>
                    <a:pt x="1430" y="56"/>
                  </a:lnTo>
                  <a:close/>
                  <a:moveTo>
                    <a:pt x="942" y="598"/>
                  </a:moveTo>
                  <a:lnTo>
                    <a:pt x="942" y="598"/>
                  </a:lnTo>
                  <a:lnTo>
                    <a:pt x="942" y="598"/>
                  </a:lnTo>
                  <a:lnTo>
                    <a:pt x="942" y="598"/>
                  </a:lnTo>
                  <a:lnTo>
                    <a:pt x="939" y="601"/>
                  </a:lnTo>
                  <a:lnTo>
                    <a:pt x="939" y="601"/>
                  </a:lnTo>
                  <a:lnTo>
                    <a:pt x="939" y="601"/>
                  </a:lnTo>
                  <a:lnTo>
                    <a:pt x="939" y="601"/>
                  </a:lnTo>
                  <a:lnTo>
                    <a:pt x="942" y="601"/>
                  </a:lnTo>
                  <a:lnTo>
                    <a:pt x="942" y="601"/>
                  </a:lnTo>
                  <a:lnTo>
                    <a:pt x="942" y="601"/>
                  </a:lnTo>
                  <a:lnTo>
                    <a:pt x="942" y="601"/>
                  </a:lnTo>
                  <a:lnTo>
                    <a:pt x="942" y="601"/>
                  </a:lnTo>
                  <a:lnTo>
                    <a:pt x="942" y="601"/>
                  </a:lnTo>
                  <a:lnTo>
                    <a:pt x="942" y="601"/>
                  </a:lnTo>
                  <a:lnTo>
                    <a:pt x="942" y="601"/>
                  </a:lnTo>
                  <a:lnTo>
                    <a:pt x="942" y="601"/>
                  </a:lnTo>
                  <a:lnTo>
                    <a:pt x="942" y="601"/>
                  </a:lnTo>
                  <a:lnTo>
                    <a:pt x="942" y="601"/>
                  </a:lnTo>
                  <a:lnTo>
                    <a:pt x="942" y="598"/>
                  </a:lnTo>
                  <a:lnTo>
                    <a:pt x="942" y="598"/>
                  </a:lnTo>
                  <a:lnTo>
                    <a:pt x="942" y="598"/>
                  </a:lnTo>
                  <a:close/>
                  <a:moveTo>
                    <a:pt x="939" y="609"/>
                  </a:moveTo>
                  <a:lnTo>
                    <a:pt x="939" y="609"/>
                  </a:lnTo>
                  <a:lnTo>
                    <a:pt x="939" y="612"/>
                  </a:lnTo>
                  <a:lnTo>
                    <a:pt x="939" y="612"/>
                  </a:lnTo>
                  <a:lnTo>
                    <a:pt x="939" y="612"/>
                  </a:lnTo>
                  <a:lnTo>
                    <a:pt x="939" y="609"/>
                  </a:lnTo>
                  <a:lnTo>
                    <a:pt x="939" y="606"/>
                  </a:lnTo>
                  <a:lnTo>
                    <a:pt x="939" y="604"/>
                  </a:lnTo>
                  <a:lnTo>
                    <a:pt x="942" y="604"/>
                  </a:lnTo>
                  <a:lnTo>
                    <a:pt x="939" y="604"/>
                  </a:lnTo>
                  <a:lnTo>
                    <a:pt x="939" y="606"/>
                  </a:lnTo>
                  <a:lnTo>
                    <a:pt x="939" y="609"/>
                  </a:lnTo>
                  <a:close/>
                  <a:moveTo>
                    <a:pt x="976" y="566"/>
                  </a:moveTo>
                  <a:lnTo>
                    <a:pt x="976" y="566"/>
                  </a:lnTo>
                  <a:lnTo>
                    <a:pt x="976" y="566"/>
                  </a:lnTo>
                  <a:lnTo>
                    <a:pt x="979" y="566"/>
                  </a:lnTo>
                  <a:lnTo>
                    <a:pt x="976" y="566"/>
                  </a:lnTo>
                  <a:close/>
                  <a:moveTo>
                    <a:pt x="1118" y="991"/>
                  </a:moveTo>
                  <a:lnTo>
                    <a:pt x="1118" y="991"/>
                  </a:lnTo>
                  <a:lnTo>
                    <a:pt x="1118" y="991"/>
                  </a:lnTo>
                  <a:lnTo>
                    <a:pt x="1118" y="991"/>
                  </a:lnTo>
                  <a:lnTo>
                    <a:pt x="1118" y="991"/>
                  </a:lnTo>
                  <a:lnTo>
                    <a:pt x="1118" y="991"/>
                  </a:lnTo>
                  <a:lnTo>
                    <a:pt x="1118" y="991"/>
                  </a:lnTo>
                  <a:close/>
                  <a:moveTo>
                    <a:pt x="1110" y="860"/>
                  </a:moveTo>
                  <a:lnTo>
                    <a:pt x="1110" y="860"/>
                  </a:lnTo>
                  <a:lnTo>
                    <a:pt x="1110" y="858"/>
                  </a:lnTo>
                  <a:lnTo>
                    <a:pt x="1107" y="858"/>
                  </a:lnTo>
                  <a:lnTo>
                    <a:pt x="1107" y="858"/>
                  </a:lnTo>
                  <a:lnTo>
                    <a:pt x="1107" y="858"/>
                  </a:lnTo>
                  <a:lnTo>
                    <a:pt x="1107" y="858"/>
                  </a:lnTo>
                  <a:lnTo>
                    <a:pt x="1107" y="858"/>
                  </a:lnTo>
                  <a:lnTo>
                    <a:pt x="1107" y="860"/>
                  </a:lnTo>
                  <a:lnTo>
                    <a:pt x="1110" y="860"/>
                  </a:lnTo>
                  <a:close/>
                  <a:moveTo>
                    <a:pt x="1120" y="988"/>
                  </a:moveTo>
                  <a:lnTo>
                    <a:pt x="1120" y="988"/>
                  </a:lnTo>
                  <a:lnTo>
                    <a:pt x="1120" y="988"/>
                  </a:lnTo>
                  <a:lnTo>
                    <a:pt x="1120" y="988"/>
                  </a:lnTo>
                  <a:lnTo>
                    <a:pt x="1120" y="988"/>
                  </a:lnTo>
                  <a:lnTo>
                    <a:pt x="1120" y="991"/>
                  </a:lnTo>
                  <a:lnTo>
                    <a:pt x="1120" y="991"/>
                  </a:lnTo>
                  <a:lnTo>
                    <a:pt x="1120" y="991"/>
                  </a:lnTo>
                  <a:lnTo>
                    <a:pt x="1120" y="988"/>
                  </a:lnTo>
                  <a:close/>
                  <a:moveTo>
                    <a:pt x="982" y="566"/>
                  </a:moveTo>
                  <a:lnTo>
                    <a:pt x="982" y="566"/>
                  </a:lnTo>
                  <a:lnTo>
                    <a:pt x="979" y="566"/>
                  </a:lnTo>
                  <a:lnTo>
                    <a:pt x="979" y="566"/>
                  </a:lnTo>
                  <a:lnTo>
                    <a:pt x="979" y="566"/>
                  </a:lnTo>
                  <a:lnTo>
                    <a:pt x="979" y="566"/>
                  </a:lnTo>
                  <a:lnTo>
                    <a:pt x="979" y="566"/>
                  </a:lnTo>
                  <a:lnTo>
                    <a:pt x="979" y="566"/>
                  </a:lnTo>
                  <a:lnTo>
                    <a:pt x="982" y="569"/>
                  </a:lnTo>
                  <a:lnTo>
                    <a:pt x="982" y="569"/>
                  </a:lnTo>
                  <a:lnTo>
                    <a:pt x="982" y="566"/>
                  </a:lnTo>
                  <a:lnTo>
                    <a:pt x="982" y="566"/>
                  </a:lnTo>
                  <a:lnTo>
                    <a:pt x="982" y="566"/>
                  </a:lnTo>
                  <a:close/>
                  <a:moveTo>
                    <a:pt x="982" y="566"/>
                  </a:moveTo>
                  <a:lnTo>
                    <a:pt x="982" y="566"/>
                  </a:lnTo>
                  <a:lnTo>
                    <a:pt x="982" y="566"/>
                  </a:lnTo>
                  <a:lnTo>
                    <a:pt x="982" y="566"/>
                  </a:lnTo>
                  <a:lnTo>
                    <a:pt x="982" y="566"/>
                  </a:lnTo>
                  <a:lnTo>
                    <a:pt x="982" y="566"/>
                  </a:lnTo>
                  <a:lnTo>
                    <a:pt x="982" y="566"/>
                  </a:lnTo>
                  <a:close/>
                  <a:moveTo>
                    <a:pt x="982" y="572"/>
                  </a:moveTo>
                  <a:lnTo>
                    <a:pt x="979" y="572"/>
                  </a:lnTo>
                  <a:lnTo>
                    <a:pt x="979" y="572"/>
                  </a:lnTo>
                  <a:lnTo>
                    <a:pt x="979" y="572"/>
                  </a:lnTo>
                  <a:lnTo>
                    <a:pt x="979" y="572"/>
                  </a:lnTo>
                  <a:lnTo>
                    <a:pt x="982" y="572"/>
                  </a:lnTo>
                  <a:lnTo>
                    <a:pt x="982" y="572"/>
                  </a:lnTo>
                  <a:lnTo>
                    <a:pt x="982" y="572"/>
                  </a:lnTo>
                  <a:lnTo>
                    <a:pt x="982" y="572"/>
                  </a:lnTo>
                  <a:lnTo>
                    <a:pt x="982" y="572"/>
                  </a:lnTo>
                  <a:lnTo>
                    <a:pt x="982" y="572"/>
                  </a:lnTo>
                  <a:close/>
                  <a:moveTo>
                    <a:pt x="1206" y="1004"/>
                  </a:moveTo>
                  <a:lnTo>
                    <a:pt x="1206" y="1004"/>
                  </a:lnTo>
                  <a:lnTo>
                    <a:pt x="1206" y="1002"/>
                  </a:lnTo>
                  <a:lnTo>
                    <a:pt x="1203" y="1002"/>
                  </a:lnTo>
                  <a:lnTo>
                    <a:pt x="1200" y="1002"/>
                  </a:lnTo>
                  <a:lnTo>
                    <a:pt x="1198" y="1002"/>
                  </a:lnTo>
                  <a:lnTo>
                    <a:pt x="1198" y="1002"/>
                  </a:lnTo>
                  <a:lnTo>
                    <a:pt x="1195" y="1004"/>
                  </a:lnTo>
                  <a:lnTo>
                    <a:pt x="1195" y="1004"/>
                  </a:lnTo>
                  <a:lnTo>
                    <a:pt x="1195" y="1004"/>
                  </a:lnTo>
                  <a:lnTo>
                    <a:pt x="1195" y="1004"/>
                  </a:lnTo>
                  <a:lnTo>
                    <a:pt x="1195" y="1004"/>
                  </a:lnTo>
                  <a:lnTo>
                    <a:pt x="1195" y="1007"/>
                  </a:lnTo>
                  <a:lnTo>
                    <a:pt x="1195" y="1007"/>
                  </a:lnTo>
                  <a:lnTo>
                    <a:pt x="1198" y="1007"/>
                  </a:lnTo>
                  <a:lnTo>
                    <a:pt x="1200" y="1004"/>
                  </a:lnTo>
                  <a:lnTo>
                    <a:pt x="1200" y="1007"/>
                  </a:lnTo>
                  <a:lnTo>
                    <a:pt x="1200" y="1007"/>
                  </a:lnTo>
                  <a:lnTo>
                    <a:pt x="1200" y="1007"/>
                  </a:lnTo>
                  <a:lnTo>
                    <a:pt x="1200" y="1007"/>
                  </a:lnTo>
                  <a:lnTo>
                    <a:pt x="1200" y="1004"/>
                  </a:lnTo>
                  <a:lnTo>
                    <a:pt x="1200" y="1004"/>
                  </a:lnTo>
                  <a:lnTo>
                    <a:pt x="1206" y="1004"/>
                  </a:lnTo>
                  <a:lnTo>
                    <a:pt x="1206" y="1004"/>
                  </a:lnTo>
                  <a:lnTo>
                    <a:pt x="1206" y="1007"/>
                  </a:lnTo>
                  <a:lnTo>
                    <a:pt x="1206" y="1007"/>
                  </a:lnTo>
                  <a:lnTo>
                    <a:pt x="1208" y="1007"/>
                  </a:lnTo>
                  <a:lnTo>
                    <a:pt x="1206" y="1004"/>
                  </a:lnTo>
                  <a:lnTo>
                    <a:pt x="1206" y="1004"/>
                  </a:lnTo>
                  <a:close/>
                  <a:moveTo>
                    <a:pt x="995" y="540"/>
                  </a:moveTo>
                  <a:lnTo>
                    <a:pt x="995" y="540"/>
                  </a:lnTo>
                  <a:lnTo>
                    <a:pt x="995" y="540"/>
                  </a:lnTo>
                  <a:lnTo>
                    <a:pt x="995" y="540"/>
                  </a:lnTo>
                  <a:lnTo>
                    <a:pt x="995" y="540"/>
                  </a:lnTo>
                  <a:lnTo>
                    <a:pt x="995" y="540"/>
                  </a:lnTo>
                  <a:lnTo>
                    <a:pt x="995" y="540"/>
                  </a:lnTo>
                  <a:lnTo>
                    <a:pt x="995" y="540"/>
                  </a:lnTo>
                  <a:lnTo>
                    <a:pt x="995" y="540"/>
                  </a:lnTo>
                  <a:lnTo>
                    <a:pt x="995" y="540"/>
                  </a:lnTo>
                  <a:close/>
                  <a:moveTo>
                    <a:pt x="1062" y="510"/>
                  </a:moveTo>
                  <a:lnTo>
                    <a:pt x="1059" y="510"/>
                  </a:lnTo>
                  <a:lnTo>
                    <a:pt x="1059" y="510"/>
                  </a:lnTo>
                  <a:lnTo>
                    <a:pt x="1059" y="510"/>
                  </a:lnTo>
                  <a:lnTo>
                    <a:pt x="1059" y="510"/>
                  </a:lnTo>
                  <a:lnTo>
                    <a:pt x="1059" y="510"/>
                  </a:lnTo>
                  <a:lnTo>
                    <a:pt x="1056" y="513"/>
                  </a:lnTo>
                  <a:lnTo>
                    <a:pt x="1059" y="513"/>
                  </a:lnTo>
                  <a:lnTo>
                    <a:pt x="1059" y="513"/>
                  </a:lnTo>
                  <a:lnTo>
                    <a:pt x="1059" y="516"/>
                  </a:lnTo>
                  <a:lnTo>
                    <a:pt x="1059" y="516"/>
                  </a:lnTo>
                  <a:lnTo>
                    <a:pt x="1062" y="516"/>
                  </a:lnTo>
                  <a:lnTo>
                    <a:pt x="1067" y="516"/>
                  </a:lnTo>
                  <a:lnTo>
                    <a:pt x="1067" y="516"/>
                  </a:lnTo>
                  <a:lnTo>
                    <a:pt x="1067" y="516"/>
                  </a:lnTo>
                  <a:lnTo>
                    <a:pt x="1067" y="516"/>
                  </a:lnTo>
                  <a:lnTo>
                    <a:pt x="1067" y="516"/>
                  </a:lnTo>
                  <a:lnTo>
                    <a:pt x="1067" y="516"/>
                  </a:lnTo>
                  <a:lnTo>
                    <a:pt x="1067" y="513"/>
                  </a:lnTo>
                  <a:lnTo>
                    <a:pt x="1067" y="513"/>
                  </a:lnTo>
                  <a:lnTo>
                    <a:pt x="1067" y="513"/>
                  </a:lnTo>
                  <a:lnTo>
                    <a:pt x="1067" y="513"/>
                  </a:lnTo>
                  <a:lnTo>
                    <a:pt x="1067" y="513"/>
                  </a:lnTo>
                  <a:lnTo>
                    <a:pt x="1067" y="513"/>
                  </a:lnTo>
                  <a:lnTo>
                    <a:pt x="1067" y="513"/>
                  </a:lnTo>
                  <a:lnTo>
                    <a:pt x="1067" y="513"/>
                  </a:lnTo>
                  <a:lnTo>
                    <a:pt x="1067" y="513"/>
                  </a:lnTo>
                  <a:lnTo>
                    <a:pt x="1067" y="510"/>
                  </a:lnTo>
                  <a:lnTo>
                    <a:pt x="1067" y="510"/>
                  </a:lnTo>
                  <a:lnTo>
                    <a:pt x="1067" y="510"/>
                  </a:lnTo>
                  <a:lnTo>
                    <a:pt x="1067" y="510"/>
                  </a:lnTo>
                  <a:lnTo>
                    <a:pt x="1064" y="510"/>
                  </a:lnTo>
                  <a:lnTo>
                    <a:pt x="1064" y="510"/>
                  </a:lnTo>
                  <a:lnTo>
                    <a:pt x="1064" y="510"/>
                  </a:lnTo>
                  <a:lnTo>
                    <a:pt x="1064" y="510"/>
                  </a:lnTo>
                  <a:lnTo>
                    <a:pt x="1062" y="510"/>
                  </a:lnTo>
                  <a:lnTo>
                    <a:pt x="1062" y="510"/>
                  </a:lnTo>
                  <a:lnTo>
                    <a:pt x="1062" y="510"/>
                  </a:lnTo>
                  <a:lnTo>
                    <a:pt x="1062" y="510"/>
                  </a:lnTo>
                  <a:lnTo>
                    <a:pt x="1062" y="510"/>
                  </a:lnTo>
                  <a:close/>
                  <a:moveTo>
                    <a:pt x="995" y="534"/>
                  </a:moveTo>
                  <a:lnTo>
                    <a:pt x="995" y="537"/>
                  </a:lnTo>
                  <a:lnTo>
                    <a:pt x="995" y="537"/>
                  </a:lnTo>
                  <a:lnTo>
                    <a:pt x="995" y="537"/>
                  </a:lnTo>
                  <a:lnTo>
                    <a:pt x="995" y="537"/>
                  </a:lnTo>
                  <a:lnTo>
                    <a:pt x="995" y="537"/>
                  </a:lnTo>
                  <a:lnTo>
                    <a:pt x="995" y="537"/>
                  </a:lnTo>
                  <a:lnTo>
                    <a:pt x="995" y="537"/>
                  </a:lnTo>
                  <a:lnTo>
                    <a:pt x="995" y="537"/>
                  </a:lnTo>
                  <a:lnTo>
                    <a:pt x="995" y="537"/>
                  </a:lnTo>
                  <a:lnTo>
                    <a:pt x="995" y="534"/>
                  </a:lnTo>
                  <a:close/>
                  <a:moveTo>
                    <a:pt x="979" y="572"/>
                  </a:moveTo>
                  <a:lnTo>
                    <a:pt x="979" y="572"/>
                  </a:lnTo>
                  <a:lnTo>
                    <a:pt x="979" y="572"/>
                  </a:lnTo>
                  <a:lnTo>
                    <a:pt x="979" y="572"/>
                  </a:lnTo>
                  <a:lnTo>
                    <a:pt x="979" y="572"/>
                  </a:lnTo>
                  <a:lnTo>
                    <a:pt x="979" y="572"/>
                  </a:lnTo>
                  <a:lnTo>
                    <a:pt x="979" y="572"/>
                  </a:lnTo>
                  <a:lnTo>
                    <a:pt x="979" y="572"/>
                  </a:lnTo>
                  <a:lnTo>
                    <a:pt x="979" y="572"/>
                  </a:lnTo>
                  <a:close/>
                  <a:moveTo>
                    <a:pt x="955" y="334"/>
                  </a:moveTo>
                  <a:lnTo>
                    <a:pt x="955" y="334"/>
                  </a:lnTo>
                  <a:lnTo>
                    <a:pt x="958" y="334"/>
                  </a:lnTo>
                  <a:lnTo>
                    <a:pt x="958" y="334"/>
                  </a:lnTo>
                  <a:lnTo>
                    <a:pt x="958" y="334"/>
                  </a:lnTo>
                  <a:lnTo>
                    <a:pt x="958" y="334"/>
                  </a:lnTo>
                  <a:lnTo>
                    <a:pt x="960" y="331"/>
                  </a:lnTo>
                  <a:lnTo>
                    <a:pt x="960" y="331"/>
                  </a:lnTo>
                  <a:lnTo>
                    <a:pt x="966" y="329"/>
                  </a:lnTo>
                  <a:lnTo>
                    <a:pt x="966" y="329"/>
                  </a:lnTo>
                  <a:lnTo>
                    <a:pt x="966" y="329"/>
                  </a:lnTo>
                  <a:lnTo>
                    <a:pt x="966" y="329"/>
                  </a:lnTo>
                  <a:lnTo>
                    <a:pt x="966" y="329"/>
                  </a:lnTo>
                  <a:lnTo>
                    <a:pt x="955" y="334"/>
                  </a:lnTo>
                  <a:lnTo>
                    <a:pt x="952" y="334"/>
                  </a:lnTo>
                  <a:lnTo>
                    <a:pt x="955" y="334"/>
                  </a:lnTo>
                  <a:lnTo>
                    <a:pt x="955" y="334"/>
                  </a:lnTo>
                  <a:close/>
                  <a:moveTo>
                    <a:pt x="939" y="345"/>
                  </a:moveTo>
                  <a:lnTo>
                    <a:pt x="939" y="342"/>
                  </a:lnTo>
                  <a:lnTo>
                    <a:pt x="942" y="342"/>
                  </a:lnTo>
                  <a:lnTo>
                    <a:pt x="939" y="342"/>
                  </a:lnTo>
                  <a:lnTo>
                    <a:pt x="939" y="342"/>
                  </a:lnTo>
                  <a:lnTo>
                    <a:pt x="942" y="339"/>
                  </a:lnTo>
                  <a:lnTo>
                    <a:pt x="944" y="339"/>
                  </a:lnTo>
                  <a:lnTo>
                    <a:pt x="944" y="339"/>
                  </a:lnTo>
                  <a:lnTo>
                    <a:pt x="944" y="339"/>
                  </a:lnTo>
                  <a:lnTo>
                    <a:pt x="939" y="339"/>
                  </a:lnTo>
                  <a:lnTo>
                    <a:pt x="939" y="339"/>
                  </a:lnTo>
                  <a:lnTo>
                    <a:pt x="939" y="342"/>
                  </a:lnTo>
                  <a:lnTo>
                    <a:pt x="939" y="342"/>
                  </a:lnTo>
                  <a:lnTo>
                    <a:pt x="939" y="342"/>
                  </a:lnTo>
                  <a:lnTo>
                    <a:pt x="939" y="342"/>
                  </a:lnTo>
                  <a:lnTo>
                    <a:pt x="939" y="345"/>
                  </a:lnTo>
                  <a:close/>
                  <a:moveTo>
                    <a:pt x="1374" y="866"/>
                  </a:moveTo>
                  <a:lnTo>
                    <a:pt x="1374" y="866"/>
                  </a:lnTo>
                  <a:lnTo>
                    <a:pt x="1374" y="866"/>
                  </a:lnTo>
                  <a:lnTo>
                    <a:pt x="1371" y="866"/>
                  </a:lnTo>
                  <a:lnTo>
                    <a:pt x="1371" y="868"/>
                  </a:lnTo>
                  <a:lnTo>
                    <a:pt x="1371" y="868"/>
                  </a:lnTo>
                  <a:lnTo>
                    <a:pt x="1369" y="868"/>
                  </a:lnTo>
                  <a:lnTo>
                    <a:pt x="1369" y="868"/>
                  </a:lnTo>
                  <a:lnTo>
                    <a:pt x="1369" y="871"/>
                  </a:lnTo>
                  <a:lnTo>
                    <a:pt x="1369" y="871"/>
                  </a:lnTo>
                  <a:lnTo>
                    <a:pt x="1366" y="871"/>
                  </a:lnTo>
                  <a:lnTo>
                    <a:pt x="1366" y="871"/>
                  </a:lnTo>
                  <a:lnTo>
                    <a:pt x="1366" y="871"/>
                  </a:lnTo>
                  <a:lnTo>
                    <a:pt x="1366" y="874"/>
                  </a:lnTo>
                  <a:lnTo>
                    <a:pt x="1366" y="874"/>
                  </a:lnTo>
                  <a:lnTo>
                    <a:pt x="1366" y="874"/>
                  </a:lnTo>
                  <a:lnTo>
                    <a:pt x="1371" y="876"/>
                  </a:lnTo>
                  <a:lnTo>
                    <a:pt x="1371" y="876"/>
                  </a:lnTo>
                  <a:lnTo>
                    <a:pt x="1371" y="876"/>
                  </a:lnTo>
                  <a:lnTo>
                    <a:pt x="1374" y="874"/>
                  </a:lnTo>
                  <a:lnTo>
                    <a:pt x="1377" y="871"/>
                  </a:lnTo>
                  <a:lnTo>
                    <a:pt x="1377" y="871"/>
                  </a:lnTo>
                  <a:lnTo>
                    <a:pt x="1377" y="868"/>
                  </a:lnTo>
                  <a:lnTo>
                    <a:pt x="1377" y="868"/>
                  </a:lnTo>
                  <a:lnTo>
                    <a:pt x="1377" y="868"/>
                  </a:lnTo>
                  <a:lnTo>
                    <a:pt x="1377" y="866"/>
                  </a:lnTo>
                  <a:lnTo>
                    <a:pt x="1377" y="866"/>
                  </a:lnTo>
                  <a:lnTo>
                    <a:pt x="1377" y="866"/>
                  </a:lnTo>
                  <a:lnTo>
                    <a:pt x="1377" y="866"/>
                  </a:lnTo>
                  <a:lnTo>
                    <a:pt x="1377" y="866"/>
                  </a:lnTo>
                  <a:lnTo>
                    <a:pt x="1374" y="866"/>
                  </a:lnTo>
                  <a:close/>
                  <a:moveTo>
                    <a:pt x="2108" y="900"/>
                  </a:moveTo>
                  <a:lnTo>
                    <a:pt x="2108" y="903"/>
                  </a:lnTo>
                  <a:lnTo>
                    <a:pt x="2108" y="903"/>
                  </a:lnTo>
                  <a:lnTo>
                    <a:pt x="2108" y="903"/>
                  </a:lnTo>
                  <a:lnTo>
                    <a:pt x="2108" y="906"/>
                  </a:lnTo>
                  <a:lnTo>
                    <a:pt x="2108" y="906"/>
                  </a:lnTo>
                  <a:lnTo>
                    <a:pt x="2108" y="906"/>
                  </a:lnTo>
                  <a:lnTo>
                    <a:pt x="2108" y="908"/>
                  </a:lnTo>
                  <a:lnTo>
                    <a:pt x="2110" y="908"/>
                  </a:lnTo>
                  <a:lnTo>
                    <a:pt x="2110" y="911"/>
                  </a:lnTo>
                  <a:lnTo>
                    <a:pt x="2110" y="911"/>
                  </a:lnTo>
                  <a:lnTo>
                    <a:pt x="2113" y="911"/>
                  </a:lnTo>
                  <a:lnTo>
                    <a:pt x="2113" y="914"/>
                  </a:lnTo>
                  <a:lnTo>
                    <a:pt x="2113" y="911"/>
                  </a:lnTo>
                  <a:lnTo>
                    <a:pt x="2113" y="911"/>
                  </a:lnTo>
                  <a:lnTo>
                    <a:pt x="2113" y="911"/>
                  </a:lnTo>
                  <a:lnTo>
                    <a:pt x="2113" y="911"/>
                  </a:lnTo>
                  <a:lnTo>
                    <a:pt x="2113" y="911"/>
                  </a:lnTo>
                  <a:lnTo>
                    <a:pt x="2116" y="911"/>
                  </a:lnTo>
                  <a:lnTo>
                    <a:pt x="2116" y="911"/>
                  </a:lnTo>
                  <a:lnTo>
                    <a:pt x="2116" y="911"/>
                  </a:lnTo>
                  <a:lnTo>
                    <a:pt x="2121" y="908"/>
                  </a:lnTo>
                  <a:lnTo>
                    <a:pt x="2121" y="911"/>
                  </a:lnTo>
                  <a:lnTo>
                    <a:pt x="2121" y="911"/>
                  </a:lnTo>
                  <a:lnTo>
                    <a:pt x="2121" y="911"/>
                  </a:lnTo>
                  <a:lnTo>
                    <a:pt x="2124" y="911"/>
                  </a:lnTo>
                  <a:lnTo>
                    <a:pt x="2124" y="911"/>
                  </a:lnTo>
                  <a:lnTo>
                    <a:pt x="2124" y="911"/>
                  </a:lnTo>
                  <a:lnTo>
                    <a:pt x="2124" y="914"/>
                  </a:lnTo>
                  <a:lnTo>
                    <a:pt x="2124" y="914"/>
                  </a:lnTo>
                  <a:lnTo>
                    <a:pt x="2124" y="914"/>
                  </a:lnTo>
                  <a:lnTo>
                    <a:pt x="2124" y="916"/>
                  </a:lnTo>
                  <a:lnTo>
                    <a:pt x="2124" y="916"/>
                  </a:lnTo>
                  <a:lnTo>
                    <a:pt x="2124" y="916"/>
                  </a:lnTo>
                  <a:lnTo>
                    <a:pt x="2126" y="916"/>
                  </a:lnTo>
                  <a:lnTo>
                    <a:pt x="2126" y="916"/>
                  </a:lnTo>
                  <a:lnTo>
                    <a:pt x="2126" y="916"/>
                  </a:lnTo>
                  <a:lnTo>
                    <a:pt x="2126" y="916"/>
                  </a:lnTo>
                  <a:lnTo>
                    <a:pt x="2129" y="916"/>
                  </a:lnTo>
                  <a:lnTo>
                    <a:pt x="2129" y="916"/>
                  </a:lnTo>
                  <a:lnTo>
                    <a:pt x="2129" y="916"/>
                  </a:lnTo>
                  <a:lnTo>
                    <a:pt x="2129" y="916"/>
                  </a:lnTo>
                  <a:lnTo>
                    <a:pt x="2129" y="916"/>
                  </a:lnTo>
                  <a:lnTo>
                    <a:pt x="2129" y="916"/>
                  </a:lnTo>
                  <a:lnTo>
                    <a:pt x="2132" y="916"/>
                  </a:lnTo>
                  <a:lnTo>
                    <a:pt x="2132" y="914"/>
                  </a:lnTo>
                  <a:lnTo>
                    <a:pt x="2132" y="914"/>
                  </a:lnTo>
                  <a:lnTo>
                    <a:pt x="2132" y="914"/>
                  </a:lnTo>
                  <a:lnTo>
                    <a:pt x="2132" y="914"/>
                  </a:lnTo>
                  <a:lnTo>
                    <a:pt x="2132" y="914"/>
                  </a:lnTo>
                  <a:lnTo>
                    <a:pt x="2132" y="914"/>
                  </a:lnTo>
                  <a:lnTo>
                    <a:pt x="2134" y="914"/>
                  </a:lnTo>
                  <a:lnTo>
                    <a:pt x="2134" y="914"/>
                  </a:lnTo>
                  <a:lnTo>
                    <a:pt x="2134" y="911"/>
                  </a:lnTo>
                  <a:lnTo>
                    <a:pt x="2132" y="911"/>
                  </a:lnTo>
                  <a:lnTo>
                    <a:pt x="2132" y="911"/>
                  </a:lnTo>
                  <a:lnTo>
                    <a:pt x="2132" y="911"/>
                  </a:lnTo>
                  <a:lnTo>
                    <a:pt x="2132" y="911"/>
                  </a:lnTo>
                  <a:lnTo>
                    <a:pt x="2132" y="908"/>
                  </a:lnTo>
                  <a:lnTo>
                    <a:pt x="2132" y="908"/>
                  </a:lnTo>
                  <a:lnTo>
                    <a:pt x="2129" y="908"/>
                  </a:lnTo>
                  <a:lnTo>
                    <a:pt x="2129" y="908"/>
                  </a:lnTo>
                  <a:lnTo>
                    <a:pt x="2129" y="908"/>
                  </a:lnTo>
                  <a:lnTo>
                    <a:pt x="2129" y="906"/>
                  </a:lnTo>
                  <a:lnTo>
                    <a:pt x="2129" y="906"/>
                  </a:lnTo>
                  <a:lnTo>
                    <a:pt x="2129" y="906"/>
                  </a:lnTo>
                  <a:lnTo>
                    <a:pt x="2129" y="906"/>
                  </a:lnTo>
                  <a:lnTo>
                    <a:pt x="2129" y="906"/>
                  </a:lnTo>
                  <a:lnTo>
                    <a:pt x="2129" y="906"/>
                  </a:lnTo>
                  <a:lnTo>
                    <a:pt x="2129" y="906"/>
                  </a:lnTo>
                  <a:lnTo>
                    <a:pt x="2132" y="906"/>
                  </a:lnTo>
                  <a:lnTo>
                    <a:pt x="2129" y="903"/>
                  </a:lnTo>
                  <a:lnTo>
                    <a:pt x="2132" y="903"/>
                  </a:lnTo>
                  <a:lnTo>
                    <a:pt x="2132" y="903"/>
                  </a:lnTo>
                  <a:lnTo>
                    <a:pt x="2132" y="903"/>
                  </a:lnTo>
                  <a:lnTo>
                    <a:pt x="2132" y="903"/>
                  </a:lnTo>
                  <a:lnTo>
                    <a:pt x="2132" y="903"/>
                  </a:lnTo>
                  <a:lnTo>
                    <a:pt x="2132" y="903"/>
                  </a:lnTo>
                  <a:lnTo>
                    <a:pt x="2129" y="900"/>
                  </a:lnTo>
                  <a:lnTo>
                    <a:pt x="2129" y="900"/>
                  </a:lnTo>
                  <a:lnTo>
                    <a:pt x="2126" y="900"/>
                  </a:lnTo>
                  <a:lnTo>
                    <a:pt x="2126" y="900"/>
                  </a:lnTo>
                  <a:lnTo>
                    <a:pt x="2124" y="900"/>
                  </a:lnTo>
                  <a:lnTo>
                    <a:pt x="2121" y="900"/>
                  </a:lnTo>
                  <a:lnTo>
                    <a:pt x="2121" y="898"/>
                  </a:lnTo>
                  <a:lnTo>
                    <a:pt x="2118" y="898"/>
                  </a:lnTo>
                  <a:lnTo>
                    <a:pt x="2118" y="900"/>
                  </a:lnTo>
                  <a:lnTo>
                    <a:pt x="2118" y="900"/>
                  </a:lnTo>
                  <a:lnTo>
                    <a:pt x="2116" y="903"/>
                  </a:lnTo>
                  <a:lnTo>
                    <a:pt x="2116" y="900"/>
                  </a:lnTo>
                  <a:lnTo>
                    <a:pt x="2116" y="900"/>
                  </a:lnTo>
                  <a:lnTo>
                    <a:pt x="2118" y="900"/>
                  </a:lnTo>
                  <a:lnTo>
                    <a:pt x="2118" y="898"/>
                  </a:lnTo>
                  <a:lnTo>
                    <a:pt x="2118" y="898"/>
                  </a:lnTo>
                  <a:lnTo>
                    <a:pt x="2118" y="898"/>
                  </a:lnTo>
                  <a:lnTo>
                    <a:pt x="2118" y="898"/>
                  </a:lnTo>
                  <a:lnTo>
                    <a:pt x="2118" y="895"/>
                  </a:lnTo>
                  <a:lnTo>
                    <a:pt x="2118" y="895"/>
                  </a:lnTo>
                  <a:lnTo>
                    <a:pt x="2118" y="895"/>
                  </a:lnTo>
                  <a:lnTo>
                    <a:pt x="2116" y="895"/>
                  </a:lnTo>
                  <a:lnTo>
                    <a:pt x="2116" y="892"/>
                  </a:lnTo>
                  <a:lnTo>
                    <a:pt x="2116" y="892"/>
                  </a:lnTo>
                  <a:lnTo>
                    <a:pt x="2116" y="892"/>
                  </a:lnTo>
                  <a:lnTo>
                    <a:pt x="2116" y="892"/>
                  </a:lnTo>
                  <a:lnTo>
                    <a:pt x="2116" y="890"/>
                  </a:lnTo>
                  <a:lnTo>
                    <a:pt x="2113" y="890"/>
                  </a:lnTo>
                  <a:lnTo>
                    <a:pt x="2110" y="892"/>
                  </a:lnTo>
                  <a:lnTo>
                    <a:pt x="2110" y="892"/>
                  </a:lnTo>
                  <a:lnTo>
                    <a:pt x="2110" y="892"/>
                  </a:lnTo>
                  <a:lnTo>
                    <a:pt x="2110" y="895"/>
                  </a:lnTo>
                  <a:lnTo>
                    <a:pt x="2110" y="895"/>
                  </a:lnTo>
                  <a:lnTo>
                    <a:pt x="2110" y="895"/>
                  </a:lnTo>
                  <a:lnTo>
                    <a:pt x="2110" y="895"/>
                  </a:lnTo>
                  <a:lnTo>
                    <a:pt x="2110" y="900"/>
                  </a:lnTo>
                  <a:lnTo>
                    <a:pt x="2110" y="900"/>
                  </a:lnTo>
                  <a:lnTo>
                    <a:pt x="2108" y="900"/>
                  </a:lnTo>
                  <a:close/>
                  <a:moveTo>
                    <a:pt x="1361" y="890"/>
                  </a:moveTo>
                  <a:lnTo>
                    <a:pt x="1363" y="890"/>
                  </a:lnTo>
                  <a:lnTo>
                    <a:pt x="1361" y="890"/>
                  </a:lnTo>
                  <a:lnTo>
                    <a:pt x="1361" y="887"/>
                  </a:lnTo>
                  <a:lnTo>
                    <a:pt x="1361" y="887"/>
                  </a:lnTo>
                  <a:lnTo>
                    <a:pt x="1361" y="887"/>
                  </a:lnTo>
                  <a:lnTo>
                    <a:pt x="1361" y="887"/>
                  </a:lnTo>
                  <a:lnTo>
                    <a:pt x="1361" y="887"/>
                  </a:lnTo>
                  <a:lnTo>
                    <a:pt x="1361" y="887"/>
                  </a:lnTo>
                  <a:lnTo>
                    <a:pt x="1361" y="887"/>
                  </a:lnTo>
                  <a:lnTo>
                    <a:pt x="1361" y="887"/>
                  </a:lnTo>
                  <a:lnTo>
                    <a:pt x="1361" y="887"/>
                  </a:lnTo>
                  <a:lnTo>
                    <a:pt x="1361" y="887"/>
                  </a:lnTo>
                  <a:lnTo>
                    <a:pt x="1361" y="887"/>
                  </a:lnTo>
                  <a:lnTo>
                    <a:pt x="1361" y="887"/>
                  </a:lnTo>
                  <a:lnTo>
                    <a:pt x="1358" y="887"/>
                  </a:lnTo>
                  <a:lnTo>
                    <a:pt x="1358" y="887"/>
                  </a:lnTo>
                  <a:lnTo>
                    <a:pt x="1358" y="887"/>
                  </a:lnTo>
                  <a:lnTo>
                    <a:pt x="1358" y="887"/>
                  </a:lnTo>
                  <a:lnTo>
                    <a:pt x="1358" y="887"/>
                  </a:lnTo>
                  <a:lnTo>
                    <a:pt x="1358" y="887"/>
                  </a:lnTo>
                  <a:lnTo>
                    <a:pt x="1358" y="887"/>
                  </a:lnTo>
                  <a:lnTo>
                    <a:pt x="1358" y="887"/>
                  </a:lnTo>
                  <a:lnTo>
                    <a:pt x="1361" y="890"/>
                  </a:lnTo>
                  <a:lnTo>
                    <a:pt x="1361" y="890"/>
                  </a:lnTo>
                  <a:lnTo>
                    <a:pt x="1361" y="890"/>
                  </a:lnTo>
                  <a:lnTo>
                    <a:pt x="1361" y="890"/>
                  </a:lnTo>
                  <a:lnTo>
                    <a:pt x="1361" y="890"/>
                  </a:lnTo>
                  <a:close/>
                  <a:moveTo>
                    <a:pt x="1395" y="890"/>
                  </a:moveTo>
                  <a:lnTo>
                    <a:pt x="1395" y="890"/>
                  </a:lnTo>
                  <a:lnTo>
                    <a:pt x="1393" y="895"/>
                  </a:lnTo>
                  <a:lnTo>
                    <a:pt x="1393" y="895"/>
                  </a:lnTo>
                  <a:lnTo>
                    <a:pt x="1395" y="895"/>
                  </a:lnTo>
                  <a:lnTo>
                    <a:pt x="1395" y="895"/>
                  </a:lnTo>
                  <a:lnTo>
                    <a:pt x="1395" y="895"/>
                  </a:lnTo>
                  <a:lnTo>
                    <a:pt x="1395" y="895"/>
                  </a:lnTo>
                  <a:lnTo>
                    <a:pt x="1395" y="895"/>
                  </a:lnTo>
                  <a:lnTo>
                    <a:pt x="1398" y="892"/>
                  </a:lnTo>
                  <a:lnTo>
                    <a:pt x="1398" y="892"/>
                  </a:lnTo>
                  <a:lnTo>
                    <a:pt x="1398" y="890"/>
                  </a:lnTo>
                  <a:lnTo>
                    <a:pt x="1395" y="890"/>
                  </a:lnTo>
                  <a:close/>
                  <a:moveTo>
                    <a:pt x="1385" y="748"/>
                  </a:moveTo>
                  <a:lnTo>
                    <a:pt x="1382" y="748"/>
                  </a:lnTo>
                  <a:lnTo>
                    <a:pt x="1382" y="748"/>
                  </a:lnTo>
                  <a:lnTo>
                    <a:pt x="1382" y="748"/>
                  </a:lnTo>
                  <a:lnTo>
                    <a:pt x="1382" y="748"/>
                  </a:lnTo>
                  <a:lnTo>
                    <a:pt x="1385" y="748"/>
                  </a:lnTo>
                  <a:lnTo>
                    <a:pt x="1385" y="748"/>
                  </a:lnTo>
                  <a:lnTo>
                    <a:pt x="1387" y="745"/>
                  </a:lnTo>
                  <a:lnTo>
                    <a:pt x="1387" y="745"/>
                  </a:lnTo>
                  <a:lnTo>
                    <a:pt x="1387" y="745"/>
                  </a:lnTo>
                  <a:lnTo>
                    <a:pt x="1387" y="743"/>
                  </a:lnTo>
                  <a:lnTo>
                    <a:pt x="1387" y="743"/>
                  </a:lnTo>
                  <a:lnTo>
                    <a:pt x="1387" y="743"/>
                  </a:lnTo>
                  <a:lnTo>
                    <a:pt x="1387" y="743"/>
                  </a:lnTo>
                  <a:lnTo>
                    <a:pt x="1387" y="743"/>
                  </a:lnTo>
                  <a:lnTo>
                    <a:pt x="1390" y="740"/>
                  </a:lnTo>
                  <a:lnTo>
                    <a:pt x="1390" y="740"/>
                  </a:lnTo>
                  <a:lnTo>
                    <a:pt x="1390" y="740"/>
                  </a:lnTo>
                  <a:lnTo>
                    <a:pt x="1390" y="740"/>
                  </a:lnTo>
                  <a:lnTo>
                    <a:pt x="1390" y="740"/>
                  </a:lnTo>
                  <a:lnTo>
                    <a:pt x="1390" y="737"/>
                  </a:lnTo>
                  <a:lnTo>
                    <a:pt x="1390" y="737"/>
                  </a:lnTo>
                  <a:lnTo>
                    <a:pt x="1387" y="737"/>
                  </a:lnTo>
                  <a:lnTo>
                    <a:pt x="1387" y="737"/>
                  </a:lnTo>
                  <a:lnTo>
                    <a:pt x="1387" y="737"/>
                  </a:lnTo>
                  <a:lnTo>
                    <a:pt x="1387" y="737"/>
                  </a:lnTo>
                  <a:lnTo>
                    <a:pt x="1387" y="740"/>
                  </a:lnTo>
                  <a:lnTo>
                    <a:pt x="1387" y="740"/>
                  </a:lnTo>
                  <a:lnTo>
                    <a:pt x="1387" y="740"/>
                  </a:lnTo>
                  <a:lnTo>
                    <a:pt x="1387" y="743"/>
                  </a:lnTo>
                  <a:lnTo>
                    <a:pt x="1385" y="743"/>
                  </a:lnTo>
                  <a:lnTo>
                    <a:pt x="1385" y="743"/>
                  </a:lnTo>
                  <a:lnTo>
                    <a:pt x="1385" y="745"/>
                  </a:lnTo>
                  <a:lnTo>
                    <a:pt x="1385" y="745"/>
                  </a:lnTo>
                  <a:lnTo>
                    <a:pt x="1385" y="745"/>
                  </a:lnTo>
                  <a:lnTo>
                    <a:pt x="1385" y="745"/>
                  </a:lnTo>
                  <a:lnTo>
                    <a:pt x="1385" y="745"/>
                  </a:lnTo>
                  <a:lnTo>
                    <a:pt x="1385" y="748"/>
                  </a:lnTo>
                  <a:lnTo>
                    <a:pt x="1385" y="748"/>
                  </a:lnTo>
                  <a:close/>
                  <a:moveTo>
                    <a:pt x="1390" y="887"/>
                  </a:moveTo>
                  <a:lnTo>
                    <a:pt x="1390" y="884"/>
                  </a:lnTo>
                  <a:lnTo>
                    <a:pt x="1390" y="884"/>
                  </a:lnTo>
                  <a:lnTo>
                    <a:pt x="1390" y="884"/>
                  </a:lnTo>
                  <a:lnTo>
                    <a:pt x="1390" y="884"/>
                  </a:lnTo>
                  <a:lnTo>
                    <a:pt x="1390" y="884"/>
                  </a:lnTo>
                  <a:lnTo>
                    <a:pt x="1390" y="887"/>
                  </a:lnTo>
                  <a:lnTo>
                    <a:pt x="1390" y="887"/>
                  </a:lnTo>
                  <a:lnTo>
                    <a:pt x="1387" y="890"/>
                  </a:lnTo>
                  <a:lnTo>
                    <a:pt x="1387" y="890"/>
                  </a:lnTo>
                  <a:lnTo>
                    <a:pt x="1387" y="887"/>
                  </a:lnTo>
                  <a:lnTo>
                    <a:pt x="1387" y="887"/>
                  </a:lnTo>
                  <a:lnTo>
                    <a:pt x="1387" y="887"/>
                  </a:lnTo>
                  <a:lnTo>
                    <a:pt x="1385" y="887"/>
                  </a:lnTo>
                  <a:lnTo>
                    <a:pt x="1385" y="890"/>
                  </a:lnTo>
                  <a:lnTo>
                    <a:pt x="1385" y="890"/>
                  </a:lnTo>
                  <a:lnTo>
                    <a:pt x="1385" y="892"/>
                  </a:lnTo>
                  <a:lnTo>
                    <a:pt x="1385" y="892"/>
                  </a:lnTo>
                  <a:lnTo>
                    <a:pt x="1385" y="890"/>
                  </a:lnTo>
                  <a:lnTo>
                    <a:pt x="1385" y="887"/>
                  </a:lnTo>
                  <a:lnTo>
                    <a:pt x="1387" y="884"/>
                  </a:lnTo>
                  <a:lnTo>
                    <a:pt x="1387" y="882"/>
                  </a:lnTo>
                  <a:lnTo>
                    <a:pt x="1387" y="882"/>
                  </a:lnTo>
                  <a:lnTo>
                    <a:pt x="1385" y="882"/>
                  </a:lnTo>
                  <a:lnTo>
                    <a:pt x="1385" y="882"/>
                  </a:lnTo>
                  <a:lnTo>
                    <a:pt x="1385" y="882"/>
                  </a:lnTo>
                  <a:lnTo>
                    <a:pt x="1385" y="882"/>
                  </a:lnTo>
                  <a:lnTo>
                    <a:pt x="1382" y="884"/>
                  </a:lnTo>
                  <a:lnTo>
                    <a:pt x="1382" y="884"/>
                  </a:lnTo>
                  <a:lnTo>
                    <a:pt x="1382" y="884"/>
                  </a:lnTo>
                  <a:lnTo>
                    <a:pt x="1379" y="884"/>
                  </a:lnTo>
                  <a:lnTo>
                    <a:pt x="1379" y="882"/>
                  </a:lnTo>
                  <a:lnTo>
                    <a:pt x="1379" y="882"/>
                  </a:lnTo>
                  <a:lnTo>
                    <a:pt x="1382" y="882"/>
                  </a:lnTo>
                  <a:lnTo>
                    <a:pt x="1379" y="882"/>
                  </a:lnTo>
                  <a:lnTo>
                    <a:pt x="1379" y="882"/>
                  </a:lnTo>
                  <a:lnTo>
                    <a:pt x="1379" y="882"/>
                  </a:lnTo>
                  <a:lnTo>
                    <a:pt x="1379" y="882"/>
                  </a:lnTo>
                  <a:lnTo>
                    <a:pt x="1379" y="879"/>
                  </a:lnTo>
                  <a:lnTo>
                    <a:pt x="1379" y="879"/>
                  </a:lnTo>
                  <a:lnTo>
                    <a:pt x="1379" y="879"/>
                  </a:lnTo>
                  <a:lnTo>
                    <a:pt x="1379" y="879"/>
                  </a:lnTo>
                  <a:lnTo>
                    <a:pt x="1379" y="882"/>
                  </a:lnTo>
                  <a:lnTo>
                    <a:pt x="1377" y="879"/>
                  </a:lnTo>
                  <a:lnTo>
                    <a:pt x="1377" y="879"/>
                  </a:lnTo>
                  <a:lnTo>
                    <a:pt x="1377" y="882"/>
                  </a:lnTo>
                  <a:lnTo>
                    <a:pt x="1377" y="882"/>
                  </a:lnTo>
                  <a:lnTo>
                    <a:pt x="1377" y="884"/>
                  </a:lnTo>
                  <a:lnTo>
                    <a:pt x="1377" y="884"/>
                  </a:lnTo>
                  <a:lnTo>
                    <a:pt x="1377" y="884"/>
                  </a:lnTo>
                  <a:lnTo>
                    <a:pt x="1377" y="887"/>
                  </a:lnTo>
                  <a:lnTo>
                    <a:pt x="1374" y="887"/>
                  </a:lnTo>
                  <a:lnTo>
                    <a:pt x="1377" y="884"/>
                  </a:lnTo>
                  <a:lnTo>
                    <a:pt x="1374" y="884"/>
                  </a:lnTo>
                  <a:lnTo>
                    <a:pt x="1374" y="884"/>
                  </a:lnTo>
                  <a:lnTo>
                    <a:pt x="1374" y="884"/>
                  </a:lnTo>
                  <a:lnTo>
                    <a:pt x="1374" y="882"/>
                  </a:lnTo>
                  <a:lnTo>
                    <a:pt x="1374" y="884"/>
                  </a:lnTo>
                  <a:lnTo>
                    <a:pt x="1374" y="884"/>
                  </a:lnTo>
                  <a:lnTo>
                    <a:pt x="1374" y="884"/>
                  </a:lnTo>
                  <a:lnTo>
                    <a:pt x="1374" y="884"/>
                  </a:lnTo>
                  <a:lnTo>
                    <a:pt x="1371" y="884"/>
                  </a:lnTo>
                  <a:lnTo>
                    <a:pt x="1371" y="882"/>
                  </a:lnTo>
                  <a:lnTo>
                    <a:pt x="1374" y="882"/>
                  </a:lnTo>
                  <a:lnTo>
                    <a:pt x="1374" y="882"/>
                  </a:lnTo>
                  <a:lnTo>
                    <a:pt x="1371" y="882"/>
                  </a:lnTo>
                  <a:lnTo>
                    <a:pt x="1371" y="882"/>
                  </a:lnTo>
                  <a:lnTo>
                    <a:pt x="1371" y="879"/>
                  </a:lnTo>
                  <a:lnTo>
                    <a:pt x="1371" y="879"/>
                  </a:lnTo>
                  <a:lnTo>
                    <a:pt x="1371" y="876"/>
                  </a:lnTo>
                  <a:lnTo>
                    <a:pt x="1369" y="876"/>
                  </a:lnTo>
                  <a:lnTo>
                    <a:pt x="1369" y="876"/>
                  </a:lnTo>
                  <a:lnTo>
                    <a:pt x="1369" y="879"/>
                  </a:lnTo>
                  <a:lnTo>
                    <a:pt x="1369" y="876"/>
                  </a:lnTo>
                  <a:lnTo>
                    <a:pt x="1369" y="876"/>
                  </a:lnTo>
                  <a:lnTo>
                    <a:pt x="1366" y="876"/>
                  </a:lnTo>
                  <a:lnTo>
                    <a:pt x="1366" y="876"/>
                  </a:lnTo>
                  <a:lnTo>
                    <a:pt x="1366" y="876"/>
                  </a:lnTo>
                  <a:lnTo>
                    <a:pt x="1366" y="876"/>
                  </a:lnTo>
                  <a:lnTo>
                    <a:pt x="1366" y="879"/>
                  </a:lnTo>
                  <a:lnTo>
                    <a:pt x="1366" y="879"/>
                  </a:lnTo>
                  <a:lnTo>
                    <a:pt x="1366" y="879"/>
                  </a:lnTo>
                  <a:lnTo>
                    <a:pt x="1366" y="879"/>
                  </a:lnTo>
                  <a:lnTo>
                    <a:pt x="1366" y="879"/>
                  </a:lnTo>
                  <a:lnTo>
                    <a:pt x="1363" y="879"/>
                  </a:lnTo>
                  <a:lnTo>
                    <a:pt x="1363" y="879"/>
                  </a:lnTo>
                  <a:lnTo>
                    <a:pt x="1363" y="879"/>
                  </a:lnTo>
                  <a:lnTo>
                    <a:pt x="1363" y="879"/>
                  </a:lnTo>
                  <a:lnTo>
                    <a:pt x="1363" y="879"/>
                  </a:lnTo>
                  <a:lnTo>
                    <a:pt x="1363" y="882"/>
                  </a:lnTo>
                  <a:lnTo>
                    <a:pt x="1361" y="882"/>
                  </a:lnTo>
                  <a:lnTo>
                    <a:pt x="1358" y="882"/>
                  </a:lnTo>
                  <a:lnTo>
                    <a:pt x="1358" y="882"/>
                  </a:lnTo>
                  <a:lnTo>
                    <a:pt x="1358" y="882"/>
                  </a:lnTo>
                  <a:lnTo>
                    <a:pt x="1361" y="884"/>
                  </a:lnTo>
                  <a:lnTo>
                    <a:pt x="1363" y="884"/>
                  </a:lnTo>
                  <a:lnTo>
                    <a:pt x="1363" y="884"/>
                  </a:lnTo>
                  <a:lnTo>
                    <a:pt x="1363" y="884"/>
                  </a:lnTo>
                  <a:lnTo>
                    <a:pt x="1361" y="884"/>
                  </a:lnTo>
                  <a:lnTo>
                    <a:pt x="1361" y="884"/>
                  </a:lnTo>
                  <a:lnTo>
                    <a:pt x="1361" y="884"/>
                  </a:lnTo>
                  <a:lnTo>
                    <a:pt x="1363" y="887"/>
                  </a:lnTo>
                  <a:lnTo>
                    <a:pt x="1363" y="887"/>
                  </a:lnTo>
                  <a:lnTo>
                    <a:pt x="1363" y="887"/>
                  </a:lnTo>
                  <a:lnTo>
                    <a:pt x="1363" y="890"/>
                  </a:lnTo>
                  <a:lnTo>
                    <a:pt x="1363" y="890"/>
                  </a:lnTo>
                  <a:lnTo>
                    <a:pt x="1363" y="890"/>
                  </a:lnTo>
                  <a:lnTo>
                    <a:pt x="1363" y="892"/>
                  </a:lnTo>
                  <a:lnTo>
                    <a:pt x="1361" y="890"/>
                  </a:lnTo>
                  <a:lnTo>
                    <a:pt x="1361" y="890"/>
                  </a:lnTo>
                  <a:lnTo>
                    <a:pt x="1361" y="890"/>
                  </a:lnTo>
                  <a:lnTo>
                    <a:pt x="1361" y="890"/>
                  </a:lnTo>
                  <a:lnTo>
                    <a:pt x="1358" y="890"/>
                  </a:lnTo>
                  <a:lnTo>
                    <a:pt x="1355" y="890"/>
                  </a:lnTo>
                  <a:lnTo>
                    <a:pt x="1355" y="890"/>
                  </a:lnTo>
                  <a:lnTo>
                    <a:pt x="1355" y="887"/>
                  </a:lnTo>
                  <a:lnTo>
                    <a:pt x="1353" y="887"/>
                  </a:lnTo>
                  <a:lnTo>
                    <a:pt x="1353" y="887"/>
                  </a:lnTo>
                  <a:lnTo>
                    <a:pt x="1353" y="890"/>
                  </a:lnTo>
                  <a:lnTo>
                    <a:pt x="1350" y="890"/>
                  </a:lnTo>
                  <a:lnTo>
                    <a:pt x="1353" y="892"/>
                  </a:lnTo>
                  <a:lnTo>
                    <a:pt x="1353" y="892"/>
                  </a:lnTo>
                  <a:lnTo>
                    <a:pt x="1353" y="892"/>
                  </a:lnTo>
                  <a:lnTo>
                    <a:pt x="1353" y="892"/>
                  </a:lnTo>
                  <a:lnTo>
                    <a:pt x="1353" y="895"/>
                  </a:lnTo>
                  <a:lnTo>
                    <a:pt x="1355" y="895"/>
                  </a:lnTo>
                  <a:lnTo>
                    <a:pt x="1358" y="898"/>
                  </a:lnTo>
                  <a:lnTo>
                    <a:pt x="1358" y="898"/>
                  </a:lnTo>
                  <a:lnTo>
                    <a:pt x="1358" y="898"/>
                  </a:lnTo>
                  <a:lnTo>
                    <a:pt x="1355" y="898"/>
                  </a:lnTo>
                  <a:lnTo>
                    <a:pt x="1355" y="895"/>
                  </a:lnTo>
                  <a:lnTo>
                    <a:pt x="1355" y="895"/>
                  </a:lnTo>
                  <a:lnTo>
                    <a:pt x="1355" y="898"/>
                  </a:lnTo>
                  <a:lnTo>
                    <a:pt x="1355" y="898"/>
                  </a:lnTo>
                  <a:lnTo>
                    <a:pt x="1355" y="898"/>
                  </a:lnTo>
                  <a:lnTo>
                    <a:pt x="1353" y="898"/>
                  </a:lnTo>
                  <a:lnTo>
                    <a:pt x="1353" y="895"/>
                  </a:lnTo>
                  <a:lnTo>
                    <a:pt x="1353" y="895"/>
                  </a:lnTo>
                  <a:lnTo>
                    <a:pt x="1347" y="895"/>
                  </a:lnTo>
                  <a:lnTo>
                    <a:pt x="1347" y="895"/>
                  </a:lnTo>
                  <a:lnTo>
                    <a:pt x="1347" y="898"/>
                  </a:lnTo>
                  <a:lnTo>
                    <a:pt x="1347" y="898"/>
                  </a:lnTo>
                  <a:lnTo>
                    <a:pt x="1347" y="900"/>
                  </a:lnTo>
                  <a:lnTo>
                    <a:pt x="1347" y="900"/>
                  </a:lnTo>
                  <a:lnTo>
                    <a:pt x="1350" y="900"/>
                  </a:lnTo>
                  <a:lnTo>
                    <a:pt x="1353" y="900"/>
                  </a:lnTo>
                  <a:lnTo>
                    <a:pt x="1353" y="903"/>
                  </a:lnTo>
                  <a:lnTo>
                    <a:pt x="1353" y="903"/>
                  </a:lnTo>
                  <a:lnTo>
                    <a:pt x="1353" y="903"/>
                  </a:lnTo>
                  <a:lnTo>
                    <a:pt x="1353" y="906"/>
                  </a:lnTo>
                  <a:lnTo>
                    <a:pt x="1355" y="906"/>
                  </a:lnTo>
                  <a:lnTo>
                    <a:pt x="1358" y="908"/>
                  </a:lnTo>
                  <a:lnTo>
                    <a:pt x="1361" y="908"/>
                  </a:lnTo>
                  <a:lnTo>
                    <a:pt x="1363" y="908"/>
                  </a:lnTo>
                  <a:lnTo>
                    <a:pt x="1363" y="908"/>
                  </a:lnTo>
                  <a:lnTo>
                    <a:pt x="1363" y="906"/>
                  </a:lnTo>
                  <a:lnTo>
                    <a:pt x="1363" y="903"/>
                  </a:lnTo>
                  <a:lnTo>
                    <a:pt x="1363" y="906"/>
                  </a:lnTo>
                  <a:lnTo>
                    <a:pt x="1363" y="906"/>
                  </a:lnTo>
                  <a:lnTo>
                    <a:pt x="1366" y="906"/>
                  </a:lnTo>
                  <a:lnTo>
                    <a:pt x="1366" y="903"/>
                  </a:lnTo>
                  <a:lnTo>
                    <a:pt x="1366" y="903"/>
                  </a:lnTo>
                  <a:lnTo>
                    <a:pt x="1366" y="903"/>
                  </a:lnTo>
                  <a:lnTo>
                    <a:pt x="1369" y="903"/>
                  </a:lnTo>
                  <a:lnTo>
                    <a:pt x="1369" y="903"/>
                  </a:lnTo>
                  <a:lnTo>
                    <a:pt x="1369" y="903"/>
                  </a:lnTo>
                  <a:lnTo>
                    <a:pt x="1369" y="903"/>
                  </a:lnTo>
                  <a:lnTo>
                    <a:pt x="1369" y="900"/>
                  </a:lnTo>
                  <a:lnTo>
                    <a:pt x="1369" y="900"/>
                  </a:lnTo>
                  <a:lnTo>
                    <a:pt x="1369" y="898"/>
                  </a:lnTo>
                  <a:lnTo>
                    <a:pt x="1369" y="895"/>
                  </a:lnTo>
                  <a:lnTo>
                    <a:pt x="1369" y="895"/>
                  </a:lnTo>
                  <a:lnTo>
                    <a:pt x="1369" y="895"/>
                  </a:lnTo>
                  <a:lnTo>
                    <a:pt x="1371" y="895"/>
                  </a:lnTo>
                  <a:lnTo>
                    <a:pt x="1371" y="895"/>
                  </a:lnTo>
                  <a:lnTo>
                    <a:pt x="1371" y="898"/>
                  </a:lnTo>
                  <a:lnTo>
                    <a:pt x="1371" y="900"/>
                  </a:lnTo>
                  <a:lnTo>
                    <a:pt x="1371" y="903"/>
                  </a:lnTo>
                  <a:lnTo>
                    <a:pt x="1371" y="903"/>
                  </a:lnTo>
                  <a:lnTo>
                    <a:pt x="1371" y="900"/>
                  </a:lnTo>
                  <a:lnTo>
                    <a:pt x="1374" y="900"/>
                  </a:lnTo>
                  <a:lnTo>
                    <a:pt x="1374" y="900"/>
                  </a:lnTo>
                  <a:lnTo>
                    <a:pt x="1374" y="900"/>
                  </a:lnTo>
                  <a:lnTo>
                    <a:pt x="1377" y="900"/>
                  </a:lnTo>
                  <a:lnTo>
                    <a:pt x="1377" y="900"/>
                  </a:lnTo>
                  <a:lnTo>
                    <a:pt x="1377" y="900"/>
                  </a:lnTo>
                  <a:lnTo>
                    <a:pt x="1377" y="900"/>
                  </a:lnTo>
                  <a:lnTo>
                    <a:pt x="1377" y="900"/>
                  </a:lnTo>
                  <a:lnTo>
                    <a:pt x="1377" y="900"/>
                  </a:lnTo>
                  <a:lnTo>
                    <a:pt x="1379" y="900"/>
                  </a:lnTo>
                  <a:lnTo>
                    <a:pt x="1379" y="900"/>
                  </a:lnTo>
                  <a:lnTo>
                    <a:pt x="1379" y="900"/>
                  </a:lnTo>
                  <a:lnTo>
                    <a:pt x="1379" y="900"/>
                  </a:lnTo>
                  <a:lnTo>
                    <a:pt x="1379" y="900"/>
                  </a:lnTo>
                  <a:lnTo>
                    <a:pt x="1379" y="900"/>
                  </a:lnTo>
                  <a:lnTo>
                    <a:pt x="1379" y="898"/>
                  </a:lnTo>
                  <a:lnTo>
                    <a:pt x="1379" y="898"/>
                  </a:lnTo>
                  <a:lnTo>
                    <a:pt x="1379" y="898"/>
                  </a:lnTo>
                  <a:lnTo>
                    <a:pt x="1379" y="895"/>
                  </a:lnTo>
                  <a:lnTo>
                    <a:pt x="1377" y="895"/>
                  </a:lnTo>
                  <a:lnTo>
                    <a:pt x="1377" y="895"/>
                  </a:lnTo>
                  <a:lnTo>
                    <a:pt x="1377" y="895"/>
                  </a:lnTo>
                  <a:lnTo>
                    <a:pt x="1377" y="895"/>
                  </a:lnTo>
                  <a:lnTo>
                    <a:pt x="1377" y="895"/>
                  </a:lnTo>
                  <a:lnTo>
                    <a:pt x="1379" y="895"/>
                  </a:lnTo>
                  <a:lnTo>
                    <a:pt x="1379" y="895"/>
                  </a:lnTo>
                  <a:lnTo>
                    <a:pt x="1379" y="895"/>
                  </a:lnTo>
                  <a:lnTo>
                    <a:pt x="1379" y="895"/>
                  </a:lnTo>
                  <a:lnTo>
                    <a:pt x="1379" y="895"/>
                  </a:lnTo>
                  <a:lnTo>
                    <a:pt x="1379" y="895"/>
                  </a:lnTo>
                  <a:lnTo>
                    <a:pt x="1379" y="892"/>
                  </a:lnTo>
                  <a:lnTo>
                    <a:pt x="1379" y="892"/>
                  </a:lnTo>
                  <a:lnTo>
                    <a:pt x="1379" y="890"/>
                  </a:lnTo>
                  <a:lnTo>
                    <a:pt x="1379" y="892"/>
                  </a:lnTo>
                  <a:lnTo>
                    <a:pt x="1379" y="890"/>
                  </a:lnTo>
                  <a:lnTo>
                    <a:pt x="1379" y="890"/>
                  </a:lnTo>
                  <a:lnTo>
                    <a:pt x="1379" y="890"/>
                  </a:lnTo>
                  <a:lnTo>
                    <a:pt x="1382" y="890"/>
                  </a:lnTo>
                  <a:lnTo>
                    <a:pt x="1382" y="890"/>
                  </a:lnTo>
                  <a:lnTo>
                    <a:pt x="1382" y="892"/>
                  </a:lnTo>
                  <a:lnTo>
                    <a:pt x="1382" y="895"/>
                  </a:lnTo>
                  <a:lnTo>
                    <a:pt x="1382" y="895"/>
                  </a:lnTo>
                  <a:lnTo>
                    <a:pt x="1385" y="898"/>
                  </a:lnTo>
                  <a:lnTo>
                    <a:pt x="1385" y="898"/>
                  </a:lnTo>
                  <a:lnTo>
                    <a:pt x="1387" y="898"/>
                  </a:lnTo>
                  <a:lnTo>
                    <a:pt x="1387" y="895"/>
                  </a:lnTo>
                  <a:lnTo>
                    <a:pt x="1387" y="895"/>
                  </a:lnTo>
                  <a:lnTo>
                    <a:pt x="1387" y="895"/>
                  </a:lnTo>
                  <a:lnTo>
                    <a:pt x="1387" y="895"/>
                  </a:lnTo>
                  <a:lnTo>
                    <a:pt x="1387" y="895"/>
                  </a:lnTo>
                  <a:lnTo>
                    <a:pt x="1390" y="895"/>
                  </a:lnTo>
                  <a:lnTo>
                    <a:pt x="1390" y="892"/>
                  </a:lnTo>
                  <a:lnTo>
                    <a:pt x="1390" y="892"/>
                  </a:lnTo>
                  <a:lnTo>
                    <a:pt x="1390" y="890"/>
                  </a:lnTo>
                  <a:lnTo>
                    <a:pt x="1390" y="890"/>
                  </a:lnTo>
                  <a:lnTo>
                    <a:pt x="1390" y="887"/>
                  </a:lnTo>
                  <a:lnTo>
                    <a:pt x="1390" y="887"/>
                  </a:lnTo>
                  <a:lnTo>
                    <a:pt x="1390" y="887"/>
                  </a:lnTo>
                  <a:close/>
                  <a:moveTo>
                    <a:pt x="1377" y="847"/>
                  </a:moveTo>
                  <a:lnTo>
                    <a:pt x="1377" y="847"/>
                  </a:lnTo>
                  <a:lnTo>
                    <a:pt x="1377" y="847"/>
                  </a:lnTo>
                  <a:lnTo>
                    <a:pt x="1377" y="847"/>
                  </a:lnTo>
                  <a:lnTo>
                    <a:pt x="1379" y="847"/>
                  </a:lnTo>
                  <a:lnTo>
                    <a:pt x="1379" y="844"/>
                  </a:lnTo>
                  <a:lnTo>
                    <a:pt x="1382" y="844"/>
                  </a:lnTo>
                  <a:lnTo>
                    <a:pt x="1382" y="844"/>
                  </a:lnTo>
                  <a:lnTo>
                    <a:pt x="1382" y="844"/>
                  </a:lnTo>
                  <a:lnTo>
                    <a:pt x="1382" y="844"/>
                  </a:lnTo>
                  <a:lnTo>
                    <a:pt x="1382" y="844"/>
                  </a:lnTo>
                  <a:lnTo>
                    <a:pt x="1382" y="844"/>
                  </a:lnTo>
                  <a:lnTo>
                    <a:pt x="1382" y="844"/>
                  </a:lnTo>
                  <a:lnTo>
                    <a:pt x="1382" y="844"/>
                  </a:lnTo>
                  <a:lnTo>
                    <a:pt x="1379" y="844"/>
                  </a:lnTo>
                  <a:lnTo>
                    <a:pt x="1379" y="844"/>
                  </a:lnTo>
                  <a:lnTo>
                    <a:pt x="1377" y="841"/>
                  </a:lnTo>
                  <a:lnTo>
                    <a:pt x="1377" y="841"/>
                  </a:lnTo>
                  <a:lnTo>
                    <a:pt x="1377" y="844"/>
                  </a:lnTo>
                  <a:lnTo>
                    <a:pt x="1377" y="844"/>
                  </a:lnTo>
                  <a:lnTo>
                    <a:pt x="1377" y="847"/>
                  </a:lnTo>
                  <a:close/>
                  <a:moveTo>
                    <a:pt x="1387" y="844"/>
                  </a:moveTo>
                  <a:lnTo>
                    <a:pt x="1385" y="847"/>
                  </a:lnTo>
                  <a:lnTo>
                    <a:pt x="1387" y="847"/>
                  </a:lnTo>
                  <a:lnTo>
                    <a:pt x="1387" y="847"/>
                  </a:lnTo>
                  <a:lnTo>
                    <a:pt x="1387" y="847"/>
                  </a:lnTo>
                  <a:lnTo>
                    <a:pt x="1387" y="844"/>
                  </a:lnTo>
                  <a:lnTo>
                    <a:pt x="1387" y="844"/>
                  </a:lnTo>
                  <a:lnTo>
                    <a:pt x="1387" y="844"/>
                  </a:lnTo>
                  <a:lnTo>
                    <a:pt x="1387" y="844"/>
                  </a:lnTo>
                  <a:lnTo>
                    <a:pt x="1387" y="844"/>
                  </a:lnTo>
                  <a:lnTo>
                    <a:pt x="1387" y="844"/>
                  </a:lnTo>
                  <a:lnTo>
                    <a:pt x="1387" y="844"/>
                  </a:lnTo>
                  <a:lnTo>
                    <a:pt x="1387" y="844"/>
                  </a:lnTo>
                  <a:lnTo>
                    <a:pt x="1387" y="844"/>
                  </a:lnTo>
                  <a:lnTo>
                    <a:pt x="1387" y="844"/>
                  </a:lnTo>
                  <a:lnTo>
                    <a:pt x="1387" y="844"/>
                  </a:lnTo>
                  <a:lnTo>
                    <a:pt x="1387" y="844"/>
                  </a:lnTo>
                  <a:lnTo>
                    <a:pt x="1387" y="844"/>
                  </a:lnTo>
                  <a:close/>
                  <a:moveTo>
                    <a:pt x="1446" y="807"/>
                  </a:moveTo>
                  <a:lnTo>
                    <a:pt x="1446" y="807"/>
                  </a:lnTo>
                  <a:lnTo>
                    <a:pt x="1443" y="807"/>
                  </a:lnTo>
                  <a:lnTo>
                    <a:pt x="1443" y="807"/>
                  </a:lnTo>
                  <a:lnTo>
                    <a:pt x="1441" y="809"/>
                  </a:lnTo>
                  <a:lnTo>
                    <a:pt x="1441" y="809"/>
                  </a:lnTo>
                  <a:lnTo>
                    <a:pt x="1441" y="809"/>
                  </a:lnTo>
                  <a:lnTo>
                    <a:pt x="1443" y="809"/>
                  </a:lnTo>
                  <a:lnTo>
                    <a:pt x="1443" y="809"/>
                  </a:lnTo>
                  <a:lnTo>
                    <a:pt x="1443" y="809"/>
                  </a:lnTo>
                  <a:lnTo>
                    <a:pt x="1443" y="809"/>
                  </a:lnTo>
                  <a:lnTo>
                    <a:pt x="1443" y="809"/>
                  </a:lnTo>
                  <a:lnTo>
                    <a:pt x="1443" y="809"/>
                  </a:lnTo>
                  <a:lnTo>
                    <a:pt x="1443" y="807"/>
                  </a:lnTo>
                  <a:lnTo>
                    <a:pt x="1446" y="807"/>
                  </a:lnTo>
                  <a:lnTo>
                    <a:pt x="1446" y="809"/>
                  </a:lnTo>
                  <a:lnTo>
                    <a:pt x="1446" y="809"/>
                  </a:lnTo>
                  <a:lnTo>
                    <a:pt x="1446" y="809"/>
                  </a:lnTo>
                  <a:lnTo>
                    <a:pt x="1446" y="809"/>
                  </a:lnTo>
                  <a:lnTo>
                    <a:pt x="1446" y="809"/>
                  </a:lnTo>
                  <a:lnTo>
                    <a:pt x="1446" y="807"/>
                  </a:lnTo>
                  <a:lnTo>
                    <a:pt x="1446" y="807"/>
                  </a:lnTo>
                  <a:lnTo>
                    <a:pt x="1446" y="807"/>
                  </a:lnTo>
                  <a:close/>
                  <a:moveTo>
                    <a:pt x="1518" y="719"/>
                  </a:moveTo>
                  <a:lnTo>
                    <a:pt x="1518" y="719"/>
                  </a:lnTo>
                  <a:lnTo>
                    <a:pt x="1521" y="719"/>
                  </a:lnTo>
                  <a:lnTo>
                    <a:pt x="1521" y="719"/>
                  </a:lnTo>
                  <a:lnTo>
                    <a:pt x="1521" y="719"/>
                  </a:lnTo>
                  <a:lnTo>
                    <a:pt x="1521" y="716"/>
                  </a:lnTo>
                  <a:lnTo>
                    <a:pt x="1521" y="716"/>
                  </a:lnTo>
                  <a:lnTo>
                    <a:pt x="1523" y="716"/>
                  </a:lnTo>
                  <a:lnTo>
                    <a:pt x="1521" y="716"/>
                  </a:lnTo>
                  <a:lnTo>
                    <a:pt x="1521" y="716"/>
                  </a:lnTo>
                  <a:lnTo>
                    <a:pt x="1521" y="713"/>
                  </a:lnTo>
                  <a:lnTo>
                    <a:pt x="1521" y="713"/>
                  </a:lnTo>
                  <a:lnTo>
                    <a:pt x="1521" y="713"/>
                  </a:lnTo>
                  <a:lnTo>
                    <a:pt x="1518" y="713"/>
                  </a:lnTo>
                  <a:lnTo>
                    <a:pt x="1518" y="716"/>
                  </a:lnTo>
                  <a:lnTo>
                    <a:pt x="1518" y="713"/>
                  </a:lnTo>
                  <a:lnTo>
                    <a:pt x="1518" y="713"/>
                  </a:lnTo>
                  <a:lnTo>
                    <a:pt x="1518" y="713"/>
                  </a:lnTo>
                  <a:lnTo>
                    <a:pt x="1518" y="713"/>
                  </a:lnTo>
                  <a:lnTo>
                    <a:pt x="1518" y="713"/>
                  </a:lnTo>
                  <a:lnTo>
                    <a:pt x="1518" y="713"/>
                  </a:lnTo>
                  <a:lnTo>
                    <a:pt x="1518" y="716"/>
                  </a:lnTo>
                  <a:lnTo>
                    <a:pt x="1518" y="716"/>
                  </a:lnTo>
                  <a:lnTo>
                    <a:pt x="1518" y="713"/>
                  </a:lnTo>
                  <a:lnTo>
                    <a:pt x="1518" y="713"/>
                  </a:lnTo>
                  <a:lnTo>
                    <a:pt x="1515" y="716"/>
                  </a:lnTo>
                  <a:lnTo>
                    <a:pt x="1518" y="719"/>
                  </a:lnTo>
                  <a:lnTo>
                    <a:pt x="1518" y="719"/>
                  </a:lnTo>
                  <a:close/>
                  <a:moveTo>
                    <a:pt x="1526" y="743"/>
                  </a:moveTo>
                  <a:lnTo>
                    <a:pt x="1523" y="743"/>
                  </a:lnTo>
                  <a:lnTo>
                    <a:pt x="1523" y="743"/>
                  </a:lnTo>
                  <a:lnTo>
                    <a:pt x="1523" y="745"/>
                  </a:lnTo>
                  <a:lnTo>
                    <a:pt x="1523" y="745"/>
                  </a:lnTo>
                  <a:lnTo>
                    <a:pt x="1523" y="745"/>
                  </a:lnTo>
                  <a:lnTo>
                    <a:pt x="1523" y="745"/>
                  </a:lnTo>
                  <a:lnTo>
                    <a:pt x="1523" y="745"/>
                  </a:lnTo>
                  <a:lnTo>
                    <a:pt x="1523" y="748"/>
                  </a:lnTo>
                  <a:lnTo>
                    <a:pt x="1523" y="748"/>
                  </a:lnTo>
                  <a:lnTo>
                    <a:pt x="1526" y="748"/>
                  </a:lnTo>
                  <a:lnTo>
                    <a:pt x="1526" y="748"/>
                  </a:lnTo>
                  <a:lnTo>
                    <a:pt x="1526" y="745"/>
                  </a:lnTo>
                  <a:lnTo>
                    <a:pt x="1526" y="748"/>
                  </a:lnTo>
                  <a:lnTo>
                    <a:pt x="1526" y="751"/>
                  </a:lnTo>
                  <a:lnTo>
                    <a:pt x="1526" y="751"/>
                  </a:lnTo>
                  <a:lnTo>
                    <a:pt x="1526" y="751"/>
                  </a:lnTo>
                  <a:lnTo>
                    <a:pt x="1526" y="751"/>
                  </a:lnTo>
                  <a:lnTo>
                    <a:pt x="1526" y="751"/>
                  </a:lnTo>
                  <a:lnTo>
                    <a:pt x="1529" y="751"/>
                  </a:lnTo>
                  <a:lnTo>
                    <a:pt x="1529" y="751"/>
                  </a:lnTo>
                  <a:lnTo>
                    <a:pt x="1529" y="748"/>
                  </a:lnTo>
                  <a:lnTo>
                    <a:pt x="1529" y="745"/>
                  </a:lnTo>
                  <a:lnTo>
                    <a:pt x="1529" y="745"/>
                  </a:lnTo>
                  <a:lnTo>
                    <a:pt x="1529" y="745"/>
                  </a:lnTo>
                  <a:lnTo>
                    <a:pt x="1529" y="743"/>
                  </a:lnTo>
                  <a:lnTo>
                    <a:pt x="1531" y="740"/>
                  </a:lnTo>
                  <a:lnTo>
                    <a:pt x="1531" y="737"/>
                  </a:lnTo>
                  <a:lnTo>
                    <a:pt x="1531" y="737"/>
                  </a:lnTo>
                  <a:lnTo>
                    <a:pt x="1531" y="735"/>
                  </a:lnTo>
                  <a:lnTo>
                    <a:pt x="1529" y="737"/>
                  </a:lnTo>
                  <a:lnTo>
                    <a:pt x="1529" y="737"/>
                  </a:lnTo>
                  <a:lnTo>
                    <a:pt x="1529" y="737"/>
                  </a:lnTo>
                  <a:lnTo>
                    <a:pt x="1529" y="737"/>
                  </a:lnTo>
                  <a:lnTo>
                    <a:pt x="1529" y="735"/>
                  </a:lnTo>
                  <a:lnTo>
                    <a:pt x="1529" y="735"/>
                  </a:lnTo>
                  <a:lnTo>
                    <a:pt x="1531" y="735"/>
                  </a:lnTo>
                  <a:lnTo>
                    <a:pt x="1531" y="735"/>
                  </a:lnTo>
                  <a:lnTo>
                    <a:pt x="1531" y="732"/>
                  </a:lnTo>
                  <a:lnTo>
                    <a:pt x="1531" y="732"/>
                  </a:lnTo>
                  <a:lnTo>
                    <a:pt x="1531" y="732"/>
                  </a:lnTo>
                  <a:lnTo>
                    <a:pt x="1531" y="732"/>
                  </a:lnTo>
                  <a:lnTo>
                    <a:pt x="1531" y="732"/>
                  </a:lnTo>
                  <a:lnTo>
                    <a:pt x="1531" y="732"/>
                  </a:lnTo>
                  <a:lnTo>
                    <a:pt x="1531" y="729"/>
                  </a:lnTo>
                  <a:lnTo>
                    <a:pt x="1531" y="729"/>
                  </a:lnTo>
                  <a:lnTo>
                    <a:pt x="1531" y="729"/>
                  </a:lnTo>
                  <a:lnTo>
                    <a:pt x="1529" y="729"/>
                  </a:lnTo>
                  <a:lnTo>
                    <a:pt x="1529" y="732"/>
                  </a:lnTo>
                  <a:lnTo>
                    <a:pt x="1529" y="729"/>
                  </a:lnTo>
                  <a:lnTo>
                    <a:pt x="1529" y="729"/>
                  </a:lnTo>
                  <a:lnTo>
                    <a:pt x="1529" y="729"/>
                  </a:lnTo>
                  <a:lnTo>
                    <a:pt x="1529" y="732"/>
                  </a:lnTo>
                  <a:lnTo>
                    <a:pt x="1529" y="732"/>
                  </a:lnTo>
                  <a:lnTo>
                    <a:pt x="1529" y="732"/>
                  </a:lnTo>
                  <a:lnTo>
                    <a:pt x="1526" y="735"/>
                  </a:lnTo>
                  <a:lnTo>
                    <a:pt x="1526" y="732"/>
                  </a:lnTo>
                  <a:lnTo>
                    <a:pt x="1526" y="732"/>
                  </a:lnTo>
                  <a:lnTo>
                    <a:pt x="1526" y="729"/>
                  </a:lnTo>
                  <a:lnTo>
                    <a:pt x="1526" y="732"/>
                  </a:lnTo>
                  <a:lnTo>
                    <a:pt x="1526" y="732"/>
                  </a:lnTo>
                  <a:lnTo>
                    <a:pt x="1523" y="737"/>
                  </a:lnTo>
                  <a:lnTo>
                    <a:pt x="1526" y="737"/>
                  </a:lnTo>
                  <a:lnTo>
                    <a:pt x="1526" y="735"/>
                  </a:lnTo>
                  <a:lnTo>
                    <a:pt x="1526" y="735"/>
                  </a:lnTo>
                  <a:lnTo>
                    <a:pt x="1526" y="737"/>
                  </a:lnTo>
                  <a:lnTo>
                    <a:pt x="1526" y="737"/>
                  </a:lnTo>
                  <a:lnTo>
                    <a:pt x="1526" y="737"/>
                  </a:lnTo>
                  <a:lnTo>
                    <a:pt x="1523" y="737"/>
                  </a:lnTo>
                  <a:lnTo>
                    <a:pt x="1523" y="737"/>
                  </a:lnTo>
                  <a:lnTo>
                    <a:pt x="1523" y="737"/>
                  </a:lnTo>
                  <a:lnTo>
                    <a:pt x="1526" y="740"/>
                  </a:lnTo>
                  <a:lnTo>
                    <a:pt x="1526" y="740"/>
                  </a:lnTo>
                  <a:lnTo>
                    <a:pt x="1523" y="740"/>
                  </a:lnTo>
                  <a:lnTo>
                    <a:pt x="1523" y="740"/>
                  </a:lnTo>
                  <a:lnTo>
                    <a:pt x="1523" y="740"/>
                  </a:lnTo>
                  <a:lnTo>
                    <a:pt x="1523" y="740"/>
                  </a:lnTo>
                  <a:lnTo>
                    <a:pt x="1523" y="740"/>
                  </a:lnTo>
                  <a:lnTo>
                    <a:pt x="1523" y="740"/>
                  </a:lnTo>
                  <a:lnTo>
                    <a:pt x="1526" y="740"/>
                  </a:lnTo>
                  <a:lnTo>
                    <a:pt x="1526" y="740"/>
                  </a:lnTo>
                  <a:lnTo>
                    <a:pt x="1526" y="740"/>
                  </a:lnTo>
                  <a:lnTo>
                    <a:pt x="1526" y="743"/>
                  </a:lnTo>
                  <a:lnTo>
                    <a:pt x="1526" y="743"/>
                  </a:lnTo>
                  <a:close/>
                  <a:moveTo>
                    <a:pt x="1521" y="756"/>
                  </a:moveTo>
                  <a:lnTo>
                    <a:pt x="1521" y="756"/>
                  </a:lnTo>
                  <a:lnTo>
                    <a:pt x="1518" y="759"/>
                  </a:lnTo>
                  <a:lnTo>
                    <a:pt x="1518" y="759"/>
                  </a:lnTo>
                  <a:lnTo>
                    <a:pt x="1518" y="761"/>
                  </a:lnTo>
                  <a:lnTo>
                    <a:pt x="1515" y="761"/>
                  </a:lnTo>
                  <a:lnTo>
                    <a:pt x="1515" y="764"/>
                  </a:lnTo>
                  <a:lnTo>
                    <a:pt x="1518" y="764"/>
                  </a:lnTo>
                  <a:lnTo>
                    <a:pt x="1518" y="764"/>
                  </a:lnTo>
                  <a:lnTo>
                    <a:pt x="1521" y="761"/>
                  </a:lnTo>
                  <a:lnTo>
                    <a:pt x="1518" y="761"/>
                  </a:lnTo>
                  <a:lnTo>
                    <a:pt x="1518" y="761"/>
                  </a:lnTo>
                  <a:lnTo>
                    <a:pt x="1518" y="759"/>
                  </a:lnTo>
                  <a:lnTo>
                    <a:pt x="1521" y="759"/>
                  </a:lnTo>
                  <a:lnTo>
                    <a:pt x="1521" y="759"/>
                  </a:lnTo>
                  <a:lnTo>
                    <a:pt x="1523" y="759"/>
                  </a:lnTo>
                  <a:lnTo>
                    <a:pt x="1523" y="756"/>
                  </a:lnTo>
                  <a:lnTo>
                    <a:pt x="1523" y="756"/>
                  </a:lnTo>
                  <a:lnTo>
                    <a:pt x="1523" y="756"/>
                  </a:lnTo>
                  <a:lnTo>
                    <a:pt x="1523" y="756"/>
                  </a:lnTo>
                  <a:lnTo>
                    <a:pt x="1523" y="756"/>
                  </a:lnTo>
                  <a:lnTo>
                    <a:pt x="1523" y="756"/>
                  </a:lnTo>
                  <a:lnTo>
                    <a:pt x="1521" y="753"/>
                  </a:lnTo>
                  <a:lnTo>
                    <a:pt x="1521" y="753"/>
                  </a:lnTo>
                  <a:lnTo>
                    <a:pt x="1521" y="753"/>
                  </a:lnTo>
                  <a:lnTo>
                    <a:pt x="1521" y="753"/>
                  </a:lnTo>
                  <a:lnTo>
                    <a:pt x="1521" y="756"/>
                  </a:lnTo>
                  <a:lnTo>
                    <a:pt x="1521" y="756"/>
                  </a:lnTo>
                  <a:close/>
                  <a:moveTo>
                    <a:pt x="1515" y="761"/>
                  </a:moveTo>
                  <a:lnTo>
                    <a:pt x="1515" y="759"/>
                  </a:lnTo>
                  <a:lnTo>
                    <a:pt x="1515" y="759"/>
                  </a:lnTo>
                  <a:lnTo>
                    <a:pt x="1518" y="759"/>
                  </a:lnTo>
                  <a:lnTo>
                    <a:pt x="1518" y="759"/>
                  </a:lnTo>
                  <a:lnTo>
                    <a:pt x="1518" y="759"/>
                  </a:lnTo>
                  <a:lnTo>
                    <a:pt x="1518" y="756"/>
                  </a:lnTo>
                  <a:lnTo>
                    <a:pt x="1518" y="756"/>
                  </a:lnTo>
                  <a:lnTo>
                    <a:pt x="1518" y="753"/>
                  </a:lnTo>
                  <a:lnTo>
                    <a:pt x="1518" y="751"/>
                  </a:lnTo>
                  <a:lnTo>
                    <a:pt x="1518" y="751"/>
                  </a:lnTo>
                  <a:lnTo>
                    <a:pt x="1518" y="751"/>
                  </a:lnTo>
                  <a:lnTo>
                    <a:pt x="1518" y="751"/>
                  </a:lnTo>
                  <a:lnTo>
                    <a:pt x="1518" y="753"/>
                  </a:lnTo>
                  <a:lnTo>
                    <a:pt x="1518" y="753"/>
                  </a:lnTo>
                  <a:lnTo>
                    <a:pt x="1518" y="756"/>
                  </a:lnTo>
                  <a:lnTo>
                    <a:pt x="1515" y="756"/>
                  </a:lnTo>
                  <a:lnTo>
                    <a:pt x="1515" y="753"/>
                  </a:lnTo>
                  <a:lnTo>
                    <a:pt x="1515" y="753"/>
                  </a:lnTo>
                  <a:lnTo>
                    <a:pt x="1513" y="759"/>
                  </a:lnTo>
                  <a:lnTo>
                    <a:pt x="1510" y="759"/>
                  </a:lnTo>
                  <a:lnTo>
                    <a:pt x="1513" y="759"/>
                  </a:lnTo>
                  <a:lnTo>
                    <a:pt x="1515" y="759"/>
                  </a:lnTo>
                  <a:lnTo>
                    <a:pt x="1513" y="759"/>
                  </a:lnTo>
                  <a:lnTo>
                    <a:pt x="1513" y="761"/>
                  </a:lnTo>
                  <a:lnTo>
                    <a:pt x="1510" y="761"/>
                  </a:lnTo>
                  <a:lnTo>
                    <a:pt x="1510" y="761"/>
                  </a:lnTo>
                  <a:lnTo>
                    <a:pt x="1513" y="761"/>
                  </a:lnTo>
                  <a:lnTo>
                    <a:pt x="1515" y="761"/>
                  </a:lnTo>
                  <a:lnTo>
                    <a:pt x="1513" y="761"/>
                  </a:lnTo>
                  <a:lnTo>
                    <a:pt x="1510" y="761"/>
                  </a:lnTo>
                  <a:lnTo>
                    <a:pt x="1510" y="761"/>
                  </a:lnTo>
                  <a:lnTo>
                    <a:pt x="1513" y="764"/>
                  </a:lnTo>
                  <a:lnTo>
                    <a:pt x="1513" y="764"/>
                  </a:lnTo>
                  <a:lnTo>
                    <a:pt x="1515" y="761"/>
                  </a:lnTo>
                  <a:lnTo>
                    <a:pt x="1515" y="761"/>
                  </a:lnTo>
                  <a:close/>
                  <a:moveTo>
                    <a:pt x="1515" y="711"/>
                  </a:moveTo>
                  <a:lnTo>
                    <a:pt x="1518" y="708"/>
                  </a:lnTo>
                  <a:lnTo>
                    <a:pt x="1518" y="708"/>
                  </a:lnTo>
                  <a:lnTo>
                    <a:pt x="1518" y="708"/>
                  </a:lnTo>
                  <a:lnTo>
                    <a:pt x="1518" y="708"/>
                  </a:lnTo>
                  <a:lnTo>
                    <a:pt x="1518" y="708"/>
                  </a:lnTo>
                  <a:lnTo>
                    <a:pt x="1518" y="708"/>
                  </a:lnTo>
                  <a:lnTo>
                    <a:pt x="1518" y="708"/>
                  </a:lnTo>
                  <a:lnTo>
                    <a:pt x="1518" y="705"/>
                  </a:lnTo>
                  <a:lnTo>
                    <a:pt x="1518" y="703"/>
                  </a:lnTo>
                  <a:lnTo>
                    <a:pt x="1518" y="703"/>
                  </a:lnTo>
                  <a:lnTo>
                    <a:pt x="1515" y="700"/>
                  </a:lnTo>
                  <a:lnTo>
                    <a:pt x="1513" y="703"/>
                  </a:lnTo>
                  <a:lnTo>
                    <a:pt x="1513" y="703"/>
                  </a:lnTo>
                  <a:lnTo>
                    <a:pt x="1513" y="703"/>
                  </a:lnTo>
                  <a:lnTo>
                    <a:pt x="1513" y="703"/>
                  </a:lnTo>
                  <a:lnTo>
                    <a:pt x="1513" y="703"/>
                  </a:lnTo>
                  <a:lnTo>
                    <a:pt x="1513" y="705"/>
                  </a:lnTo>
                  <a:lnTo>
                    <a:pt x="1513" y="705"/>
                  </a:lnTo>
                  <a:lnTo>
                    <a:pt x="1513" y="708"/>
                  </a:lnTo>
                  <a:lnTo>
                    <a:pt x="1513" y="708"/>
                  </a:lnTo>
                  <a:lnTo>
                    <a:pt x="1513" y="708"/>
                  </a:lnTo>
                  <a:lnTo>
                    <a:pt x="1513" y="708"/>
                  </a:lnTo>
                  <a:lnTo>
                    <a:pt x="1513" y="711"/>
                  </a:lnTo>
                  <a:lnTo>
                    <a:pt x="1513" y="711"/>
                  </a:lnTo>
                  <a:lnTo>
                    <a:pt x="1513" y="711"/>
                  </a:lnTo>
                  <a:lnTo>
                    <a:pt x="1515" y="711"/>
                  </a:lnTo>
                  <a:lnTo>
                    <a:pt x="1515" y="711"/>
                  </a:lnTo>
                  <a:close/>
                  <a:moveTo>
                    <a:pt x="1510" y="716"/>
                  </a:moveTo>
                  <a:lnTo>
                    <a:pt x="1510" y="719"/>
                  </a:lnTo>
                  <a:lnTo>
                    <a:pt x="1513" y="719"/>
                  </a:lnTo>
                  <a:lnTo>
                    <a:pt x="1513" y="721"/>
                  </a:lnTo>
                  <a:lnTo>
                    <a:pt x="1513" y="721"/>
                  </a:lnTo>
                  <a:lnTo>
                    <a:pt x="1513" y="721"/>
                  </a:lnTo>
                  <a:lnTo>
                    <a:pt x="1513" y="719"/>
                  </a:lnTo>
                  <a:lnTo>
                    <a:pt x="1513" y="719"/>
                  </a:lnTo>
                  <a:lnTo>
                    <a:pt x="1513" y="716"/>
                  </a:lnTo>
                  <a:lnTo>
                    <a:pt x="1513" y="716"/>
                  </a:lnTo>
                  <a:lnTo>
                    <a:pt x="1513" y="716"/>
                  </a:lnTo>
                  <a:lnTo>
                    <a:pt x="1513" y="716"/>
                  </a:lnTo>
                  <a:lnTo>
                    <a:pt x="1513" y="716"/>
                  </a:lnTo>
                  <a:lnTo>
                    <a:pt x="1513" y="713"/>
                  </a:lnTo>
                  <a:lnTo>
                    <a:pt x="1513" y="713"/>
                  </a:lnTo>
                  <a:lnTo>
                    <a:pt x="1513" y="713"/>
                  </a:lnTo>
                  <a:lnTo>
                    <a:pt x="1510" y="713"/>
                  </a:lnTo>
                  <a:lnTo>
                    <a:pt x="1510" y="713"/>
                  </a:lnTo>
                  <a:lnTo>
                    <a:pt x="1510" y="713"/>
                  </a:lnTo>
                  <a:lnTo>
                    <a:pt x="1510" y="713"/>
                  </a:lnTo>
                  <a:lnTo>
                    <a:pt x="1510" y="716"/>
                  </a:lnTo>
                  <a:lnTo>
                    <a:pt x="1510" y="716"/>
                  </a:lnTo>
                  <a:close/>
                  <a:moveTo>
                    <a:pt x="1318" y="1007"/>
                  </a:moveTo>
                  <a:lnTo>
                    <a:pt x="1318" y="1010"/>
                  </a:lnTo>
                  <a:lnTo>
                    <a:pt x="1315" y="1007"/>
                  </a:lnTo>
                  <a:lnTo>
                    <a:pt x="1315" y="1010"/>
                  </a:lnTo>
                  <a:lnTo>
                    <a:pt x="1315" y="1010"/>
                  </a:lnTo>
                  <a:lnTo>
                    <a:pt x="1312" y="1010"/>
                  </a:lnTo>
                  <a:lnTo>
                    <a:pt x="1315" y="1010"/>
                  </a:lnTo>
                  <a:lnTo>
                    <a:pt x="1315" y="1010"/>
                  </a:lnTo>
                  <a:lnTo>
                    <a:pt x="1315" y="1010"/>
                  </a:lnTo>
                  <a:lnTo>
                    <a:pt x="1318" y="1010"/>
                  </a:lnTo>
                  <a:lnTo>
                    <a:pt x="1318" y="1010"/>
                  </a:lnTo>
                  <a:lnTo>
                    <a:pt x="1318" y="1010"/>
                  </a:lnTo>
                  <a:lnTo>
                    <a:pt x="1320" y="1010"/>
                  </a:lnTo>
                  <a:lnTo>
                    <a:pt x="1320" y="1010"/>
                  </a:lnTo>
                  <a:lnTo>
                    <a:pt x="1323" y="1010"/>
                  </a:lnTo>
                  <a:lnTo>
                    <a:pt x="1323" y="1007"/>
                  </a:lnTo>
                  <a:lnTo>
                    <a:pt x="1323" y="1007"/>
                  </a:lnTo>
                  <a:lnTo>
                    <a:pt x="1318" y="1007"/>
                  </a:lnTo>
                  <a:lnTo>
                    <a:pt x="1318" y="1007"/>
                  </a:lnTo>
                  <a:close/>
                  <a:moveTo>
                    <a:pt x="1371" y="914"/>
                  </a:moveTo>
                  <a:lnTo>
                    <a:pt x="1374" y="914"/>
                  </a:lnTo>
                  <a:lnTo>
                    <a:pt x="1377" y="916"/>
                  </a:lnTo>
                  <a:lnTo>
                    <a:pt x="1377" y="916"/>
                  </a:lnTo>
                  <a:lnTo>
                    <a:pt x="1377" y="916"/>
                  </a:lnTo>
                  <a:lnTo>
                    <a:pt x="1377" y="916"/>
                  </a:lnTo>
                  <a:lnTo>
                    <a:pt x="1377" y="916"/>
                  </a:lnTo>
                  <a:lnTo>
                    <a:pt x="1379" y="914"/>
                  </a:lnTo>
                  <a:lnTo>
                    <a:pt x="1379" y="914"/>
                  </a:lnTo>
                  <a:lnTo>
                    <a:pt x="1379" y="914"/>
                  </a:lnTo>
                  <a:lnTo>
                    <a:pt x="1379" y="914"/>
                  </a:lnTo>
                  <a:lnTo>
                    <a:pt x="1377" y="914"/>
                  </a:lnTo>
                  <a:lnTo>
                    <a:pt x="1377" y="914"/>
                  </a:lnTo>
                  <a:lnTo>
                    <a:pt x="1377" y="914"/>
                  </a:lnTo>
                  <a:lnTo>
                    <a:pt x="1377" y="914"/>
                  </a:lnTo>
                  <a:lnTo>
                    <a:pt x="1377" y="914"/>
                  </a:lnTo>
                  <a:lnTo>
                    <a:pt x="1377" y="914"/>
                  </a:lnTo>
                  <a:lnTo>
                    <a:pt x="1377" y="914"/>
                  </a:lnTo>
                  <a:lnTo>
                    <a:pt x="1374" y="911"/>
                  </a:lnTo>
                  <a:lnTo>
                    <a:pt x="1377" y="911"/>
                  </a:lnTo>
                  <a:lnTo>
                    <a:pt x="1374" y="911"/>
                  </a:lnTo>
                  <a:lnTo>
                    <a:pt x="1374" y="911"/>
                  </a:lnTo>
                  <a:lnTo>
                    <a:pt x="1374" y="911"/>
                  </a:lnTo>
                  <a:lnTo>
                    <a:pt x="1374" y="911"/>
                  </a:lnTo>
                  <a:lnTo>
                    <a:pt x="1374" y="911"/>
                  </a:lnTo>
                  <a:lnTo>
                    <a:pt x="1374" y="911"/>
                  </a:lnTo>
                  <a:lnTo>
                    <a:pt x="1374" y="911"/>
                  </a:lnTo>
                  <a:lnTo>
                    <a:pt x="1374" y="911"/>
                  </a:lnTo>
                  <a:lnTo>
                    <a:pt x="1374" y="911"/>
                  </a:lnTo>
                  <a:lnTo>
                    <a:pt x="1374" y="911"/>
                  </a:lnTo>
                  <a:lnTo>
                    <a:pt x="1374" y="911"/>
                  </a:lnTo>
                  <a:lnTo>
                    <a:pt x="1374" y="914"/>
                  </a:lnTo>
                  <a:lnTo>
                    <a:pt x="1371" y="914"/>
                  </a:lnTo>
                  <a:close/>
                  <a:moveTo>
                    <a:pt x="1304" y="1004"/>
                  </a:moveTo>
                  <a:lnTo>
                    <a:pt x="1302" y="1004"/>
                  </a:lnTo>
                  <a:lnTo>
                    <a:pt x="1302" y="1004"/>
                  </a:lnTo>
                  <a:lnTo>
                    <a:pt x="1302" y="1004"/>
                  </a:lnTo>
                  <a:lnTo>
                    <a:pt x="1299" y="1004"/>
                  </a:lnTo>
                  <a:lnTo>
                    <a:pt x="1299" y="1004"/>
                  </a:lnTo>
                  <a:lnTo>
                    <a:pt x="1291" y="1010"/>
                  </a:lnTo>
                  <a:lnTo>
                    <a:pt x="1291" y="1010"/>
                  </a:lnTo>
                  <a:lnTo>
                    <a:pt x="1288" y="1012"/>
                  </a:lnTo>
                  <a:lnTo>
                    <a:pt x="1288" y="1015"/>
                  </a:lnTo>
                  <a:lnTo>
                    <a:pt x="1291" y="1018"/>
                  </a:lnTo>
                  <a:lnTo>
                    <a:pt x="1291" y="1018"/>
                  </a:lnTo>
                  <a:lnTo>
                    <a:pt x="1291" y="1018"/>
                  </a:lnTo>
                  <a:lnTo>
                    <a:pt x="1291" y="1015"/>
                  </a:lnTo>
                  <a:lnTo>
                    <a:pt x="1294" y="1015"/>
                  </a:lnTo>
                  <a:lnTo>
                    <a:pt x="1296" y="1012"/>
                  </a:lnTo>
                  <a:lnTo>
                    <a:pt x="1296" y="1010"/>
                  </a:lnTo>
                  <a:lnTo>
                    <a:pt x="1299" y="1010"/>
                  </a:lnTo>
                  <a:lnTo>
                    <a:pt x="1299" y="1010"/>
                  </a:lnTo>
                  <a:lnTo>
                    <a:pt x="1299" y="1010"/>
                  </a:lnTo>
                  <a:lnTo>
                    <a:pt x="1299" y="1010"/>
                  </a:lnTo>
                  <a:lnTo>
                    <a:pt x="1299" y="1007"/>
                  </a:lnTo>
                  <a:lnTo>
                    <a:pt x="1299" y="1004"/>
                  </a:lnTo>
                  <a:lnTo>
                    <a:pt x="1302" y="1004"/>
                  </a:lnTo>
                  <a:lnTo>
                    <a:pt x="1302" y="1004"/>
                  </a:lnTo>
                  <a:lnTo>
                    <a:pt x="1302" y="1007"/>
                  </a:lnTo>
                  <a:lnTo>
                    <a:pt x="1302" y="1007"/>
                  </a:lnTo>
                  <a:lnTo>
                    <a:pt x="1302" y="1007"/>
                  </a:lnTo>
                  <a:lnTo>
                    <a:pt x="1302" y="1007"/>
                  </a:lnTo>
                  <a:lnTo>
                    <a:pt x="1302" y="1007"/>
                  </a:lnTo>
                  <a:lnTo>
                    <a:pt x="1302" y="1007"/>
                  </a:lnTo>
                  <a:lnTo>
                    <a:pt x="1302" y="1007"/>
                  </a:lnTo>
                  <a:lnTo>
                    <a:pt x="1302" y="1007"/>
                  </a:lnTo>
                  <a:lnTo>
                    <a:pt x="1302" y="1007"/>
                  </a:lnTo>
                  <a:lnTo>
                    <a:pt x="1302" y="1007"/>
                  </a:lnTo>
                  <a:lnTo>
                    <a:pt x="1304" y="1007"/>
                  </a:lnTo>
                  <a:lnTo>
                    <a:pt x="1304" y="1007"/>
                  </a:lnTo>
                  <a:lnTo>
                    <a:pt x="1304" y="1007"/>
                  </a:lnTo>
                  <a:lnTo>
                    <a:pt x="1304" y="1004"/>
                  </a:lnTo>
                  <a:close/>
                  <a:moveTo>
                    <a:pt x="1315" y="1007"/>
                  </a:moveTo>
                  <a:lnTo>
                    <a:pt x="1315" y="1007"/>
                  </a:lnTo>
                  <a:lnTo>
                    <a:pt x="1315" y="1007"/>
                  </a:lnTo>
                  <a:lnTo>
                    <a:pt x="1315" y="1007"/>
                  </a:lnTo>
                  <a:lnTo>
                    <a:pt x="1315" y="1004"/>
                  </a:lnTo>
                  <a:lnTo>
                    <a:pt x="1315" y="1007"/>
                  </a:lnTo>
                  <a:lnTo>
                    <a:pt x="1318" y="1007"/>
                  </a:lnTo>
                  <a:lnTo>
                    <a:pt x="1315" y="1007"/>
                  </a:lnTo>
                  <a:lnTo>
                    <a:pt x="1315" y="1004"/>
                  </a:lnTo>
                  <a:lnTo>
                    <a:pt x="1315" y="1004"/>
                  </a:lnTo>
                  <a:lnTo>
                    <a:pt x="1315" y="1004"/>
                  </a:lnTo>
                  <a:lnTo>
                    <a:pt x="1315" y="1004"/>
                  </a:lnTo>
                  <a:lnTo>
                    <a:pt x="1315" y="1004"/>
                  </a:lnTo>
                  <a:lnTo>
                    <a:pt x="1312" y="1004"/>
                  </a:lnTo>
                  <a:lnTo>
                    <a:pt x="1310" y="1004"/>
                  </a:lnTo>
                  <a:lnTo>
                    <a:pt x="1310" y="1004"/>
                  </a:lnTo>
                  <a:lnTo>
                    <a:pt x="1307" y="1004"/>
                  </a:lnTo>
                  <a:lnTo>
                    <a:pt x="1307" y="1004"/>
                  </a:lnTo>
                  <a:lnTo>
                    <a:pt x="1307" y="1007"/>
                  </a:lnTo>
                  <a:lnTo>
                    <a:pt x="1304" y="1007"/>
                  </a:lnTo>
                  <a:lnTo>
                    <a:pt x="1307" y="1010"/>
                  </a:lnTo>
                  <a:lnTo>
                    <a:pt x="1307" y="1010"/>
                  </a:lnTo>
                  <a:lnTo>
                    <a:pt x="1307" y="1010"/>
                  </a:lnTo>
                  <a:lnTo>
                    <a:pt x="1307" y="1010"/>
                  </a:lnTo>
                  <a:lnTo>
                    <a:pt x="1310" y="1010"/>
                  </a:lnTo>
                  <a:lnTo>
                    <a:pt x="1312" y="1010"/>
                  </a:lnTo>
                  <a:lnTo>
                    <a:pt x="1312" y="1010"/>
                  </a:lnTo>
                  <a:lnTo>
                    <a:pt x="1312" y="1010"/>
                  </a:lnTo>
                  <a:lnTo>
                    <a:pt x="1312" y="1010"/>
                  </a:lnTo>
                  <a:lnTo>
                    <a:pt x="1315" y="1007"/>
                  </a:lnTo>
                  <a:lnTo>
                    <a:pt x="1315" y="1007"/>
                  </a:lnTo>
                  <a:close/>
                  <a:moveTo>
                    <a:pt x="1315" y="996"/>
                  </a:moveTo>
                  <a:lnTo>
                    <a:pt x="1315" y="999"/>
                  </a:lnTo>
                  <a:lnTo>
                    <a:pt x="1318" y="999"/>
                  </a:lnTo>
                  <a:lnTo>
                    <a:pt x="1318" y="999"/>
                  </a:lnTo>
                  <a:lnTo>
                    <a:pt x="1318" y="996"/>
                  </a:lnTo>
                  <a:lnTo>
                    <a:pt x="1318" y="996"/>
                  </a:lnTo>
                  <a:lnTo>
                    <a:pt x="1318" y="996"/>
                  </a:lnTo>
                  <a:lnTo>
                    <a:pt x="1318" y="996"/>
                  </a:lnTo>
                  <a:lnTo>
                    <a:pt x="1318" y="996"/>
                  </a:lnTo>
                  <a:lnTo>
                    <a:pt x="1315" y="996"/>
                  </a:lnTo>
                  <a:lnTo>
                    <a:pt x="1315" y="996"/>
                  </a:lnTo>
                  <a:lnTo>
                    <a:pt x="1315" y="996"/>
                  </a:lnTo>
                  <a:lnTo>
                    <a:pt x="1315" y="996"/>
                  </a:lnTo>
                  <a:lnTo>
                    <a:pt x="1312" y="996"/>
                  </a:lnTo>
                  <a:lnTo>
                    <a:pt x="1315" y="996"/>
                  </a:lnTo>
                  <a:lnTo>
                    <a:pt x="1315" y="996"/>
                  </a:lnTo>
                  <a:lnTo>
                    <a:pt x="1315" y="996"/>
                  </a:lnTo>
                  <a:lnTo>
                    <a:pt x="1315" y="996"/>
                  </a:lnTo>
                  <a:lnTo>
                    <a:pt x="1315" y="996"/>
                  </a:lnTo>
                  <a:close/>
                  <a:moveTo>
                    <a:pt x="1214" y="1028"/>
                  </a:moveTo>
                  <a:lnTo>
                    <a:pt x="1214" y="1028"/>
                  </a:lnTo>
                  <a:lnTo>
                    <a:pt x="1214" y="1028"/>
                  </a:lnTo>
                  <a:lnTo>
                    <a:pt x="1214" y="1028"/>
                  </a:lnTo>
                  <a:lnTo>
                    <a:pt x="1214" y="1028"/>
                  </a:lnTo>
                  <a:lnTo>
                    <a:pt x="1214" y="1028"/>
                  </a:lnTo>
                  <a:lnTo>
                    <a:pt x="1214" y="1028"/>
                  </a:lnTo>
                  <a:lnTo>
                    <a:pt x="1214" y="1028"/>
                  </a:lnTo>
                  <a:lnTo>
                    <a:pt x="1214" y="1028"/>
                  </a:lnTo>
                  <a:lnTo>
                    <a:pt x="1214" y="1028"/>
                  </a:lnTo>
                  <a:lnTo>
                    <a:pt x="1214" y="1031"/>
                  </a:lnTo>
                  <a:lnTo>
                    <a:pt x="1214" y="1031"/>
                  </a:lnTo>
                  <a:lnTo>
                    <a:pt x="1214" y="1031"/>
                  </a:lnTo>
                  <a:lnTo>
                    <a:pt x="1214" y="1031"/>
                  </a:lnTo>
                  <a:lnTo>
                    <a:pt x="1214" y="1031"/>
                  </a:lnTo>
                  <a:lnTo>
                    <a:pt x="1214" y="1031"/>
                  </a:lnTo>
                  <a:lnTo>
                    <a:pt x="1214" y="1031"/>
                  </a:lnTo>
                  <a:lnTo>
                    <a:pt x="1214" y="1031"/>
                  </a:lnTo>
                  <a:lnTo>
                    <a:pt x="1214" y="1028"/>
                  </a:lnTo>
                  <a:close/>
                  <a:moveTo>
                    <a:pt x="1216" y="1039"/>
                  </a:moveTo>
                  <a:lnTo>
                    <a:pt x="1216" y="1039"/>
                  </a:lnTo>
                  <a:lnTo>
                    <a:pt x="1216" y="1039"/>
                  </a:lnTo>
                  <a:lnTo>
                    <a:pt x="1216" y="1039"/>
                  </a:lnTo>
                  <a:lnTo>
                    <a:pt x="1216" y="1039"/>
                  </a:lnTo>
                  <a:lnTo>
                    <a:pt x="1216" y="1039"/>
                  </a:lnTo>
                  <a:lnTo>
                    <a:pt x="1216" y="1039"/>
                  </a:lnTo>
                  <a:lnTo>
                    <a:pt x="1216" y="1039"/>
                  </a:lnTo>
                  <a:lnTo>
                    <a:pt x="1216" y="1039"/>
                  </a:lnTo>
                  <a:lnTo>
                    <a:pt x="1214" y="1039"/>
                  </a:lnTo>
                  <a:lnTo>
                    <a:pt x="1214" y="1042"/>
                  </a:lnTo>
                  <a:lnTo>
                    <a:pt x="1216" y="1042"/>
                  </a:lnTo>
                  <a:lnTo>
                    <a:pt x="1216" y="1042"/>
                  </a:lnTo>
                  <a:lnTo>
                    <a:pt x="1216" y="1042"/>
                  </a:lnTo>
                  <a:lnTo>
                    <a:pt x="1216" y="1042"/>
                  </a:lnTo>
                  <a:lnTo>
                    <a:pt x="1216" y="1042"/>
                  </a:lnTo>
                  <a:lnTo>
                    <a:pt x="1216" y="1042"/>
                  </a:lnTo>
                  <a:lnTo>
                    <a:pt x="1216" y="1042"/>
                  </a:lnTo>
                  <a:lnTo>
                    <a:pt x="1216" y="1042"/>
                  </a:lnTo>
                  <a:lnTo>
                    <a:pt x="1216" y="1042"/>
                  </a:lnTo>
                  <a:lnTo>
                    <a:pt x="1216" y="1042"/>
                  </a:lnTo>
                  <a:lnTo>
                    <a:pt x="1216" y="1042"/>
                  </a:lnTo>
                  <a:lnTo>
                    <a:pt x="1216" y="1039"/>
                  </a:lnTo>
                  <a:lnTo>
                    <a:pt x="1216" y="1039"/>
                  </a:lnTo>
                  <a:lnTo>
                    <a:pt x="1216" y="1039"/>
                  </a:lnTo>
                  <a:close/>
                  <a:moveTo>
                    <a:pt x="1235" y="951"/>
                  </a:moveTo>
                  <a:lnTo>
                    <a:pt x="1235" y="951"/>
                  </a:lnTo>
                  <a:lnTo>
                    <a:pt x="1235" y="951"/>
                  </a:lnTo>
                  <a:lnTo>
                    <a:pt x="1235" y="951"/>
                  </a:lnTo>
                  <a:lnTo>
                    <a:pt x="1235" y="951"/>
                  </a:lnTo>
                  <a:lnTo>
                    <a:pt x="1235" y="951"/>
                  </a:lnTo>
                  <a:lnTo>
                    <a:pt x="1235" y="951"/>
                  </a:lnTo>
                  <a:lnTo>
                    <a:pt x="1235" y="951"/>
                  </a:lnTo>
                  <a:lnTo>
                    <a:pt x="1235" y="951"/>
                  </a:lnTo>
                  <a:lnTo>
                    <a:pt x="1235" y="951"/>
                  </a:lnTo>
                  <a:close/>
                  <a:moveTo>
                    <a:pt x="1256" y="1050"/>
                  </a:moveTo>
                  <a:lnTo>
                    <a:pt x="1256" y="1050"/>
                  </a:lnTo>
                  <a:lnTo>
                    <a:pt x="1256" y="1053"/>
                  </a:lnTo>
                  <a:lnTo>
                    <a:pt x="1254" y="1053"/>
                  </a:lnTo>
                  <a:lnTo>
                    <a:pt x="1254" y="1055"/>
                  </a:lnTo>
                  <a:lnTo>
                    <a:pt x="1251" y="1055"/>
                  </a:lnTo>
                  <a:lnTo>
                    <a:pt x="1254" y="1055"/>
                  </a:lnTo>
                  <a:lnTo>
                    <a:pt x="1254" y="1055"/>
                  </a:lnTo>
                  <a:lnTo>
                    <a:pt x="1254" y="1058"/>
                  </a:lnTo>
                  <a:lnTo>
                    <a:pt x="1254" y="1058"/>
                  </a:lnTo>
                  <a:lnTo>
                    <a:pt x="1254" y="1058"/>
                  </a:lnTo>
                  <a:lnTo>
                    <a:pt x="1254" y="1058"/>
                  </a:lnTo>
                  <a:lnTo>
                    <a:pt x="1256" y="1058"/>
                  </a:lnTo>
                  <a:lnTo>
                    <a:pt x="1256" y="1061"/>
                  </a:lnTo>
                  <a:lnTo>
                    <a:pt x="1259" y="1061"/>
                  </a:lnTo>
                  <a:lnTo>
                    <a:pt x="1259" y="1058"/>
                  </a:lnTo>
                  <a:lnTo>
                    <a:pt x="1259" y="1058"/>
                  </a:lnTo>
                  <a:lnTo>
                    <a:pt x="1259" y="1058"/>
                  </a:lnTo>
                  <a:lnTo>
                    <a:pt x="1259" y="1055"/>
                  </a:lnTo>
                  <a:lnTo>
                    <a:pt x="1259" y="1053"/>
                  </a:lnTo>
                  <a:lnTo>
                    <a:pt x="1259" y="1053"/>
                  </a:lnTo>
                  <a:lnTo>
                    <a:pt x="1259" y="1050"/>
                  </a:lnTo>
                  <a:lnTo>
                    <a:pt x="1259" y="1050"/>
                  </a:lnTo>
                  <a:lnTo>
                    <a:pt x="1256" y="1050"/>
                  </a:lnTo>
                  <a:close/>
                  <a:moveTo>
                    <a:pt x="1342" y="906"/>
                  </a:moveTo>
                  <a:lnTo>
                    <a:pt x="1342" y="906"/>
                  </a:lnTo>
                  <a:lnTo>
                    <a:pt x="1345" y="906"/>
                  </a:lnTo>
                  <a:lnTo>
                    <a:pt x="1345" y="906"/>
                  </a:lnTo>
                  <a:lnTo>
                    <a:pt x="1345" y="903"/>
                  </a:lnTo>
                  <a:lnTo>
                    <a:pt x="1345" y="903"/>
                  </a:lnTo>
                  <a:lnTo>
                    <a:pt x="1345" y="903"/>
                  </a:lnTo>
                  <a:lnTo>
                    <a:pt x="1347" y="906"/>
                  </a:lnTo>
                  <a:lnTo>
                    <a:pt x="1347" y="908"/>
                  </a:lnTo>
                  <a:lnTo>
                    <a:pt x="1347" y="906"/>
                  </a:lnTo>
                  <a:lnTo>
                    <a:pt x="1350" y="908"/>
                  </a:lnTo>
                  <a:lnTo>
                    <a:pt x="1353" y="908"/>
                  </a:lnTo>
                  <a:lnTo>
                    <a:pt x="1353" y="911"/>
                  </a:lnTo>
                  <a:lnTo>
                    <a:pt x="1355" y="911"/>
                  </a:lnTo>
                  <a:lnTo>
                    <a:pt x="1355" y="911"/>
                  </a:lnTo>
                  <a:lnTo>
                    <a:pt x="1355" y="908"/>
                  </a:lnTo>
                  <a:lnTo>
                    <a:pt x="1358" y="908"/>
                  </a:lnTo>
                  <a:lnTo>
                    <a:pt x="1358" y="908"/>
                  </a:lnTo>
                  <a:lnTo>
                    <a:pt x="1358" y="908"/>
                  </a:lnTo>
                  <a:lnTo>
                    <a:pt x="1358" y="908"/>
                  </a:lnTo>
                  <a:lnTo>
                    <a:pt x="1355" y="906"/>
                  </a:lnTo>
                  <a:lnTo>
                    <a:pt x="1353" y="906"/>
                  </a:lnTo>
                  <a:lnTo>
                    <a:pt x="1353" y="906"/>
                  </a:lnTo>
                  <a:lnTo>
                    <a:pt x="1353" y="906"/>
                  </a:lnTo>
                  <a:lnTo>
                    <a:pt x="1353" y="903"/>
                  </a:lnTo>
                  <a:lnTo>
                    <a:pt x="1353" y="903"/>
                  </a:lnTo>
                  <a:lnTo>
                    <a:pt x="1350" y="903"/>
                  </a:lnTo>
                  <a:lnTo>
                    <a:pt x="1350" y="903"/>
                  </a:lnTo>
                  <a:lnTo>
                    <a:pt x="1350" y="903"/>
                  </a:lnTo>
                  <a:lnTo>
                    <a:pt x="1347" y="903"/>
                  </a:lnTo>
                  <a:lnTo>
                    <a:pt x="1347" y="903"/>
                  </a:lnTo>
                  <a:lnTo>
                    <a:pt x="1347" y="900"/>
                  </a:lnTo>
                  <a:lnTo>
                    <a:pt x="1345" y="900"/>
                  </a:lnTo>
                  <a:lnTo>
                    <a:pt x="1345" y="900"/>
                  </a:lnTo>
                  <a:lnTo>
                    <a:pt x="1345" y="900"/>
                  </a:lnTo>
                  <a:lnTo>
                    <a:pt x="1342" y="900"/>
                  </a:lnTo>
                  <a:lnTo>
                    <a:pt x="1342" y="900"/>
                  </a:lnTo>
                  <a:lnTo>
                    <a:pt x="1342" y="900"/>
                  </a:lnTo>
                  <a:lnTo>
                    <a:pt x="1339" y="906"/>
                  </a:lnTo>
                  <a:lnTo>
                    <a:pt x="1342" y="906"/>
                  </a:lnTo>
                  <a:close/>
                  <a:moveTo>
                    <a:pt x="1339" y="911"/>
                  </a:moveTo>
                  <a:lnTo>
                    <a:pt x="1336" y="911"/>
                  </a:lnTo>
                  <a:lnTo>
                    <a:pt x="1336" y="911"/>
                  </a:lnTo>
                  <a:lnTo>
                    <a:pt x="1336" y="911"/>
                  </a:lnTo>
                  <a:lnTo>
                    <a:pt x="1334" y="914"/>
                  </a:lnTo>
                  <a:lnTo>
                    <a:pt x="1336" y="914"/>
                  </a:lnTo>
                  <a:lnTo>
                    <a:pt x="1339" y="919"/>
                  </a:lnTo>
                  <a:lnTo>
                    <a:pt x="1342" y="919"/>
                  </a:lnTo>
                  <a:lnTo>
                    <a:pt x="1342" y="919"/>
                  </a:lnTo>
                  <a:lnTo>
                    <a:pt x="1342" y="919"/>
                  </a:lnTo>
                  <a:lnTo>
                    <a:pt x="1345" y="919"/>
                  </a:lnTo>
                  <a:lnTo>
                    <a:pt x="1342" y="919"/>
                  </a:lnTo>
                  <a:lnTo>
                    <a:pt x="1342" y="919"/>
                  </a:lnTo>
                  <a:lnTo>
                    <a:pt x="1342" y="919"/>
                  </a:lnTo>
                  <a:lnTo>
                    <a:pt x="1342" y="919"/>
                  </a:lnTo>
                  <a:lnTo>
                    <a:pt x="1342" y="919"/>
                  </a:lnTo>
                  <a:lnTo>
                    <a:pt x="1342" y="919"/>
                  </a:lnTo>
                  <a:lnTo>
                    <a:pt x="1345" y="922"/>
                  </a:lnTo>
                  <a:lnTo>
                    <a:pt x="1345" y="922"/>
                  </a:lnTo>
                  <a:lnTo>
                    <a:pt x="1345" y="922"/>
                  </a:lnTo>
                  <a:lnTo>
                    <a:pt x="1345" y="922"/>
                  </a:lnTo>
                  <a:lnTo>
                    <a:pt x="1345" y="922"/>
                  </a:lnTo>
                  <a:lnTo>
                    <a:pt x="1347" y="922"/>
                  </a:lnTo>
                  <a:lnTo>
                    <a:pt x="1347" y="922"/>
                  </a:lnTo>
                  <a:lnTo>
                    <a:pt x="1347" y="922"/>
                  </a:lnTo>
                  <a:lnTo>
                    <a:pt x="1347" y="919"/>
                  </a:lnTo>
                  <a:lnTo>
                    <a:pt x="1345" y="916"/>
                  </a:lnTo>
                  <a:lnTo>
                    <a:pt x="1345" y="916"/>
                  </a:lnTo>
                  <a:lnTo>
                    <a:pt x="1342" y="914"/>
                  </a:lnTo>
                  <a:lnTo>
                    <a:pt x="1339" y="911"/>
                  </a:lnTo>
                  <a:lnTo>
                    <a:pt x="1339" y="911"/>
                  </a:lnTo>
                  <a:close/>
                  <a:moveTo>
                    <a:pt x="1363" y="911"/>
                  </a:moveTo>
                  <a:lnTo>
                    <a:pt x="1363" y="911"/>
                  </a:lnTo>
                  <a:lnTo>
                    <a:pt x="1363" y="911"/>
                  </a:lnTo>
                  <a:lnTo>
                    <a:pt x="1363" y="911"/>
                  </a:lnTo>
                  <a:lnTo>
                    <a:pt x="1361" y="911"/>
                  </a:lnTo>
                  <a:lnTo>
                    <a:pt x="1361" y="911"/>
                  </a:lnTo>
                  <a:lnTo>
                    <a:pt x="1361" y="911"/>
                  </a:lnTo>
                  <a:lnTo>
                    <a:pt x="1361" y="914"/>
                  </a:lnTo>
                  <a:lnTo>
                    <a:pt x="1361" y="914"/>
                  </a:lnTo>
                  <a:lnTo>
                    <a:pt x="1361" y="914"/>
                  </a:lnTo>
                  <a:lnTo>
                    <a:pt x="1363" y="914"/>
                  </a:lnTo>
                  <a:lnTo>
                    <a:pt x="1363" y="914"/>
                  </a:lnTo>
                  <a:lnTo>
                    <a:pt x="1363" y="914"/>
                  </a:lnTo>
                  <a:lnTo>
                    <a:pt x="1363" y="911"/>
                  </a:lnTo>
                  <a:lnTo>
                    <a:pt x="1363" y="911"/>
                  </a:lnTo>
                  <a:lnTo>
                    <a:pt x="1363" y="911"/>
                  </a:lnTo>
                  <a:lnTo>
                    <a:pt x="1363" y="911"/>
                  </a:lnTo>
                  <a:close/>
                  <a:moveTo>
                    <a:pt x="1515" y="740"/>
                  </a:moveTo>
                  <a:lnTo>
                    <a:pt x="1515" y="743"/>
                  </a:lnTo>
                  <a:lnTo>
                    <a:pt x="1515" y="743"/>
                  </a:lnTo>
                  <a:lnTo>
                    <a:pt x="1515" y="743"/>
                  </a:lnTo>
                  <a:lnTo>
                    <a:pt x="1515" y="745"/>
                  </a:lnTo>
                  <a:lnTo>
                    <a:pt x="1518" y="745"/>
                  </a:lnTo>
                  <a:lnTo>
                    <a:pt x="1518" y="745"/>
                  </a:lnTo>
                  <a:lnTo>
                    <a:pt x="1518" y="743"/>
                  </a:lnTo>
                  <a:lnTo>
                    <a:pt x="1518" y="743"/>
                  </a:lnTo>
                  <a:lnTo>
                    <a:pt x="1518" y="740"/>
                  </a:lnTo>
                  <a:lnTo>
                    <a:pt x="1518" y="740"/>
                  </a:lnTo>
                  <a:lnTo>
                    <a:pt x="1521" y="740"/>
                  </a:lnTo>
                  <a:lnTo>
                    <a:pt x="1521" y="737"/>
                  </a:lnTo>
                  <a:lnTo>
                    <a:pt x="1518" y="737"/>
                  </a:lnTo>
                  <a:lnTo>
                    <a:pt x="1515" y="740"/>
                  </a:lnTo>
                  <a:close/>
                  <a:moveTo>
                    <a:pt x="1358" y="964"/>
                  </a:moveTo>
                  <a:lnTo>
                    <a:pt x="1358" y="964"/>
                  </a:lnTo>
                  <a:lnTo>
                    <a:pt x="1358" y="967"/>
                  </a:lnTo>
                  <a:lnTo>
                    <a:pt x="1358" y="967"/>
                  </a:lnTo>
                  <a:lnTo>
                    <a:pt x="1358" y="964"/>
                  </a:lnTo>
                  <a:lnTo>
                    <a:pt x="1355" y="964"/>
                  </a:lnTo>
                  <a:lnTo>
                    <a:pt x="1353" y="964"/>
                  </a:lnTo>
                  <a:lnTo>
                    <a:pt x="1353" y="964"/>
                  </a:lnTo>
                  <a:lnTo>
                    <a:pt x="1353" y="964"/>
                  </a:lnTo>
                  <a:lnTo>
                    <a:pt x="1353" y="964"/>
                  </a:lnTo>
                  <a:lnTo>
                    <a:pt x="1353" y="964"/>
                  </a:lnTo>
                  <a:lnTo>
                    <a:pt x="1350" y="964"/>
                  </a:lnTo>
                  <a:lnTo>
                    <a:pt x="1350" y="967"/>
                  </a:lnTo>
                  <a:lnTo>
                    <a:pt x="1347" y="967"/>
                  </a:lnTo>
                  <a:lnTo>
                    <a:pt x="1350" y="964"/>
                  </a:lnTo>
                  <a:lnTo>
                    <a:pt x="1347" y="964"/>
                  </a:lnTo>
                  <a:lnTo>
                    <a:pt x="1347" y="964"/>
                  </a:lnTo>
                  <a:lnTo>
                    <a:pt x="1347" y="964"/>
                  </a:lnTo>
                  <a:lnTo>
                    <a:pt x="1347" y="962"/>
                  </a:lnTo>
                  <a:lnTo>
                    <a:pt x="1347" y="962"/>
                  </a:lnTo>
                  <a:lnTo>
                    <a:pt x="1345" y="962"/>
                  </a:lnTo>
                  <a:lnTo>
                    <a:pt x="1345" y="964"/>
                  </a:lnTo>
                  <a:lnTo>
                    <a:pt x="1345" y="964"/>
                  </a:lnTo>
                  <a:lnTo>
                    <a:pt x="1345" y="964"/>
                  </a:lnTo>
                  <a:lnTo>
                    <a:pt x="1345" y="964"/>
                  </a:lnTo>
                  <a:lnTo>
                    <a:pt x="1342" y="967"/>
                  </a:lnTo>
                  <a:lnTo>
                    <a:pt x="1342" y="970"/>
                  </a:lnTo>
                  <a:lnTo>
                    <a:pt x="1342" y="970"/>
                  </a:lnTo>
                  <a:lnTo>
                    <a:pt x="1342" y="970"/>
                  </a:lnTo>
                  <a:lnTo>
                    <a:pt x="1342" y="970"/>
                  </a:lnTo>
                  <a:lnTo>
                    <a:pt x="1342" y="970"/>
                  </a:lnTo>
                  <a:lnTo>
                    <a:pt x="1342" y="970"/>
                  </a:lnTo>
                  <a:lnTo>
                    <a:pt x="1342" y="970"/>
                  </a:lnTo>
                  <a:lnTo>
                    <a:pt x="1342" y="970"/>
                  </a:lnTo>
                  <a:lnTo>
                    <a:pt x="1342" y="970"/>
                  </a:lnTo>
                  <a:lnTo>
                    <a:pt x="1342" y="972"/>
                  </a:lnTo>
                  <a:lnTo>
                    <a:pt x="1339" y="972"/>
                  </a:lnTo>
                  <a:lnTo>
                    <a:pt x="1342" y="972"/>
                  </a:lnTo>
                  <a:lnTo>
                    <a:pt x="1342" y="972"/>
                  </a:lnTo>
                  <a:lnTo>
                    <a:pt x="1345" y="972"/>
                  </a:lnTo>
                  <a:lnTo>
                    <a:pt x="1345" y="972"/>
                  </a:lnTo>
                  <a:lnTo>
                    <a:pt x="1345" y="972"/>
                  </a:lnTo>
                  <a:lnTo>
                    <a:pt x="1345" y="972"/>
                  </a:lnTo>
                  <a:lnTo>
                    <a:pt x="1342" y="972"/>
                  </a:lnTo>
                  <a:lnTo>
                    <a:pt x="1342" y="975"/>
                  </a:lnTo>
                  <a:lnTo>
                    <a:pt x="1345" y="975"/>
                  </a:lnTo>
                  <a:lnTo>
                    <a:pt x="1345" y="975"/>
                  </a:lnTo>
                  <a:lnTo>
                    <a:pt x="1345" y="975"/>
                  </a:lnTo>
                  <a:lnTo>
                    <a:pt x="1345" y="975"/>
                  </a:lnTo>
                  <a:lnTo>
                    <a:pt x="1342" y="978"/>
                  </a:lnTo>
                  <a:lnTo>
                    <a:pt x="1345" y="978"/>
                  </a:lnTo>
                  <a:lnTo>
                    <a:pt x="1345" y="978"/>
                  </a:lnTo>
                  <a:lnTo>
                    <a:pt x="1347" y="975"/>
                  </a:lnTo>
                  <a:lnTo>
                    <a:pt x="1347" y="975"/>
                  </a:lnTo>
                  <a:lnTo>
                    <a:pt x="1347" y="972"/>
                  </a:lnTo>
                  <a:lnTo>
                    <a:pt x="1347" y="972"/>
                  </a:lnTo>
                  <a:lnTo>
                    <a:pt x="1347" y="972"/>
                  </a:lnTo>
                  <a:lnTo>
                    <a:pt x="1347" y="972"/>
                  </a:lnTo>
                  <a:lnTo>
                    <a:pt x="1350" y="970"/>
                  </a:lnTo>
                  <a:lnTo>
                    <a:pt x="1350" y="970"/>
                  </a:lnTo>
                  <a:lnTo>
                    <a:pt x="1353" y="970"/>
                  </a:lnTo>
                  <a:lnTo>
                    <a:pt x="1353" y="970"/>
                  </a:lnTo>
                  <a:lnTo>
                    <a:pt x="1353" y="970"/>
                  </a:lnTo>
                  <a:lnTo>
                    <a:pt x="1355" y="967"/>
                  </a:lnTo>
                  <a:lnTo>
                    <a:pt x="1355" y="967"/>
                  </a:lnTo>
                  <a:lnTo>
                    <a:pt x="1355" y="970"/>
                  </a:lnTo>
                  <a:lnTo>
                    <a:pt x="1355" y="970"/>
                  </a:lnTo>
                  <a:lnTo>
                    <a:pt x="1355" y="970"/>
                  </a:lnTo>
                  <a:lnTo>
                    <a:pt x="1358" y="967"/>
                  </a:lnTo>
                  <a:lnTo>
                    <a:pt x="1358" y="967"/>
                  </a:lnTo>
                  <a:lnTo>
                    <a:pt x="1361" y="967"/>
                  </a:lnTo>
                  <a:lnTo>
                    <a:pt x="1361" y="967"/>
                  </a:lnTo>
                  <a:lnTo>
                    <a:pt x="1358" y="964"/>
                  </a:lnTo>
                  <a:close/>
                  <a:moveTo>
                    <a:pt x="1326" y="940"/>
                  </a:moveTo>
                  <a:lnTo>
                    <a:pt x="1323" y="940"/>
                  </a:lnTo>
                  <a:lnTo>
                    <a:pt x="1323" y="940"/>
                  </a:lnTo>
                  <a:lnTo>
                    <a:pt x="1323" y="940"/>
                  </a:lnTo>
                  <a:lnTo>
                    <a:pt x="1323" y="943"/>
                  </a:lnTo>
                  <a:lnTo>
                    <a:pt x="1323" y="943"/>
                  </a:lnTo>
                  <a:lnTo>
                    <a:pt x="1323" y="943"/>
                  </a:lnTo>
                  <a:lnTo>
                    <a:pt x="1323" y="943"/>
                  </a:lnTo>
                  <a:lnTo>
                    <a:pt x="1323" y="946"/>
                  </a:lnTo>
                  <a:lnTo>
                    <a:pt x="1323" y="946"/>
                  </a:lnTo>
                  <a:lnTo>
                    <a:pt x="1323" y="948"/>
                  </a:lnTo>
                  <a:lnTo>
                    <a:pt x="1326" y="946"/>
                  </a:lnTo>
                  <a:lnTo>
                    <a:pt x="1326" y="943"/>
                  </a:lnTo>
                  <a:lnTo>
                    <a:pt x="1326" y="943"/>
                  </a:lnTo>
                  <a:lnTo>
                    <a:pt x="1326" y="943"/>
                  </a:lnTo>
                  <a:lnTo>
                    <a:pt x="1326" y="940"/>
                  </a:lnTo>
                  <a:close/>
                  <a:moveTo>
                    <a:pt x="1379" y="932"/>
                  </a:moveTo>
                  <a:lnTo>
                    <a:pt x="1377" y="935"/>
                  </a:lnTo>
                  <a:lnTo>
                    <a:pt x="1377" y="935"/>
                  </a:lnTo>
                  <a:lnTo>
                    <a:pt x="1377" y="932"/>
                  </a:lnTo>
                  <a:lnTo>
                    <a:pt x="1377" y="932"/>
                  </a:lnTo>
                  <a:lnTo>
                    <a:pt x="1377" y="930"/>
                  </a:lnTo>
                  <a:lnTo>
                    <a:pt x="1377" y="930"/>
                  </a:lnTo>
                  <a:lnTo>
                    <a:pt x="1377" y="930"/>
                  </a:lnTo>
                  <a:lnTo>
                    <a:pt x="1374" y="932"/>
                  </a:lnTo>
                  <a:lnTo>
                    <a:pt x="1374" y="932"/>
                  </a:lnTo>
                  <a:lnTo>
                    <a:pt x="1374" y="932"/>
                  </a:lnTo>
                  <a:lnTo>
                    <a:pt x="1374" y="930"/>
                  </a:lnTo>
                  <a:lnTo>
                    <a:pt x="1374" y="930"/>
                  </a:lnTo>
                  <a:lnTo>
                    <a:pt x="1374" y="930"/>
                  </a:lnTo>
                  <a:lnTo>
                    <a:pt x="1374" y="927"/>
                  </a:lnTo>
                  <a:lnTo>
                    <a:pt x="1374" y="927"/>
                  </a:lnTo>
                  <a:lnTo>
                    <a:pt x="1374" y="927"/>
                  </a:lnTo>
                  <a:lnTo>
                    <a:pt x="1374" y="927"/>
                  </a:lnTo>
                  <a:lnTo>
                    <a:pt x="1371" y="930"/>
                  </a:lnTo>
                  <a:lnTo>
                    <a:pt x="1371" y="930"/>
                  </a:lnTo>
                  <a:lnTo>
                    <a:pt x="1371" y="930"/>
                  </a:lnTo>
                  <a:lnTo>
                    <a:pt x="1371" y="927"/>
                  </a:lnTo>
                  <a:lnTo>
                    <a:pt x="1374" y="927"/>
                  </a:lnTo>
                  <a:lnTo>
                    <a:pt x="1374" y="924"/>
                  </a:lnTo>
                  <a:lnTo>
                    <a:pt x="1377" y="922"/>
                  </a:lnTo>
                  <a:lnTo>
                    <a:pt x="1379" y="919"/>
                  </a:lnTo>
                  <a:lnTo>
                    <a:pt x="1379" y="919"/>
                  </a:lnTo>
                  <a:lnTo>
                    <a:pt x="1379" y="919"/>
                  </a:lnTo>
                  <a:lnTo>
                    <a:pt x="1377" y="919"/>
                  </a:lnTo>
                  <a:lnTo>
                    <a:pt x="1377" y="919"/>
                  </a:lnTo>
                  <a:lnTo>
                    <a:pt x="1377" y="919"/>
                  </a:lnTo>
                  <a:lnTo>
                    <a:pt x="1377" y="922"/>
                  </a:lnTo>
                  <a:lnTo>
                    <a:pt x="1377" y="922"/>
                  </a:lnTo>
                  <a:lnTo>
                    <a:pt x="1374" y="919"/>
                  </a:lnTo>
                  <a:lnTo>
                    <a:pt x="1377" y="919"/>
                  </a:lnTo>
                  <a:lnTo>
                    <a:pt x="1377" y="919"/>
                  </a:lnTo>
                  <a:lnTo>
                    <a:pt x="1374" y="916"/>
                  </a:lnTo>
                  <a:lnTo>
                    <a:pt x="1374" y="916"/>
                  </a:lnTo>
                  <a:lnTo>
                    <a:pt x="1374" y="916"/>
                  </a:lnTo>
                  <a:lnTo>
                    <a:pt x="1374" y="916"/>
                  </a:lnTo>
                  <a:lnTo>
                    <a:pt x="1374" y="914"/>
                  </a:lnTo>
                  <a:lnTo>
                    <a:pt x="1371" y="914"/>
                  </a:lnTo>
                  <a:lnTo>
                    <a:pt x="1371" y="914"/>
                  </a:lnTo>
                  <a:lnTo>
                    <a:pt x="1371" y="914"/>
                  </a:lnTo>
                  <a:lnTo>
                    <a:pt x="1371" y="916"/>
                  </a:lnTo>
                  <a:lnTo>
                    <a:pt x="1371" y="916"/>
                  </a:lnTo>
                  <a:lnTo>
                    <a:pt x="1371" y="914"/>
                  </a:lnTo>
                  <a:lnTo>
                    <a:pt x="1371" y="914"/>
                  </a:lnTo>
                  <a:lnTo>
                    <a:pt x="1369" y="914"/>
                  </a:lnTo>
                  <a:lnTo>
                    <a:pt x="1369" y="914"/>
                  </a:lnTo>
                  <a:lnTo>
                    <a:pt x="1369" y="914"/>
                  </a:lnTo>
                  <a:lnTo>
                    <a:pt x="1369" y="914"/>
                  </a:lnTo>
                  <a:lnTo>
                    <a:pt x="1369" y="914"/>
                  </a:lnTo>
                  <a:lnTo>
                    <a:pt x="1369" y="916"/>
                  </a:lnTo>
                  <a:lnTo>
                    <a:pt x="1369" y="916"/>
                  </a:lnTo>
                  <a:lnTo>
                    <a:pt x="1369" y="916"/>
                  </a:lnTo>
                  <a:lnTo>
                    <a:pt x="1369" y="919"/>
                  </a:lnTo>
                  <a:lnTo>
                    <a:pt x="1369" y="916"/>
                  </a:lnTo>
                  <a:lnTo>
                    <a:pt x="1366" y="916"/>
                  </a:lnTo>
                  <a:lnTo>
                    <a:pt x="1366" y="916"/>
                  </a:lnTo>
                  <a:lnTo>
                    <a:pt x="1366" y="916"/>
                  </a:lnTo>
                  <a:lnTo>
                    <a:pt x="1366" y="919"/>
                  </a:lnTo>
                  <a:lnTo>
                    <a:pt x="1363" y="919"/>
                  </a:lnTo>
                  <a:lnTo>
                    <a:pt x="1363" y="922"/>
                  </a:lnTo>
                  <a:lnTo>
                    <a:pt x="1363" y="919"/>
                  </a:lnTo>
                  <a:lnTo>
                    <a:pt x="1363" y="919"/>
                  </a:lnTo>
                  <a:lnTo>
                    <a:pt x="1363" y="919"/>
                  </a:lnTo>
                  <a:lnTo>
                    <a:pt x="1361" y="919"/>
                  </a:lnTo>
                  <a:lnTo>
                    <a:pt x="1361" y="919"/>
                  </a:lnTo>
                  <a:lnTo>
                    <a:pt x="1361" y="922"/>
                  </a:lnTo>
                  <a:lnTo>
                    <a:pt x="1361" y="924"/>
                  </a:lnTo>
                  <a:lnTo>
                    <a:pt x="1361" y="924"/>
                  </a:lnTo>
                  <a:lnTo>
                    <a:pt x="1361" y="927"/>
                  </a:lnTo>
                  <a:lnTo>
                    <a:pt x="1361" y="927"/>
                  </a:lnTo>
                  <a:lnTo>
                    <a:pt x="1361" y="927"/>
                  </a:lnTo>
                  <a:lnTo>
                    <a:pt x="1361" y="927"/>
                  </a:lnTo>
                  <a:lnTo>
                    <a:pt x="1358" y="927"/>
                  </a:lnTo>
                  <a:lnTo>
                    <a:pt x="1358" y="927"/>
                  </a:lnTo>
                  <a:lnTo>
                    <a:pt x="1358" y="927"/>
                  </a:lnTo>
                  <a:lnTo>
                    <a:pt x="1358" y="924"/>
                  </a:lnTo>
                  <a:lnTo>
                    <a:pt x="1358" y="924"/>
                  </a:lnTo>
                  <a:lnTo>
                    <a:pt x="1358" y="922"/>
                  </a:lnTo>
                  <a:lnTo>
                    <a:pt x="1358" y="919"/>
                  </a:lnTo>
                  <a:lnTo>
                    <a:pt x="1358" y="919"/>
                  </a:lnTo>
                  <a:lnTo>
                    <a:pt x="1361" y="916"/>
                  </a:lnTo>
                  <a:lnTo>
                    <a:pt x="1361" y="916"/>
                  </a:lnTo>
                  <a:lnTo>
                    <a:pt x="1361" y="916"/>
                  </a:lnTo>
                  <a:lnTo>
                    <a:pt x="1358" y="916"/>
                  </a:lnTo>
                  <a:lnTo>
                    <a:pt x="1358" y="916"/>
                  </a:lnTo>
                  <a:lnTo>
                    <a:pt x="1361" y="916"/>
                  </a:lnTo>
                  <a:lnTo>
                    <a:pt x="1361" y="916"/>
                  </a:lnTo>
                  <a:lnTo>
                    <a:pt x="1361" y="914"/>
                  </a:lnTo>
                  <a:lnTo>
                    <a:pt x="1361" y="914"/>
                  </a:lnTo>
                  <a:lnTo>
                    <a:pt x="1355" y="911"/>
                  </a:lnTo>
                  <a:lnTo>
                    <a:pt x="1355" y="914"/>
                  </a:lnTo>
                  <a:lnTo>
                    <a:pt x="1355" y="914"/>
                  </a:lnTo>
                  <a:lnTo>
                    <a:pt x="1355" y="914"/>
                  </a:lnTo>
                  <a:lnTo>
                    <a:pt x="1353" y="914"/>
                  </a:lnTo>
                  <a:lnTo>
                    <a:pt x="1353" y="914"/>
                  </a:lnTo>
                  <a:lnTo>
                    <a:pt x="1350" y="911"/>
                  </a:lnTo>
                  <a:lnTo>
                    <a:pt x="1350" y="911"/>
                  </a:lnTo>
                  <a:lnTo>
                    <a:pt x="1347" y="908"/>
                  </a:lnTo>
                  <a:lnTo>
                    <a:pt x="1345" y="908"/>
                  </a:lnTo>
                  <a:lnTo>
                    <a:pt x="1345" y="908"/>
                  </a:lnTo>
                  <a:lnTo>
                    <a:pt x="1345" y="908"/>
                  </a:lnTo>
                  <a:lnTo>
                    <a:pt x="1345" y="908"/>
                  </a:lnTo>
                  <a:lnTo>
                    <a:pt x="1345" y="908"/>
                  </a:lnTo>
                  <a:lnTo>
                    <a:pt x="1345" y="908"/>
                  </a:lnTo>
                  <a:lnTo>
                    <a:pt x="1345" y="911"/>
                  </a:lnTo>
                  <a:lnTo>
                    <a:pt x="1345" y="911"/>
                  </a:lnTo>
                  <a:lnTo>
                    <a:pt x="1347" y="911"/>
                  </a:lnTo>
                  <a:lnTo>
                    <a:pt x="1347" y="914"/>
                  </a:lnTo>
                  <a:lnTo>
                    <a:pt x="1350" y="916"/>
                  </a:lnTo>
                  <a:lnTo>
                    <a:pt x="1350" y="916"/>
                  </a:lnTo>
                  <a:lnTo>
                    <a:pt x="1350" y="916"/>
                  </a:lnTo>
                  <a:lnTo>
                    <a:pt x="1350" y="919"/>
                  </a:lnTo>
                  <a:lnTo>
                    <a:pt x="1350" y="919"/>
                  </a:lnTo>
                  <a:lnTo>
                    <a:pt x="1353" y="919"/>
                  </a:lnTo>
                  <a:lnTo>
                    <a:pt x="1353" y="919"/>
                  </a:lnTo>
                  <a:lnTo>
                    <a:pt x="1353" y="919"/>
                  </a:lnTo>
                  <a:lnTo>
                    <a:pt x="1353" y="922"/>
                  </a:lnTo>
                  <a:lnTo>
                    <a:pt x="1353" y="919"/>
                  </a:lnTo>
                  <a:lnTo>
                    <a:pt x="1350" y="919"/>
                  </a:lnTo>
                  <a:lnTo>
                    <a:pt x="1347" y="916"/>
                  </a:lnTo>
                  <a:lnTo>
                    <a:pt x="1347" y="916"/>
                  </a:lnTo>
                  <a:lnTo>
                    <a:pt x="1347" y="916"/>
                  </a:lnTo>
                  <a:lnTo>
                    <a:pt x="1347" y="916"/>
                  </a:lnTo>
                  <a:lnTo>
                    <a:pt x="1347" y="919"/>
                  </a:lnTo>
                  <a:lnTo>
                    <a:pt x="1347" y="919"/>
                  </a:lnTo>
                  <a:lnTo>
                    <a:pt x="1347" y="922"/>
                  </a:lnTo>
                  <a:lnTo>
                    <a:pt x="1347" y="927"/>
                  </a:lnTo>
                  <a:lnTo>
                    <a:pt x="1347" y="927"/>
                  </a:lnTo>
                  <a:lnTo>
                    <a:pt x="1347" y="930"/>
                  </a:lnTo>
                  <a:lnTo>
                    <a:pt x="1347" y="930"/>
                  </a:lnTo>
                  <a:lnTo>
                    <a:pt x="1347" y="930"/>
                  </a:lnTo>
                  <a:lnTo>
                    <a:pt x="1347" y="927"/>
                  </a:lnTo>
                  <a:lnTo>
                    <a:pt x="1347" y="927"/>
                  </a:lnTo>
                  <a:lnTo>
                    <a:pt x="1347" y="927"/>
                  </a:lnTo>
                  <a:lnTo>
                    <a:pt x="1347" y="924"/>
                  </a:lnTo>
                  <a:lnTo>
                    <a:pt x="1347" y="924"/>
                  </a:lnTo>
                  <a:lnTo>
                    <a:pt x="1347" y="924"/>
                  </a:lnTo>
                  <a:lnTo>
                    <a:pt x="1345" y="922"/>
                  </a:lnTo>
                  <a:lnTo>
                    <a:pt x="1342" y="922"/>
                  </a:lnTo>
                  <a:lnTo>
                    <a:pt x="1339" y="919"/>
                  </a:lnTo>
                  <a:lnTo>
                    <a:pt x="1339" y="919"/>
                  </a:lnTo>
                  <a:lnTo>
                    <a:pt x="1336" y="919"/>
                  </a:lnTo>
                  <a:lnTo>
                    <a:pt x="1336" y="922"/>
                  </a:lnTo>
                  <a:lnTo>
                    <a:pt x="1339" y="922"/>
                  </a:lnTo>
                  <a:lnTo>
                    <a:pt x="1339" y="924"/>
                  </a:lnTo>
                  <a:lnTo>
                    <a:pt x="1339" y="924"/>
                  </a:lnTo>
                  <a:lnTo>
                    <a:pt x="1339" y="924"/>
                  </a:lnTo>
                  <a:lnTo>
                    <a:pt x="1339" y="924"/>
                  </a:lnTo>
                  <a:lnTo>
                    <a:pt x="1342" y="924"/>
                  </a:lnTo>
                  <a:lnTo>
                    <a:pt x="1342" y="924"/>
                  </a:lnTo>
                  <a:lnTo>
                    <a:pt x="1342" y="924"/>
                  </a:lnTo>
                  <a:lnTo>
                    <a:pt x="1342" y="924"/>
                  </a:lnTo>
                  <a:lnTo>
                    <a:pt x="1342" y="927"/>
                  </a:lnTo>
                  <a:lnTo>
                    <a:pt x="1342" y="927"/>
                  </a:lnTo>
                  <a:lnTo>
                    <a:pt x="1342" y="930"/>
                  </a:lnTo>
                  <a:lnTo>
                    <a:pt x="1342" y="930"/>
                  </a:lnTo>
                  <a:lnTo>
                    <a:pt x="1342" y="927"/>
                  </a:lnTo>
                  <a:lnTo>
                    <a:pt x="1339" y="927"/>
                  </a:lnTo>
                  <a:lnTo>
                    <a:pt x="1339" y="927"/>
                  </a:lnTo>
                  <a:lnTo>
                    <a:pt x="1339" y="924"/>
                  </a:lnTo>
                  <a:lnTo>
                    <a:pt x="1339" y="924"/>
                  </a:lnTo>
                  <a:lnTo>
                    <a:pt x="1336" y="924"/>
                  </a:lnTo>
                  <a:lnTo>
                    <a:pt x="1336" y="924"/>
                  </a:lnTo>
                  <a:lnTo>
                    <a:pt x="1336" y="927"/>
                  </a:lnTo>
                  <a:lnTo>
                    <a:pt x="1336" y="927"/>
                  </a:lnTo>
                  <a:lnTo>
                    <a:pt x="1339" y="930"/>
                  </a:lnTo>
                  <a:lnTo>
                    <a:pt x="1339" y="930"/>
                  </a:lnTo>
                  <a:lnTo>
                    <a:pt x="1339" y="930"/>
                  </a:lnTo>
                  <a:lnTo>
                    <a:pt x="1336" y="930"/>
                  </a:lnTo>
                  <a:lnTo>
                    <a:pt x="1336" y="927"/>
                  </a:lnTo>
                  <a:lnTo>
                    <a:pt x="1336" y="930"/>
                  </a:lnTo>
                  <a:lnTo>
                    <a:pt x="1336" y="932"/>
                  </a:lnTo>
                  <a:lnTo>
                    <a:pt x="1336" y="935"/>
                  </a:lnTo>
                  <a:lnTo>
                    <a:pt x="1336" y="932"/>
                  </a:lnTo>
                  <a:lnTo>
                    <a:pt x="1334" y="930"/>
                  </a:lnTo>
                  <a:lnTo>
                    <a:pt x="1334" y="927"/>
                  </a:lnTo>
                  <a:lnTo>
                    <a:pt x="1334" y="924"/>
                  </a:lnTo>
                  <a:lnTo>
                    <a:pt x="1334" y="922"/>
                  </a:lnTo>
                  <a:lnTo>
                    <a:pt x="1334" y="922"/>
                  </a:lnTo>
                  <a:lnTo>
                    <a:pt x="1334" y="919"/>
                  </a:lnTo>
                  <a:lnTo>
                    <a:pt x="1334" y="919"/>
                  </a:lnTo>
                  <a:lnTo>
                    <a:pt x="1331" y="919"/>
                  </a:lnTo>
                  <a:lnTo>
                    <a:pt x="1331" y="919"/>
                  </a:lnTo>
                  <a:lnTo>
                    <a:pt x="1331" y="916"/>
                  </a:lnTo>
                  <a:lnTo>
                    <a:pt x="1331" y="916"/>
                  </a:lnTo>
                  <a:lnTo>
                    <a:pt x="1331" y="916"/>
                  </a:lnTo>
                  <a:lnTo>
                    <a:pt x="1331" y="916"/>
                  </a:lnTo>
                  <a:lnTo>
                    <a:pt x="1328" y="916"/>
                  </a:lnTo>
                  <a:lnTo>
                    <a:pt x="1328" y="916"/>
                  </a:lnTo>
                  <a:lnTo>
                    <a:pt x="1328" y="916"/>
                  </a:lnTo>
                  <a:lnTo>
                    <a:pt x="1328" y="916"/>
                  </a:lnTo>
                  <a:lnTo>
                    <a:pt x="1326" y="916"/>
                  </a:lnTo>
                  <a:lnTo>
                    <a:pt x="1326" y="916"/>
                  </a:lnTo>
                  <a:lnTo>
                    <a:pt x="1326" y="919"/>
                  </a:lnTo>
                  <a:lnTo>
                    <a:pt x="1326" y="919"/>
                  </a:lnTo>
                  <a:lnTo>
                    <a:pt x="1326" y="916"/>
                  </a:lnTo>
                  <a:lnTo>
                    <a:pt x="1326" y="919"/>
                  </a:lnTo>
                  <a:lnTo>
                    <a:pt x="1323" y="919"/>
                  </a:lnTo>
                  <a:lnTo>
                    <a:pt x="1323" y="919"/>
                  </a:lnTo>
                  <a:lnTo>
                    <a:pt x="1320" y="922"/>
                  </a:lnTo>
                  <a:lnTo>
                    <a:pt x="1320" y="924"/>
                  </a:lnTo>
                  <a:lnTo>
                    <a:pt x="1320" y="927"/>
                  </a:lnTo>
                  <a:lnTo>
                    <a:pt x="1323" y="930"/>
                  </a:lnTo>
                  <a:lnTo>
                    <a:pt x="1323" y="930"/>
                  </a:lnTo>
                  <a:lnTo>
                    <a:pt x="1328" y="930"/>
                  </a:lnTo>
                  <a:lnTo>
                    <a:pt x="1328" y="930"/>
                  </a:lnTo>
                  <a:lnTo>
                    <a:pt x="1331" y="932"/>
                  </a:lnTo>
                  <a:lnTo>
                    <a:pt x="1334" y="935"/>
                  </a:lnTo>
                  <a:lnTo>
                    <a:pt x="1334" y="935"/>
                  </a:lnTo>
                  <a:lnTo>
                    <a:pt x="1334" y="935"/>
                  </a:lnTo>
                  <a:lnTo>
                    <a:pt x="1334" y="935"/>
                  </a:lnTo>
                  <a:lnTo>
                    <a:pt x="1334" y="935"/>
                  </a:lnTo>
                  <a:lnTo>
                    <a:pt x="1334" y="935"/>
                  </a:lnTo>
                  <a:lnTo>
                    <a:pt x="1331" y="938"/>
                  </a:lnTo>
                  <a:lnTo>
                    <a:pt x="1331" y="935"/>
                  </a:lnTo>
                  <a:lnTo>
                    <a:pt x="1331" y="932"/>
                  </a:lnTo>
                  <a:lnTo>
                    <a:pt x="1326" y="932"/>
                  </a:lnTo>
                  <a:lnTo>
                    <a:pt x="1323" y="932"/>
                  </a:lnTo>
                  <a:lnTo>
                    <a:pt x="1323" y="932"/>
                  </a:lnTo>
                  <a:lnTo>
                    <a:pt x="1323" y="935"/>
                  </a:lnTo>
                  <a:lnTo>
                    <a:pt x="1328" y="938"/>
                  </a:lnTo>
                  <a:lnTo>
                    <a:pt x="1328" y="940"/>
                  </a:lnTo>
                  <a:lnTo>
                    <a:pt x="1328" y="940"/>
                  </a:lnTo>
                  <a:lnTo>
                    <a:pt x="1331" y="940"/>
                  </a:lnTo>
                  <a:lnTo>
                    <a:pt x="1331" y="940"/>
                  </a:lnTo>
                  <a:lnTo>
                    <a:pt x="1328" y="940"/>
                  </a:lnTo>
                  <a:lnTo>
                    <a:pt x="1328" y="940"/>
                  </a:lnTo>
                  <a:lnTo>
                    <a:pt x="1326" y="940"/>
                  </a:lnTo>
                  <a:lnTo>
                    <a:pt x="1326" y="938"/>
                  </a:lnTo>
                  <a:lnTo>
                    <a:pt x="1326" y="938"/>
                  </a:lnTo>
                  <a:lnTo>
                    <a:pt x="1323" y="938"/>
                  </a:lnTo>
                  <a:lnTo>
                    <a:pt x="1323" y="938"/>
                  </a:lnTo>
                  <a:lnTo>
                    <a:pt x="1323" y="940"/>
                  </a:lnTo>
                  <a:lnTo>
                    <a:pt x="1323" y="940"/>
                  </a:lnTo>
                  <a:lnTo>
                    <a:pt x="1326" y="943"/>
                  </a:lnTo>
                  <a:lnTo>
                    <a:pt x="1326" y="943"/>
                  </a:lnTo>
                  <a:lnTo>
                    <a:pt x="1326" y="943"/>
                  </a:lnTo>
                  <a:lnTo>
                    <a:pt x="1326" y="948"/>
                  </a:lnTo>
                  <a:lnTo>
                    <a:pt x="1326" y="951"/>
                  </a:lnTo>
                  <a:lnTo>
                    <a:pt x="1326" y="951"/>
                  </a:lnTo>
                  <a:lnTo>
                    <a:pt x="1326" y="951"/>
                  </a:lnTo>
                  <a:lnTo>
                    <a:pt x="1328" y="954"/>
                  </a:lnTo>
                  <a:lnTo>
                    <a:pt x="1328" y="954"/>
                  </a:lnTo>
                  <a:lnTo>
                    <a:pt x="1328" y="956"/>
                  </a:lnTo>
                  <a:lnTo>
                    <a:pt x="1328" y="956"/>
                  </a:lnTo>
                  <a:lnTo>
                    <a:pt x="1331" y="956"/>
                  </a:lnTo>
                  <a:lnTo>
                    <a:pt x="1331" y="959"/>
                  </a:lnTo>
                  <a:lnTo>
                    <a:pt x="1331" y="959"/>
                  </a:lnTo>
                  <a:lnTo>
                    <a:pt x="1328" y="956"/>
                  </a:lnTo>
                  <a:lnTo>
                    <a:pt x="1326" y="956"/>
                  </a:lnTo>
                  <a:lnTo>
                    <a:pt x="1326" y="951"/>
                  </a:lnTo>
                  <a:lnTo>
                    <a:pt x="1323" y="951"/>
                  </a:lnTo>
                  <a:lnTo>
                    <a:pt x="1323" y="951"/>
                  </a:lnTo>
                  <a:lnTo>
                    <a:pt x="1323" y="948"/>
                  </a:lnTo>
                  <a:lnTo>
                    <a:pt x="1323" y="948"/>
                  </a:lnTo>
                  <a:lnTo>
                    <a:pt x="1320" y="943"/>
                  </a:lnTo>
                  <a:lnTo>
                    <a:pt x="1320" y="940"/>
                  </a:lnTo>
                  <a:lnTo>
                    <a:pt x="1320" y="940"/>
                  </a:lnTo>
                  <a:lnTo>
                    <a:pt x="1315" y="940"/>
                  </a:lnTo>
                  <a:lnTo>
                    <a:pt x="1315" y="940"/>
                  </a:lnTo>
                  <a:lnTo>
                    <a:pt x="1318" y="940"/>
                  </a:lnTo>
                  <a:lnTo>
                    <a:pt x="1320" y="938"/>
                  </a:lnTo>
                  <a:lnTo>
                    <a:pt x="1318" y="935"/>
                  </a:lnTo>
                  <a:lnTo>
                    <a:pt x="1318" y="932"/>
                  </a:lnTo>
                  <a:lnTo>
                    <a:pt x="1318" y="932"/>
                  </a:lnTo>
                  <a:lnTo>
                    <a:pt x="1312" y="932"/>
                  </a:lnTo>
                  <a:lnTo>
                    <a:pt x="1312" y="932"/>
                  </a:lnTo>
                  <a:lnTo>
                    <a:pt x="1312" y="932"/>
                  </a:lnTo>
                  <a:lnTo>
                    <a:pt x="1310" y="932"/>
                  </a:lnTo>
                  <a:lnTo>
                    <a:pt x="1310" y="932"/>
                  </a:lnTo>
                  <a:lnTo>
                    <a:pt x="1310" y="932"/>
                  </a:lnTo>
                  <a:lnTo>
                    <a:pt x="1310" y="932"/>
                  </a:lnTo>
                  <a:lnTo>
                    <a:pt x="1307" y="932"/>
                  </a:lnTo>
                  <a:lnTo>
                    <a:pt x="1307" y="932"/>
                  </a:lnTo>
                  <a:lnTo>
                    <a:pt x="1307" y="932"/>
                  </a:lnTo>
                  <a:lnTo>
                    <a:pt x="1304" y="932"/>
                  </a:lnTo>
                  <a:lnTo>
                    <a:pt x="1304" y="932"/>
                  </a:lnTo>
                  <a:lnTo>
                    <a:pt x="1304" y="935"/>
                  </a:lnTo>
                  <a:lnTo>
                    <a:pt x="1304" y="935"/>
                  </a:lnTo>
                  <a:lnTo>
                    <a:pt x="1304" y="935"/>
                  </a:lnTo>
                  <a:lnTo>
                    <a:pt x="1302" y="938"/>
                  </a:lnTo>
                  <a:lnTo>
                    <a:pt x="1304" y="938"/>
                  </a:lnTo>
                  <a:lnTo>
                    <a:pt x="1304" y="938"/>
                  </a:lnTo>
                  <a:lnTo>
                    <a:pt x="1302" y="938"/>
                  </a:lnTo>
                  <a:lnTo>
                    <a:pt x="1299" y="938"/>
                  </a:lnTo>
                  <a:lnTo>
                    <a:pt x="1299" y="938"/>
                  </a:lnTo>
                  <a:lnTo>
                    <a:pt x="1299" y="940"/>
                  </a:lnTo>
                  <a:lnTo>
                    <a:pt x="1299" y="943"/>
                  </a:lnTo>
                  <a:lnTo>
                    <a:pt x="1299" y="940"/>
                  </a:lnTo>
                  <a:lnTo>
                    <a:pt x="1299" y="940"/>
                  </a:lnTo>
                  <a:lnTo>
                    <a:pt x="1299" y="940"/>
                  </a:lnTo>
                  <a:lnTo>
                    <a:pt x="1296" y="940"/>
                  </a:lnTo>
                  <a:lnTo>
                    <a:pt x="1296" y="940"/>
                  </a:lnTo>
                  <a:lnTo>
                    <a:pt x="1296" y="943"/>
                  </a:lnTo>
                  <a:lnTo>
                    <a:pt x="1294" y="943"/>
                  </a:lnTo>
                  <a:lnTo>
                    <a:pt x="1294" y="946"/>
                  </a:lnTo>
                  <a:lnTo>
                    <a:pt x="1296" y="946"/>
                  </a:lnTo>
                  <a:lnTo>
                    <a:pt x="1294" y="946"/>
                  </a:lnTo>
                  <a:lnTo>
                    <a:pt x="1294" y="946"/>
                  </a:lnTo>
                  <a:lnTo>
                    <a:pt x="1291" y="948"/>
                  </a:lnTo>
                  <a:lnTo>
                    <a:pt x="1294" y="948"/>
                  </a:lnTo>
                  <a:lnTo>
                    <a:pt x="1294" y="951"/>
                  </a:lnTo>
                  <a:lnTo>
                    <a:pt x="1294" y="951"/>
                  </a:lnTo>
                  <a:lnTo>
                    <a:pt x="1291" y="951"/>
                  </a:lnTo>
                  <a:lnTo>
                    <a:pt x="1291" y="954"/>
                  </a:lnTo>
                  <a:lnTo>
                    <a:pt x="1291" y="954"/>
                  </a:lnTo>
                  <a:lnTo>
                    <a:pt x="1291" y="954"/>
                  </a:lnTo>
                  <a:lnTo>
                    <a:pt x="1294" y="954"/>
                  </a:lnTo>
                  <a:lnTo>
                    <a:pt x="1294" y="954"/>
                  </a:lnTo>
                  <a:lnTo>
                    <a:pt x="1291" y="954"/>
                  </a:lnTo>
                  <a:lnTo>
                    <a:pt x="1291" y="954"/>
                  </a:lnTo>
                  <a:lnTo>
                    <a:pt x="1291" y="954"/>
                  </a:lnTo>
                  <a:lnTo>
                    <a:pt x="1288" y="954"/>
                  </a:lnTo>
                  <a:lnTo>
                    <a:pt x="1288" y="954"/>
                  </a:lnTo>
                  <a:lnTo>
                    <a:pt x="1291" y="954"/>
                  </a:lnTo>
                  <a:lnTo>
                    <a:pt x="1291" y="956"/>
                  </a:lnTo>
                  <a:lnTo>
                    <a:pt x="1291" y="956"/>
                  </a:lnTo>
                  <a:lnTo>
                    <a:pt x="1291" y="956"/>
                  </a:lnTo>
                  <a:lnTo>
                    <a:pt x="1291" y="956"/>
                  </a:lnTo>
                  <a:lnTo>
                    <a:pt x="1288" y="956"/>
                  </a:lnTo>
                  <a:lnTo>
                    <a:pt x="1291" y="959"/>
                  </a:lnTo>
                  <a:lnTo>
                    <a:pt x="1291" y="959"/>
                  </a:lnTo>
                  <a:lnTo>
                    <a:pt x="1291" y="959"/>
                  </a:lnTo>
                  <a:lnTo>
                    <a:pt x="1294" y="956"/>
                  </a:lnTo>
                  <a:lnTo>
                    <a:pt x="1294" y="959"/>
                  </a:lnTo>
                  <a:lnTo>
                    <a:pt x="1294" y="959"/>
                  </a:lnTo>
                  <a:lnTo>
                    <a:pt x="1294" y="959"/>
                  </a:lnTo>
                  <a:lnTo>
                    <a:pt x="1294" y="959"/>
                  </a:lnTo>
                  <a:lnTo>
                    <a:pt x="1296" y="959"/>
                  </a:lnTo>
                  <a:lnTo>
                    <a:pt x="1296" y="959"/>
                  </a:lnTo>
                  <a:lnTo>
                    <a:pt x="1296" y="959"/>
                  </a:lnTo>
                  <a:lnTo>
                    <a:pt x="1296" y="959"/>
                  </a:lnTo>
                  <a:lnTo>
                    <a:pt x="1296" y="962"/>
                  </a:lnTo>
                  <a:lnTo>
                    <a:pt x="1299" y="964"/>
                  </a:lnTo>
                  <a:lnTo>
                    <a:pt x="1299" y="964"/>
                  </a:lnTo>
                  <a:lnTo>
                    <a:pt x="1299" y="967"/>
                  </a:lnTo>
                  <a:lnTo>
                    <a:pt x="1299" y="970"/>
                  </a:lnTo>
                  <a:lnTo>
                    <a:pt x="1299" y="972"/>
                  </a:lnTo>
                  <a:lnTo>
                    <a:pt x="1299" y="972"/>
                  </a:lnTo>
                  <a:lnTo>
                    <a:pt x="1299" y="975"/>
                  </a:lnTo>
                  <a:lnTo>
                    <a:pt x="1299" y="978"/>
                  </a:lnTo>
                  <a:lnTo>
                    <a:pt x="1299" y="978"/>
                  </a:lnTo>
                  <a:lnTo>
                    <a:pt x="1299" y="978"/>
                  </a:lnTo>
                  <a:lnTo>
                    <a:pt x="1299" y="978"/>
                  </a:lnTo>
                  <a:lnTo>
                    <a:pt x="1302" y="978"/>
                  </a:lnTo>
                  <a:lnTo>
                    <a:pt x="1302" y="978"/>
                  </a:lnTo>
                  <a:lnTo>
                    <a:pt x="1302" y="978"/>
                  </a:lnTo>
                  <a:lnTo>
                    <a:pt x="1304" y="978"/>
                  </a:lnTo>
                  <a:lnTo>
                    <a:pt x="1304" y="980"/>
                  </a:lnTo>
                  <a:lnTo>
                    <a:pt x="1307" y="983"/>
                  </a:lnTo>
                  <a:lnTo>
                    <a:pt x="1307" y="983"/>
                  </a:lnTo>
                  <a:lnTo>
                    <a:pt x="1307" y="983"/>
                  </a:lnTo>
                  <a:lnTo>
                    <a:pt x="1307" y="986"/>
                  </a:lnTo>
                  <a:lnTo>
                    <a:pt x="1307" y="986"/>
                  </a:lnTo>
                  <a:lnTo>
                    <a:pt x="1307" y="986"/>
                  </a:lnTo>
                  <a:lnTo>
                    <a:pt x="1307" y="986"/>
                  </a:lnTo>
                  <a:lnTo>
                    <a:pt x="1310" y="986"/>
                  </a:lnTo>
                  <a:lnTo>
                    <a:pt x="1310" y="986"/>
                  </a:lnTo>
                  <a:lnTo>
                    <a:pt x="1310" y="986"/>
                  </a:lnTo>
                  <a:lnTo>
                    <a:pt x="1310" y="986"/>
                  </a:lnTo>
                  <a:lnTo>
                    <a:pt x="1307" y="986"/>
                  </a:lnTo>
                  <a:lnTo>
                    <a:pt x="1307" y="986"/>
                  </a:lnTo>
                  <a:lnTo>
                    <a:pt x="1307" y="986"/>
                  </a:lnTo>
                  <a:lnTo>
                    <a:pt x="1307" y="983"/>
                  </a:lnTo>
                  <a:lnTo>
                    <a:pt x="1307" y="983"/>
                  </a:lnTo>
                  <a:lnTo>
                    <a:pt x="1307" y="983"/>
                  </a:lnTo>
                  <a:lnTo>
                    <a:pt x="1307" y="983"/>
                  </a:lnTo>
                  <a:lnTo>
                    <a:pt x="1307" y="986"/>
                  </a:lnTo>
                  <a:lnTo>
                    <a:pt x="1310" y="983"/>
                  </a:lnTo>
                  <a:lnTo>
                    <a:pt x="1310" y="983"/>
                  </a:lnTo>
                  <a:lnTo>
                    <a:pt x="1310" y="983"/>
                  </a:lnTo>
                  <a:lnTo>
                    <a:pt x="1310" y="983"/>
                  </a:lnTo>
                  <a:lnTo>
                    <a:pt x="1310" y="983"/>
                  </a:lnTo>
                  <a:lnTo>
                    <a:pt x="1310" y="983"/>
                  </a:lnTo>
                  <a:lnTo>
                    <a:pt x="1310" y="983"/>
                  </a:lnTo>
                  <a:lnTo>
                    <a:pt x="1310" y="980"/>
                  </a:lnTo>
                  <a:lnTo>
                    <a:pt x="1310" y="980"/>
                  </a:lnTo>
                  <a:lnTo>
                    <a:pt x="1312" y="980"/>
                  </a:lnTo>
                  <a:lnTo>
                    <a:pt x="1312" y="980"/>
                  </a:lnTo>
                  <a:lnTo>
                    <a:pt x="1312" y="980"/>
                  </a:lnTo>
                  <a:lnTo>
                    <a:pt x="1312" y="978"/>
                  </a:lnTo>
                  <a:lnTo>
                    <a:pt x="1312" y="978"/>
                  </a:lnTo>
                  <a:lnTo>
                    <a:pt x="1312" y="978"/>
                  </a:lnTo>
                  <a:lnTo>
                    <a:pt x="1312" y="975"/>
                  </a:lnTo>
                  <a:lnTo>
                    <a:pt x="1312" y="975"/>
                  </a:lnTo>
                  <a:lnTo>
                    <a:pt x="1315" y="972"/>
                  </a:lnTo>
                  <a:lnTo>
                    <a:pt x="1315" y="970"/>
                  </a:lnTo>
                  <a:lnTo>
                    <a:pt x="1315" y="970"/>
                  </a:lnTo>
                  <a:lnTo>
                    <a:pt x="1315" y="970"/>
                  </a:lnTo>
                  <a:lnTo>
                    <a:pt x="1310" y="970"/>
                  </a:lnTo>
                  <a:lnTo>
                    <a:pt x="1307" y="970"/>
                  </a:lnTo>
                  <a:lnTo>
                    <a:pt x="1307" y="970"/>
                  </a:lnTo>
                  <a:lnTo>
                    <a:pt x="1307" y="972"/>
                  </a:lnTo>
                  <a:lnTo>
                    <a:pt x="1304" y="972"/>
                  </a:lnTo>
                  <a:lnTo>
                    <a:pt x="1304" y="972"/>
                  </a:lnTo>
                  <a:lnTo>
                    <a:pt x="1304" y="972"/>
                  </a:lnTo>
                  <a:lnTo>
                    <a:pt x="1302" y="972"/>
                  </a:lnTo>
                  <a:lnTo>
                    <a:pt x="1302" y="972"/>
                  </a:lnTo>
                  <a:lnTo>
                    <a:pt x="1302" y="970"/>
                  </a:lnTo>
                  <a:lnTo>
                    <a:pt x="1299" y="970"/>
                  </a:lnTo>
                  <a:lnTo>
                    <a:pt x="1302" y="970"/>
                  </a:lnTo>
                  <a:lnTo>
                    <a:pt x="1304" y="970"/>
                  </a:lnTo>
                  <a:lnTo>
                    <a:pt x="1304" y="967"/>
                  </a:lnTo>
                  <a:lnTo>
                    <a:pt x="1304" y="967"/>
                  </a:lnTo>
                  <a:lnTo>
                    <a:pt x="1304" y="967"/>
                  </a:lnTo>
                  <a:lnTo>
                    <a:pt x="1307" y="967"/>
                  </a:lnTo>
                  <a:lnTo>
                    <a:pt x="1310" y="967"/>
                  </a:lnTo>
                  <a:lnTo>
                    <a:pt x="1312" y="967"/>
                  </a:lnTo>
                  <a:lnTo>
                    <a:pt x="1315" y="967"/>
                  </a:lnTo>
                  <a:lnTo>
                    <a:pt x="1315" y="967"/>
                  </a:lnTo>
                  <a:lnTo>
                    <a:pt x="1315" y="967"/>
                  </a:lnTo>
                  <a:lnTo>
                    <a:pt x="1315" y="970"/>
                  </a:lnTo>
                  <a:lnTo>
                    <a:pt x="1320" y="970"/>
                  </a:lnTo>
                  <a:lnTo>
                    <a:pt x="1315" y="972"/>
                  </a:lnTo>
                  <a:lnTo>
                    <a:pt x="1315" y="975"/>
                  </a:lnTo>
                  <a:lnTo>
                    <a:pt x="1315" y="975"/>
                  </a:lnTo>
                  <a:lnTo>
                    <a:pt x="1315" y="975"/>
                  </a:lnTo>
                  <a:lnTo>
                    <a:pt x="1312" y="978"/>
                  </a:lnTo>
                  <a:lnTo>
                    <a:pt x="1312" y="978"/>
                  </a:lnTo>
                  <a:lnTo>
                    <a:pt x="1312" y="978"/>
                  </a:lnTo>
                  <a:lnTo>
                    <a:pt x="1315" y="978"/>
                  </a:lnTo>
                  <a:lnTo>
                    <a:pt x="1315" y="980"/>
                  </a:lnTo>
                  <a:lnTo>
                    <a:pt x="1315" y="978"/>
                  </a:lnTo>
                  <a:lnTo>
                    <a:pt x="1318" y="978"/>
                  </a:lnTo>
                  <a:lnTo>
                    <a:pt x="1318" y="975"/>
                  </a:lnTo>
                  <a:lnTo>
                    <a:pt x="1320" y="972"/>
                  </a:lnTo>
                  <a:lnTo>
                    <a:pt x="1323" y="970"/>
                  </a:lnTo>
                  <a:lnTo>
                    <a:pt x="1326" y="970"/>
                  </a:lnTo>
                  <a:lnTo>
                    <a:pt x="1326" y="967"/>
                  </a:lnTo>
                  <a:lnTo>
                    <a:pt x="1326" y="967"/>
                  </a:lnTo>
                  <a:lnTo>
                    <a:pt x="1326" y="967"/>
                  </a:lnTo>
                  <a:lnTo>
                    <a:pt x="1326" y="967"/>
                  </a:lnTo>
                  <a:lnTo>
                    <a:pt x="1328" y="967"/>
                  </a:lnTo>
                  <a:lnTo>
                    <a:pt x="1328" y="970"/>
                  </a:lnTo>
                  <a:lnTo>
                    <a:pt x="1328" y="970"/>
                  </a:lnTo>
                  <a:lnTo>
                    <a:pt x="1326" y="970"/>
                  </a:lnTo>
                  <a:lnTo>
                    <a:pt x="1326" y="970"/>
                  </a:lnTo>
                  <a:lnTo>
                    <a:pt x="1326" y="970"/>
                  </a:lnTo>
                  <a:lnTo>
                    <a:pt x="1326" y="970"/>
                  </a:lnTo>
                  <a:lnTo>
                    <a:pt x="1326" y="970"/>
                  </a:lnTo>
                  <a:lnTo>
                    <a:pt x="1326" y="970"/>
                  </a:lnTo>
                  <a:lnTo>
                    <a:pt x="1323" y="972"/>
                  </a:lnTo>
                  <a:lnTo>
                    <a:pt x="1323" y="972"/>
                  </a:lnTo>
                  <a:lnTo>
                    <a:pt x="1323" y="972"/>
                  </a:lnTo>
                  <a:lnTo>
                    <a:pt x="1320" y="975"/>
                  </a:lnTo>
                  <a:lnTo>
                    <a:pt x="1320" y="978"/>
                  </a:lnTo>
                  <a:lnTo>
                    <a:pt x="1320" y="978"/>
                  </a:lnTo>
                  <a:lnTo>
                    <a:pt x="1320" y="978"/>
                  </a:lnTo>
                  <a:lnTo>
                    <a:pt x="1320" y="980"/>
                  </a:lnTo>
                  <a:lnTo>
                    <a:pt x="1320" y="980"/>
                  </a:lnTo>
                  <a:lnTo>
                    <a:pt x="1323" y="980"/>
                  </a:lnTo>
                  <a:lnTo>
                    <a:pt x="1323" y="978"/>
                  </a:lnTo>
                  <a:lnTo>
                    <a:pt x="1323" y="978"/>
                  </a:lnTo>
                  <a:lnTo>
                    <a:pt x="1323" y="975"/>
                  </a:lnTo>
                  <a:lnTo>
                    <a:pt x="1323" y="975"/>
                  </a:lnTo>
                  <a:lnTo>
                    <a:pt x="1326" y="975"/>
                  </a:lnTo>
                  <a:lnTo>
                    <a:pt x="1326" y="978"/>
                  </a:lnTo>
                  <a:lnTo>
                    <a:pt x="1323" y="978"/>
                  </a:lnTo>
                  <a:lnTo>
                    <a:pt x="1323" y="980"/>
                  </a:lnTo>
                  <a:lnTo>
                    <a:pt x="1326" y="978"/>
                  </a:lnTo>
                  <a:lnTo>
                    <a:pt x="1326" y="978"/>
                  </a:lnTo>
                  <a:lnTo>
                    <a:pt x="1326" y="978"/>
                  </a:lnTo>
                  <a:lnTo>
                    <a:pt x="1326" y="980"/>
                  </a:lnTo>
                  <a:lnTo>
                    <a:pt x="1323" y="983"/>
                  </a:lnTo>
                  <a:lnTo>
                    <a:pt x="1320" y="983"/>
                  </a:lnTo>
                  <a:lnTo>
                    <a:pt x="1320" y="983"/>
                  </a:lnTo>
                  <a:lnTo>
                    <a:pt x="1320" y="983"/>
                  </a:lnTo>
                  <a:lnTo>
                    <a:pt x="1320" y="986"/>
                  </a:lnTo>
                  <a:lnTo>
                    <a:pt x="1318" y="986"/>
                  </a:lnTo>
                  <a:lnTo>
                    <a:pt x="1315" y="988"/>
                  </a:lnTo>
                  <a:lnTo>
                    <a:pt x="1312" y="991"/>
                  </a:lnTo>
                  <a:lnTo>
                    <a:pt x="1312" y="994"/>
                  </a:lnTo>
                  <a:lnTo>
                    <a:pt x="1312" y="994"/>
                  </a:lnTo>
                  <a:lnTo>
                    <a:pt x="1312" y="994"/>
                  </a:lnTo>
                  <a:lnTo>
                    <a:pt x="1312" y="994"/>
                  </a:lnTo>
                  <a:lnTo>
                    <a:pt x="1312" y="994"/>
                  </a:lnTo>
                  <a:lnTo>
                    <a:pt x="1315" y="994"/>
                  </a:lnTo>
                  <a:lnTo>
                    <a:pt x="1315" y="994"/>
                  </a:lnTo>
                  <a:lnTo>
                    <a:pt x="1315" y="994"/>
                  </a:lnTo>
                  <a:lnTo>
                    <a:pt x="1318" y="994"/>
                  </a:lnTo>
                  <a:lnTo>
                    <a:pt x="1318" y="994"/>
                  </a:lnTo>
                  <a:lnTo>
                    <a:pt x="1318" y="994"/>
                  </a:lnTo>
                  <a:lnTo>
                    <a:pt x="1318" y="994"/>
                  </a:lnTo>
                  <a:lnTo>
                    <a:pt x="1320" y="994"/>
                  </a:lnTo>
                  <a:lnTo>
                    <a:pt x="1320" y="994"/>
                  </a:lnTo>
                  <a:lnTo>
                    <a:pt x="1323" y="991"/>
                  </a:lnTo>
                  <a:lnTo>
                    <a:pt x="1323" y="991"/>
                  </a:lnTo>
                  <a:lnTo>
                    <a:pt x="1323" y="988"/>
                  </a:lnTo>
                  <a:lnTo>
                    <a:pt x="1323" y="988"/>
                  </a:lnTo>
                  <a:lnTo>
                    <a:pt x="1326" y="988"/>
                  </a:lnTo>
                  <a:lnTo>
                    <a:pt x="1326" y="988"/>
                  </a:lnTo>
                  <a:lnTo>
                    <a:pt x="1326" y="988"/>
                  </a:lnTo>
                  <a:lnTo>
                    <a:pt x="1326" y="988"/>
                  </a:lnTo>
                  <a:lnTo>
                    <a:pt x="1326" y="988"/>
                  </a:lnTo>
                  <a:lnTo>
                    <a:pt x="1326" y="988"/>
                  </a:lnTo>
                  <a:lnTo>
                    <a:pt x="1326" y="988"/>
                  </a:lnTo>
                  <a:lnTo>
                    <a:pt x="1328" y="988"/>
                  </a:lnTo>
                  <a:lnTo>
                    <a:pt x="1328" y="986"/>
                  </a:lnTo>
                  <a:lnTo>
                    <a:pt x="1328" y="986"/>
                  </a:lnTo>
                  <a:lnTo>
                    <a:pt x="1331" y="986"/>
                  </a:lnTo>
                  <a:lnTo>
                    <a:pt x="1331" y="986"/>
                  </a:lnTo>
                  <a:lnTo>
                    <a:pt x="1328" y="986"/>
                  </a:lnTo>
                  <a:lnTo>
                    <a:pt x="1328" y="986"/>
                  </a:lnTo>
                  <a:lnTo>
                    <a:pt x="1326" y="986"/>
                  </a:lnTo>
                  <a:lnTo>
                    <a:pt x="1328" y="983"/>
                  </a:lnTo>
                  <a:lnTo>
                    <a:pt x="1328" y="986"/>
                  </a:lnTo>
                  <a:lnTo>
                    <a:pt x="1328" y="983"/>
                  </a:lnTo>
                  <a:lnTo>
                    <a:pt x="1331" y="978"/>
                  </a:lnTo>
                  <a:lnTo>
                    <a:pt x="1331" y="980"/>
                  </a:lnTo>
                  <a:lnTo>
                    <a:pt x="1331" y="980"/>
                  </a:lnTo>
                  <a:lnTo>
                    <a:pt x="1331" y="980"/>
                  </a:lnTo>
                  <a:lnTo>
                    <a:pt x="1331" y="980"/>
                  </a:lnTo>
                  <a:lnTo>
                    <a:pt x="1331" y="980"/>
                  </a:lnTo>
                  <a:lnTo>
                    <a:pt x="1334" y="980"/>
                  </a:lnTo>
                  <a:lnTo>
                    <a:pt x="1334" y="980"/>
                  </a:lnTo>
                  <a:lnTo>
                    <a:pt x="1334" y="980"/>
                  </a:lnTo>
                  <a:lnTo>
                    <a:pt x="1334" y="980"/>
                  </a:lnTo>
                  <a:lnTo>
                    <a:pt x="1334" y="980"/>
                  </a:lnTo>
                  <a:lnTo>
                    <a:pt x="1334" y="980"/>
                  </a:lnTo>
                  <a:lnTo>
                    <a:pt x="1334" y="980"/>
                  </a:lnTo>
                  <a:lnTo>
                    <a:pt x="1334" y="980"/>
                  </a:lnTo>
                  <a:lnTo>
                    <a:pt x="1334" y="978"/>
                  </a:lnTo>
                  <a:lnTo>
                    <a:pt x="1334" y="978"/>
                  </a:lnTo>
                  <a:lnTo>
                    <a:pt x="1334" y="978"/>
                  </a:lnTo>
                  <a:lnTo>
                    <a:pt x="1331" y="978"/>
                  </a:lnTo>
                  <a:lnTo>
                    <a:pt x="1331" y="975"/>
                  </a:lnTo>
                  <a:lnTo>
                    <a:pt x="1331" y="975"/>
                  </a:lnTo>
                  <a:lnTo>
                    <a:pt x="1331" y="975"/>
                  </a:lnTo>
                  <a:lnTo>
                    <a:pt x="1334" y="975"/>
                  </a:lnTo>
                  <a:lnTo>
                    <a:pt x="1334" y="975"/>
                  </a:lnTo>
                  <a:lnTo>
                    <a:pt x="1334" y="975"/>
                  </a:lnTo>
                  <a:lnTo>
                    <a:pt x="1334" y="975"/>
                  </a:lnTo>
                  <a:lnTo>
                    <a:pt x="1334" y="972"/>
                  </a:lnTo>
                  <a:lnTo>
                    <a:pt x="1328" y="975"/>
                  </a:lnTo>
                  <a:lnTo>
                    <a:pt x="1328" y="972"/>
                  </a:lnTo>
                  <a:lnTo>
                    <a:pt x="1328" y="972"/>
                  </a:lnTo>
                  <a:lnTo>
                    <a:pt x="1334" y="972"/>
                  </a:lnTo>
                  <a:lnTo>
                    <a:pt x="1336" y="972"/>
                  </a:lnTo>
                  <a:lnTo>
                    <a:pt x="1336" y="972"/>
                  </a:lnTo>
                  <a:lnTo>
                    <a:pt x="1336" y="970"/>
                  </a:lnTo>
                  <a:lnTo>
                    <a:pt x="1336" y="970"/>
                  </a:lnTo>
                  <a:lnTo>
                    <a:pt x="1336" y="970"/>
                  </a:lnTo>
                  <a:lnTo>
                    <a:pt x="1336" y="970"/>
                  </a:lnTo>
                  <a:lnTo>
                    <a:pt x="1336" y="967"/>
                  </a:lnTo>
                  <a:lnTo>
                    <a:pt x="1336" y="964"/>
                  </a:lnTo>
                  <a:lnTo>
                    <a:pt x="1336" y="964"/>
                  </a:lnTo>
                  <a:lnTo>
                    <a:pt x="1336" y="967"/>
                  </a:lnTo>
                  <a:lnTo>
                    <a:pt x="1336" y="964"/>
                  </a:lnTo>
                  <a:lnTo>
                    <a:pt x="1336" y="964"/>
                  </a:lnTo>
                  <a:lnTo>
                    <a:pt x="1336" y="964"/>
                  </a:lnTo>
                  <a:lnTo>
                    <a:pt x="1336" y="964"/>
                  </a:lnTo>
                  <a:lnTo>
                    <a:pt x="1336" y="964"/>
                  </a:lnTo>
                  <a:lnTo>
                    <a:pt x="1336" y="967"/>
                  </a:lnTo>
                  <a:lnTo>
                    <a:pt x="1336" y="967"/>
                  </a:lnTo>
                  <a:lnTo>
                    <a:pt x="1339" y="970"/>
                  </a:lnTo>
                  <a:lnTo>
                    <a:pt x="1339" y="970"/>
                  </a:lnTo>
                  <a:lnTo>
                    <a:pt x="1339" y="970"/>
                  </a:lnTo>
                  <a:lnTo>
                    <a:pt x="1339" y="967"/>
                  </a:lnTo>
                  <a:lnTo>
                    <a:pt x="1339" y="967"/>
                  </a:lnTo>
                  <a:lnTo>
                    <a:pt x="1342" y="964"/>
                  </a:lnTo>
                  <a:lnTo>
                    <a:pt x="1342" y="964"/>
                  </a:lnTo>
                  <a:lnTo>
                    <a:pt x="1342" y="964"/>
                  </a:lnTo>
                  <a:lnTo>
                    <a:pt x="1342" y="962"/>
                  </a:lnTo>
                  <a:lnTo>
                    <a:pt x="1342" y="964"/>
                  </a:lnTo>
                  <a:lnTo>
                    <a:pt x="1342" y="964"/>
                  </a:lnTo>
                  <a:lnTo>
                    <a:pt x="1342" y="964"/>
                  </a:lnTo>
                  <a:lnTo>
                    <a:pt x="1345" y="964"/>
                  </a:lnTo>
                  <a:lnTo>
                    <a:pt x="1345" y="962"/>
                  </a:lnTo>
                  <a:lnTo>
                    <a:pt x="1345" y="962"/>
                  </a:lnTo>
                  <a:lnTo>
                    <a:pt x="1345" y="962"/>
                  </a:lnTo>
                  <a:lnTo>
                    <a:pt x="1345" y="962"/>
                  </a:lnTo>
                  <a:lnTo>
                    <a:pt x="1347" y="962"/>
                  </a:lnTo>
                  <a:lnTo>
                    <a:pt x="1347" y="962"/>
                  </a:lnTo>
                  <a:lnTo>
                    <a:pt x="1347" y="962"/>
                  </a:lnTo>
                  <a:lnTo>
                    <a:pt x="1347" y="962"/>
                  </a:lnTo>
                  <a:lnTo>
                    <a:pt x="1347" y="962"/>
                  </a:lnTo>
                  <a:lnTo>
                    <a:pt x="1347" y="962"/>
                  </a:lnTo>
                  <a:lnTo>
                    <a:pt x="1353" y="962"/>
                  </a:lnTo>
                  <a:lnTo>
                    <a:pt x="1353" y="962"/>
                  </a:lnTo>
                  <a:lnTo>
                    <a:pt x="1358" y="959"/>
                  </a:lnTo>
                  <a:lnTo>
                    <a:pt x="1355" y="959"/>
                  </a:lnTo>
                  <a:lnTo>
                    <a:pt x="1355" y="956"/>
                  </a:lnTo>
                  <a:lnTo>
                    <a:pt x="1355" y="956"/>
                  </a:lnTo>
                  <a:lnTo>
                    <a:pt x="1353" y="956"/>
                  </a:lnTo>
                  <a:lnTo>
                    <a:pt x="1353" y="956"/>
                  </a:lnTo>
                  <a:lnTo>
                    <a:pt x="1350" y="956"/>
                  </a:lnTo>
                  <a:lnTo>
                    <a:pt x="1347" y="956"/>
                  </a:lnTo>
                  <a:lnTo>
                    <a:pt x="1350" y="956"/>
                  </a:lnTo>
                  <a:lnTo>
                    <a:pt x="1350" y="954"/>
                  </a:lnTo>
                  <a:lnTo>
                    <a:pt x="1350" y="954"/>
                  </a:lnTo>
                  <a:lnTo>
                    <a:pt x="1350" y="954"/>
                  </a:lnTo>
                  <a:lnTo>
                    <a:pt x="1350" y="954"/>
                  </a:lnTo>
                  <a:lnTo>
                    <a:pt x="1350" y="954"/>
                  </a:lnTo>
                  <a:lnTo>
                    <a:pt x="1350" y="954"/>
                  </a:lnTo>
                  <a:lnTo>
                    <a:pt x="1350" y="956"/>
                  </a:lnTo>
                  <a:lnTo>
                    <a:pt x="1350" y="956"/>
                  </a:lnTo>
                  <a:lnTo>
                    <a:pt x="1353" y="956"/>
                  </a:lnTo>
                  <a:lnTo>
                    <a:pt x="1353" y="954"/>
                  </a:lnTo>
                  <a:lnTo>
                    <a:pt x="1355" y="954"/>
                  </a:lnTo>
                  <a:lnTo>
                    <a:pt x="1355" y="954"/>
                  </a:lnTo>
                  <a:lnTo>
                    <a:pt x="1355" y="954"/>
                  </a:lnTo>
                  <a:lnTo>
                    <a:pt x="1358" y="954"/>
                  </a:lnTo>
                  <a:lnTo>
                    <a:pt x="1358" y="954"/>
                  </a:lnTo>
                  <a:lnTo>
                    <a:pt x="1361" y="954"/>
                  </a:lnTo>
                  <a:lnTo>
                    <a:pt x="1361" y="954"/>
                  </a:lnTo>
                  <a:lnTo>
                    <a:pt x="1361" y="954"/>
                  </a:lnTo>
                  <a:lnTo>
                    <a:pt x="1358" y="956"/>
                  </a:lnTo>
                  <a:lnTo>
                    <a:pt x="1358" y="956"/>
                  </a:lnTo>
                  <a:lnTo>
                    <a:pt x="1361" y="956"/>
                  </a:lnTo>
                  <a:lnTo>
                    <a:pt x="1361" y="956"/>
                  </a:lnTo>
                  <a:lnTo>
                    <a:pt x="1361" y="959"/>
                  </a:lnTo>
                  <a:lnTo>
                    <a:pt x="1361" y="959"/>
                  </a:lnTo>
                  <a:lnTo>
                    <a:pt x="1363" y="959"/>
                  </a:lnTo>
                  <a:lnTo>
                    <a:pt x="1363" y="956"/>
                  </a:lnTo>
                  <a:lnTo>
                    <a:pt x="1366" y="956"/>
                  </a:lnTo>
                  <a:lnTo>
                    <a:pt x="1366" y="956"/>
                  </a:lnTo>
                  <a:lnTo>
                    <a:pt x="1366" y="959"/>
                  </a:lnTo>
                  <a:lnTo>
                    <a:pt x="1366" y="956"/>
                  </a:lnTo>
                  <a:lnTo>
                    <a:pt x="1369" y="956"/>
                  </a:lnTo>
                  <a:lnTo>
                    <a:pt x="1369" y="954"/>
                  </a:lnTo>
                  <a:lnTo>
                    <a:pt x="1369" y="954"/>
                  </a:lnTo>
                  <a:lnTo>
                    <a:pt x="1369" y="954"/>
                  </a:lnTo>
                  <a:lnTo>
                    <a:pt x="1369" y="951"/>
                  </a:lnTo>
                  <a:lnTo>
                    <a:pt x="1371" y="951"/>
                  </a:lnTo>
                  <a:lnTo>
                    <a:pt x="1369" y="951"/>
                  </a:lnTo>
                  <a:lnTo>
                    <a:pt x="1369" y="951"/>
                  </a:lnTo>
                  <a:lnTo>
                    <a:pt x="1369" y="951"/>
                  </a:lnTo>
                  <a:lnTo>
                    <a:pt x="1369" y="951"/>
                  </a:lnTo>
                  <a:lnTo>
                    <a:pt x="1369" y="948"/>
                  </a:lnTo>
                  <a:lnTo>
                    <a:pt x="1366" y="948"/>
                  </a:lnTo>
                  <a:lnTo>
                    <a:pt x="1363" y="946"/>
                  </a:lnTo>
                  <a:lnTo>
                    <a:pt x="1361" y="946"/>
                  </a:lnTo>
                  <a:lnTo>
                    <a:pt x="1355" y="946"/>
                  </a:lnTo>
                  <a:lnTo>
                    <a:pt x="1355" y="946"/>
                  </a:lnTo>
                  <a:lnTo>
                    <a:pt x="1355" y="948"/>
                  </a:lnTo>
                  <a:lnTo>
                    <a:pt x="1353" y="948"/>
                  </a:lnTo>
                  <a:lnTo>
                    <a:pt x="1353" y="948"/>
                  </a:lnTo>
                  <a:lnTo>
                    <a:pt x="1353" y="946"/>
                  </a:lnTo>
                  <a:lnTo>
                    <a:pt x="1355" y="946"/>
                  </a:lnTo>
                  <a:lnTo>
                    <a:pt x="1355" y="946"/>
                  </a:lnTo>
                  <a:lnTo>
                    <a:pt x="1355" y="946"/>
                  </a:lnTo>
                  <a:lnTo>
                    <a:pt x="1355" y="946"/>
                  </a:lnTo>
                  <a:lnTo>
                    <a:pt x="1355" y="946"/>
                  </a:lnTo>
                  <a:lnTo>
                    <a:pt x="1358" y="943"/>
                  </a:lnTo>
                  <a:lnTo>
                    <a:pt x="1358" y="943"/>
                  </a:lnTo>
                  <a:lnTo>
                    <a:pt x="1358" y="943"/>
                  </a:lnTo>
                  <a:lnTo>
                    <a:pt x="1355" y="943"/>
                  </a:lnTo>
                  <a:lnTo>
                    <a:pt x="1355" y="940"/>
                  </a:lnTo>
                  <a:lnTo>
                    <a:pt x="1358" y="940"/>
                  </a:lnTo>
                  <a:lnTo>
                    <a:pt x="1358" y="940"/>
                  </a:lnTo>
                  <a:lnTo>
                    <a:pt x="1358" y="943"/>
                  </a:lnTo>
                  <a:lnTo>
                    <a:pt x="1358" y="943"/>
                  </a:lnTo>
                  <a:lnTo>
                    <a:pt x="1361" y="940"/>
                  </a:lnTo>
                  <a:lnTo>
                    <a:pt x="1361" y="940"/>
                  </a:lnTo>
                  <a:lnTo>
                    <a:pt x="1361" y="943"/>
                  </a:lnTo>
                  <a:lnTo>
                    <a:pt x="1361" y="943"/>
                  </a:lnTo>
                  <a:lnTo>
                    <a:pt x="1363" y="943"/>
                  </a:lnTo>
                  <a:lnTo>
                    <a:pt x="1363" y="943"/>
                  </a:lnTo>
                  <a:lnTo>
                    <a:pt x="1363" y="943"/>
                  </a:lnTo>
                  <a:lnTo>
                    <a:pt x="1366" y="943"/>
                  </a:lnTo>
                  <a:lnTo>
                    <a:pt x="1366" y="943"/>
                  </a:lnTo>
                  <a:lnTo>
                    <a:pt x="1366" y="943"/>
                  </a:lnTo>
                  <a:lnTo>
                    <a:pt x="1366" y="943"/>
                  </a:lnTo>
                  <a:lnTo>
                    <a:pt x="1366" y="946"/>
                  </a:lnTo>
                  <a:lnTo>
                    <a:pt x="1366" y="946"/>
                  </a:lnTo>
                  <a:lnTo>
                    <a:pt x="1366" y="946"/>
                  </a:lnTo>
                  <a:lnTo>
                    <a:pt x="1369" y="946"/>
                  </a:lnTo>
                  <a:lnTo>
                    <a:pt x="1369" y="946"/>
                  </a:lnTo>
                  <a:lnTo>
                    <a:pt x="1369" y="943"/>
                  </a:lnTo>
                  <a:lnTo>
                    <a:pt x="1369" y="943"/>
                  </a:lnTo>
                  <a:lnTo>
                    <a:pt x="1369" y="943"/>
                  </a:lnTo>
                  <a:lnTo>
                    <a:pt x="1369" y="946"/>
                  </a:lnTo>
                  <a:lnTo>
                    <a:pt x="1369" y="946"/>
                  </a:lnTo>
                  <a:lnTo>
                    <a:pt x="1369" y="946"/>
                  </a:lnTo>
                  <a:lnTo>
                    <a:pt x="1369" y="946"/>
                  </a:lnTo>
                  <a:lnTo>
                    <a:pt x="1369" y="946"/>
                  </a:lnTo>
                  <a:lnTo>
                    <a:pt x="1371" y="946"/>
                  </a:lnTo>
                  <a:lnTo>
                    <a:pt x="1371" y="946"/>
                  </a:lnTo>
                  <a:lnTo>
                    <a:pt x="1371" y="946"/>
                  </a:lnTo>
                  <a:lnTo>
                    <a:pt x="1371" y="946"/>
                  </a:lnTo>
                  <a:lnTo>
                    <a:pt x="1371" y="946"/>
                  </a:lnTo>
                  <a:lnTo>
                    <a:pt x="1371" y="946"/>
                  </a:lnTo>
                  <a:lnTo>
                    <a:pt x="1371" y="946"/>
                  </a:lnTo>
                  <a:lnTo>
                    <a:pt x="1371" y="946"/>
                  </a:lnTo>
                  <a:lnTo>
                    <a:pt x="1371" y="946"/>
                  </a:lnTo>
                  <a:lnTo>
                    <a:pt x="1371" y="946"/>
                  </a:lnTo>
                  <a:lnTo>
                    <a:pt x="1374" y="946"/>
                  </a:lnTo>
                  <a:lnTo>
                    <a:pt x="1374" y="946"/>
                  </a:lnTo>
                  <a:lnTo>
                    <a:pt x="1374" y="946"/>
                  </a:lnTo>
                  <a:lnTo>
                    <a:pt x="1374" y="946"/>
                  </a:lnTo>
                  <a:lnTo>
                    <a:pt x="1374" y="946"/>
                  </a:lnTo>
                  <a:lnTo>
                    <a:pt x="1374" y="946"/>
                  </a:lnTo>
                  <a:lnTo>
                    <a:pt x="1374" y="946"/>
                  </a:lnTo>
                  <a:lnTo>
                    <a:pt x="1374" y="946"/>
                  </a:lnTo>
                  <a:lnTo>
                    <a:pt x="1374" y="946"/>
                  </a:lnTo>
                  <a:lnTo>
                    <a:pt x="1374" y="948"/>
                  </a:lnTo>
                  <a:lnTo>
                    <a:pt x="1374" y="948"/>
                  </a:lnTo>
                  <a:lnTo>
                    <a:pt x="1374" y="948"/>
                  </a:lnTo>
                  <a:lnTo>
                    <a:pt x="1374" y="948"/>
                  </a:lnTo>
                  <a:lnTo>
                    <a:pt x="1374" y="946"/>
                  </a:lnTo>
                  <a:lnTo>
                    <a:pt x="1374" y="946"/>
                  </a:lnTo>
                  <a:lnTo>
                    <a:pt x="1377" y="946"/>
                  </a:lnTo>
                  <a:lnTo>
                    <a:pt x="1377" y="946"/>
                  </a:lnTo>
                  <a:lnTo>
                    <a:pt x="1377" y="946"/>
                  </a:lnTo>
                  <a:lnTo>
                    <a:pt x="1377" y="946"/>
                  </a:lnTo>
                  <a:lnTo>
                    <a:pt x="1379" y="948"/>
                  </a:lnTo>
                  <a:lnTo>
                    <a:pt x="1379" y="946"/>
                  </a:lnTo>
                  <a:lnTo>
                    <a:pt x="1379" y="946"/>
                  </a:lnTo>
                  <a:lnTo>
                    <a:pt x="1379" y="946"/>
                  </a:lnTo>
                  <a:lnTo>
                    <a:pt x="1379" y="943"/>
                  </a:lnTo>
                  <a:lnTo>
                    <a:pt x="1379" y="943"/>
                  </a:lnTo>
                  <a:lnTo>
                    <a:pt x="1382" y="940"/>
                  </a:lnTo>
                  <a:lnTo>
                    <a:pt x="1382" y="940"/>
                  </a:lnTo>
                  <a:lnTo>
                    <a:pt x="1382" y="940"/>
                  </a:lnTo>
                  <a:lnTo>
                    <a:pt x="1385" y="935"/>
                  </a:lnTo>
                  <a:lnTo>
                    <a:pt x="1385" y="935"/>
                  </a:lnTo>
                  <a:lnTo>
                    <a:pt x="1385" y="935"/>
                  </a:lnTo>
                  <a:lnTo>
                    <a:pt x="1385" y="932"/>
                  </a:lnTo>
                  <a:lnTo>
                    <a:pt x="1379" y="932"/>
                  </a:lnTo>
                  <a:close/>
                  <a:moveTo>
                    <a:pt x="1433" y="809"/>
                  </a:moveTo>
                  <a:lnTo>
                    <a:pt x="1433" y="809"/>
                  </a:lnTo>
                  <a:lnTo>
                    <a:pt x="1433" y="812"/>
                  </a:lnTo>
                  <a:lnTo>
                    <a:pt x="1433" y="812"/>
                  </a:lnTo>
                  <a:lnTo>
                    <a:pt x="1433" y="812"/>
                  </a:lnTo>
                  <a:lnTo>
                    <a:pt x="1430" y="815"/>
                  </a:lnTo>
                  <a:lnTo>
                    <a:pt x="1430" y="815"/>
                  </a:lnTo>
                  <a:lnTo>
                    <a:pt x="1430" y="817"/>
                  </a:lnTo>
                  <a:lnTo>
                    <a:pt x="1433" y="817"/>
                  </a:lnTo>
                  <a:lnTo>
                    <a:pt x="1433" y="817"/>
                  </a:lnTo>
                  <a:lnTo>
                    <a:pt x="1433" y="817"/>
                  </a:lnTo>
                  <a:lnTo>
                    <a:pt x="1435" y="815"/>
                  </a:lnTo>
                  <a:lnTo>
                    <a:pt x="1435" y="812"/>
                  </a:lnTo>
                  <a:lnTo>
                    <a:pt x="1435" y="812"/>
                  </a:lnTo>
                  <a:lnTo>
                    <a:pt x="1433" y="809"/>
                  </a:lnTo>
                  <a:close/>
                  <a:moveTo>
                    <a:pt x="1942" y="828"/>
                  </a:moveTo>
                  <a:lnTo>
                    <a:pt x="1942" y="825"/>
                  </a:lnTo>
                  <a:lnTo>
                    <a:pt x="1942" y="825"/>
                  </a:lnTo>
                  <a:lnTo>
                    <a:pt x="1945" y="825"/>
                  </a:lnTo>
                  <a:lnTo>
                    <a:pt x="1945" y="825"/>
                  </a:lnTo>
                  <a:lnTo>
                    <a:pt x="1942" y="823"/>
                  </a:lnTo>
                  <a:lnTo>
                    <a:pt x="1940" y="823"/>
                  </a:lnTo>
                  <a:lnTo>
                    <a:pt x="1940" y="820"/>
                  </a:lnTo>
                  <a:lnTo>
                    <a:pt x="1937" y="820"/>
                  </a:lnTo>
                  <a:lnTo>
                    <a:pt x="1937" y="820"/>
                  </a:lnTo>
                  <a:lnTo>
                    <a:pt x="1937" y="820"/>
                  </a:lnTo>
                  <a:lnTo>
                    <a:pt x="1937" y="823"/>
                  </a:lnTo>
                  <a:lnTo>
                    <a:pt x="1937" y="823"/>
                  </a:lnTo>
                  <a:lnTo>
                    <a:pt x="1937" y="825"/>
                  </a:lnTo>
                  <a:lnTo>
                    <a:pt x="1937" y="825"/>
                  </a:lnTo>
                  <a:lnTo>
                    <a:pt x="1937" y="825"/>
                  </a:lnTo>
                  <a:lnTo>
                    <a:pt x="1937" y="825"/>
                  </a:lnTo>
                  <a:lnTo>
                    <a:pt x="1937" y="825"/>
                  </a:lnTo>
                  <a:lnTo>
                    <a:pt x="1937" y="825"/>
                  </a:lnTo>
                  <a:lnTo>
                    <a:pt x="1940" y="825"/>
                  </a:lnTo>
                  <a:lnTo>
                    <a:pt x="1937" y="828"/>
                  </a:lnTo>
                  <a:lnTo>
                    <a:pt x="1937" y="828"/>
                  </a:lnTo>
                  <a:lnTo>
                    <a:pt x="1937" y="831"/>
                  </a:lnTo>
                  <a:lnTo>
                    <a:pt x="1940" y="831"/>
                  </a:lnTo>
                  <a:lnTo>
                    <a:pt x="1940" y="831"/>
                  </a:lnTo>
                  <a:lnTo>
                    <a:pt x="1937" y="831"/>
                  </a:lnTo>
                  <a:lnTo>
                    <a:pt x="1940" y="833"/>
                  </a:lnTo>
                  <a:lnTo>
                    <a:pt x="1940" y="833"/>
                  </a:lnTo>
                  <a:lnTo>
                    <a:pt x="1940" y="831"/>
                  </a:lnTo>
                  <a:lnTo>
                    <a:pt x="1940" y="831"/>
                  </a:lnTo>
                  <a:lnTo>
                    <a:pt x="1940" y="831"/>
                  </a:lnTo>
                  <a:lnTo>
                    <a:pt x="1940" y="831"/>
                  </a:lnTo>
                  <a:lnTo>
                    <a:pt x="1940" y="831"/>
                  </a:lnTo>
                  <a:lnTo>
                    <a:pt x="1940" y="831"/>
                  </a:lnTo>
                  <a:lnTo>
                    <a:pt x="1940" y="833"/>
                  </a:lnTo>
                  <a:lnTo>
                    <a:pt x="1940" y="833"/>
                  </a:lnTo>
                  <a:lnTo>
                    <a:pt x="1940" y="833"/>
                  </a:lnTo>
                  <a:lnTo>
                    <a:pt x="1940" y="833"/>
                  </a:lnTo>
                  <a:lnTo>
                    <a:pt x="1942" y="833"/>
                  </a:lnTo>
                  <a:lnTo>
                    <a:pt x="1942" y="833"/>
                  </a:lnTo>
                  <a:lnTo>
                    <a:pt x="1942" y="833"/>
                  </a:lnTo>
                  <a:lnTo>
                    <a:pt x="1942" y="833"/>
                  </a:lnTo>
                  <a:lnTo>
                    <a:pt x="1942" y="836"/>
                  </a:lnTo>
                  <a:lnTo>
                    <a:pt x="1942" y="836"/>
                  </a:lnTo>
                  <a:lnTo>
                    <a:pt x="1942" y="836"/>
                  </a:lnTo>
                  <a:lnTo>
                    <a:pt x="1945" y="836"/>
                  </a:lnTo>
                  <a:lnTo>
                    <a:pt x="1945" y="833"/>
                  </a:lnTo>
                  <a:lnTo>
                    <a:pt x="1945" y="831"/>
                  </a:lnTo>
                  <a:lnTo>
                    <a:pt x="1942" y="828"/>
                  </a:lnTo>
                  <a:close/>
                  <a:moveTo>
                    <a:pt x="1643" y="751"/>
                  </a:moveTo>
                  <a:lnTo>
                    <a:pt x="1643" y="751"/>
                  </a:lnTo>
                  <a:lnTo>
                    <a:pt x="1643" y="751"/>
                  </a:lnTo>
                  <a:lnTo>
                    <a:pt x="1643" y="751"/>
                  </a:lnTo>
                  <a:lnTo>
                    <a:pt x="1643" y="751"/>
                  </a:lnTo>
                  <a:lnTo>
                    <a:pt x="1643" y="748"/>
                  </a:lnTo>
                  <a:lnTo>
                    <a:pt x="1643" y="748"/>
                  </a:lnTo>
                  <a:lnTo>
                    <a:pt x="1643" y="748"/>
                  </a:lnTo>
                  <a:lnTo>
                    <a:pt x="1643" y="745"/>
                  </a:lnTo>
                  <a:lnTo>
                    <a:pt x="1643" y="745"/>
                  </a:lnTo>
                  <a:lnTo>
                    <a:pt x="1641" y="745"/>
                  </a:lnTo>
                  <a:lnTo>
                    <a:pt x="1641" y="745"/>
                  </a:lnTo>
                  <a:lnTo>
                    <a:pt x="1641" y="745"/>
                  </a:lnTo>
                  <a:lnTo>
                    <a:pt x="1641" y="748"/>
                  </a:lnTo>
                  <a:lnTo>
                    <a:pt x="1643" y="748"/>
                  </a:lnTo>
                  <a:lnTo>
                    <a:pt x="1643" y="748"/>
                  </a:lnTo>
                  <a:lnTo>
                    <a:pt x="1643" y="748"/>
                  </a:lnTo>
                  <a:lnTo>
                    <a:pt x="1643" y="751"/>
                  </a:lnTo>
                  <a:lnTo>
                    <a:pt x="1643" y="751"/>
                  </a:lnTo>
                  <a:close/>
                  <a:moveTo>
                    <a:pt x="1980" y="860"/>
                  </a:moveTo>
                  <a:lnTo>
                    <a:pt x="1980" y="860"/>
                  </a:lnTo>
                  <a:lnTo>
                    <a:pt x="1980" y="860"/>
                  </a:lnTo>
                  <a:lnTo>
                    <a:pt x="1980" y="858"/>
                  </a:lnTo>
                  <a:lnTo>
                    <a:pt x="1980" y="858"/>
                  </a:lnTo>
                  <a:lnTo>
                    <a:pt x="1980" y="858"/>
                  </a:lnTo>
                  <a:lnTo>
                    <a:pt x="1980" y="858"/>
                  </a:lnTo>
                  <a:lnTo>
                    <a:pt x="1980" y="858"/>
                  </a:lnTo>
                  <a:lnTo>
                    <a:pt x="1980" y="858"/>
                  </a:lnTo>
                  <a:lnTo>
                    <a:pt x="1980" y="858"/>
                  </a:lnTo>
                  <a:lnTo>
                    <a:pt x="1980" y="858"/>
                  </a:lnTo>
                  <a:lnTo>
                    <a:pt x="1980" y="858"/>
                  </a:lnTo>
                  <a:lnTo>
                    <a:pt x="1980" y="858"/>
                  </a:lnTo>
                  <a:lnTo>
                    <a:pt x="1980" y="858"/>
                  </a:lnTo>
                  <a:lnTo>
                    <a:pt x="1980" y="858"/>
                  </a:lnTo>
                  <a:lnTo>
                    <a:pt x="1980" y="858"/>
                  </a:lnTo>
                  <a:lnTo>
                    <a:pt x="1980" y="855"/>
                  </a:lnTo>
                  <a:lnTo>
                    <a:pt x="1980" y="855"/>
                  </a:lnTo>
                  <a:lnTo>
                    <a:pt x="1980" y="855"/>
                  </a:lnTo>
                  <a:lnTo>
                    <a:pt x="1982" y="855"/>
                  </a:lnTo>
                  <a:lnTo>
                    <a:pt x="1982" y="852"/>
                  </a:lnTo>
                  <a:lnTo>
                    <a:pt x="1982" y="852"/>
                  </a:lnTo>
                  <a:lnTo>
                    <a:pt x="1980" y="849"/>
                  </a:lnTo>
                  <a:lnTo>
                    <a:pt x="1980" y="849"/>
                  </a:lnTo>
                  <a:lnTo>
                    <a:pt x="1980" y="849"/>
                  </a:lnTo>
                  <a:lnTo>
                    <a:pt x="1980" y="849"/>
                  </a:lnTo>
                  <a:lnTo>
                    <a:pt x="1980" y="849"/>
                  </a:lnTo>
                  <a:lnTo>
                    <a:pt x="1980" y="849"/>
                  </a:lnTo>
                  <a:lnTo>
                    <a:pt x="1980" y="847"/>
                  </a:lnTo>
                  <a:lnTo>
                    <a:pt x="1980" y="847"/>
                  </a:lnTo>
                  <a:lnTo>
                    <a:pt x="1977" y="847"/>
                  </a:lnTo>
                  <a:lnTo>
                    <a:pt x="1977" y="847"/>
                  </a:lnTo>
                  <a:lnTo>
                    <a:pt x="1977" y="847"/>
                  </a:lnTo>
                  <a:lnTo>
                    <a:pt x="1977" y="847"/>
                  </a:lnTo>
                  <a:lnTo>
                    <a:pt x="1977" y="847"/>
                  </a:lnTo>
                  <a:lnTo>
                    <a:pt x="1980" y="847"/>
                  </a:lnTo>
                  <a:lnTo>
                    <a:pt x="1980" y="847"/>
                  </a:lnTo>
                  <a:lnTo>
                    <a:pt x="1977" y="844"/>
                  </a:lnTo>
                  <a:lnTo>
                    <a:pt x="1977" y="844"/>
                  </a:lnTo>
                  <a:lnTo>
                    <a:pt x="1977" y="844"/>
                  </a:lnTo>
                  <a:lnTo>
                    <a:pt x="1974" y="844"/>
                  </a:lnTo>
                  <a:lnTo>
                    <a:pt x="1972" y="841"/>
                  </a:lnTo>
                  <a:lnTo>
                    <a:pt x="1972" y="841"/>
                  </a:lnTo>
                  <a:lnTo>
                    <a:pt x="1969" y="844"/>
                  </a:lnTo>
                  <a:lnTo>
                    <a:pt x="1969" y="841"/>
                  </a:lnTo>
                  <a:lnTo>
                    <a:pt x="1972" y="841"/>
                  </a:lnTo>
                  <a:lnTo>
                    <a:pt x="1972" y="841"/>
                  </a:lnTo>
                  <a:lnTo>
                    <a:pt x="1972" y="839"/>
                  </a:lnTo>
                  <a:lnTo>
                    <a:pt x="1972" y="839"/>
                  </a:lnTo>
                  <a:lnTo>
                    <a:pt x="1972" y="839"/>
                  </a:lnTo>
                  <a:lnTo>
                    <a:pt x="1972" y="839"/>
                  </a:lnTo>
                  <a:lnTo>
                    <a:pt x="1972" y="836"/>
                  </a:lnTo>
                  <a:lnTo>
                    <a:pt x="1969" y="836"/>
                  </a:lnTo>
                  <a:lnTo>
                    <a:pt x="1969" y="839"/>
                  </a:lnTo>
                  <a:lnTo>
                    <a:pt x="1969" y="839"/>
                  </a:lnTo>
                  <a:lnTo>
                    <a:pt x="1969" y="836"/>
                  </a:lnTo>
                  <a:lnTo>
                    <a:pt x="1969" y="836"/>
                  </a:lnTo>
                  <a:lnTo>
                    <a:pt x="1966" y="836"/>
                  </a:lnTo>
                  <a:lnTo>
                    <a:pt x="1966" y="836"/>
                  </a:lnTo>
                  <a:lnTo>
                    <a:pt x="1969" y="836"/>
                  </a:lnTo>
                  <a:lnTo>
                    <a:pt x="1974" y="839"/>
                  </a:lnTo>
                  <a:lnTo>
                    <a:pt x="1977" y="839"/>
                  </a:lnTo>
                  <a:lnTo>
                    <a:pt x="1977" y="839"/>
                  </a:lnTo>
                  <a:lnTo>
                    <a:pt x="1977" y="839"/>
                  </a:lnTo>
                  <a:lnTo>
                    <a:pt x="1980" y="841"/>
                  </a:lnTo>
                  <a:lnTo>
                    <a:pt x="1982" y="841"/>
                  </a:lnTo>
                  <a:lnTo>
                    <a:pt x="1988" y="841"/>
                  </a:lnTo>
                  <a:lnTo>
                    <a:pt x="1993" y="847"/>
                  </a:lnTo>
                  <a:lnTo>
                    <a:pt x="1998" y="847"/>
                  </a:lnTo>
                  <a:lnTo>
                    <a:pt x="2001" y="847"/>
                  </a:lnTo>
                  <a:lnTo>
                    <a:pt x="2004" y="847"/>
                  </a:lnTo>
                  <a:lnTo>
                    <a:pt x="2006" y="847"/>
                  </a:lnTo>
                  <a:lnTo>
                    <a:pt x="2006" y="844"/>
                  </a:lnTo>
                  <a:lnTo>
                    <a:pt x="2004" y="844"/>
                  </a:lnTo>
                  <a:lnTo>
                    <a:pt x="2006" y="844"/>
                  </a:lnTo>
                  <a:lnTo>
                    <a:pt x="2006" y="844"/>
                  </a:lnTo>
                  <a:lnTo>
                    <a:pt x="2006" y="844"/>
                  </a:lnTo>
                  <a:lnTo>
                    <a:pt x="2006" y="841"/>
                  </a:lnTo>
                  <a:lnTo>
                    <a:pt x="2006" y="841"/>
                  </a:lnTo>
                  <a:lnTo>
                    <a:pt x="2006" y="841"/>
                  </a:lnTo>
                  <a:lnTo>
                    <a:pt x="2006" y="841"/>
                  </a:lnTo>
                  <a:lnTo>
                    <a:pt x="2004" y="839"/>
                  </a:lnTo>
                  <a:lnTo>
                    <a:pt x="2004" y="839"/>
                  </a:lnTo>
                  <a:lnTo>
                    <a:pt x="2004" y="839"/>
                  </a:lnTo>
                  <a:lnTo>
                    <a:pt x="2004" y="836"/>
                  </a:lnTo>
                  <a:lnTo>
                    <a:pt x="2001" y="833"/>
                  </a:lnTo>
                  <a:lnTo>
                    <a:pt x="2001" y="833"/>
                  </a:lnTo>
                  <a:lnTo>
                    <a:pt x="2001" y="831"/>
                  </a:lnTo>
                  <a:lnTo>
                    <a:pt x="2001" y="831"/>
                  </a:lnTo>
                  <a:lnTo>
                    <a:pt x="1998" y="828"/>
                  </a:lnTo>
                  <a:lnTo>
                    <a:pt x="1998" y="828"/>
                  </a:lnTo>
                  <a:lnTo>
                    <a:pt x="1998" y="828"/>
                  </a:lnTo>
                  <a:lnTo>
                    <a:pt x="1996" y="828"/>
                  </a:lnTo>
                  <a:lnTo>
                    <a:pt x="1996" y="828"/>
                  </a:lnTo>
                  <a:lnTo>
                    <a:pt x="1996" y="828"/>
                  </a:lnTo>
                  <a:lnTo>
                    <a:pt x="1996" y="828"/>
                  </a:lnTo>
                  <a:lnTo>
                    <a:pt x="1993" y="828"/>
                  </a:lnTo>
                  <a:lnTo>
                    <a:pt x="1993" y="828"/>
                  </a:lnTo>
                  <a:lnTo>
                    <a:pt x="1993" y="828"/>
                  </a:lnTo>
                  <a:lnTo>
                    <a:pt x="1993" y="828"/>
                  </a:lnTo>
                  <a:lnTo>
                    <a:pt x="1993" y="828"/>
                  </a:lnTo>
                  <a:lnTo>
                    <a:pt x="1993" y="831"/>
                  </a:lnTo>
                  <a:lnTo>
                    <a:pt x="1993" y="831"/>
                  </a:lnTo>
                  <a:lnTo>
                    <a:pt x="1990" y="831"/>
                  </a:lnTo>
                  <a:lnTo>
                    <a:pt x="1990" y="831"/>
                  </a:lnTo>
                  <a:lnTo>
                    <a:pt x="1990" y="833"/>
                  </a:lnTo>
                  <a:lnTo>
                    <a:pt x="1988" y="833"/>
                  </a:lnTo>
                  <a:lnTo>
                    <a:pt x="1988" y="833"/>
                  </a:lnTo>
                  <a:lnTo>
                    <a:pt x="1988" y="833"/>
                  </a:lnTo>
                  <a:lnTo>
                    <a:pt x="1988" y="833"/>
                  </a:lnTo>
                  <a:lnTo>
                    <a:pt x="1988" y="833"/>
                  </a:lnTo>
                  <a:lnTo>
                    <a:pt x="1985" y="833"/>
                  </a:lnTo>
                  <a:lnTo>
                    <a:pt x="1985" y="833"/>
                  </a:lnTo>
                  <a:lnTo>
                    <a:pt x="1982" y="833"/>
                  </a:lnTo>
                  <a:lnTo>
                    <a:pt x="1982" y="833"/>
                  </a:lnTo>
                  <a:lnTo>
                    <a:pt x="1982" y="833"/>
                  </a:lnTo>
                  <a:lnTo>
                    <a:pt x="1982" y="833"/>
                  </a:lnTo>
                  <a:lnTo>
                    <a:pt x="1985" y="831"/>
                  </a:lnTo>
                  <a:lnTo>
                    <a:pt x="1985" y="831"/>
                  </a:lnTo>
                  <a:lnTo>
                    <a:pt x="1982" y="831"/>
                  </a:lnTo>
                  <a:lnTo>
                    <a:pt x="1982" y="828"/>
                  </a:lnTo>
                  <a:lnTo>
                    <a:pt x="1980" y="828"/>
                  </a:lnTo>
                  <a:lnTo>
                    <a:pt x="1980" y="828"/>
                  </a:lnTo>
                  <a:lnTo>
                    <a:pt x="1977" y="828"/>
                  </a:lnTo>
                  <a:lnTo>
                    <a:pt x="1977" y="828"/>
                  </a:lnTo>
                  <a:lnTo>
                    <a:pt x="1977" y="828"/>
                  </a:lnTo>
                  <a:lnTo>
                    <a:pt x="1974" y="825"/>
                  </a:lnTo>
                  <a:lnTo>
                    <a:pt x="1974" y="825"/>
                  </a:lnTo>
                  <a:lnTo>
                    <a:pt x="1974" y="825"/>
                  </a:lnTo>
                  <a:lnTo>
                    <a:pt x="1974" y="825"/>
                  </a:lnTo>
                  <a:lnTo>
                    <a:pt x="1974" y="825"/>
                  </a:lnTo>
                  <a:lnTo>
                    <a:pt x="1972" y="825"/>
                  </a:lnTo>
                  <a:lnTo>
                    <a:pt x="1972" y="825"/>
                  </a:lnTo>
                  <a:lnTo>
                    <a:pt x="1964" y="825"/>
                  </a:lnTo>
                  <a:lnTo>
                    <a:pt x="1964" y="823"/>
                  </a:lnTo>
                  <a:lnTo>
                    <a:pt x="1964" y="823"/>
                  </a:lnTo>
                  <a:lnTo>
                    <a:pt x="1961" y="823"/>
                  </a:lnTo>
                  <a:lnTo>
                    <a:pt x="1961" y="823"/>
                  </a:lnTo>
                  <a:lnTo>
                    <a:pt x="1961" y="820"/>
                  </a:lnTo>
                  <a:lnTo>
                    <a:pt x="1961" y="820"/>
                  </a:lnTo>
                  <a:lnTo>
                    <a:pt x="1961" y="820"/>
                  </a:lnTo>
                  <a:lnTo>
                    <a:pt x="1969" y="823"/>
                  </a:lnTo>
                  <a:lnTo>
                    <a:pt x="1974" y="825"/>
                  </a:lnTo>
                  <a:lnTo>
                    <a:pt x="1977" y="825"/>
                  </a:lnTo>
                  <a:lnTo>
                    <a:pt x="1977" y="825"/>
                  </a:lnTo>
                  <a:lnTo>
                    <a:pt x="1977" y="825"/>
                  </a:lnTo>
                  <a:lnTo>
                    <a:pt x="1980" y="825"/>
                  </a:lnTo>
                  <a:lnTo>
                    <a:pt x="1985" y="828"/>
                  </a:lnTo>
                  <a:lnTo>
                    <a:pt x="1988" y="828"/>
                  </a:lnTo>
                  <a:lnTo>
                    <a:pt x="1993" y="825"/>
                  </a:lnTo>
                  <a:lnTo>
                    <a:pt x="1996" y="825"/>
                  </a:lnTo>
                  <a:lnTo>
                    <a:pt x="1996" y="825"/>
                  </a:lnTo>
                  <a:lnTo>
                    <a:pt x="1996" y="825"/>
                  </a:lnTo>
                  <a:lnTo>
                    <a:pt x="1996" y="825"/>
                  </a:lnTo>
                  <a:lnTo>
                    <a:pt x="1996" y="823"/>
                  </a:lnTo>
                  <a:lnTo>
                    <a:pt x="1996" y="823"/>
                  </a:lnTo>
                  <a:lnTo>
                    <a:pt x="1996" y="823"/>
                  </a:lnTo>
                  <a:lnTo>
                    <a:pt x="1993" y="823"/>
                  </a:lnTo>
                  <a:lnTo>
                    <a:pt x="1993" y="823"/>
                  </a:lnTo>
                  <a:lnTo>
                    <a:pt x="1993" y="823"/>
                  </a:lnTo>
                  <a:lnTo>
                    <a:pt x="1993" y="820"/>
                  </a:lnTo>
                  <a:lnTo>
                    <a:pt x="1990" y="820"/>
                  </a:lnTo>
                  <a:lnTo>
                    <a:pt x="1990" y="820"/>
                  </a:lnTo>
                  <a:lnTo>
                    <a:pt x="1988" y="820"/>
                  </a:lnTo>
                  <a:lnTo>
                    <a:pt x="1988" y="820"/>
                  </a:lnTo>
                  <a:lnTo>
                    <a:pt x="1985" y="820"/>
                  </a:lnTo>
                  <a:lnTo>
                    <a:pt x="1985" y="817"/>
                  </a:lnTo>
                  <a:lnTo>
                    <a:pt x="1985" y="817"/>
                  </a:lnTo>
                  <a:lnTo>
                    <a:pt x="1988" y="817"/>
                  </a:lnTo>
                  <a:lnTo>
                    <a:pt x="1988" y="817"/>
                  </a:lnTo>
                  <a:lnTo>
                    <a:pt x="1988" y="817"/>
                  </a:lnTo>
                  <a:lnTo>
                    <a:pt x="1990" y="820"/>
                  </a:lnTo>
                  <a:lnTo>
                    <a:pt x="1996" y="820"/>
                  </a:lnTo>
                  <a:lnTo>
                    <a:pt x="1996" y="820"/>
                  </a:lnTo>
                  <a:lnTo>
                    <a:pt x="1996" y="820"/>
                  </a:lnTo>
                  <a:lnTo>
                    <a:pt x="1996" y="820"/>
                  </a:lnTo>
                  <a:lnTo>
                    <a:pt x="1993" y="820"/>
                  </a:lnTo>
                  <a:lnTo>
                    <a:pt x="1993" y="817"/>
                  </a:lnTo>
                  <a:lnTo>
                    <a:pt x="1996" y="817"/>
                  </a:lnTo>
                  <a:lnTo>
                    <a:pt x="1996" y="817"/>
                  </a:lnTo>
                  <a:lnTo>
                    <a:pt x="1996" y="815"/>
                  </a:lnTo>
                  <a:lnTo>
                    <a:pt x="1996" y="815"/>
                  </a:lnTo>
                  <a:lnTo>
                    <a:pt x="1993" y="815"/>
                  </a:lnTo>
                  <a:lnTo>
                    <a:pt x="1993" y="815"/>
                  </a:lnTo>
                  <a:lnTo>
                    <a:pt x="1993" y="815"/>
                  </a:lnTo>
                  <a:lnTo>
                    <a:pt x="1993" y="812"/>
                  </a:lnTo>
                  <a:lnTo>
                    <a:pt x="1996" y="812"/>
                  </a:lnTo>
                  <a:lnTo>
                    <a:pt x="1996" y="812"/>
                  </a:lnTo>
                  <a:lnTo>
                    <a:pt x="1993" y="809"/>
                  </a:lnTo>
                  <a:lnTo>
                    <a:pt x="1990" y="809"/>
                  </a:lnTo>
                  <a:lnTo>
                    <a:pt x="1985" y="809"/>
                  </a:lnTo>
                  <a:lnTo>
                    <a:pt x="1985" y="809"/>
                  </a:lnTo>
                  <a:lnTo>
                    <a:pt x="1985" y="807"/>
                  </a:lnTo>
                  <a:lnTo>
                    <a:pt x="1985" y="807"/>
                  </a:lnTo>
                  <a:lnTo>
                    <a:pt x="1985" y="807"/>
                  </a:lnTo>
                  <a:lnTo>
                    <a:pt x="1985" y="807"/>
                  </a:lnTo>
                  <a:lnTo>
                    <a:pt x="1982" y="807"/>
                  </a:lnTo>
                  <a:lnTo>
                    <a:pt x="1982" y="809"/>
                  </a:lnTo>
                  <a:lnTo>
                    <a:pt x="1980" y="807"/>
                  </a:lnTo>
                  <a:lnTo>
                    <a:pt x="1980" y="807"/>
                  </a:lnTo>
                  <a:lnTo>
                    <a:pt x="1980" y="809"/>
                  </a:lnTo>
                  <a:lnTo>
                    <a:pt x="1977" y="809"/>
                  </a:lnTo>
                  <a:lnTo>
                    <a:pt x="1977" y="809"/>
                  </a:lnTo>
                  <a:lnTo>
                    <a:pt x="1977" y="807"/>
                  </a:lnTo>
                  <a:lnTo>
                    <a:pt x="1977" y="807"/>
                  </a:lnTo>
                  <a:lnTo>
                    <a:pt x="1977" y="807"/>
                  </a:lnTo>
                  <a:lnTo>
                    <a:pt x="1974" y="807"/>
                  </a:lnTo>
                  <a:lnTo>
                    <a:pt x="1974" y="807"/>
                  </a:lnTo>
                  <a:lnTo>
                    <a:pt x="1974" y="807"/>
                  </a:lnTo>
                  <a:lnTo>
                    <a:pt x="1974" y="809"/>
                  </a:lnTo>
                  <a:lnTo>
                    <a:pt x="1972" y="809"/>
                  </a:lnTo>
                  <a:lnTo>
                    <a:pt x="1974" y="809"/>
                  </a:lnTo>
                  <a:lnTo>
                    <a:pt x="1974" y="809"/>
                  </a:lnTo>
                  <a:lnTo>
                    <a:pt x="1974" y="809"/>
                  </a:lnTo>
                  <a:lnTo>
                    <a:pt x="1974" y="812"/>
                  </a:lnTo>
                  <a:lnTo>
                    <a:pt x="1972" y="815"/>
                  </a:lnTo>
                  <a:lnTo>
                    <a:pt x="1972" y="817"/>
                  </a:lnTo>
                  <a:lnTo>
                    <a:pt x="1972" y="817"/>
                  </a:lnTo>
                  <a:lnTo>
                    <a:pt x="1972" y="820"/>
                  </a:lnTo>
                  <a:lnTo>
                    <a:pt x="1969" y="820"/>
                  </a:lnTo>
                  <a:lnTo>
                    <a:pt x="1969" y="820"/>
                  </a:lnTo>
                  <a:lnTo>
                    <a:pt x="1969" y="820"/>
                  </a:lnTo>
                  <a:lnTo>
                    <a:pt x="1969" y="820"/>
                  </a:lnTo>
                  <a:lnTo>
                    <a:pt x="1969" y="820"/>
                  </a:lnTo>
                  <a:lnTo>
                    <a:pt x="1969" y="823"/>
                  </a:lnTo>
                  <a:lnTo>
                    <a:pt x="1969" y="823"/>
                  </a:lnTo>
                  <a:lnTo>
                    <a:pt x="1969" y="820"/>
                  </a:lnTo>
                  <a:lnTo>
                    <a:pt x="1966" y="820"/>
                  </a:lnTo>
                  <a:lnTo>
                    <a:pt x="1964" y="820"/>
                  </a:lnTo>
                  <a:lnTo>
                    <a:pt x="1964" y="820"/>
                  </a:lnTo>
                  <a:lnTo>
                    <a:pt x="1966" y="820"/>
                  </a:lnTo>
                  <a:lnTo>
                    <a:pt x="1969" y="820"/>
                  </a:lnTo>
                  <a:lnTo>
                    <a:pt x="1969" y="817"/>
                  </a:lnTo>
                  <a:lnTo>
                    <a:pt x="1969" y="817"/>
                  </a:lnTo>
                  <a:lnTo>
                    <a:pt x="1969" y="817"/>
                  </a:lnTo>
                  <a:lnTo>
                    <a:pt x="1969" y="817"/>
                  </a:lnTo>
                  <a:lnTo>
                    <a:pt x="1966" y="817"/>
                  </a:lnTo>
                  <a:lnTo>
                    <a:pt x="1966" y="817"/>
                  </a:lnTo>
                  <a:lnTo>
                    <a:pt x="1966" y="817"/>
                  </a:lnTo>
                  <a:lnTo>
                    <a:pt x="1966" y="817"/>
                  </a:lnTo>
                  <a:lnTo>
                    <a:pt x="1964" y="817"/>
                  </a:lnTo>
                  <a:lnTo>
                    <a:pt x="1964" y="817"/>
                  </a:lnTo>
                  <a:lnTo>
                    <a:pt x="1964" y="817"/>
                  </a:lnTo>
                  <a:lnTo>
                    <a:pt x="1966" y="815"/>
                  </a:lnTo>
                  <a:lnTo>
                    <a:pt x="1969" y="815"/>
                  </a:lnTo>
                  <a:lnTo>
                    <a:pt x="1969" y="815"/>
                  </a:lnTo>
                  <a:lnTo>
                    <a:pt x="1969" y="812"/>
                  </a:lnTo>
                  <a:lnTo>
                    <a:pt x="1969" y="812"/>
                  </a:lnTo>
                  <a:lnTo>
                    <a:pt x="1969" y="812"/>
                  </a:lnTo>
                  <a:lnTo>
                    <a:pt x="1972" y="812"/>
                  </a:lnTo>
                  <a:lnTo>
                    <a:pt x="1972" y="812"/>
                  </a:lnTo>
                  <a:lnTo>
                    <a:pt x="1972" y="809"/>
                  </a:lnTo>
                  <a:lnTo>
                    <a:pt x="1972" y="809"/>
                  </a:lnTo>
                  <a:lnTo>
                    <a:pt x="1972" y="809"/>
                  </a:lnTo>
                  <a:lnTo>
                    <a:pt x="1972" y="807"/>
                  </a:lnTo>
                  <a:lnTo>
                    <a:pt x="1972" y="807"/>
                  </a:lnTo>
                  <a:lnTo>
                    <a:pt x="1969" y="807"/>
                  </a:lnTo>
                  <a:lnTo>
                    <a:pt x="1969" y="807"/>
                  </a:lnTo>
                  <a:lnTo>
                    <a:pt x="1969" y="804"/>
                  </a:lnTo>
                  <a:lnTo>
                    <a:pt x="1969" y="804"/>
                  </a:lnTo>
                  <a:lnTo>
                    <a:pt x="1969" y="804"/>
                  </a:lnTo>
                  <a:lnTo>
                    <a:pt x="1966" y="804"/>
                  </a:lnTo>
                  <a:lnTo>
                    <a:pt x="1966" y="804"/>
                  </a:lnTo>
                  <a:lnTo>
                    <a:pt x="1964" y="804"/>
                  </a:lnTo>
                  <a:lnTo>
                    <a:pt x="1964" y="804"/>
                  </a:lnTo>
                  <a:lnTo>
                    <a:pt x="1964" y="804"/>
                  </a:lnTo>
                  <a:lnTo>
                    <a:pt x="1964" y="804"/>
                  </a:lnTo>
                  <a:lnTo>
                    <a:pt x="1961" y="804"/>
                  </a:lnTo>
                  <a:lnTo>
                    <a:pt x="1958" y="801"/>
                  </a:lnTo>
                  <a:lnTo>
                    <a:pt x="1958" y="801"/>
                  </a:lnTo>
                  <a:lnTo>
                    <a:pt x="1958" y="801"/>
                  </a:lnTo>
                  <a:lnTo>
                    <a:pt x="1956" y="807"/>
                  </a:lnTo>
                  <a:lnTo>
                    <a:pt x="1953" y="807"/>
                  </a:lnTo>
                  <a:lnTo>
                    <a:pt x="1953" y="809"/>
                  </a:lnTo>
                  <a:lnTo>
                    <a:pt x="1953" y="809"/>
                  </a:lnTo>
                  <a:lnTo>
                    <a:pt x="1956" y="809"/>
                  </a:lnTo>
                  <a:lnTo>
                    <a:pt x="1956" y="812"/>
                  </a:lnTo>
                  <a:lnTo>
                    <a:pt x="1953" y="812"/>
                  </a:lnTo>
                  <a:lnTo>
                    <a:pt x="1950" y="809"/>
                  </a:lnTo>
                  <a:lnTo>
                    <a:pt x="1948" y="809"/>
                  </a:lnTo>
                  <a:lnTo>
                    <a:pt x="1948" y="809"/>
                  </a:lnTo>
                  <a:lnTo>
                    <a:pt x="1948" y="809"/>
                  </a:lnTo>
                  <a:lnTo>
                    <a:pt x="1948" y="809"/>
                  </a:lnTo>
                  <a:lnTo>
                    <a:pt x="1948" y="809"/>
                  </a:lnTo>
                  <a:lnTo>
                    <a:pt x="1948" y="812"/>
                  </a:lnTo>
                  <a:lnTo>
                    <a:pt x="1948" y="812"/>
                  </a:lnTo>
                  <a:lnTo>
                    <a:pt x="1948" y="812"/>
                  </a:lnTo>
                  <a:lnTo>
                    <a:pt x="1948" y="812"/>
                  </a:lnTo>
                  <a:lnTo>
                    <a:pt x="1948" y="815"/>
                  </a:lnTo>
                  <a:lnTo>
                    <a:pt x="1948" y="815"/>
                  </a:lnTo>
                  <a:lnTo>
                    <a:pt x="1948" y="815"/>
                  </a:lnTo>
                  <a:lnTo>
                    <a:pt x="1948" y="815"/>
                  </a:lnTo>
                  <a:lnTo>
                    <a:pt x="1948" y="817"/>
                  </a:lnTo>
                  <a:lnTo>
                    <a:pt x="1950" y="817"/>
                  </a:lnTo>
                  <a:lnTo>
                    <a:pt x="1950" y="817"/>
                  </a:lnTo>
                  <a:lnTo>
                    <a:pt x="1950" y="820"/>
                  </a:lnTo>
                  <a:lnTo>
                    <a:pt x="1950" y="820"/>
                  </a:lnTo>
                  <a:lnTo>
                    <a:pt x="1948" y="817"/>
                  </a:lnTo>
                  <a:lnTo>
                    <a:pt x="1948" y="817"/>
                  </a:lnTo>
                  <a:lnTo>
                    <a:pt x="1948" y="817"/>
                  </a:lnTo>
                  <a:lnTo>
                    <a:pt x="1948" y="815"/>
                  </a:lnTo>
                  <a:lnTo>
                    <a:pt x="1948" y="815"/>
                  </a:lnTo>
                  <a:lnTo>
                    <a:pt x="1945" y="815"/>
                  </a:lnTo>
                  <a:lnTo>
                    <a:pt x="1945" y="815"/>
                  </a:lnTo>
                  <a:lnTo>
                    <a:pt x="1945" y="812"/>
                  </a:lnTo>
                  <a:lnTo>
                    <a:pt x="1945" y="812"/>
                  </a:lnTo>
                  <a:lnTo>
                    <a:pt x="1942" y="812"/>
                  </a:lnTo>
                  <a:lnTo>
                    <a:pt x="1942" y="809"/>
                  </a:lnTo>
                  <a:lnTo>
                    <a:pt x="1942" y="809"/>
                  </a:lnTo>
                  <a:lnTo>
                    <a:pt x="1942" y="809"/>
                  </a:lnTo>
                  <a:lnTo>
                    <a:pt x="1940" y="812"/>
                  </a:lnTo>
                  <a:lnTo>
                    <a:pt x="1940" y="812"/>
                  </a:lnTo>
                  <a:lnTo>
                    <a:pt x="1942" y="815"/>
                  </a:lnTo>
                  <a:lnTo>
                    <a:pt x="1942" y="815"/>
                  </a:lnTo>
                  <a:lnTo>
                    <a:pt x="1942" y="817"/>
                  </a:lnTo>
                  <a:lnTo>
                    <a:pt x="1945" y="817"/>
                  </a:lnTo>
                  <a:lnTo>
                    <a:pt x="1945" y="817"/>
                  </a:lnTo>
                  <a:lnTo>
                    <a:pt x="1945" y="817"/>
                  </a:lnTo>
                  <a:lnTo>
                    <a:pt x="1945" y="817"/>
                  </a:lnTo>
                  <a:lnTo>
                    <a:pt x="1942" y="817"/>
                  </a:lnTo>
                  <a:lnTo>
                    <a:pt x="1942" y="817"/>
                  </a:lnTo>
                  <a:lnTo>
                    <a:pt x="1940" y="817"/>
                  </a:lnTo>
                  <a:lnTo>
                    <a:pt x="1940" y="817"/>
                  </a:lnTo>
                  <a:lnTo>
                    <a:pt x="1940" y="817"/>
                  </a:lnTo>
                  <a:lnTo>
                    <a:pt x="1940" y="820"/>
                  </a:lnTo>
                  <a:lnTo>
                    <a:pt x="1940" y="820"/>
                  </a:lnTo>
                  <a:lnTo>
                    <a:pt x="1945" y="823"/>
                  </a:lnTo>
                  <a:lnTo>
                    <a:pt x="1945" y="825"/>
                  </a:lnTo>
                  <a:lnTo>
                    <a:pt x="1948" y="825"/>
                  </a:lnTo>
                  <a:lnTo>
                    <a:pt x="1948" y="825"/>
                  </a:lnTo>
                  <a:lnTo>
                    <a:pt x="1950" y="825"/>
                  </a:lnTo>
                  <a:lnTo>
                    <a:pt x="1953" y="831"/>
                  </a:lnTo>
                  <a:lnTo>
                    <a:pt x="1956" y="831"/>
                  </a:lnTo>
                  <a:lnTo>
                    <a:pt x="1958" y="833"/>
                  </a:lnTo>
                  <a:lnTo>
                    <a:pt x="1958" y="833"/>
                  </a:lnTo>
                  <a:lnTo>
                    <a:pt x="1956" y="833"/>
                  </a:lnTo>
                  <a:lnTo>
                    <a:pt x="1953" y="831"/>
                  </a:lnTo>
                  <a:lnTo>
                    <a:pt x="1948" y="825"/>
                  </a:lnTo>
                  <a:lnTo>
                    <a:pt x="1945" y="825"/>
                  </a:lnTo>
                  <a:lnTo>
                    <a:pt x="1945" y="825"/>
                  </a:lnTo>
                  <a:lnTo>
                    <a:pt x="1945" y="825"/>
                  </a:lnTo>
                  <a:lnTo>
                    <a:pt x="1945" y="825"/>
                  </a:lnTo>
                  <a:lnTo>
                    <a:pt x="1945" y="828"/>
                  </a:lnTo>
                  <a:lnTo>
                    <a:pt x="1945" y="828"/>
                  </a:lnTo>
                  <a:lnTo>
                    <a:pt x="1945" y="828"/>
                  </a:lnTo>
                  <a:lnTo>
                    <a:pt x="1945" y="831"/>
                  </a:lnTo>
                  <a:lnTo>
                    <a:pt x="1945" y="831"/>
                  </a:lnTo>
                  <a:lnTo>
                    <a:pt x="1945" y="831"/>
                  </a:lnTo>
                  <a:lnTo>
                    <a:pt x="1945" y="833"/>
                  </a:lnTo>
                  <a:lnTo>
                    <a:pt x="1945" y="836"/>
                  </a:lnTo>
                  <a:lnTo>
                    <a:pt x="1945" y="836"/>
                  </a:lnTo>
                  <a:lnTo>
                    <a:pt x="1945" y="839"/>
                  </a:lnTo>
                  <a:lnTo>
                    <a:pt x="1945" y="839"/>
                  </a:lnTo>
                  <a:lnTo>
                    <a:pt x="1945" y="839"/>
                  </a:lnTo>
                  <a:lnTo>
                    <a:pt x="1945" y="836"/>
                  </a:lnTo>
                  <a:lnTo>
                    <a:pt x="1945" y="836"/>
                  </a:lnTo>
                  <a:lnTo>
                    <a:pt x="1948" y="836"/>
                  </a:lnTo>
                  <a:lnTo>
                    <a:pt x="1948" y="836"/>
                  </a:lnTo>
                  <a:lnTo>
                    <a:pt x="1948" y="836"/>
                  </a:lnTo>
                  <a:lnTo>
                    <a:pt x="1948" y="839"/>
                  </a:lnTo>
                  <a:lnTo>
                    <a:pt x="1948" y="839"/>
                  </a:lnTo>
                  <a:lnTo>
                    <a:pt x="1950" y="839"/>
                  </a:lnTo>
                  <a:lnTo>
                    <a:pt x="1950" y="839"/>
                  </a:lnTo>
                  <a:lnTo>
                    <a:pt x="1950" y="839"/>
                  </a:lnTo>
                  <a:lnTo>
                    <a:pt x="1950" y="839"/>
                  </a:lnTo>
                  <a:lnTo>
                    <a:pt x="1953" y="839"/>
                  </a:lnTo>
                  <a:lnTo>
                    <a:pt x="1953" y="839"/>
                  </a:lnTo>
                  <a:lnTo>
                    <a:pt x="1953" y="839"/>
                  </a:lnTo>
                  <a:lnTo>
                    <a:pt x="1953" y="841"/>
                  </a:lnTo>
                  <a:lnTo>
                    <a:pt x="1958" y="844"/>
                  </a:lnTo>
                  <a:lnTo>
                    <a:pt x="1958" y="844"/>
                  </a:lnTo>
                  <a:lnTo>
                    <a:pt x="1958" y="844"/>
                  </a:lnTo>
                  <a:lnTo>
                    <a:pt x="1958" y="844"/>
                  </a:lnTo>
                  <a:lnTo>
                    <a:pt x="1958" y="847"/>
                  </a:lnTo>
                  <a:lnTo>
                    <a:pt x="1958" y="847"/>
                  </a:lnTo>
                  <a:lnTo>
                    <a:pt x="1958" y="847"/>
                  </a:lnTo>
                  <a:lnTo>
                    <a:pt x="1958" y="847"/>
                  </a:lnTo>
                  <a:lnTo>
                    <a:pt x="1961" y="847"/>
                  </a:lnTo>
                  <a:lnTo>
                    <a:pt x="1961" y="847"/>
                  </a:lnTo>
                  <a:lnTo>
                    <a:pt x="1958" y="847"/>
                  </a:lnTo>
                  <a:lnTo>
                    <a:pt x="1961" y="847"/>
                  </a:lnTo>
                  <a:lnTo>
                    <a:pt x="1961" y="847"/>
                  </a:lnTo>
                  <a:lnTo>
                    <a:pt x="1961" y="847"/>
                  </a:lnTo>
                  <a:lnTo>
                    <a:pt x="1961" y="847"/>
                  </a:lnTo>
                  <a:lnTo>
                    <a:pt x="1961" y="847"/>
                  </a:lnTo>
                  <a:lnTo>
                    <a:pt x="1964" y="847"/>
                  </a:lnTo>
                  <a:lnTo>
                    <a:pt x="1964" y="847"/>
                  </a:lnTo>
                  <a:lnTo>
                    <a:pt x="1964" y="847"/>
                  </a:lnTo>
                  <a:lnTo>
                    <a:pt x="1964" y="847"/>
                  </a:lnTo>
                  <a:lnTo>
                    <a:pt x="1964" y="847"/>
                  </a:lnTo>
                  <a:lnTo>
                    <a:pt x="1964" y="847"/>
                  </a:lnTo>
                  <a:lnTo>
                    <a:pt x="1964" y="849"/>
                  </a:lnTo>
                  <a:lnTo>
                    <a:pt x="1964" y="849"/>
                  </a:lnTo>
                  <a:lnTo>
                    <a:pt x="1964" y="849"/>
                  </a:lnTo>
                  <a:lnTo>
                    <a:pt x="1964" y="849"/>
                  </a:lnTo>
                  <a:lnTo>
                    <a:pt x="1964" y="847"/>
                  </a:lnTo>
                  <a:lnTo>
                    <a:pt x="1961" y="847"/>
                  </a:lnTo>
                  <a:lnTo>
                    <a:pt x="1961" y="849"/>
                  </a:lnTo>
                  <a:lnTo>
                    <a:pt x="1961" y="849"/>
                  </a:lnTo>
                  <a:lnTo>
                    <a:pt x="1964" y="849"/>
                  </a:lnTo>
                  <a:lnTo>
                    <a:pt x="1972" y="855"/>
                  </a:lnTo>
                  <a:lnTo>
                    <a:pt x="1972" y="855"/>
                  </a:lnTo>
                  <a:lnTo>
                    <a:pt x="1974" y="858"/>
                  </a:lnTo>
                  <a:lnTo>
                    <a:pt x="1974" y="858"/>
                  </a:lnTo>
                  <a:lnTo>
                    <a:pt x="1972" y="858"/>
                  </a:lnTo>
                  <a:lnTo>
                    <a:pt x="1969" y="855"/>
                  </a:lnTo>
                  <a:lnTo>
                    <a:pt x="1966" y="852"/>
                  </a:lnTo>
                  <a:lnTo>
                    <a:pt x="1966" y="852"/>
                  </a:lnTo>
                  <a:lnTo>
                    <a:pt x="1964" y="855"/>
                  </a:lnTo>
                  <a:lnTo>
                    <a:pt x="1966" y="855"/>
                  </a:lnTo>
                  <a:lnTo>
                    <a:pt x="1966" y="855"/>
                  </a:lnTo>
                  <a:lnTo>
                    <a:pt x="1966" y="858"/>
                  </a:lnTo>
                  <a:lnTo>
                    <a:pt x="1969" y="858"/>
                  </a:lnTo>
                  <a:lnTo>
                    <a:pt x="1969" y="858"/>
                  </a:lnTo>
                  <a:lnTo>
                    <a:pt x="1969" y="858"/>
                  </a:lnTo>
                  <a:lnTo>
                    <a:pt x="1972" y="858"/>
                  </a:lnTo>
                  <a:lnTo>
                    <a:pt x="1972" y="860"/>
                  </a:lnTo>
                  <a:lnTo>
                    <a:pt x="1972" y="860"/>
                  </a:lnTo>
                  <a:lnTo>
                    <a:pt x="1974" y="860"/>
                  </a:lnTo>
                  <a:lnTo>
                    <a:pt x="1977" y="860"/>
                  </a:lnTo>
                  <a:lnTo>
                    <a:pt x="1980" y="860"/>
                  </a:lnTo>
                  <a:close/>
                  <a:moveTo>
                    <a:pt x="1622" y="737"/>
                  </a:moveTo>
                  <a:lnTo>
                    <a:pt x="1622" y="737"/>
                  </a:lnTo>
                  <a:lnTo>
                    <a:pt x="1622" y="737"/>
                  </a:lnTo>
                  <a:lnTo>
                    <a:pt x="1622" y="737"/>
                  </a:lnTo>
                  <a:lnTo>
                    <a:pt x="1619" y="737"/>
                  </a:lnTo>
                  <a:lnTo>
                    <a:pt x="1619" y="737"/>
                  </a:lnTo>
                  <a:lnTo>
                    <a:pt x="1619" y="737"/>
                  </a:lnTo>
                  <a:lnTo>
                    <a:pt x="1619" y="737"/>
                  </a:lnTo>
                  <a:lnTo>
                    <a:pt x="1619" y="737"/>
                  </a:lnTo>
                  <a:lnTo>
                    <a:pt x="1622" y="737"/>
                  </a:lnTo>
                  <a:lnTo>
                    <a:pt x="1622" y="737"/>
                  </a:lnTo>
                  <a:lnTo>
                    <a:pt x="1622" y="737"/>
                  </a:lnTo>
                  <a:lnTo>
                    <a:pt x="1622" y="737"/>
                  </a:lnTo>
                  <a:lnTo>
                    <a:pt x="1622" y="737"/>
                  </a:lnTo>
                  <a:close/>
                  <a:moveTo>
                    <a:pt x="1521" y="761"/>
                  </a:moveTo>
                  <a:lnTo>
                    <a:pt x="1521" y="761"/>
                  </a:lnTo>
                  <a:lnTo>
                    <a:pt x="1521" y="761"/>
                  </a:lnTo>
                  <a:lnTo>
                    <a:pt x="1521" y="761"/>
                  </a:lnTo>
                  <a:lnTo>
                    <a:pt x="1521" y="761"/>
                  </a:lnTo>
                  <a:lnTo>
                    <a:pt x="1521" y="761"/>
                  </a:lnTo>
                  <a:lnTo>
                    <a:pt x="1521" y="761"/>
                  </a:lnTo>
                  <a:lnTo>
                    <a:pt x="1518" y="764"/>
                  </a:lnTo>
                  <a:lnTo>
                    <a:pt x="1518" y="764"/>
                  </a:lnTo>
                  <a:lnTo>
                    <a:pt x="1515" y="767"/>
                  </a:lnTo>
                  <a:lnTo>
                    <a:pt x="1515" y="767"/>
                  </a:lnTo>
                  <a:lnTo>
                    <a:pt x="1515" y="767"/>
                  </a:lnTo>
                  <a:lnTo>
                    <a:pt x="1515" y="764"/>
                  </a:lnTo>
                  <a:lnTo>
                    <a:pt x="1515" y="764"/>
                  </a:lnTo>
                  <a:lnTo>
                    <a:pt x="1513" y="764"/>
                  </a:lnTo>
                  <a:lnTo>
                    <a:pt x="1513" y="767"/>
                  </a:lnTo>
                  <a:lnTo>
                    <a:pt x="1515" y="767"/>
                  </a:lnTo>
                  <a:lnTo>
                    <a:pt x="1515" y="767"/>
                  </a:lnTo>
                  <a:lnTo>
                    <a:pt x="1515" y="767"/>
                  </a:lnTo>
                  <a:lnTo>
                    <a:pt x="1515" y="767"/>
                  </a:lnTo>
                  <a:lnTo>
                    <a:pt x="1515" y="767"/>
                  </a:lnTo>
                  <a:lnTo>
                    <a:pt x="1515" y="767"/>
                  </a:lnTo>
                  <a:lnTo>
                    <a:pt x="1515" y="767"/>
                  </a:lnTo>
                  <a:lnTo>
                    <a:pt x="1515" y="767"/>
                  </a:lnTo>
                  <a:lnTo>
                    <a:pt x="1515" y="767"/>
                  </a:lnTo>
                  <a:lnTo>
                    <a:pt x="1515" y="767"/>
                  </a:lnTo>
                  <a:lnTo>
                    <a:pt x="1515" y="767"/>
                  </a:lnTo>
                  <a:lnTo>
                    <a:pt x="1515" y="767"/>
                  </a:lnTo>
                  <a:lnTo>
                    <a:pt x="1513" y="767"/>
                  </a:lnTo>
                  <a:lnTo>
                    <a:pt x="1513" y="769"/>
                  </a:lnTo>
                  <a:lnTo>
                    <a:pt x="1515" y="769"/>
                  </a:lnTo>
                  <a:lnTo>
                    <a:pt x="1518" y="767"/>
                  </a:lnTo>
                  <a:lnTo>
                    <a:pt x="1518" y="767"/>
                  </a:lnTo>
                  <a:lnTo>
                    <a:pt x="1518" y="767"/>
                  </a:lnTo>
                  <a:lnTo>
                    <a:pt x="1521" y="761"/>
                  </a:lnTo>
                  <a:lnTo>
                    <a:pt x="1521" y="761"/>
                  </a:lnTo>
                  <a:close/>
                  <a:moveTo>
                    <a:pt x="1996" y="793"/>
                  </a:moveTo>
                  <a:lnTo>
                    <a:pt x="1993" y="791"/>
                  </a:lnTo>
                  <a:lnTo>
                    <a:pt x="1993" y="791"/>
                  </a:lnTo>
                  <a:lnTo>
                    <a:pt x="1993" y="791"/>
                  </a:lnTo>
                  <a:lnTo>
                    <a:pt x="1993" y="791"/>
                  </a:lnTo>
                  <a:lnTo>
                    <a:pt x="1990" y="791"/>
                  </a:lnTo>
                  <a:lnTo>
                    <a:pt x="1990" y="788"/>
                  </a:lnTo>
                  <a:lnTo>
                    <a:pt x="1990" y="788"/>
                  </a:lnTo>
                  <a:lnTo>
                    <a:pt x="1988" y="788"/>
                  </a:lnTo>
                  <a:lnTo>
                    <a:pt x="1988" y="788"/>
                  </a:lnTo>
                  <a:lnTo>
                    <a:pt x="1988" y="788"/>
                  </a:lnTo>
                  <a:lnTo>
                    <a:pt x="1988" y="788"/>
                  </a:lnTo>
                  <a:lnTo>
                    <a:pt x="1985" y="788"/>
                  </a:lnTo>
                  <a:lnTo>
                    <a:pt x="1985" y="785"/>
                  </a:lnTo>
                  <a:lnTo>
                    <a:pt x="1985" y="785"/>
                  </a:lnTo>
                  <a:lnTo>
                    <a:pt x="1985" y="785"/>
                  </a:lnTo>
                  <a:lnTo>
                    <a:pt x="1985" y="785"/>
                  </a:lnTo>
                  <a:lnTo>
                    <a:pt x="1985" y="785"/>
                  </a:lnTo>
                  <a:lnTo>
                    <a:pt x="1985" y="788"/>
                  </a:lnTo>
                  <a:lnTo>
                    <a:pt x="1985" y="788"/>
                  </a:lnTo>
                  <a:lnTo>
                    <a:pt x="1988" y="793"/>
                  </a:lnTo>
                  <a:lnTo>
                    <a:pt x="1988" y="793"/>
                  </a:lnTo>
                  <a:lnTo>
                    <a:pt x="1988" y="793"/>
                  </a:lnTo>
                  <a:lnTo>
                    <a:pt x="1988" y="793"/>
                  </a:lnTo>
                  <a:lnTo>
                    <a:pt x="1990" y="793"/>
                  </a:lnTo>
                  <a:lnTo>
                    <a:pt x="1990" y="796"/>
                  </a:lnTo>
                  <a:lnTo>
                    <a:pt x="1990" y="796"/>
                  </a:lnTo>
                  <a:lnTo>
                    <a:pt x="1990" y="799"/>
                  </a:lnTo>
                  <a:lnTo>
                    <a:pt x="1990" y="799"/>
                  </a:lnTo>
                  <a:lnTo>
                    <a:pt x="1990" y="799"/>
                  </a:lnTo>
                  <a:lnTo>
                    <a:pt x="1990" y="799"/>
                  </a:lnTo>
                  <a:lnTo>
                    <a:pt x="1993" y="799"/>
                  </a:lnTo>
                  <a:lnTo>
                    <a:pt x="1993" y="799"/>
                  </a:lnTo>
                  <a:lnTo>
                    <a:pt x="1993" y="801"/>
                  </a:lnTo>
                  <a:lnTo>
                    <a:pt x="1996" y="804"/>
                  </a:lnTo>
                  <a:lnTo>
                    <a:pt x="1996" y="804"/>
                  </a:lnTo>
                  <a:lnTo>
                    <a:pt x="1996" y="801"/>
                  </a:lnTo>
                  <a:lnTo>
                    <a:pt x="1996" y="801"/>
                  </a:lnTo>
                  <a:lnTo>
                    <a:pt x="1996" y="799"/>
                  </a:lnTo>
                  <a:lnTo>
                    <a:pt x="1996" y="799"/>
                  </a:lnTo>
                  <a:lnTo>
                    <a:pt x="1996" y="799"/>
                  </a:lnTo>
                  <a:lnTo>
                    <a:pt x="1996" y="799"/>
                  </a:lnTo>
                  <a:lnTo>
                    <a:pt x="1996" y="796"/>
                  </a:lnTo>
                  <a:lnTo>
                    <a:pt x="1996" y="799"/>
                  </a:lnTo>
                  <a:lnTo>
                    <a:pt x="1996" y="799"/>
                  </a:lnTo>
                  <a:lnTo>
                    <a:pt x="1996" y="799"/>
                  </a:lnTo>
                  <a:lnTo>
                    <a:pt x="1996" y="799"/>
                  </a:lnTo>
                  <a:lnTo>
                    <a:pt x="1996" y="801"/>
                  </a:lnTo>
                  <a:lnTo>
                    <a:pt x="1996" y="801"/>
                  </a:lnTo>
                  <a:lnTo>
                    <a:pt x="1996" y="801"/>
                  </a:lnTo>
                  <a:lnTo>
                    <a:pt x="1996" y="801"/>
                  </a:lnTo>
                  <a:lnTo>
                    <a:pt x="1998" y="801"/>
                  </a:lnTo>
                  <a:lnTo>
                    <a:pt x="1998" y="804"/>
                  </a:lnTo>
                  <a:lnTo>
                    <a:pt x="1996" y="807"/>
                  </a:lnTo>
                  <a:lnTo>
                    <a:pt x="1996" y="807"/>
                  </a:lnTo>
                  <a:lnTo>
                    <a:pt x="1996" y="807"/>
                  </a:lnTo>
                  <a:lnTo>
                    <a:pt x="1998" y="809"/>
                  </a:lnTo>
                  <a:lnTo>
                    <a:pt x="1998" y="809"/>
                  </a:lnTo>
                  <a:lnTo>
                    <a:pt x="1998" y="809"/>
                  </a:lnTo>
                  <a:lnTo>
                    <a:pt x="1998" y="812"/>
                  </a:lnTo>
                  <a:lnTo>
                    <a:pt x="1998" y="812"/>
                  </a:lnTo>
                  <a:lnTo>
                    <a:pt x="2001" y="812"/>
                  </a:lnTo>
                  <a:lnTo>
                    <a:pt x="2001" y="817"/>
                  </a:lnTo>
                  <a:lnTo>
                    <a:pt x="2004" y="817"/>
                  </a:lnTo>
                  <a:lnTo>
                    <a:pt x="2004" y="820"/>
                  </a:lnTo>
                  <a:lnTo>
                    <a:pt x="2006" y="823"/>
                  </a:lnTo>
                  <a:lnTo>
                    <a:pt x="2006" y="825"/>
                  </a:lnTo>
                  <a:lnTo>
                    <a:pt x="2006" y="825"/>
                  </a:lnTo>
                  <a:lnTo>
                    <a:pt x="2006" y="825"/>
                  </a:lnTo>
                  <a:lnTo>
                    <a:pt x="2006" y="825"/>
                  </a:lnTo>
                  <a:lnTo>
                    <a:pt x="2006" y="828"/>
                  </a:lnTo>
                  <a:lnTo>
                    <a:pt x="2006" y="828"/>
                  </a:lnTo>
                  <a:lnTo>
                    <a:pt x="2009" y="831"/>
                  </a:lnTo>
                  <a:lnTo>
                    <a:pt x="2009" y="831"/>
                  </a:lnTo>
                  <a:lnTo>
                    <a:pt x="2009" y="833"/>
                  </a:lnTo>
                  <a:lnTo>
                    <a:pt x="2009" y="833"/>
                  </a:lnTo>
                  <a:lnTo>
                    <a:pt x="2012" y="836"/>
                  </a:lnTo>
                  <a:lnTo>
                    <a:pt x="2012" y="836"/>
                  </a:lnTo>
                  <a:lnTo>
                    <a:pt x="2012" y="836"/>
                  </a:lnTo>
                  <a:lnTo>
                    <a:pt x="2012" y="836"/>
                  </a:lnTo>
                  <a:lnTo>
                    <a:pt x="2014" y="839"/>
                  </a:lnTo>
                  <a:lnTo>
                    <a:pt x="2014" y="839"/>
                  </a:lnTo>
                  <a:lnTo>
                    <a:pt x="2017" y="839"/>
                  </a:lnTo>
                  <a:lnTo>
                    <a:pt x="2017" y="836"/>
                  </a:lnTo>
                  <a:lnTo>
                    <a:pt x="2020" y="836"/>
                  </a:lnTo>
                  <a:lnTo>
                    <a:pt x="2022" y="836"/>
                  </a:lnTo>
                  <a:lnTo>
                    <a:pt x="2020" y="836"/>
                  </a:lnTo>
                  <a:lnTo>
                    <a:pt x="2020" y="839"/>
                  </a:lnTo>
                  <a:lnTo>
                    <a:pt x="2020" y="839"/>
                  </a:lnTo>
                  <a:lnTo>
                    <a:pt x="2017" y="839"/>
                  </a:lnTo>
                  <a:lnTo>
                    <a:pt x="2017" y="841"/>
                  </a:lnTo>
                  <a:lnTo>
                    <a:pt x="2017" y="841"/>
                  </a:lnTo>
                  <a:lnTo>
                    <a:pt x="2017" y="841"/>
                  </a:lnTo>
                  <a:lnTo>
                    <a:pt x="2017" y="841"/>
                  </a:lnTo>
                  <a:lnTo>
                    <a:pt x="2014" y="841"/>
                  </a:lnTo>
                  <a:lnTo>
                    <a:pt x="2014" y="841"/>
                  </a:lnTo>
                  <a:lnTo>
                    <a:pt x="2017" y="841"/>
                  </a:lnTo>
                  <a:lnTo>
                    <a:pt x="2017" y="841"/>
                  </a:lnTo>
                  <a:lnTo>
                    <a:pt x="2017" y="841"/>
                  </a:lnTo>
                  <a:lnTo>
                    <a:pt x="2017" y="841"/>
                  </a:lnTo>
                  <a:lnTo>
                    <a:pt x="2020" y="844"/>
                  </a:lnTo>
                  <a:lnTo>
                    <a:pt x="2020" y="847"/>
                  </a:lnTo>
                  <a:lnTo>
                    <a:pt x="2020" y="847"/>
                  </a:lnTo>
                  <a:lnTo>
                    <a:pt x="2022" y="847"/>
                  </a:lnTo>
                  <a:lnTo>
                    <a:pt x="2025" y="844"/>
                  </a:lnTo>
                  <a:lnTo>
                    <a:pt x="2028" y="844"/>
                  </a:lnTo>
                  <a:lnTo>
                    <a:pt x="2025" y="844"/>
                  </a:lnTo>
                  <a:lnTo>
                    <a:pt x="2025" y="847"/>
                  </a:lnTo>
                  <a:lnTo>
                    <a:pt x="2025" y="847"/>
                  </a:lnTo>
                  <a:lnTo>
                    <a:pt x="2025" y="847"/>
                  </a:lnTo>
                  <a:lnTo>
                    <a:pt x="2025" y="847"/>
                  </a:lnTo>
                  <a:lnTo>
                    <a:pt x="2025" y="847"/>
                  </a:lnTo>
                  <a:lnTo>
                    <a:pt x="2028" y="847"/>
                  </a:lnTo>
                  <a:lnTo>
                    <a:pt x="2028" y="849"/>
                  </a:lnTo>
                  <a:lnTo>
                    <a:pt x="2028" y="849"/>
                  </a:lnTo>
                  <a:lnTo>
                    <a:pt x="2025" y="847"/>
                  </a:lnTo>
                  <a:lnTo>
                    <a:pt x="2020" y="847"/>
                  </a:lnTo>
                  <a:lnTo>
                    <a:pt x="2020" y="847"/>
                  </a:lnTo>
                  <a:lnTo>
                    <a:pt x="2020" y="847"/>
                  </a:lnTo>
                  <a:lnTo>
                    <a:pt x="2017" y="847"/>
                  </a:lnTo>
                  <a:lnTo>
                    <a:pt x="2017" y="847"/>
                  </a:lnTo>
                  <a:lnTo>
                    <a:pt x="2017" y="847"/>
                  </a:lnTo>
                  <a:lnTo>
                    <a:pt x="2020" y="849"/>
                  </a:lnTo>
                  <a:lnTo>
                    <a:pt x="2020" y="849"/>
                  </a:lnTo>
                  <a:lnTo>
                    <a:pt x="2020" y="849"/>
                  </a:lnTo>
                  <a:lnTo>
                    <a:pt x="2020" y="849"/>
                  </a:lnTo>
                  <a:lnTo>
                    <a:pt x="2020" y="849"/>
                  </a:lnTo>
                  <a:lnTo>
                    <a:pt x="2022" y="849"/>
                  </a:lnTo>
                  <a:lnTo>
                    <a:pt x="2022" y="852"/>
                  </a:lnTo>
                  <a:lnTo>
                    <a:pt x="2022" y="852"/>
                  </a:lnTo>
                  <a:lnTo>
                    <a:pt x="2020" y="852"/>
                  </a:lnTo>
                  <a:lnTo>
                    <a:pt x="2020" y="852"/>
                  </a:lnTo>
                  <a:lnTo>
                    <a:pt x="2020" y="855"/>
                  </a:lnTo>
                  <a:lnTo>
                    <a:pt x="2020" y="855"/>
                  </a:lnTo>
                  <a:lnTo>
                    <a:pt x="2020" y="855"/>
                  </a:lnTo>
                  <a:lnTo>
                    <a:pt x="2020" y="858"/>
                  </a:lnTo>
                  <a:lnTo>
                    <a:pt x="2020" y="858"/>
                  </a:lnTo>
                  <a:lnTo>
                    <a:pt x="2022" y="858"/>
                  </a:lnTo>
                  <a:lnTo>
                    <a:pt x="2022" y="858"/>
                  </a:lnTo>
                  <a:lnTo>
                    <a:pt x="2022" y="858"/>
                  </a:lnTo>
                  <a:lnTo>
                    <a:pt x="2022" y="858"/>
                  </a:lnTo>
                  <a:lnTo>
                    <a:pt x="2020" y="858"/>
                  </a:lnTo>
                  <a:lnTo>
                    <a:pt x="2020" y="860"/>
                  </a:lnTo>
                  <a:lnTo>
                    <a:pt x="2020" y="860"/>
                  </a:lnTo>
                  <a:lnTo>
                    <a:pt x="2020" y="860"/>
                  </a:lnTo>
                  <a:lnTo>
                    <a:pt x="2020" y="860"/>
                  </a:lnTo>
                  <a:lnTo>
                    <a:pt x="2020" y="863"/>
                  </a:lnTo>
                  <a:lnTo>
                    <a:pt x="2022" y="863"/>
                  </a:lnTo>
                  <a:lnTo>
                    <a:pt x="2022" y="863"/>
                  </a:lnTo>
                  <a:lnTo>
                    <a:pt x="2020" y="866"/>
                  </a:lnTo>
                  <a:lnTo>
                    <a:pt x="2020" y="866"/>
                  </a:lnTo>
                  <a:lnTo>
                    <a:pt x="2022" y="868"/>
                  </a:lnTo>
                  <a:lnTo>
                    <a:pt x="2022" y="871"/>
                  </a:lnTo>
                  <a:lnTo>
                    <a:pt x="2022" y="874"/>
                  </a:lnTo>
                  <a:lnTo>
                    <a:pt x="2025" y="871"/>
                  </a:lnTo>
                  <a:lnTo>
                    <a:pt x="2025" y="871"/>
                  </a:lnTo>
                  <a:lnTo>
                    <a:pt x="2028" y="871"/>
                  </a:lnTo>
                  <a:lnTo>
                    <a:pt x="2028" y="871"/>
                  </a:lnTo>
                  <a:lnTo>
                    <a:pt x="2028" y="868"/>
                  </a:lnTo>
                  <a:lnTo>
                    <a:pt x="2028" y="868"/>
                  </a:lnTo>
                  <a:lnTo>
                    <a:pt x="2030" y="866"/>
                  </a:lnTo>
                  <a:lnTo>
                    <a:pt x="2030" y="866"/>
                  </a:lnTo>
                  <a:lnTo>
                    <a:pt x="2030" y="866"/>
                  </a:lnTo>
                  <a:lnTo>
                    <a:pt x="2030" y="866"/>
                  </a:lnTo>
                  <a:lnTo>
                    <a:pt x="2030" y="866"/>
                  </a:lnTo>
                  <a:lnTo>
                    <a:pt x="2030" y="866"/>
                  </a:lnTo>
                  <a:lnTo>
                    <a:pt x="2030" y="863"/>
                  </a:lnTo>
                  <a:lnTo>
                    <a:pt x="2030" y="863"/>
                  </a:lnTo>
                  <a:lnTo>
                    <a:pt x="2030" y="863"/>
                  </a:lnTo>
                  <a:lnTo>
                    <a:pt x="2030" y="863"/>
                  </a:lnTo>
                  <a:lnTo>
                    <a:pt x="2030" y="863"/>
                  </a:lnTo>
                  <a:lnTo>
                    <a:pt x="2030" y="863"/>
                  </a:lnTo>
                  <a:lnTo>
                    <a:pt x="2030" y="863"/>
                  </a:lnTo>
                  <a:lnTo>
                    <a:pt x="2030" y="863"/>
                  </a:lnTo>
                  <a:lnTo>
                    <a:pt x="2030" y="863"/>
                  </a:lnTo>
                  <a:lnTo>
                    <a:pt x="2030" y="863"/>
                  </a:lnTo>
                  <a:lnTo>
                    <a:pt x="2030" y="860"/>
                  </a:lnTo>
                  <a:lnTo>
                    <a:pt x="2033" y="860"/>
                  </a:lnTo>
                  <a:lnTo>
                    <a:pt x="2033" y="860"/>
                  </a:lnTo>
                  <a:lnTo>
                    <a:pt x="2033" y="860"/>
                  </a:lnTo>
                  <a:lnTo>
                    <a:pt x="2033" y="858"/>
                  </a:lnTo>
                  <a:lnTo>
                    <a:pt x="2033" y="858"/>
                  </a:lnTo>
                  <a:lnTo>
                    <a:pt x="2033" y="858"/>
                  </a:lnTo>
                  <a:lnTo>
                    <a:pt x="2033" y="858"/>
                  </a:lnTo>
                  <a:lnTo>
                    <a:pt x="2033" y="858"/>
                  </a:lnTo>
                  <a:lnTo>
                    <a:pt x="2033" y="858"/>
                  </a:lnTo>
                  <a:lnTo>
                    <a:pt x="2036" y="858"/>
                  </a:lnTo>
                  <a:lnTo>
                    <a:pt x="2036" y="858"/>
                  </a:lnTo>
                  <a:lnTo>
                    <a:pt x="2036" y="858"/>
                  </a:lnTo>
                  <a:lnTo>
                    <a:pt x="2036" y="855"/>
                  </a:lnTo>
                  <a:lnTo>
                    <a:pt x="2036" y="855"/>
                  </a:lnTo>
                  <a:lnTo>
                    <a:pt x="2036" y="852"/>
                  </a:lnTo>
                  <a:lnTo>
                    <a:pt x="2036" y="852"/>
                  </a:lnTo>
                  <a:lnTo>
                    <a:pt x="2036" y="852"/>
                  </a:lnTo>
                  <a:lnTo>
                    <a:pt x="2036" y="852"/>
                  </a:lnTo>
                  <a:lnTo>
                    <a:pt x="2036" y="852"/>
                  </a:lnTo>
                  <a:lnTo>
                    <a:pt x="2036" y="849"/>
                  </a:lnTo>
                  <a:lnTo>
                    <a:pt x="2036" y="849"/>
                  </a:lnTo>
                  <a:lnTo>
                    <a:pt x="2036" y="849"/>
                  </a:lnTo>
                  <a:lnTo>
                    <a:pt x="2036" y="849"/>
                  </a:lnTo>
                  <a:lnTo>
                    <a:pt x="2033" y="849"/>
                  </a:lnTo>
                  <a:lnTo>
                    <a:pt x="2033" y="849"/>
                  </a:lnTo>
                  <a:lnTo>
                    <a:pt x="2033" y="847"/>
                  </a:lnTo>
                  <a:lnTo>
                    <a:pt x="2033" y="847"/>
                  </a:lnTo>
                  <a:lnTo>
                    <a:pt x="2030" y="844"/>
                  </a:lnTo>
                  <a:lnTo>
                    <a:pt x="2033" y="844"/>
                  </a:lnTo>
                  <a:lnTo>
                    <a:pt x="2033" y="844"/>
                  </a:lnTo>
                  <a:lnTo>
                    <a:pt x="2033" y="844"/>
                  </a:lnTo>
                  <a:lnTo>
                    <a:pt x="2033" y="844"/>
                  </a:lnTo>
                  <a:lnTo>
                    <a:pt x="2036" y="847"/>
                  </a:lnTo>
                  <a:lnTo>
                    <a:pt x="2036" y="847"/>
                  </a:lnTo>
                  <a:lnTo>
                    <a:pt x="2036" y="847"/>
                  </a:lnTo>
                  <a:lnTo>
                    <a:pt x="2036" y="847"/>
                  </a:lnTo>
                  <a:lnTo>
                    <a:pt x="2036" y="847"/>
                  </a:lnTo>
                  <a:lnTo>
                    <a:pt x="2036" y="844"/>
                  </a:lnTo>
                  <a:lnTo>
                    <a:pt x="2036" y="844"/>
                  </a:lnTo>
                  <a:lnTo>
                    <a:pt x="2036" y="844"/>
                  </a:lnTo>
                  <a:lnTo>
                    <a:pt x="2036" y="844"/>
                  </a:lnTo>
                  <a:lnTo>
                    <a:pt x="2036" y="844"/>
                  </a:lnTo>
                  <a:lnTo>
                    <a:pt x="2036" y="844"/>
                  </a:lnTo>
                  <a:lnTo>
                    <a:pt x="2038" y="847"/>
                  </a:lnTo>
                  <a:lnTo>
                    <a:pt x="2041" y="847"/>
                  </a:lnTo>
                  <a:lnTo>
                    <a:pt x="2041" y="847"/>
                  </a:lnTo>
                  <a:lnTo>
                    <a:pt x="2041" y="844"/>
                  </a:lnTo>
                  <a:lnTo>
                    <a:pt x="2041" y="844"/>
                  </a:lnTo>
                  <a:lnTo>
                    <a:pt x="2044" y="844"/>
                  </a:lnTo>
                  <a:lnTo>
                    <a:pt x="2044" y="841"/>
                  </a:lnTo>
                  <a:lnTo>
                    <a:pt x="2041" y="841"/>
                  </a:lnTo>
                  <a:lnTo>
                    <a:pt x="2041" y="839"/>
                  </a:lnTo>
                  <a:lnTo>
                    <a:pt x="2041" y="839"/>
                  </a:lnTo>
                  <a:lnTo>
                    <a:pt x="2041" y="839"/>
                  </a:lnTo>
                  <a:lnTo>
                    <a:pt x="2041" y="839"/>
                  </a:lnTo>
                  <a:lnTo>
                    <a:pt x="2041" y="839"/>
                  </a:lnTo>
                  <a:lnTo>
                    <a:pt x="2041" y="836"/>
                  </a:lnTo>
                  <a:lnTo>
                    <a:pt x="2038" y="839"/>
                  </a:lnTo>
                  <a:lnTo>
                    <a:pt x="2038" y="839"/>
                  </a:lnTo>
                  <a:lnTo>
                    <a:pt x="2038" y="839"/>
                  </a:lnTo>
                  <a:lnTo>
                    <a:pt x="2038" y="839"/>
                  </a:lnTo>
                  <a:lnTo>
                    <a:pt x="2038" y="839"/>
                  </a:lnTo>
                  <a:lnTo>
                    <a:pt x="2036" y="839"/>
                  </a:lnTo>
                  <a:lnTo>
                    <a:pt x="2036" y="836"/>
                  </a:lnTo>
                  <a:lnTo>
                    <a:pt x="2036" y="836"/>
                  </a:lnTo>
                  <a:lnTo>
                    <a:pt x="2033" y="839"/>
                  </a:lnTo>
                  <a:lnTo>
                    <a:pt x="2033" y="836"/>
                  </a:lnTo>
                  <a:lnTo>
                    <a:pt x="2033" y="836"/>
                  </a:lnTo>
                  <a:lnTo>
                    <a:pt x="2033" y="836"/>
                  </a:lnTo>
                  <a:lnTo>
                    <a:pt x="2033" y="836"/>
                  </a:lnTo>
                  <a:lnTo>
                    <a:pt x="2033" y="836"/>
                  </a:lnTo>
                  <a:lnTo>
                    <a:pt x="2033" y="836"/>
                  </a:lnTo>
                  <a:lnTo>
                    <a:pt x="2033" y="833"/>
                  </a:lnTo>
                  <a:lnTo>
                    <a:pt x="2033" y="833"/>
                  </a:lnTo>
                  <a:lnTo>
                    <a:pt x="2033" y="836"/>
                  </a:lnTo>
                  <a:lnTo>
                    <a:pt x="2033" y="836"/>
                  </a:lnTo>
                  <a:lnTo>
                    <a:pt x="2036" y="836"/>
                  </a:lnTo>
                  <a:lnTo>
                    <a:pt x="2038" y="836"/>
                  </a:lnTo>
                  <a:lnTo>
                    <a:pt x="2038" y="836"/>
                  </a:lnTo>
                  <a:lnTo>
                    <a:pt x="2038" y="836"/>
                  </a:lnTo>
                  <a:lnTo>
                    <a:pt x="2038" y="833"/>
                  </a:lnTo>
                  <a:lnTo>
                    <a:pt x="2038" y="833"/>
                  </a:lnTo>
                  <a:lnTo>
                    <a:pt x="2038" y="833"/>
                  </a:lnTo>
                  <a:lnTo>
                    <a:pt x="2038" y="833"/>
                  </a:lnTo>
                  <a:lnTo>
                    <a:pt x="2038" y="833"/>
                  </a:lnTo>
                  <a:lnTo>
                    <a:pt x="2038" y="833"/>
                  </a:lnTo>
                  <a:lnTo>
                    <a:pt x="2038" y="833"/>
                  </a:lnTo>
                  <a:lnTo>
                    <a:pt x="2041" y="836"/>
                  </a:lnTo>
                  <a:lnTo>
                    <a:pt x="2041" y="836"/>
                  </a:lnTo>
                  <a:lnTo>
                    <a:pt x="2041" y="836"/>
                  </a:lnTo>
                  <a:lnTo>
                    <a:pt x="2041" y="833"/>
                  </a:lnTo>
                  <a:lnTo>
                    <a:pt x="2038" y="833"/>
                  </a:lnTo>
                  <a:lnTo>
                    <a:pt x="2036" y="831"/>
                  </a:lnTo>
                  <a:lnTo>
                    <a:pt x="2036" y="831"/>
                  </a:lnTo>
                  <a:lnTo>
                    <a:pt x="2036" y="828"/>
                  </a:lnTo>
                  <a:lnTo>
                    <a:pt x="2036" y="825"/>
                  </a:lnTo>
                  <a:lnTo>
                    <a:pt x="2033" y="825"/>
                  </a:lnTo>
                  <a:lnTo>
                    <a:pt x="2033" y="825"/>
                  </a:lnTo>
                  <a:lnTo>
                    <a:pt x="2033" y="825"/>
                  </a:lnTo>
                  <a:lnTo>
                    <a:pt x="2030" y="825"/>
                  </a:lnTo>
                  <a:lnTo>
                    <a:pt x="2030" y="825"/>
                  </a:lnTo>
                  <a:lnTo>
                    <a:pt x="2028" y="825"/>
                  </a:lnTo>
                  <a:lnTo>
                    <a:pt x="2030" y="823"/>
                  </a:lnTo>
                  <a:lnTo>
                    <a:pt x="2030" y="823"/>
                  </a:lnTo>
                  <a:lnTo>
                    <a:pt x="2030" y="823"/>
                  </a:lnTo>
                  <a:lnTo>
                    <a:pt x="2020" y="815"/>
                  </a:lnTo>
                  <a:lnTo>
                    <a:pt x="2020" y="815"/>
                  </a:lnTo>
                  <a:lnTo>
                    <a:pt x="2020" y="817"/>
                  </a:lnTo>
                  <a:lnTo>
                    <a:pt x="2017" y="815"/>
                  </a:lnTo>
                  <a:lnTo>
                    <a:pt x="2017" y="815"/>
                  </a:lnTo>
                  <a:lnTo>
                    <a:pt x="2017" y="812"/>
                  </a:lnTo>
                  <a:lnTo>
                    <a:pt x="2017" y="812"/>
                  </a:lnTo>
                  <a:lnTo>
                    <a:pt x="2017" y="812"/>
                  </a:lnTo>
                  <a:lnTo>
                    <a:pt x="2017" y="809"/>
                  </a:lnTo>
                  <a:lnTo>
                    <a:pt x="2017" y="809"/>
                  </a:lnTo>
                  <a:lnTo>
                    <a:pt x="2014" y="807"/>
                  </a:lnTo>
                  <a:lnTo>
                    <a:pt x="2014" y="807"/>
                  </a:lnTo>
                  <a:lnTo>
                    <a:pt x="2014" y="807"/>
                  </a:lnTo>
                  <a:lnTo>
                    <a:pt x="2017" y="807"/>
                  </a:lnTo>
                  <a:lnTo>
                    <a:pt x="2017" y="807"/>
                  </a:lnTo>
                  <a:lnTo>
                    <a:pt x="2017" y="807"/>
                  </a:lnTo>
                  <a:lnTo>
                    <a:pt x="2017" y="804"/>
                  </a:lnTo>
                  <a:lnTo>
                    <a:pt x="2017" y="804"/>
                  </a:lnTo>
                  <a:lnTo>
                    <a:pt x="2014" y="804"/>
                  </a:lnTo>
                  <a:lnTo>
                    <a:pt x="2014" y="801"/>
                  </a:lnTo>
                  <a:lnTo>
                    <a:pt x="2014" y="801"/>
                  </a:lnTo>
                  <a:lnTo>
                    <a:pt x="2014" y="801"/>
                  </a:lnTo>
                  <a:lnTo>
                    <a:pt x="2014" y="804"/>
                  </a:lnTo>
                  <a:lnTo>
                    <a:pt x="2014" y="801"/>
                  </a:lnTo>
                  <a:lnTo>
                    <a:pt x="2014" y="801"/>
                  </a:lnTo>
                  <a:lnTo>
                    <a:pt x="2014" y="801"/>
                  </a:lnTo>
                  <a:lnTo>
                    <a:pt x="2014" y="799"/>
                  </a:lnTo>
                  <a:lnTo>
                    <a:pt x="2012" y="799"/>
                  </a:lnTo>
                  <a:lnTo>
                    <a:pt x="2012" y="799"/>
                  </a:lnTo>
                  <a:lnTo>
                    <a:pt x="2012" y="799"/>
                  </a:lnTo>
                  <a:lnTo>
                    <a:pt x="2014" y="799"/>
                  </a:lnTo>
                  <a:lnTo>
                    <a:pt x="2014" y="799"/>
                  </a:lnTo>
                  <a:lnTo>
                    <a:pt x="2014" y="799"/>
                  </a:lnTo>
                  <a:lnTo>
                    <a:pt x="2014" y="799"/>
                  </a:lnTo>
                  <a:lnTo>
                    <a:pt x="2014" y="799"/>
                  </a:lnTo>
                  <a:lnTo>
                    <a:pt x="2017" y="801"/>
                  </a:lnTo>
                  <a:lnTo>
                    <a:pt x="2017" y="801"/>
                  </a:lnTo>
                  <a:lnTo>
                    <a:pt x="2020" y="804"/>
                  </a:lnTo>
                  <a:lnTo>
                    <a:pt x="2020" y="804"/>
                  </a:lnTo>
                  <a:lnTo>
                    <a:pt x="2017" y="804"/>
                  </a:lnTo>
                  <a:lnTo>
                    <a:pt x="2017" y="801"/>
                  </a:lnTo>
                  <a:lnTo>
                    <a:pt x="2017" y="801"/>
                  </a:lnTo>
                  <a:lnTo>
                    <a:pt x="2017" y="801"/>
                  </a:lnTo>
                  <a:lnTo>
                    <a:pt x="2020" y="804"/>
                  </a:lnTo>
                  <a:lnTo>
                    <a:pt x="2020" y="804"/>
                  </a:lnTo>
                  <a:lnTo>
                    <a:pt x="2020" y="807"/>
                  </a:lnTo>
                  <a:lnTo>
                    <a:pt x="2022" y="807"/>
                  </a:lnTo>
                  <a:lnTo>
                    <a:pt x="2022" y="812"/>
                  </a:lnTo>
                  <a:lnTo>
                    <a:pt x="2025" y="812"/>
                  </a:lnTo>
                  <a:lnTo>
                    <a:pt x="2025" y="812"/>
                  </a:lnTo>
                  <a:lnTo>
                    <a:pt x="2025" y="815"/>
                  </a:lnTo>
                  <a:lnTo>
                    <a:pt x="2028" y="815"/>
                  </a:lnTo>
                  <a:lnTo>
                    <a:pt x="2028" y="815"/>
                  </a:lnTo>
                  <a:lnTo>
                    <a:pt x="2030" y="817"/>
                  </a:lnTo>
                  <a:lnTo>
                    <a:pt x="2030" y="817"/>
                  </a:lnTo>
                  <a:lnTo>
                    <a:pt x="2030" y="817"/>
                  </a:lnTo>
                  <a:lnTo>
                    <a:pt x="2030" y="817"/>
                  </a:lnTo>
                  <a:lnTo>
                    <a:pt x="2030" y="820"/>
                  </a:lnTo>
                  <a:lnTo>
                    <a:pt x="2030" y="820"/>
                  </a:lnTo>
                  <a:lnTo>
                    <a:pt x="2033" y="820"/>
                  </a:lnTo>
                  <a:lnTo>
                    <a:pt x="2033" y="823"/>
                  </a:lnTo>
                  <a:lnTo>
                    <a:pt x="2036" y="823"/>
                  </a:lnTo>
                  <a:lnTo>
                    <a:pt x="2038" y="825"/>
                  </a:lnTo>
                  <a:lnTo>
                    <a:pt x="2038" y="825"/>
                  </a:lnTo>
                  <a:lnTo>
                    <a:pt x="2038" y="828"/>
                  </a:lnTo>
                  <a:lnTo>
                    <a:pt x="2041" y="828"/>
                  </a:lnTo>
                  <a:lnTo>
                    <a:pt x="2041" y="825"/>
                  </a:lnTo>
                  <a:lnTo>
                    <a:pt x="2038" y="825"/>
                  </a:lnTo>
                  <a:lnTo>
                    <a:pt x="2036" y="823"/>
                  </a:lnTo>
                  <a:lnTo>
                    <a:pt x="2036" y="823"/>
                  </a:lnTo>
                  <a:lnTo>
                    <a:pt x="2036" y="820"/>
                  </a:lnTo>
                  <a:lnTo>
                    <a:pt x="2036" y="820"/>
                  </a:lnTo>
                  <a:lnTo>
                    <a:pt x="2036" y="817"/>
                  </a:lnTo>
                  <a:lnTo>
                    <a:pt x="2033" y="817"/>
                  </a:lnTo>
                  <a:lnTo>
                    <a:pt x="2033" y="817"/>
                  </a:lnTo>
                  <a:lnTo>
                    <a:pt x="2033" y="815"/>
                  </a:lnTo>
                  <a:lnTo>
                    <a:pt x="2033" y="815"/>
                  </a:lnTo>
                  <a:lnTo>
                    <a:pt x="2033" y="815"/>
                  </a:lnTo>
                  <a:lnTo>
                    <a:pt x="2033" y="815"/>
                  </a:lnTo>
                  <a:lnTo>
                    <a:pt x="2030" y="812"/>
                  </a:lnTo>
                  <a:lnTo>
                    <a:pt x="2030" y="812"/>
                  </a:lnTo>
                  <a:lnTo>
                    <a:pt x="2028" y="809"/>
                  </a:lnTo>
                  <a:lnTo>
                    <a:pt x="2025" y="807"/>
                  </a:lnTo>
                  <a:lnTo>
                    <a:pt x="2025" y="804"/>
                  </a:lnTo>
                  <a:lnTo>
                    <a:pt x="2022" y="804"/>
                  </a:lnTo>
                  <a:lnTo>
                    <a:pt x="2022" y="801"/>
                  </a:lnTo>
                  <a:lnTo>
                    <a:pt x="2017" y="799"/>
                  </a:lnTo>
                  <a:lnTo>
                    <a:pt x="2017" y="796"/>
                  </a:lnTo>
                  <a:lnTo>
                    <a:pt x="2017" y="796"/>
                  </a:lnTo>
                  <a:lnTo>
                    <a:pt x="2014" y="796"/>
                  </a:lnTo>
                  <a:lnTo>
                    <a:pt x="2017" y="796"/>
                  </a:lnTo>
                  <a:lnTo>
                    <a:pt x="2017" y="796"/>
                  </a:lnTo>
                  <a:lnTo>
                    <a:pt x="2017" y="796"/>
                  </a:lnTo>
                  <a:lnTo>
                    <a:pt x="2017" y="793"/>
                  </a:lnTo>
                  <a:lnTo>
                    <a:pt x="2017" y="793"/>
                  </a:lnTo>
                  <a:lnTo>
                    <a:pt x="2014" y="793"/>
                  </a:lnTo>
                  <a:lnTo>
                    <a:pt x="2014" y="793"/>
                  </a:lnTo>
                  <a:lnTo>
                    <a:pt x="2012" y="796"/>
                  </a:lnTo>
                  <a:lnTo>
                    <a:pt x="2009" y="796"/>
                  </a:lnTo>
                  <a:lnTo>
                    <a:pt x="2009" y="796"/>
                  </a:lnTo>
                  <a:lnTo>
                    <a:pt x="2006" y="796"/>
                  </a:lnTo>
                  <a:lnTo>
                    <a:pt x="2006" y="796"/>
                  </a:lnTo>
                  <a:lnTo>
                    <a:pt x="2004" y="796"/>
                  </a:lnTo>
                  <a:lnTo>
                    <a:pt x="2001" y="796"/>
                  </a:lnTo>
                  <a:lnTo>
                    <a:pt x="2001" y="796"/>
                  </a:lnTo>
                  <a:lnTo>
                    <a:pt x="2001" y="796"/>
                  </a:lnTo>
                  <a:lnTo>
                    <a:pt x="1998" y="799"/>
                  </a:lnTo>
                  <a:lnTo>
                    <a:pt x="1998" y="799"/>
                  </a:lnTo>
                  <a:lnTo>
                    <a:pt x="1996" y="796"/>
                  </a:lnTo>
                  <a:lnTo>
                    <a:pt x="1996" y="796"/>
                  </a:lnTo>
                  <a:lnTo>
                    <a:pt x="1996" y="793"/>
                  </a:lnTo>
                  <a:lnTo>
                    <a:pt x="1996" y="793"/>
                  </a:lnTo>
                  <a:lnTo>
                    <a:pt x="1996" y="793"/>
                  </a:lnTo>
                  <a:close/>
                  <a:moveTo>
                    <a:pt x="1627" y="737"/>
                  </a:moveTo>
                  <a:lnTo>
                    <a:pt x="1625" y="737"/>
                  </a:lnTo>
                  <a:lnTo>
                    <a:pt x="1625" y="737"/>
                  </a:lnTo>
                  <a:lnTo>
                    <a:pt x="1625" y="737"/>
                  </a:lnTo>
                  <a:lnTo>
                    <a:pt x="1625" y="737"/>
                  </a:lnTo>
                  <a:lnTo>
                    <a:pt x="1625" y="737"/>
                  </a:lnTo>
                  <a:lnTo>
                    <a:pt x="1625" y="737"/>
                  </a:lnTo>
                  <a:lnTo>
                    <a:pt x="1627" y="737"/>
                  </a:lnTo>
                  <a:lnTo>
                    <a:pt x="1627" y="737"/>
                  </a:lnTo>
                  <a:lnTo>
                    <a:pt x="1627" y="737"/>
                  </a:lnTo>
                  <a:lnTo>
                    <a:pt x="1627" y="737"/>
                  </a:lnTo>
                  <a:lnTo>
                    <a:pt x="1627" y="737"/>
                  </a:lnTo>
                  <a:lnTo>
                    <a:pt x="1627" y="737"/>
                  </a:lnTo>
                  <a:close/>
                  <a:moveTo>
                    <a:pt x="2060" y="940"/>
                  </a:moveTo>
                  <a:lnTo>
                    <a:pt x="2060" y="940"/>
                  </a:lnTo>
                  <a:lnTo>
                    <a:pt x="2057" y="940"/>
                  </a:lnTo>
                  <a:lnTo>
                    <a:pt x="2057" y="940"/>
                  </a:lnTo>
                  <a:lnTo>
                    <a:pt x="2057" y="940"/>
                  </a:lnTo>
                  <a:lnTo>
                    <a:pt x="2057" y="940"/>
                  </a:lnTo>
                  <a:lnTo>
                    <a:pt x="2054" y="940"/>
                  </a:lnTo>
                  <a:lnTo>
                    <a:pt x="2054" y="940"/>
                  </a:lnTo>
                  <a:lnTo>
                    <a:pt x="2054" y="943"/>
                  </a:lnTo>
                  <a:lnTo>
                    <a:pt x="2057" y="943"/>
                  </a:lnTo>
                  <a:lnTo>
                    <a:pt x="2057" y="943"/>
                  </a:lnTo>
                  <a:lnTo>
                    <a:pt x="2057" y="946"/>
                  </a:lnTo>
                  <a:lnTo>
                    <a:pt x="2057" y="946"/>
                  </a:lnTo>
                  <a:lnTo>
                    <a:pt x="2057" y="946"/>
                  </a:lnTo>
                  <a:lnTo>
                    <a:pt x="2060" y="946"/>
                  </a:lnTo>
                  <a:lnTo>
                    <a:pt x="2060" y="946"/>
                  </a:lnTo>
                  <a:lnTo>
                    <a:pt x="2060" y="943"/>
                  </a:lnTo>
                  <a:lnTo>
                    <a:pt x="2060" y="943"/>
                  </a:lnTo>
                  <a:lnTo>
                    <a:pt x="2062" y="940"/>
                  </a:lnTo>
                  <a:lnTo>
                    <a:pt x="2062" y="940"/>
                  </a:lnTo>
                  <a:lnTo>
                    <a:pt x="2062" y="938"/>
                  </a:lnTo>
                  <a:lnTo>
                    <a:pt x="2062" y="938"/>
                  </a:lnTo>
                  <a:lnTo>
                    <a:pt x="2060" y="940"/>
                  </a:lnTo>
                  <a:close/>
                  <a:moveTo>
                    <a:pt x="2073" y="898"/>
                  </a:moveTo>
                  <a:lnTo>
                    <a:pt x="2076" y="895"/>
                  </a:lnTo>
                  <a:lnTo>
                    <a:pt x="2076" y="895"/>
                  </a:lnTo>
                  <a:lnTo>
                    <a:pt x="2076" y="895"/>
                  </a:lnTo>
                  <a:lnTo>
                    <a:pt x="2076" y="895"/>
                  </a:lnTo>
                  <a:lnTo>
                    <a:pt x="2076" y="892"/>
                  </a:lnTo>
                  <a:lnTo>
                    <a:pt x="2076" y="892"/>
                  </a:lnTo>
                  <a:lnTo>
                    <a:pt x="2076" y="892"/>
                  </a:lnTo>
                  <a:lnTo>
                    <a:pt x="2076" y="892"/>
                  </a:lnTo>
                  <a:lnTo>
                    <a:pt x="2076" y="892"/>
                  </a:lnTo>
                  <a:lnTo>
                    <a:pt x="2078" y="892"/>
                  </a:lnTo>
                  <a:lnTo>
                    <a:pt x="2078" y="892"/>
                  </a:lnTo>
                  <a:lnTo>
                    <a:pt x="2078" y="892"/>
                  </a:lnTo>
                  <a:lnTo>
                    <a:pt x="2078" y="892"/>
                  </a:lnTo>
                  <a:lnTo>
                    <a:pt x="2081" y="892"/>
                  </a:lnTo>
                  <a:lnTo>
                    <a:pt x="2081" y="892"/>
                  </a:lnTo>
                  <a:lnTo>
                    <a:pt x="2084" y="892"/>
                  </a:lnTo>
                  <a:lnTo>
                    <a:pt x="2084" y="892"/>
                  </a:lnTo>
                  <a:lnTo>
                    <a:pt x="2084" y="892"/>
                  </a:lnTo>
                  <a:lnTo>
                    <a:pt x="2084" y="892"/>
                  </a:lnTo>
                  <a:lnTo>
                    <a:pt x="2084" y="892"/>
                  </a:lnTo>
                  <a:lnTo>
                    <a:pt x="2086" y="892"/>
                  </a:lnTo>
                  <a:lnTo>
                    <a:pt x="2086" y="892"/>
                  </a:lnTo>
                  <a:lnTo>
                    <a:pt x="2086" y="892"/>
                  </a:lnTo>
                  <a:lnTo>
                    <a:pt x="2086" y="892"/>
                  </a:lnTo>
                  <a:lnTo>
                    <a:pt x="2086" y="890"/>
                  </a:lnTo>
                  <a:lnTo>
                    <a:pt x="2086" y="890"/>
                  </a:lnTo>
                  <a:lnTo>
                    <a:pt x="2086" y="887"/>
                  </a:lnTo>
                  <a:lnTo>
                    <a:pt x="2086" y="887"/>
                  </a:lnTo>
                  <a:lnTo>
                    <a:pt x="2086" y="887"/>
                  </a:lnTo>
                  <a:lnTo>
                    <a:pt x="2086" y="884"/>
                  </a:lnTo>
                  <a:lnTo>
                    <a:pt x="2086" y="884"/>
                  </a:lnTo>
                  <a:lnTo>
                    <a:pt x="2084" y="884"/>
                  </a:lnTo>
                  <a:lnTo>
                    <a:pt x="2084" y="884"/>
                  </a:lnTo>
                  <a:lnTo>
                    <a:pt x="2084" y="882"/>
                  </a:lnTo>
                  <a:lnTo>
                    <a:pt x="2084" y="882"/>
                  </a:lnTo>
                  <a:lnTo>
                    <a:pt x="2084" y="882"/>
                  </a:lnTo>
                  <a:lnTo>
                    <a:pt x="2084" y="882"/>
                  </a:lnTo>
                  <a:lnTo>
                    <a:pt x="2084" y="882"/>
                  </a:lnTo>
                  <a:lnTo>
                    <a:pt x="2086" y="882"/>
                  </a:lnTo>
                  <a:lnTo>
                    <a:pt x="2084" y="882"/>
                  </a:lnTo>
                  <a:lnTo>
                    <a:pt x="2084" y="882"/>
                  </a:lnTo>
                  <a:lnTo>
                    <a:pt x="2081" y="882"/>
                  </a:lnTo>
                  <a:lnTo>
                    <a:pt x="2081" y="882"/>
                  </a:lnTo>
                  <a:lnTo>
                    <a:pt x="2081" y="882"/>
                  </a:lnTo>
                  <a:lnTo>
                    <a:pt x="2081" y="882"/>
                  </a:lnTo>
                  <a:lnTo>
                    <a:pt x="2081" y="882"/>
                  </a:lnTo>
                  <a:lnTo>
                    <a:pt x="2078" y="882"/>
                  </a:lnTo>
                  <a:lnTo>
                    <a:pt x="2078" y="882"/>
                  </a:lnTo>
                  <a:lnTo>
                    <a:pt x="2078" y="882"/>
                  </a:lnTo>
                  <a:lnTo>
                    <a:pt x="2078" y="882"/>
                  </a:lnTo>
                  <a:lnTo>
                    <a:pt x="2078" y="879"/>
                  </a:lnTo>
                  <a:lnTo>
                    <a:pt x="2078" y="879"/>
                  </a:lnTo>
                  <a:lnTo>
                    <a:pt x="2078" y="876"/>
                  </a:lnTo>
                  <a:lnTo>
                    <a:pt x="2078" y="876"/>
                  </a:lnTo>
                  <a:lnTo>
                    <a:pt x="2078" y="876"/>
                  </a:lnTo>
                  <a:lnTo>
                    <a:pt x="2076" y="876"/>
                  </a:lnTo>
                  <a:lnTo>
                    <a:pt x="2076" y="876"/>
                  </a:lnTo>
                  <a:lnTo>
                    <a:pt x="2076" y="876"/>
                  </a:lnTo>
                  <a:lnTo>
                    <a:pt x="2076" y="876"/>
                  </a:lnTo>
                  <a:lnTo>
                    <a:pt x="2073" y="876"/>
                  </a:lnTo>
                  <a:lnTo>
                    <a:pt x="2073" y="874"/>
                  </a:lnTo>
                  <a:lnTo>
                    <a:pt x="2073" y="874"/>
                  </a:lnTo>
                  <a:lnTo>
                    <a:pt x="2073" y="874"/>
                  </a:lnTo>
                  <a:lnTo>
                    <a:pt x="2073" y="874"/>
                  </a:lnTo>
                  <a:lnTo>
                    <a:pt x="2070" y="871"/>
                  </a:lnTo>
                  <a:lnTo>
                    <a:pt x="2070" y="871"/>
                  </a:lnTo>
                  <a:lnTo>
                    <a:pt x="2073" y="871"/>
                  </a:lnTo>
                  <a:lnTo>
                    <a:pt x="2076" y="871"/>
                  </a:lnTo>
                  <a:lnTo>
                    <a:pt x="2076" y="871"/>
                  </a:lnTo>
                  <a:lnTo>
                    <a:pt x="2076" y="871"/>
                  </a:lnTo>
                  <a:lnTo>
                    <a:pt x="2076" y="871"/>
                  </a:lnTo>
                  <a:lnTo>
                    <a:pt x="2076" y="871"/>
                  </a:lnTo>
                  <a:lnTo>
                    <a:pt x="2078" y="874"/>
                  </a:lnTo>
                  <a:lnTo>
                    <a:pt x="2078" y="874"/>
                  </a:lnTo>
                  <a:lnTo>
                    <a:pt x="2078" y="876"/>
                  </a:lnTo>
                  <a:lnTo>
                    <a:pt x="2084" y="879"/>
                  </a:lnTo>
                  <a:lnTo>
                    <a:pt x="2084" y="879"/>
                  </a:lnTo>
                  <a:lnTo>
                    <a:pt x="2086" y="879"/>
                  </a:lnTo>
                  <a:lnTo>
                    <a:pt x="2086" y="879"/>
                  </a:lnTo>
                  <a:lnTo>
                    <a:pt x="2086" y="882"/>
                  </a:lnTo>
                  <a:lnTo>
                    <a:pt x="2089" y="882"/>
                  </a:lnTo>
                  <a:lnTo>
                    <a:pt x="2089" y="882"/>
                  </a:lnTo>
                  <a:lnTo>
                    <a:pt x="2089" y="882"/>
                  </a:lnTo>
                  <a:lnTo>
                    <a:pt x="2089" y="879"/>
                  </a:lnTo>
                  <a:lnTo>
                    <a:pt x="2089" y="879"/>
                  </a:lnTo>
                  <a:lnTo>
                    <a:pt x="2089" y="879"/>
                  </a:lnTo>
                  <a:lnTo>
                    <a:pt x="2089" y="876"/>
                  </a:lnTo>
                  <a:lnTo>
                    <a:pt x="2089" y="876"/>
                  </a:lnTo>
                  <a:lnTo>
                    <a:pt x="2089" y="876"/>
                  </a:lnTo>
                  <a:lnTo>
                    <a:pt x="2089" y="876"/>
                  </a:lnTo>
                  <a:lnTo>
                    <a:pt x="2089" y="874"/>
                  </a:lnTo>
                  <a:lnTo>
                    <a:pt x="2089" y="874"/>
                  </a:lnTo>
                  <a:lnTo>
                    <a:pt x="2089" y="874"/>
                  </a:lnTo>
                  <a:lnTo>
                    <a:pt x="2086" y="871"/>
                  </a:lnTo>
                  <a:lnTo>
                    <a:pt x="2086" y="871"/>
                  </a:lnTo>
                  <a:lnTo>
                    <a:pt x="2086" y="868"/>
                  </a:lnTo>
                  <a:lnTo>
                    <a:pt x="2084" y="868"/>
                  </a:lnTo>
                  <a:lnTo>
                    <a:pt x="2084" y="868"/>
                  </a:lnTo>
                  <a:lnTo>
                    <a:pt x="2086" y="866"/>
                  </a:lnTo>
                  <a:lnTo>
                    <a:pt x="2086" y="866"/>
                  </a:lnTo>
                  <a:lnTo>
                    <a:pt x="2086" y="866"/>
                  </a:lnTo>
                  <a:lnTo>
                    <a:pt x="2086" y="863"/>
                  </a:lnTo>
                  <a:lnTo>
                    <a:pt x="2084" y="860"/>
                  </a:lnTo>
                  <a:lnTo>
                    <a:pt x="2084" y="860"/>
                  </a:lnTo>
                  <a:lnTo>
                    <a:pt x="2081" y="860"/>
                  </a:lnTo>
                  <a:lnTo>
                    <a:pt x="2081" y="860"/>
                  </a:lnTo>
                  <a:lnTo>
                    <a:pt x="2081" y="860"/>
                  </a:lnTo>
                  <a:lnTo>
                    <a:pt x="2078" y="858"/>
                  </a:lnTo>
                  <a:lnTo>
                    <a:pt x="2078" y="858"/>
                  </a:lnTo>
                  <a:lnTo>
                    <a:pt x="2076" y="858"/>
                  </a:lnTo>
                  <a:lnTo>
                    <a:pt x="2073" y="858"/>
                  </a:lnTo>
                  <a:lnTo>
                    <a:pt x="2070" y="858"/>
                  </a:lnTo>
                  <a:lnTo>
                    <a:pt x="2070" y="860"/>
                  </a:lnTo>
                  <a:lnTo>
                    <a:pt x="2070" y="860"/>
                  </a:lnTo>
                  <a:lnTo>
                    <a:pt x="2073" y="863"/>
                  </a:lnTo>
                  <a:lnTo>
                    <a:pt x="2073" y="863"/>
                  </a:lnTo>
                  <a:lnTo>
                    <a:pt x="2073" y="863"/>
                  </a:lnTo>
                  <a:lnTo>
                    <a:pt x="2070" y="863"/>
                  </a:lnTo>
                  <a:lnTo>
                    <a:pt x="2070" y="860"/>
                  </a:lnTo>
                  <a:lnTo>
                    <a:pt x="2070" y="860"/>
                  </a:lnTo>
                  <a:lnTo>
                    <a:pt x="2068" y="860"/>
                  </a:lnTo>
                  <a:lnTo>
                    <a:pt x="2068" y="860"/>
                  </a:lnTo>
                  <a:lnTo>
                    <a:pt x="2065" y="860"/>
                  </a:lnTo>
                  <a:lnTo>
                    <a:pt x="2062" y="860"/>
                  </a:lnTo>
                  <a:lnTo>
                    <a:pt x="2062" y="860"/>
                  </a:lnTo>
                  <a:lnTo>
                    <a:pt x="2060" y="860"/>
                  </a:lnTo>
                  <a:lnTo>
                    <a:pt x="2060" y="860"/>
                  </a:lnTo>
                  <a:lnTo>
                    <a:pt x="2054" y="860"/>
                  </a:lnTo>
                  <a:lnTo>
                    <a:pt x="2052" y="860"/>
                  </a:lnTo>
                  <a:lnTo>
                    <a:pt x="2046" y="860"/>
                  </a:lnTo>
                  <a:lnTo>
                    <a:pt x="2046" y="860"/>
                  </a:lnTo>
                  <a:lnTo>
                    <a:pt x="2046" y="860"/>
                  </a:lnTo>
                  <a:lnTo>
                    <a:pt x="2046" y="860"/>
                  </a:lnTo>
                  <a:lnTo>
                    <a:pt x="2046" y="860"/>
                  </a:lnTo>
                  <a:lnTo>
                    <a:pt x="2046" y="863"/>
                  </a:lnTo>
                  <a:lnTo>
                    <a:pt x="2046" y="863"/>
                  </a:lnTo>
                  <a:lnTo>
                    <a:pt x="2044" y="863"/>
                  </a:lnTo>
                  <a:lnTo>
                    <a:pt x="2044" y="863"/>
                  </a:lnTo>
                  <a:lnTo>
                    <a:pt x="2044" y="863"/>
                  </a:lnTo>
                  <a:lnTo>
                    <a:pt x="2044" y="866"/>
                  </a:lnTo>
                  <a:lnTo>
                    <a:pt x="2044" y="866"/>
                  </a:lnTo>
                  <a:lnTo>
                    <a:pt x="2044" y="866"/>
                  </a:lnTo>
                  <a:lnTo>
                    <a:pt x="2044" y="866"/>
                  </a:lnTo>
                  <a:lnTo>
                    <a:pt x="2049" y="868"/>
                  </a:lnTo>
                  <a:lnTo>
                    <a:pt x="2052" y="871"/>
                  </a:lnTo>
                  <a:lnTo>
                    <a:pt x="2057" y="871"/>
                  </a:lnTo>
                  <a:lnTo>
                    <a:pt x="2057" y="871"/>
                  </a:lnTo>
                  <a:lnTo>
                    <a:pt x="2057" y="871"/>
                  </a:lnTo>
                  <a:lnTo>
                    <a:pt x="2054" y="874"/>
                  </a:lnTo>
                  <a:lnTo>
                    <a:pt x="2052" y="871"/>
                  </a:lnTo>
                  <a:lnTo>
                    <a:pt x="2052" y="871"/>
                  </a:lnTo>
                  <a:lnTo>
                    <a:pt x="2052" y="871"/>
                  </a:lnTo>
                  <a:lnTo>
                    <a:pt x="2052" y="874"/>
                  </a:lnTo>
                  <a:lnTo>
                    <a:pt x="2052" y="874"/>
                  </a:lnTo>
                  <a:lnTo>
                    <a:pt x="2052" y="874"/>
                  </a:lnTo>
                  <a:lnTo>
                    <a:pt x="2054" y="874"/>
                  </a:lnTo>
                  <a:lnTo>
                    <a:pt x="2054" y="874"/>
                  </a:lnTo>
                  <a:lnTo>
                    <a:pt x="2054" y="874"/>
                  </a:lnTo>
                  <a:lnTo>
                    <a:pt x="2054" y="874"/>
                  </a:lnTo>
                  <a:lnTo>
                    <a:pt x="2054" y="874"/>
                  </a:lnTo>
                  <a:lnTo>
                    <a:pt x="2054" y="874"/>
                  </a:lnTo>
                  <a:lnTo>
                    <a:pt x="2054" y="874"/>
                  </a:lnTo>
                  <a:lnTo>
                    <a:pt x="2054" y="874"/>
                  </a:lnTo>
                  <a:lnTo>
                    <a:pt x="2054" y="876"/>
                  </a:lnTo>
                  <a:lnTo>
                    <a:pt x="2057" y="876"/>
                  </a:lnTo>
                  <a:lnTo>
                    <a:pt x="2057" y="876"/>
                  </a:lnTo>
                  <a:lnTo>
                    <a:pt x="2057" y="876"/>
                  </a:lnTo>
                  <a:lnTo>
                    <a:pt x="2057" y="876"/>
                  </a:lnTo>
                  <a:lnTo>
                    <a:pt x="2057" y="876"/>
                  </a:lnTo>
                  <a:lnTo>
                    <a:pt x="2057" y="876"/>
                  </a:lnTo>
                  <a:lnTo>
                    <a:pt x="2057" y="876"/>
                  </a:lnTo>
                  <a:lnTo>
                    <a:pt x="2057" y="876"/>
                  </a:lnTo>
                  <a:lnTo>
                    <a:pt x="2060" y="876"/>
                  </a:lnTo>
                  <a:lnTo>
                    <a:pt x="2060" y="876"/>
                  </a:lnTo>
                  <a:lnTo>
                    <a:pt x="2060" y="876"/>
                  </a:lnTo>
                  <a:lnTo>
                    <a:pt x="2060" y="874"/>
                  </a:lnTo>
                  <a:lnTo>
                    <a:pt x="2060" y="874"/>
                  </a:lnTo>
                  <a:lnTo>
                    <a:pt x="2060" y="874"/>
                  </a:lnTo>
                  <a:lnTo>
                    <a:pt x="2060" y="874"/>
                  </a:lnTo>
                  <a:lnTo>
                    <a:pt x="2060" y="874"/>
                  </a:lnTo>
                  <a:lnTo>
                    <a:pt x="2060" y="874"/>
                  </a:lnTo>
                  <a:lnTo>
                    <a:pt x="2060" y="874"/>
                  </a:lnTo>
                  <a:lnTo>
                    <a:pt x="2060" y="876"/>
                  </a:lnTo>
                  <a:lnTo>
                    <a:pt x="2062" y="876"/>
                  </a:lnTo>
                  <a:lnTo>
                    <a:pt x="2060" y="876"/>
                  </a:lnTo>
                  <a:lnTo>
                    <a:pt x="2060" y="876"/>
                  </a:lnTo>
                  <a:lnTo>
                    <a:pt x="2060" y="876"/>
                  </a:lnTo>
                  <a:lnTo>
                    <a:pt x="2060" y="876"/>
                  </a:lnTo>
                  <a:lnTo>
                    <a:pt x="2060" y="879"/>
                  </a:lnTo>
                  <a:lnTo>
                    <a:pt x="2062" y="879"/>
                  </a:lnTo>
                  <a:lnTo>
                    <a:pt x="2062" y="879"/>
                  </a:lnTo>
                  <a:lnTo>
                    <a:pt x="2060" y="879"/>
                  </a:lnTo>
                  <a:lnTo>
                    <a:pt x="2062" y="882"/>
                  </a:lnTo>
                  <a:lnTo>
                    <a:pt x="2062" y="882"/>
                  </a:lnTo>
                  <a:lnTo>
                    <a:pt x="2062" y="884"/>
                  </a:lnTo>
                  <a:lnTo>
                    <a:pt x="2062" y="884"/>
                  </a:lnTo>
                  <a:lnTo>
                    <a:pt x="2062" y="884"/>
                  </a:lnTo>
                  <a:lnTo>
                    <a:pt x="2062" y="887"/>
                  </a:lnTo>
                  <a:lnTo>
                    <a:pt x="2065" y="887"/>
                  </a:lnTo>
                  <a:lnTo>
                    <a:pt x="2065" y="887"/>
                  </a:lnTo>
                  <a:lnTo>
                    <a:pt x="2065" y="887"/>
                  </a:lnTo>
                  <a:lnTo>
                    <a:pt x="2065" y="887"/>
                  </a:lnTo>
                  <a:lnTo>
                    <a:pt x="2065" y="890"/>
                  </a:lnTo>
                  <a:lnTo>
                    <a:pt x="2065" y="890"/>
                  </a:lnTo>
                  <a:lnTo>
                    <a:pt x="2065" y="890"/>
                  </a:lnTo>
                  <a:lnTo>
                    <a:pt x="2065" y="890"/>
                  </a:lnTo>
                  <a:lnTo>
                    <a:pt x="2065" y="892"/>
                  </a:lnTo>
                  <a:lnTo>
                    <a:pt x="2065" y="892"/>
                  </a:lnTo>
                  <a:lnTo>
                    <a:pt x="2068" y="898"/>
                  </a:lnTo>
                  <a:lnTo>
                    <a:pt x="2070" y="898"/>
                  </a:lnTo>
                  <a:lnTo>
                    <a:pt x="2073" y="898"/>
                  </a:lnTo>
                  <a:close/>
                  <a:moveTo>
                    <a:pt x="2065" y="922"/>
                  </a:moveTo>
                  <a:lnTo>
                    <a:pt x="2065" y="922"/>
                  </a:lnTo>
                  <a:lnTo>
                    <a:pt x="2065" y="922"/>
                  </a:lnTo>
                  <a:lnTo>
                    <a:pt x="2065" y="922"/>
                  </a:lnTo>
                  <a:lnTo>
                    <a:pt x="2065" y="919"/>
                  </a:lnTo>
                  <a:lnTo>
                    <a:pt x="2065" y="919"/>
                  </a:lnTo>
                  <a:lnTo>
                    <a:pt x="2062" y="919"/>
                  </a:lnTo>
                  <a:lnTo>
                    <a:pt x="2062" y="916"/>
                  </a:lnTo>
                  <a:lnTo>
                    <a:pt x="2065" y="916"/>
                  </a:lnTo>
                  <a:lnTo>
                    <a:pt x="2065" y="916"/>
                  </a:lnTo>
                  <a:lnTo>
                    <a:pt x="2062" y="914"/>
                  </a:lnTo>
                  <a:lnTo>
                    <a:pt x="2062" y="914"/>
                  </a:lnTo>
                  <a:lnTo>
                    <a:pt x="2062" y="914"/>
                  </a:lnTo>
                  <a:lnTo>
                    <a:pt x="2060" y="914"/>
                  </a:lnTo>
                  <a:lnTo>
                    <a:pt x="2060" y="914"/>
                  </a:lnTo>
                  <a:lnTo>
                    <a:pt x="2060" y="911"/>
                  </a:lnTo>
                  <a:lnTo>
                    <a:pt x="2060" y="911"/>
                  </a:lnTo>
                  <a:lnTo>
                    <a:pt x="2060" y="908"/>
                  </a:lnTo>
                  <a:lnTo>
                    <a:pt x="2060" y="908"/>
                  </a:lnTo>
                  <a:lnTo>
                    <a:pt x="2060" y="908"/>
                  </a:lnTo>
                  <a:lnTo>
                    <a:pt x="2060" y="908"/>
                  </a:lnTo>
                  <a:lnTo>
                    <a:pt x="2060" y="908"/>
                  </a:lnTo>
                  <a:lnTo>
                    <a:pt x="2062" y="911"/>
                  </a:lnTo>
                  <a:lnTo>
                    <a:pt x="2065" y="911"/>
                  </a:lnTo>
                  <a:lnTo>
                    <a:pt x="2065" y="911"/>
                  </a:lnTo>
                  <a:lnTo>
                    <a:pt x="2065" y="911"/>
                  </a:lnTo>
                  <a:lnTo>
                    <a:pt x="2065" y="908"/>
                  </a:lnTo>
                  <a:lnTo>
                    <a:pt x="2065" y="908"/>
                  </a:lnTo>
                  <a:lnTo>
                    <a:pt x="2062" y="906"/>
                  </a:lnTo>
                  <a:lnTo>
                    <a:pt x="2060" y="906"/>
                  </a:lnTo>
                  <a:lnTo>
                    <a:pt x="2060" y="906"/>
                  </a:lnTo>
                  <a:lnTo>
                    <a:pt x="2060" y="906"/>
                  </a:lnTo>
                  <a:lnTo>
                    <a:pt x="2062" y="906"/>
                  </a:lnTo>
                  <a:lnTo>
                    <a:pt x="2062" y="906"/>
                  </a:lnTo>
                  <a:lnTo>
                    <a:pt x="2062" y="903"/>
                  </a:lnTo>
                  <a:lnTo>
                    <a:pt x="2060" y="903"/>
                  </a:lnTo>
                  <a:lnTo>
                    <a:pt x="2060" y="903"/>
                  </a:lnTo>
                  <a:lnTo>
                    <a:pt x="2060" y="903"/>
                  </a:lnTo>
                  <a:lnTo>
                    <a:pt x="2060" y="903"/>
                  </a:lnTo>
                  <a:lnTo>
                    <a:pt x="2062" y="903"/>
                  </a:lnTo>
                  <a:lnTo>
                    <a:pt x="2062" y="900"/>
                  </a:lnTo>
                  <a:lnTo>
                    <a:pt x="2062" y="900"/>
                  </a:lnTo>
                  <a:lnTo>
                    <a:pt x="2062" y="900"/>
                  </a:lnTo>
                  <a:lnTo>
                    <a:pt x="2060" y="900"/>
                  </a:lnTo>
                  <a:lnTo>
                    <a:pt x="2060" y="900"/>
                  </a:lnTo>
                  <a:lnTo>
                    <a:pt x="2060" y="898"/>
                  </a:lnTo>
                  <a:lnTo>
                    <a:pt x="2060" y="898"/>
                  </a:lnTo>
                  <a:lnTo>
                    <a:pt x="2060" y="898"/>
                  </a:lnTo>
                  <a:lnTo>
                    <a:pt x="2060" y="898"/>
                  </a:lnTo>
                  <a:lnTo>
                    <a:pt x="2057" y="898"/>
                  </a:lnTo>
                  <a:lnTo>
                    <a:pt x="2057" y="898"/>
                  </a:lnTo>
                  <a:lnTo>
                    <a:pt x="2057" y="898"/>
                  </a:lnTo>
                  <a:lnTo>
                    <a:pt x="2060" y="898"/>
                  </a:lnTo>
                  <a:lnTo>
                    <a:pt x="2060" y="895"/>
                  </a:lnTo>
                  <a:lnTo>
                    <a:pt x="2060" y="895"/>
                  </a:lnTo>
                  <a:lnTo>
                    <a:pt x="2060" y="892"/>
                  </a:lnTo>
                  <a:lnTo>
                    <a:pt x="2060" y="892"/>
                  </a:lnTo>
                  <a:lnTo>
                    <a:pt x="2060" y="892"/>
                  </a:lnTo>
                  <a:lnTo>
                    <a:pt x="2057" y="892"/>
                  </a:lnTo>
                  <a:lnTo>
                    <a:pt x="2054" y="890"/>
                  </a:lnTo>
                  <a:lnTo>
                    <a:pt x="2057" y="890"/>
                  </a:lnTo>
                  <a:lnTo>
                    <a:pt x="2060" y="890"/>
                  </a:lnTo>
                  <a:lnTo>
                    <a:pt x="2060" y="890"/>
                  </a:lnTo>
                  <a:lnTo>
                    <a:pt x="2060" y="892"/>
                  </a:lnTo>
                  <a:lnTo>
                    <a:pt x="2062" y="892"/>
                  </a:lnTo>
                  <a:lnTo>
                    <a:pt x="2062" y="892"/>
                  </a:lnTo>
                  <a:lnTo>
                    <a:pt x="2062" y="892"/>
                  </a:lnTo>
                  <a:lnTo>
                    <a:pt x="2062" y="892"/>
                  </a:lnTo>
                  <a:lnTo>
                    <a:pt x="2062" y="892"/>
                  </a:lnTo>
                  <a:lnTo>
                    <a:pt x="2062" y="890"/>
                  </a:lnTo>
                  <a:lnTo>
                    <a:pt x="2062" y="890"/>
                  </a:lnTo>
                  <a:lnTo>
                    <a:pt x="2062" y="887"/>
                  </a:lnTo>
                  <a:lnTo>
                    <a:pt x="2062" y="887"/>
                  </a:lnTo>
                  <a:lnTo>
                    <a:pt x="2062" y="887"/>
                  </a:lnTo>
                  <a:lnTo>
                    <a:pt x="2062" y="887"/>
                  </a:lnTo>
                  <a:lnTo>
                    <a:pt x="2060" y="884"/>
                  </a:lnTo>
                  <a:lnTo>
                    <a:pt x="2060" y="884"/>
                  </a:lnTo>
                  <a:lnTo>
                    <a:pt x="2060" y="884"/>
                  </a:lnTo>
                  <a:lnTo>
                    <a:pt x="2060" y="884"/>
                  </a:lnTo>
                  <a:lnTo>
                    <a:pt x="2060" y="879"/>
                  </a:lnTo>
                  <a:lnTo>
                    <a:pt x="2060" y="879"/>
                  </a:lnTo>
                  <a:lnTo>
                    <a:pt x="2057" y="879"/>
                  </a:lnTo>
                  <a:lnTo>
                    <a:pt x="2057" y="879"/>
                  </a:lnTo>
                  <a:lnTo>
                    <a:pt x="2057" y="879"/>
                  </a:lnTo>
                  <a:lnTo>
                    <a:pt x="2057" y="879"/>
                  </a:lnTo>
                  <a:lnTo>
                    <a:pt x="2054" y="879"/>
                  </a:lnTo>
                  <a:lnTo>
                    <a:pt x="2054" y="879"/>
                  </a:lnTo>
                  <a:lnTo>
                    <a:pt x="2054" y="879"/>
                  </a:lnTo>
                  <a:lnTo>
                    <a:pt x="2054" y="879"/>
                  </a:lnTo>
                  <a:lnTo>
                    <a:pt x="2054" y="882"/>
                  </a:lnTo>
                  <a:lnTo>
                    <a:pt x="2054" y="882"/>
                  </a:lnTo>
                  <a:lnTo>
                    <a:pt x="2054" y="882"/>
                  </a:lnTo>
                  <a:lnTo>
                    <a:pt x="2054" y="884"/>
                  </a:lnTo>
                  <a:lnTo>
                    <a:pt x="2054" y="884"/>
                  </a:lnTo>
                  <a:lnTo>
                    <a:pt x="2054" y="884"/>
                  </a:lnTo>
                  <a:lnTo>
                    <a:pt x="2054" y="884"/>
                  </a:lnTo>
                  <a:lnTo>
                    <a:pt x="2054" y="884"/>
                  </a:lnTo>
                  <a:lnTo>
                    <a:pt x="2054" y="884"/>
                  </a:lnTo>
                  <a:lnTo>
                    <a:pt x="2054" y="887"/>
                  </a:lnTo>
                  <a:lnTo>
                    <a:pt x="2054" y="887"/>
                  </a:lnTo>
                  <a:lnTo>
                    <a:pt x="2054" y="887"/>
                  </a:lnTo>
                  <a:lnTo>
                    <a:pt x="2054" y="887"/>
                  </a:lnTo>
                  <a:lnTo>
                    <a:pt x="2054" y="890"/>
                  </a:lnTo>
                  <a:lnTo>
                    <a:pt x="2052" y="890"/>
                  </a:lnTo>
                  <a:lnTo>
                    <a:pt x="2052" y="890"/>
                  </a:lnTo>
                  <a:lnTo>
                    <a:pt x="2052" y="890"/>
                  </a:lnTo>
                  <a:lnTo>
                    <a:pt x="2052" y="890"/>
                  </a:lnTo>
                  <a:lnTo>
                    <a:pt x="2054" y="887"/>
                  </a:lnTo>
                  <a:lnTo>
                    <a:pt x="2054" y="887"/>
                  </a:lnTo>
                  <a:lnTo>
                    <a:pt x="2054" y="884"/>
                  </a:lnTo>
                  <a:lnTo>
                    <a:pt x="2054" y="884"/>
                  </a:lnTo>
                  <a:lnTo>
                    <a:pt x="2054" y="884"/>
                  </a:lnTo>
                  <a:lnTo>
                    <a:pt x="2054" y="884"/>
                  </a:lnTo>
                  <a:lnTo>
                    <a:pt x="2054" y="884"/>
                  </a:lnTo>
                  <a:lnTo>
                    <a:pt x="2054" y="884"/>
                  </a:lnTo>
                  <a:lnTo>
                    <a:pt x="2054" y="882"/>
                  </a:lnTo>
                  <a:lnTo>
                    <a:pt x="2054" y="882"/>
                  </a:lnTo>
                  <a:lnTo>
                    <a:pt x="2054" y="882"/>
                  </a:lnTo>
                  <a:lnTo>
                    <a:pt x="2054" y="882"/>
                  </a:lnTo>
                  <a:lnTo>
                    <a:pt x="2052" y="882"/>
                  </a:lnTo>
                  <a:lnTo>
                    <a:pt x="2052" y="882"/>
                  </a:lnTo>
                  <a:lnTo>
                    <a:pt x="2052" y="879"/>
                  </a:lnTo>
                  <a:lnTo>
                    <a:pt x="2052" y="879"/>
                  </a:lnTo>
                  <a:lnTo>
                    <a:pt x="2052" y="879"/>
                  </a:lnTo>
                  <a:lnTo>
                    <a:pt x="2052" y="879"/>
                  </a:lnTo>
                  <a:lnTo>
                    <a:pt x="2052" y="879"/>
                  </a:lnTo>
                  <a:lnTo>
                    <a:pt x="2049" y="876"/>
                  </a:lnTo>
                  <a:lnTo>
                    <a:pt x="2049" y="876"/>
                  </a:lnTo>
                  <a:lnTo>
                    <a:pt x="2049" y="879"/>
                  </a:lnTo>
                  <a:lnTo>
                    <a:pt x="2049" y="876"/>
                  </a:lnTo>
                  <a:lnTo>
                    <a:pt x="2046" y="874"/>
                  </a:lnTo>
                  <a:lnTo>
                    <a:pt x="2046" y="874"/>
                  </a:lnTo>
                  <a:lnTo>
                    <a:pt x="2044" y="874"/>
                  </a:lnTo>
                  <a:lnTo>
                    <a:pt x="2044" y="874"/>
                  </a:lnTo>
                  <a:lnTo>
                    <a:pt x="2041" y="874"/>
                  </a:lnTo>
                  <a:lnTo>
                    <a:pt x="2041" y="874"/>
                  </a:lnTo>
                  <a:lnTo>
                    <a:pt x="2038" y="874"/>
                  </a:lnTo>
                  <a:lnTo>
                    <a:pt x="2036" y="874"/>
                  </a:lnTo>
                  <a:lnTo>
                    <a:pt x="2038" y="874"/>
                  </a:lnTo>
                  <a:lnTo>
                    <a:pt x="2038" y="874"/>
                  </a:lnTo>
                  <a:lnTo>
                    <a:pt x="2038" y="876"/>
                  </a:lnTo>
                  <a:lnTo>
                    <a:pt x="2041" y="876"/>
                  </a:lnTo>
                  <a:lnTo>
                    <a:pt x="2041" y="876"/>
                  </a:lnTo>
                  <a:lnTo>
                    <a:pt x="2044" y="876"/>
                  </a:lnTo>
                  <a:lnTo>
                    <a:pt x="2044" y="876"/>
                  </a:lnTo>
                  <a:lnTo>
                    <a:pt x="2044" y="876"/>
                  </a:lnTo>
                  <a:lnTo>
                    <a:pt x="2044" y="879"/>
                  </a:lnTo>
                  <a:lnTo>
                    <a:pt x="2044" y="879"/>
                  </a:lnTo>
                  <a:lnTo>
                    <a:pt x="2044" y="879"/>
                  </a:lnTo>
                  <a:lnTo>
                    <a:pt x="2041" y="879"/>
                  </a:lnTo>
                  <a:lnTo>
                    <a:pt x="2041" y="879"/>
                  </a:lnTo>
                  <a:lnTo>
                    <a:pt x="2038" y="876"/>
                  </a:lnTo>
                  <a:lnTo>
                    <a:pt x="2038" y="876"/>
                  </a:lnTo>
                  <a:lnTo>
                    <a:pt x="2036" y="876"/>
                  </a:lnTo>
                  <a:lnTo>
                    <a:pt x="2036" y="879"/>
                  </a:lnTo>
                  <a:lnTo>
                    <a:pt x="2036" y="879"/>
                  </a:lnTo>
                  <a:lnTo>
                    <a:pt x="2038" y="879"/>
                  </a:lnTo>
                  <a:lnTo>
                    <a:pt x="2038" y="882"/>
                  </a:lnTo>
                  <a:lnTo>
                    <a:pt x="2038" y="882"/>
                  </a:lnTo>
                  <a:lnTo>
                    <a:pt x="2038" y="882"/>
                  </a:lnTo>
                  <a:lnTo>
                    <a:pt x="2038" y="884"/>
                  </a:lnTo>
                  <a:lnTo>
                    <a:pt x="2038" y="882"/>
                  </a:lnTo>
                  <a:lnTo>
                    <a:pt x="2036" y="882"/>
                  </a:lnTo>
                  <a:lnTo>
                    <a:pt x="2036" y="879"/>
                  </a:lnTo>
                  <a:lnTo>
                    <a:pt x="2036" y="879"/>
                  </a:lnTo>
                  <a:lnTo>
                    <a:pt x="2036" y="879"/>
                  </a:lnTo>
                  <a:lnTo>
                    <a:pt x="2033" y="879"/>
                  </a:lnTo>
                  <a:lnTo>
                    <a:pt x="2033" y="879"/>
                  </a:lnTo>
                  <a:lnTo>
                    <a:pt x="2033" y="882"/>
                  </a:lnTo>
                  <a:lnTo>
                    <a:pt x="2033" y="882"/>
                  </a:lnTo>
                  <a:lnTo>
                    <a:pt x="2036" y="884"/>
                  </a:lnTo>
                  <a:lnTo>
                    <a:pt x="2036" y="884"/>
                  </a:lnTo>
                  <a:lnTo>
                    <a:pt x="2036" y="887"/>
                  </a:lnTo>
                  <a:lnTo>
                    <a:pt x="2036" y="887"/>
                  </a:lnTo>
                  <a:lnTo>
                    <a:pt x="2036" y="890"/>
                  </a:lnTo>
                  <a:lnTo>
                    <a:pt x="2036" y="890"/>
                  </a:lnTo>
                  <a:lnTo>
                    <a:pt x="2038" y="890"/>
                  </a:lnTo>
                  <a:lnTo>
                    <a:pt x="2038" y="892"/>
                  </a:lnTo>
                  <a:lnTo>
                    <a:pt x="2041" y="892"/>
                  </a:lnTo>
                  <a:lnTo>
                    <a:pt x="2041" y="892"/>
                  </a:lnTo>
                  <a:lnTo>
                    <a:pt x="2044" y="892"/>
                  </a:lnTo>
                  <a:lnTo>
                    <a:pt x="2044" y="890"/>
                  </a:lnTo>
                  <a:lnTo>
                    <a:pt x="2041" y="890"/>
                  </a:lnTo>
                  <a:lnTo>
                    <a:pt x="2044" y="890"/>
                  </a:lnTo>
                  <a:lnTo>
                    <a:pt x="2044" y="890"/>
                  </a:lnTo>
                  <a:lnTo>
                    <a:pt x="2044" y="890"/>
                  </a:lnTo>
                  <a:lnTo>
                    <a:pt x="2044" y="890"/>
                  </a:lnTo>
                  <a:lnTo>
                    <a:pt x="2044" y="892"/>
                  </a:lnTo>
                  <a:lnTo>
                    <a:pt x="2044" y="892"/>
                  </a:lnTo>
                  <a:lnTo>
                    <a:pt x="2044" y="892"/>
                  </a:lnTo>
                  <a:lnTo>
                    <a:pt x="2041" y="892"/>
                  </a:lnTo>
                  <a:lnTo>
                    <a:pt x="2044" y="895"/>
                  </a:lnTo>
                  <a:lnTo>
                    <a:pt x="2044" y="895"/>
                  </a:lnTo>
                  <a:lnTo>
                    <a:pt x="2044" y="895"/>
                  </a:lnTo>
                  <a:lnTo>
                    <a:pt x="2046" y="892"/>
                  </a:lnTo>
                  <a:lnTo>
                    <a:pt x="2049" y="890"/>
                  </a:lnTo>
                  <a:lnTo>
                    <a:pt x="2049" y="890"/>
                  </a:lnTo>
                  <a:lnTo>
                    <a:pt x="2049" y="892"/>
                  </a:lnTo>
                  <a:lnTo>
                    <a:pt x="2049" y="892"/>
                  </a:lnTo>
                  <a:lnTo>
                    <a:pt x="2046" y="892"/>
                  </a:lnTo>
                  <a:lnTo>
                    <a:pt x="2046" y="892"/>
                  </a:lnTo>
                  <a:lnTo>
                    <a:pt x="2046" y="895"/>
                  </a:lnTo>
                  <a:lnTo>
                    <a:pt x="2044" y="895"/>
                  </a:lnTo>
                  <a:lnTo>
                    <a:pt x="2044" y="898"/>
                  </a:lnTo>
                  <a:lnTo>
                    <a:pt x="2044" y="898"/>
                  </a:lnTo>
                  <a:lnTo>
                    <a:pt x="2044" y="898"/>
                  </a:lnTo>
                  <a:lnTo>
                    <a:pt x="2046" y="898"/>
                  </a:lnTo>
                  <a:lnTo>
                    <a:pt x="2046" y="898"/>
                  </a:lnTo>
                  <a:lnTo>
                    <a:pt x="2046" y="898"/>
                  </a:lnTo>
                  <a:lnTo>
                    <a:pt x="2049" y="900"/>
                  </a:lnTo>
                  <a:lnTo>
                    <a:pt x="2049" y="900"/>
                  </a:lnTo>
                  <a:lnTo>
                    <a:pt x="2049" y="900"/>
                  </a:lnTo>
                  <a:lnTo>
                    <a:pt x="2052" y="900"/>
                  </a:lnTo>
                  <a:lnTo>
                    <a:pt x="2052" y="900"/>
                  </a:lnTo>
                  <a:lnTo>
                    <a:pt x="2052" y="898"/>
                  </a:lnTo>
                  <a:lnTo>
                    <a:pt x="2052" y="898"/>
                  </a:lnTo>
                  <a:lnTo>
                    <a:pt x="2052" y="898"/>
                  </a:lnTo>
                  <a:lnTo>
                    <a:pt x="2052" y="898"/>
                  </a:lnTo>
                  <a:lnTo>
                    <a:pt x="2052" y="898"/>
                  </a:lnTo>
                  <a:lnTo>
                    <a:pt x="2052" y="900"/>
                  </a:lnTo>
                  <a:lnTo>
                    <a:pt x="2054" y="900"/>
                  </a:lnTo>
                  <a:lnTo>
                    <a:pt x="2054" y="900"/>
                  </a:lnTo>
                  <a:lnTo>
                    <a:pt x="2054" y="900"/>
                  </a:lnTo>
                  <a:lnTo>
                    <a:pt x="2054" y="900"/>
                  </a:lnTo>
                  <a:lnTo>
                    <a:pt x="2054" y="900"/>
                  </a:lnTo>
                  <a:lnTo>
                    <a:pt x="2054" y="900"/>
                  </a:lnTo>
                  <a:lnTo>
                    <a:pt x="2054" y="900"/>
                  </a:lnTo>
                  <a:lnTo>
                    <a:pt x="2054" y="903"/>
                  </a:lnTo>
                  <a:lnTo>
                    <a:pt x="2054" y="903"/>
                  </a:lnTo>
                  <a:lnTo>
                    <a:pt x="2054" y="903"/>
                  </a:lnTo>
                  <a:lnTo>
                    <a:pt x="2054" y="906"/>
                  </a:lnTo>
                  <a:lnTo>
                    <a:pt x="2054" y="906"/>
                  </a:lnTo>
                  <a:lnTo>
                    <a:pt x="2057" y="908"/>
                  </a:lnTo>
                  <a:lnTo>
                    <a:pt x="2057" y="908"/>
                  </a:lnTo>
                  <a:lnTo>
                    <a:pt x="2057" y="908"/>
                  </a:lnTo>
                  <a:lnTo>
                    <a:pt x="2054" y="908"/>
                  </a:lnTo>
                  <a:lnTo>
                    <a:pt x="2054" y="908"/>
                  </a:lnTo>
                  <a:lnTo>
                    <a:pt x="2054" y="906"/>
                  </a:lnTo>
                  <a:lnTo>
                    <a:pt x="2054" y="906"/>
                  </a:lnTo>
                  <a:lnTo>
                    <a:pt x="2052" y="906"/>
                  </a:lnTo>
                  <a:lnTo>
                    <a:pt x="2052" y="908"/>
                  </a:lnTo>
                  <a:lnTo>
                    <a:pt x="2054" y="908"/>
                  </a:lnTo>
                  <a:lnTo>
                    <a:pt x="2054" y="908"/>
                  </a:lnTo>
                  <a:lnTo>
                    <a:pt x="2052" y="908"/>
                  </a:lnTo>
                  <a:lnTo>
                    <a:pt x="2052" y="911"/>
                  </a:lnTo>
                  <a:lnTo>
                    <a:pt x="2052" y="906"/>
                  </a:lnTo>
                  <a:lnTo>
                    <a:pt x="2052" y="906"/>
                  </a:lnTo>
                  <a:lnTo>
                    <a:pt x="2052" y="906"/>
                  </a:lnTo>
                  <a:lnTo>
                    <a:pt x="2049" y="906"/>
                  </a:lnTo>
                  <a:lnTo>
                    <a:pt x="2049" y="906"/>
                  </a:lnTo>
                  <a:lnTo>
                    <a:pt x="2049" y="906"/>
                  </a:lnTo>
                  <a:lnTo>
                    <a:pt x="2052" y="906"/>
                  </a:lnTo>
                  <a:lnTo>
                    <a:pt x="2052" y="906"/>
                  </a:lnTo>
                  <a:lnTo>
                    <a:pt x="2049" y="908"/>
                  </a:lnTo>
                  <a:lnTo>
                    <a:pt x="2049" y="908"/>
                  </a:lnTo>
                  <a:lnTo>
                    <a:pt x="2049" y="908"/>
                  </a:lnTo>
                  <a:lnTo>
                    <a:pt x="2049" y="906"/>
                  </a:lnTo>
                  <a:lnTo>
                    <a:pt x="2049" y="908"/>
                  </a:lnTo>
                  <a:lnTo>
                    <a:pt x="2049" y="908"/>
                  </a:lnTo>
                  <a:lnTo>
                    <a:pt x="2049" y="911"/>
                  </a:lnTo>
                  <a:lnTo>
                    <a:pt x="2049" y="911"/>
                  </a:lnTo>
                  <a:lnTo>
                    <a:pt x="2049" y="911"/>
                  </a:lnTo>
                  <a:lnTo>
                    <a:pt x="2049" y="911"/>
                  </a:lnTo>
                  <a:lnTo>
                    <a:pt x="2049" y="914"/>
                  </a:lnTo>
                  <a:lnTo>
                    <a:pt x="2049" y="914"/>
                  </a:lnTo>
                  <a:lnTo>
                    <a:pt x="2049" y="914"/>
                  </a:lnTo>
                  <a:lnTo>
                    <a:pt x="2049" y="916"/>
                  </a:lnTo>
                  <a:lnTo>
                    <a:pt x="2049" y="916"/>
                  </a:lnTo>
                  <a:lnTo>
                    <a:pt x="2049" y="916"/>
                  </a:lnTo>
                  <a:lnTo>
                    <a:pt x="2049" y="916"/>
                  </a:lnTo>
                  <a:lnTo>
                    <a:pt x="2049" y="916"/>
                  </a:lnTo>
                  <a:lnTo>
                    <a:pt x="2049" y="916"/>
                  </a:lnTo>
                  <a:lnTo>
                    <a:pt x="2052" y="914"/>
                  </a:lnTo>
                  <a:lnTo>
                    <a:pt x="2052" y="914"/>
                  </a:lnTo>
                  <a:lnTo>
                    <a:pt x="2052" y="914"/>
                  </a:lnTo>
                  <a:lnTo>
                    <a:pt x="2052" y="911"/>
                  </a:lnTo>
                  <a:lnTo>
                    <a:pt x="2054" y="914"/>
                  </a:lnTo>
                  <a:lnTo>
                    <a:pt x="2054" y="914"/>
                  </a:lnTo>
                  <a:lnTo>
                    <a:pt x="2052" y="914"/>
                  </a:lnTo>
                  <a:lnTo>
                    <a:pt x="2052" y="914"/>
                  </a:lnTo>
                  <a:lnTo>
                    <a:pt x="2052" y="916"/>
                  </a:lnTo>
                  <a:lnTo>
                    <a:pt x="2052" y="916"/>
                  </a:lnTo>
                  <a:lnTo>
                    <a:pt x="2052" y="916"/>
                  </a:lnTo>
                  <a:lnTo>
                    <a:pt x="2052" y="916"/>
                  </a:lnTo>
                  <a:lnTo>
                    <a:pt x="2052" y="916"/>
                  </a:lnTo>
                  <a:lnTo>
                    <a:pt x="2052" y="919"/>
                  </a:lnTo>
                  <a:lnTo>
                    <a:pt x="2052" y="919"/>
                  </a:lnTo>
                  <a:lnTo>
                    <a:pt x="2052" y="919"/>
                  </a:lnTo>
                  <a:lnTo>
                    <a:pt x="2052" y="922"/>
                  </a:lnTo>
                  <a:lnTo>
                    <a:pt x="2052" y="922"/>
                  </a:lnTo>
                  <a:lnTo>
                    <a:pt x="2052" y="922"/>
                  </a:lnTo>
                  <a:lnTo>
                    <a:pt x="2054" y="924"/>
                  </a:lnTo>
                  <a:lnTo>
                    <a:pt x="2054" y="924"/>
                  </a:lnTo>
                  <a:lnTo>
                    <a:pt x="2054" y="924"/>
                  </a:lnTo>
                  <a:lnTo>
                    <a:pt x="2054" y="924"/>
                  </a:lnTo>
                  <a:lnTo>
                    <a:pt x="2054" y="924"/>
                  </a:lnTo>
                  <a:lnTo>
                    <a:pt x="2054" y="927"/>
                  </a:lnTo>
                  <a:lnTo>
                    <a:pt x="2054" y="927"/>
                  </a:lnTo>
                  <a:lnTo>
                    <a:pt x="2054" y="927"/>
                  </a:lnTo>
                  <a:lnTo>
                    <a:pt x="2054" y="927"/>
                  </a:lnTo>
                  <a:lnTo>
                    <a:pt x="2057" y="927"/>
                  </a:lnTo>
                  <a:lnTo>
                    <a:pt x="2057" y="930"/>
                  </a:lnTo>
                  <a:lnTo>
                    <a:pt x="2054" y="930"/>
                  </a:lnTo>
                  <a:lnTo>
                    <a:pt x="2057" y="930"/>
                  </a:lnTo>
                  <a:lnTo>
                    <a:pt x="2057" y="930"/>
                  </a:lnTo>
                  <a:lnTo>
                    <a:pt x="2060" y="930"/>
                  </a:lnTo>
                  <a:lnTo>
                    <a:pt x="2060" y="932"/>
                  </a:lnTo>
                  <a:lnTo>
                    <a:pt x="2060" y="932"/>
                  </a:lnTo>
                  <a:lnTo>
                    <a:pt x="2060" y="932"/>
                  </a:lnTo>
                  <a:lnTo>
                    <a:pt x="2062" y="932"/>
                  </a:lnTo>
                  <a:lnTo>
                    <a:pt x="2062" y="932"/>
                  </a:lnTo>
                  <a:lnTo>
                    <a:pt x="2060" y="930"/>
                  </a:lnTo>
                  <a:lnTo>
                    <a:pt x="2060" y="930"/>
                  </a:lnTo>
                  <a:lnTo>
                    <a:pt x="2060" y="930"/>
                  </a:lnTo>
                  <a:lnTo>
                    <a:pt x="2060" y="927"/>
                  </a:lnTo>
                  <a:lnTo>
                    <a:pt x="2060" y="927"/>
                  </a:lnTo>
                  <a:lnTo>
                    <a:pt x="2060" y="927"/>
                  </a:lnTo>
                  <a:lnTo>
                    <a:pt x="2060" y="927"/>
                  </a:lnTo>
                  <a:lnTo>
                    <a:pt x="2060" y="924"/>
                  </a:lnTo>
                  <a:lnTo>
                    <a:pt x="2060" y="924"/>
                  </a:lnTo>
                  <a:lnTo>
                    <a:pt x="2057" y="924"/>
                  </a:lnTo>
                  <a:lnTo>
                    <a:pt x="2057" y="924"/>
                  </a:lnTo>
                  <a:lnTo>
                    <a:pt x="2057" y="924"/>
                  </a:lnTo>
                  <a:lnTo>
                    <a:pt x="2057" y="924"/>
                  </a:lnTo>
                  <a:lnTo>
                    <a:pt x="2057" y="924"/>
                  </a:lnTo>
                  <a:lnTo>
                    <a:pt x="2054" y="922"/>
                  </a:lnTo>
                  <a:lnTo>
                    <a:pt x="2054" y="922"/>
                  </a:lnTo>
                  <a:lnTo>
                    <a:pt x="2057" y="922"/>
                  </a:lnTo>
                  <a:lnTo>
                    <a:pt x="2057" y="919"/>
                  </a:lnTo>
                  <a:lnTo>
                    <a:pt x="2057" y="916"/>
                  </a:lnTo>
                  <a:lnTo>
                    <a:pt x="2057" y="916"/>
                  </a:lnTo>
                  <a:lnTo>
                    <a:pt x="2057" y="914"/>
                  </a:lnTo>
                  <a:lnTo>
                    <a:pt x="2057" y="914"/>
                  </a:lnTo>
                  <a:lnTo>
                    <a:pt x="2057" y="911"/>
                  </a:lnTo>
                  <a:lnTo>
                    <a:pt x="2057" y="911"/>
                  </a:lnTo>
                  <a:lnTo>
                    <a:pt x="2060" y="914"/>
                  </a:lnTo>
                  <a:lnTo>
                    <a:pt x="2060" y="916"/>
                  </a:lnTo>
                  <a:lnTo>
                    <a:pt x="2060" y="919"/>
                  </a:lnTo>
                  <a:lnTo>
                    <a:pt x="2060" y="919"/>
                  </a:lnTo>
                  <a:lnTo>
                    <a:pt x="2060" y="919"/>
                  </a:lnTo>
                  <a:lnTo>
                    <a:pt x="2062" y="919"/>
                  </a:lnTo>
                  <a:lnTo>
                    <a:pt x="2062" y="924"/>
                  </a:lnTo>
                  <a:lnTo>
                    <a:pt x="2062" y="924"/>
                  </a:lnTo>
                  <a:lnTo>
                    <a:pt x="2062" y="924"/>
                  </a:lnTo>
                  <a:lnTo>
                    <a:pt x="2062" y="927"/>
                  </a:lnTo>
                  <a:lnTo>
                    <a:pt x="2065" y="927"/>
                  </a:lnTo>
                  <a:lnTo>
                    <a:pt x="2065" y="924"/>
                  </a:lnTo>
                  <a:lnTo>
                    <a:pt x="2065" y="924"/>
                  </a:lnTo>
                  <a:lnTo>
                    <a:pt x="2065" y="924"/>
                  </a:lnTo>
                  <a:lnTo>
                    <a:pt x="2065" y="924"/>
                  </a:lnTo>
                  <a:lnTo>
                    <a:pt x="2065" y="922"/>
                  </a:lnTo>
                  <a:close/>
                  <a:moveTo>
                    <a:pt x="2108" y="890"/>
                  </a:moveTo>
                  <a:lnTo>
                    <a:pt x="2105" y="890"/>
                  </a:lnTo>
                  <a:lnTo>
                    <a:pt x="2105" y="887"/>
                  </a:lnTo>
                  <a:lnTo>
                    <a:pt x="2105" y="887"/>
                  </a:lnTo>
                  <a:lnTo>
                    <a:pt x="2105" y="887"/>
                  </a:lnTo>
                  <a:lnTo>
                    <a:pt x="2102" y="887"/>
                  </a:lnTo>
                  <a:lnTo>
                    <a:pt x="2100" y="887"/>
                  </a:lnTo>
                  <a:lnTo>
                    <a:pt x="2100" y="890"/>
                  </a:lnTo>
                  <a:lnTo>
                    <a:pt x="2100" y="890"/>
                  </a:lnTo>
                  <a:lnTo>
                    <a:pt x="2097" y="890"/>
                  </a:lnTo>
                  <a:lnTo>
                    <a:pt x="2097" y="890"/>
                  </a:lnTo>
                  <a:lnTo>
                    <a:pt x="2097" y="890"/>
                  </a:lnTo>
                  <a:lnTo>
                    <a:pt x="2094" y="890"/>
                  </a:lnTo>
                  <a:lnTo>
                    <a:pt x="2094" y="890"/>
                  </a:lnTo>
                  <a:lnTo>
                    <a:pt x="2094" y="892"/>
                  </a:lnTo>
                  <a:lnTo>
                    <a:pt x="2092" y="892"/>
                  </a:lnTo>
                  <a:lnTo>
                    <a:pt x="2092" y="898"/>
                  </a:lnTo>
                  <a:lnTo>
                    <a:pt x="2092" y="898"/>
                  </a:lnTo>
                  <a:lnTo>
                    <a:pt x="2092" y="900"/>
                  </a:lnTo>
                  <a:lnTo>
                    <a:pt x="2094" y="900"/>
                  </a:lnTo>
                  <a:lnTo>
                    <a:pt x="2100" y="903"/>
                  </a:lnTo>
                  <a:lnTo>
                    <a:pt x="2102" y="903"/>
                  </a:lnTo>
                  <a:lnTo>
                    <a:pt x="2105" y="900"/>
                  </a:lnTo>
                  <a:lnTo>
                    <a:pt x="2108" y="900"/>
                  </a:lnTo>
                  <a:lnTo>
                    <a:pt x="2108" y="898"/>
                  </a:lnTo>
                  <a:lnTo>
                    <a:pt x="2108" y="898"/>
                  </a:lnTo>
                  <a:lnTo>
                    <a:pt x="2108" y="895"/>
                  </a:lnTo>
                  <a:lnTo>
                    <a:pt x="2105" y="895"/>
                  </a:lnTo>
                  <a:lnTo>
                    <a:pt x="2105" y="892"/>
                  </a:lnTo>
                  <a:lnTo>
                    <a:pt x="2105" y="892"/>
                  </a:lnTo>
                  <a:lnTo>
                    <a:pt x="2108" y="890"/>
                  </a:lnTo>
                  <a:lnTo>
                    <a:pt x="2108" y="890"/>
                  </a:lnTo>
                  <a:close/>
                  <a:moveTo>
                    <a:pt x="1988" y="874"/>
                  </a:moveTo>
                  <a:lnTo>
                    <a:pt x="1988" y="874"/>
                  </a:lnTo>
                  <a:lnTo>
                    <a:pt x="1985" y="874"/>
                  </a:lnTo>
                  <a:lnTo>
                    <a:pt x="1985" y="874"/>
                  </a:lnTo>
                  <a:lnTo>
                    <a:pt x="1985" y="871"/>
                  </a:lnTo>
                  <a:lnTo>
                    <a:pt x="1985" y="871"/>
                  </a:lnTo>
                  <a:lnTo>
                    <a:pt x="1985" y="868"/>
                  </a:lnTo>
                  <a:lnTo>
                    <a:pt x="1982" y="868"/>
                  </a:lnTo>
                  <a:lnTo>
                    <a:pt x="1985" y="868"/>
                  </a:lnTo>
                  <a:lnTo>
                    <a:pt x="1985" y="868"/>
                  </a:lnTo>
                  <a:lnTo>
                    <a:pt x="1985" y="868"/>
                  </a:lnTo>
                  <a:lnTo>
                    <a:pt x="1985" y="868"/>
                  </a:lnTo>
                  <a:lnTo>
                    <a:pt x="1982" y="866"/>
                  </a:lnTo>
                  <a:lnTo>
                    <a:pt x="1982" y="866"/>
                  </a:lnTo>
                  <a:lnTo>
                    <a:pt x="1977" y="863"/>
                  </a:lnTo>
                  <a:lnTo>
                    <a:pt x="1974" y="863"/>
                  </a:lnTo>
                  <a:lnTo>
                    <a:pt x="1974" y="866"/>
                  </a:lnTo>
                  <a:lnTo>
                    <a:pt x="1974" y="866"/>
                  </a:lnTo>
                  <a:lnTo>
                    <a:pt x="1974" y="868"/>
                  </a:lnTo>
                  <a:lnTo>
                    <a:pt x="1974" y="868"/>
                  </a:lnTo>
                  <a:lnTo>
                    <a:pt x="1974" y="868"/>
                  </a:lnTo>
                  <a:lnTo>
                    <a:pt x="1974" y="871"/>
                  </a:lnTo>
                  <a:lnTo>
                    <a:pt x="1974" y="871"/>
                  </a:lnTo>
                  <a:lnTo>
                    <a:pt x="1977" y="871"/>
                  </a:lnTo>
                  <a:lnTo>
                    <a:pt x="1977" y="871"/>
                  </a:lnTo>
                  <a:lnTo>
                    <a:pt x="1977" y="871"/>
                  </a:lnTo>
                  <a:lnTo>
                    <a:pt x="1977" y="871"/>
                  </a:lnTo>
                  <a:lnTo>
                    <a:pt x="1977" y="874"/>
                  </a:lnTo>
                  <a:lnTo>
                    <a:pt x="1977" y="874"/>
                  </a:lnTo>
                  <a:lnTo>
                    <a:pt x="1977" y="874"/>
                  </a:lnTo>
                  <a:lnTo>
                    <a:pt x="1980" y="874"/>
                  </a:lnTo>
                  <a:lnTo>
                    <a:pt x="1982" y="874"/>
                  </a:lnTo>
                  <a:lnTo>
                    <a:pt x="1982" y="874"/>
                  </a:lnTo>
                  <a:lnTo>
                    <a:pt x="1982" y="876"/>
                  </a:lnTo>
                  <a:lnTo>
                    <a:pt x="1980" y="879"/>
                  </a:lnTo>
                  <a:lnTo>
                    <a:pt x="1980" y="879"/>
                  </a:lnTo>
                  <a:lnTo>
                    <a:pt x="1980" y="879"/>
                  </a:lnTo>
                  <a:lnTo>
                    <a:pt x="1980" y="882"/>
                  </a:lnTo>
                  <a:lnTo>
                    <a:pt x="1980" y="882"/>
                  </a:lnTo>
                  <a:lnTo>
                    <a:pt x="1980" y="887"/>
                  </a:lnTo>
                  <a:lnTo>
                    <a:pt x="1985" y="884"/>
                  </a:lnTo>
                  <a:lnTo>
                    <a:pt x="1985" y="884"/>
                  </a:lnTo>
                  <a:lnTo>
                    <a:pt x="1985" y="884"/>
                  </a:lnTo>
                  <a:lnTo>
                    <a:pt x="1985" y="884"/>
                  </a:lnTo>
                  <a:lnTo>
                    <a:pt x="1988" y="884"/>
                  </a:lnTo>
                  <a:lnTo>
                    <a:pt x="1988" y="884"/>
                  </a:lnTo>
                  <a:lnTo>
                    <a:pt x="1988" y="882"/>
                  </a:lnTo>
                  <a:lnTo>
                    <a:pt x="1988" y="876"/>
                  </a:lnTo>
                  <a:lnTo>
                    <a:pt x="1988" y="874"/>
                  </a:lnTo>
                  <a:lnTo>
                    <a:pt x="1988" y="874"/>
                  </a:lnTo>
                  <a:close/>
                  <a:moveTo>
                    <a:pt x="1614" y="737"/>
                  </a:moveTo>
                  <a:lnTo>
                    <a:pt x="1614" y="737"/>
                  </a:lnTo>
                  <a:lnTo>
                    <a:pt x="1614" y="737"/>
                  </a:lnTo>
                  <a:lnTo>
                    <a:pt x="1614" y="737"/>
                  </a:lnTo>
                  <a:lnTo>
                    <a:pt x="1614" y="737"/>
                  </a:lnTo>
                  <a:lnTo>
                    <a:pt x="1611" y="737"/>
                  </a:lnTo>
                  <a:lnTo>
                    <a:pt x="1614" y="737"/>
                  </a:lnTo>
                  <a:lnTo>
                    <a:pt x="1614" y="737"/>
                  </a:lnTo>
                  <a:lnTo>
                    <a:pt x="1614" y="737"/>
                  </a:lnTo>
                  <a:lnTo>
                    <a:pt x="1614" y="737"/>
                  </a:lnTo>
                  <a:lnTo>
                    <a:pt x="1614" y="737"/>
                  </a:lnTo>
                  <a:lnTo>
                    <a:pt x="1614" y="737"/>
                  </a:lnTo>
                  <a:lnTo>
                    <a:pt x="1614" y="737"/>
                  </a:lnTo>
                  <a:lnTo>
                    <a:pt x="1614" y="737"/>
                  </a:lnTo>
                  <a:close/>
                  <a:moveTo>
                    <a:pt x="1998" y="791"/>
                  </a:moveTo>
                  <a:lnTo>
                    <a:pt x="1998" y="793"/>
                  </a:lnTo>
                  <a:lnTo>
                    <a:pt x="2001" y="793"/>
                  </a:lnTo>
                  <a:lnTo>
                    <a:pt x="2001" y="793"/>
                  </a:lnTo>
                  <a:lnTo>
                    <a:pt x="2001" y="793"/>
                  </a:lnTo>
                  <a:lnTo>
                    <a:pt x="2004" y="793"/>
                  </a:lnTo>
                  <a:lnTo>
                    <a:pt x="2004" y="793"/>
                  </a:lnTo>
                  <a:lnTo>
                    <a:pt x="2012" y="791"/>
                  </a:lnTo>
                  <a:lnTo>
                    <a:pt x="2012" y="791"/>
                  </a:lnTo>
                  <a:lnTo>
                    <a:pt x="2006" y="788"/>
                  </a:lnTo>
                  <a:lnTo>
                    <a:pt x="2004" y="785"/>
                  </a:lnTo>
                  <a:lnTo>
                    <a:pt x="2001" y="785"/>
                  </a:lnTo>
                  <a:lnTo>
                    <a:pt x="1998" y="785"/>
                  </a:lnTo>
                  <a:lnTo>
                    <a:pt x="1998" y="785"/>
                  </a:lnTo>
                  <a:lnTo>
                    <a:pt x="1998" y="788"/>
                  </a:lnTo>
                  <a:lnTo>
                    <a:pt x="1998" y="788"/>
                  </a:lnTo>
                  <a:lnTo>
                    <a:pt x="1996" y="788"/>
                  </a:lnTo>
                  <a:lnTo>
                    <a:pt x="1996" y="788"/>
                  </a:lnTo>
                  <a:lnTo>
                    <a:pt x="1996" y="791"/>
                  </a:lnTo>
                  <a:lnTo>
                    <a:pt x="1998" y="791"/>
                  </a:lnTo>
                  <a:close/>
                  <a:moveTo>
                    <a:pt x="2038" y="924"/>
                  </a:moveTo>
                  <a:lnTo>
                    <a:pt x="2038" y="924"/>
                  </a:lnTo>
                  <a:lnTo>
                    <a:pt x="2038" y="922"/>
                  </a:lnTo>
                  <a:lnTo>
                    <a:pt x="2036" y="922"/>
                  </a:lnTo>
                  <a:lnTo>
                    <a:pt x="2036" y="922"/>
                  </a:lnTo>
                  <a:lnTo>
                    <a:pt x="2036" y="919"/>
                  </a:lnTo>
                  <a:lnTo>
                    <a:pt x="2036" y="916"/>
                  </a:lnTo>
                  <a:lnTo>
                    <a:pt x="2036" y="916"/>
                  </a:lnTo>
                  <a:lnTo>
                    <a:pt x="2036" y="916"/>
                  </a:lnTo>
                  <a:lnTo>
                    <a:pt x="2036" y="914"/>
                  </a:lnTo>
                  <a:lnTo>
                    <a:pt x="2036" y="914"/>
                  </a:lnTo>
                  <a:lnTo>
                    <a:pt x="2036" y="911"/>
                  </a:lnTo>
                  <a:lnTo>
                    <a:pt x="2033" y="911"/>
                  </a:lnTo>
                  <a:lnTo>
                    <a:pt x="2033" y="911"/>
                  </a:lnTo>
                  <a:lnTo>
                    <a:pt x="2033" y="908"/>
                  </a:lnTo>
                  <a:lnTo>
                    <a:pt x="2033" y="908"/>
                  </a:lnTo>
                  <a:lnTo>
                    <a:pt x="2033" y="908"/>
                  </a:lnTo>
                  <a:lnTo>
                    <a:pt x="2030" y="903"/>
                  </a:lnTo>
                  <a:lnTo>
                    <a:pt x="2030" y="900"/>
                  </a:lnTo>
                  <a:lnTo>
                    <a:pt x="2030" y="900"/>
                  </a:lnTo>
                  <a:lnTo>
                    <a:pt x="2030" y="900"/>
                  </a:lnTo>
                  <a:lnTo>
                    <a:pt x="2030" y="903"/>
                  </a:lnTo>
                  <a:lnTo>
                    <a:pt x="2030" y="903"/>
                  </a:lnTo>
                  <a:lnTo>
                    <a:pt x="2030" y="903"/>
                  </a:lnTo>
                  <a:lnTo>
                    <a:pt x="2033" y="903"/>
                  </a:lnTo>
                  <a:lnTo>
                    <a:pt x="2033" y="903"/>
                  </a:lnTo>
                  <a:lnTo>
                    <a:pt x="2033" y="903"/>
                  </a:lnTo>
                  <a:lnTo>
                    <a:pt x="2033" y="903"/>
                  </a:lnTo>
                  <a:lnTo>
                    <a:pt x="2030" y="900"/>
                  </a:lnTo>
                  <a:lnTo>
                    <a:pt x="2028" y="892"/>
                  </a:lnTo>
                  <a:lnTo>
                    <a:pt x="2028" y="890"/>
                  </a:lnTo>
                  <a:lnTo>
                    <a:pt x="2028" y="890"/>
                  </a:lnTo>
                  <a:lnTo>
                    <a:pt x="2028" y="890"/>
                  </a:lnTo>
                  <a:lnTo>
                    <a:pt x="2028" y="890"/>
                  </a:lnTo>
                  <a:lnTo>
                    <a:pt x="2028" y="887"/>
                  </a:lnTo>
                  <a:lnTo>
                    <a:pt x="2025" y="884"/>
                  </a:lnTo>
                  <a:lnTo>
                    <a:pt x="2025" y="884"/>
                  </a:lnTo>
                  <a:lnTo>
                    <a:pt x="2022" y="882"/>
                  </a:lnTo>
                  <a:lnTo>
                    <a:pt x="2022" y="882"/>
                  </a:lnTo>
                  <a:lnTo>
                    <a:pt x="2022" y="879"/>
                  </a:lnTo>
                  <a:lnTo>
                    <a:pt x="2022" y="879"/>
                  </a:lnTo>
                  <a:lnTo>
                    <a:pt x="2020" y="879"/>
                  </a:lnTo>
                  <a:lnTo>
                    <a:pt x="2020" y="879"/>
                  </a:lnTo>
                  <a:lnTo>
                    <a:pt x="2020" y="876"/>
                  </a:lnTo>
                  <a:lnTo>
                    <a:pt x="2020" y="876"/>
                  </a:lnTo>
                  <a:lnTo>
                    <a:pt x="2020" y="874"/>
                  </a:lnTo>
                  <a:lnTo>
                    <a:pt x="2020" y="874"/>
                  </a:lnTo>
                  <a:lnTo>
                    <a:pt x="2020" y="874"/>
                  </a:lnTo>
                  <a:lnTo>
                    <a:pt x="2020" y="874"/>
                  </a:lnTo>
                  <a:lnTo>
                    <a:pt x="2020" y="874"/>
                  </a:lnTo>
                  <a:lnTo>
                    <a:pt x="2020" y="874"/>
                  </a:lnTo>
                  <a:lnTo>
                    <a:pt x="2017" y="874"/>
                  </a:lnTo>
                  <a:lnTo>
                    <a:pt x="2017" y="871"/>
                  </a:lnTo>
                  <a:lnTo>
                    <a:pt x="2017" y="871"/>
                  </a:lnTo>
                  <a:lnTo>
                    <a:pt x="2017" y="871"/>
                  </a:lnTo>
                  <a:lnTo>
                    <a:pt x="2017" y="871"/>
                  </a:lnTo>
                  <a:lnTo>
                    <a:pt x="2017" y="871"/>
                  </a:lnTo>
                  <a:lnTo>
                    <a:pt x="2014" y="871"/>
                  </a:lnTo>
                  <a:lnTo>
                    <a:pt x="2017" y="868"/>
                  </a:lnTo>
                  <a:lnTo>
                    <a:pt x="2014" y="868"/>
                  </a:lnTo>
                  <a:lnTo>
                    <a:pt x="2014" y="866"/>
                  </a:lnTo>
                  <a:lnTo>
                    <a:pt x="2012" y="866"/>
                  </a:lnTo>
                  <a:lnTo>
                    <a:pt x="2014" y="866"/>
                  </a:lnTo>
                  <a:lnTo>
                    <a:pt x="2014" y="863"/>
                  </a:lnTo>
                  <a:lnTo>
                    <a:pt x="2012" y="863"/>
                  </a:lnTo>
                  <a:lnTo>
                    <a:pt x="2012" y="863"/>
                  </a:lnTo>
                  <a:lnTo>
                    <a:pt x="2012" y="863"/>
                  </a:lnTo>
                  <a:lnTo>
                    <a:pt x="2012" y="860"/>
                  </a:lnTo>
                  <a:lnTo>
                    <a:pt x="2012" y="860"/>
                  </a:lnTo>
                  <a:lnTo>
                    <a:pt x="2012" y="860"/>
                  </a:lnTo>
                  <a:lnTo>
                    <a:pt x="2012" y="860"/>
                  </a:lnTo>
                  <a:lnTo>
                    <a:pt x="2009" y="860"/>
                  </a:lnTo>
                  <a:lnTo>
                    <a:pt x="2009" y="860"/>
                  </a:lnTo>
                  <a:lnTo>
                    <a:pt x="2006" y="860"/>
                  </a:lnTo>
                  <a:lnTo>
                    <a:pt x="2006" y="860"/>
                  </a:lnTo>
                  <a:lnTo>
                    <a:pt x="2006" y="858"/>
                  </a:lnTo>
                  <a:lnTo>
                    <a:pt x="2006" y="858"/>
                  </a:lnTo>
                  <a:lnTo>
                    <a:pt x="2006" y="858"/>
                  </a:lnTo>
                  <a:lnTo>
                    <a:pt x="2006" y="858"/>
                  </a:lnTo>
                  <a:lnTo>
                    <a:pt x="2006" y="858"/>
                  </a:lnTo>
                  <a:lnTo>
                    <a:pt x="2006" y="858"/>
                  </a:lnTo>
                  <a:lnTo>
                    <a:pt x="2004" y="858"/>
                  </a:lnTo>
                  <a:lnTo>
                    <a:pt x="2004" y="858"/>
                  </a:lnTo>
                  <a:lnTo>
                    <a:pt x="2004" y="858"/>
                  </a:lnTo>
                  <a:lnTo>
                    <a:pt x="2006" y="855"/>
                  </a:lnTo>
                  <a:lnTo>
                    <a:pt x="2006" y="855"/>
                  </a:lnTo>
                  <a:lnTo>
                    <a:pt x="2004" y="855"/>
                  </a:lnTo>
                  <a:lnTo>
                    <a:pt x="2004" y="855"/>
                  </a:lnTo>
                  <a:lnTo>
                    <a:pt x="2004" y="855"/>
                  </a:lnTo>
                  <a:lnTo>
                    <a:pt x="2006" y="855"/>
                  </a:lnTo>
                  <a:lnTo>
                    <a:pt x="2006" y="855"/>
                  </a:lnTo>
                  <a:lnTo>
                    <a:pt x="2004" y="852"/>
                  </a:lnTo>
                  <a:lnTo>
                    <a:pt x="2001" y="852"/>
                  </a:lnTo>
                  <a:lnTo>
                    <a:pt x="2001" y="852"/>
                  </a:lnTo>
                  <a:lnTo>
                    <a:pt x="2001" y="849"/>
                  </a:lnTo>
                  <a:lnTo>
                    <a:pt x="1998" y="849"/>
                  </a:lnTo>
                  <a:lnTo>
                    <a:pt x="1996" y="849"/>
                  </a:lnTo>
                  <a:lnTo>
                    <a:pt x="1996" y="849"/>
                  </a:lnTo>
                  <a:lnTo>
                    <a:pt x="1996" y="852"/>
                  </a:lnTo>
                  <a:lnTo>
                    <a:pt x="1996" y="852"/>
                  </a:lnTo>
                  <a:lnTo>
                    <a:pt x="1996" y="849"/>
                  </a:lnTo>
                  <a:lnTo>
                    <a:pt x="1996" y="849"/>
                  </a:lnTo>
                  <a:lnTo>
                    <a:pt x="1996" y="849"/>
                  </a:lnTo>
                  <a:lnTo>
                    <a:pt x="1993" y="847"/>
                  </a:lnTo>
                  <a:lnTo>
                    <a:pt x="1993" y="849"/>
                  </a:lnTo>
                  <a:lnTo>
                    <a:pt x="1993" y="849"/>
                  </a:lnTo>
                  <a:lnTo>
                    <a:pt x="1993" y="849"/>
                  </a:lnTo>
                  <a:lnTo>
                    <a:pt x="1990" y="849"/>
                  </a:lnTo>
                  <a:lnTo>
                    <a:pt x="1990" y="849"/>
                  </a:lnTo>
                  <a:lnTo>
                    <a:pt x="1990" y="849"/>
                  </a:lnTo>
                  <a:lnTo>
                    <a:pt x="1990" y="849"/>
                  </a:lnTo>
                  <a:lnTo>
                    <a:pt x="1988" y="852"/>
                  </a:lnTo>
                  <a:lnTo>
                    <a:pt x="1988" y="852"/>
                  </a:lnTo>
                  <a:lnTo>
                    <a:pt x="1988" y="852"/>
                  </a:lnTo>
                  <a:lnTo>
                    <a:pt x="1988" y="852"/>
                  </a:lnTo>
                  <a:lnTo>
                    <a:pt x="1988" y="849"/>
                  </a:lnTo>
                  <a:lnTo>
                    <a:pt x="1990" y="849"/>
                  </a:lnTo>
                  <a:lnTo>
                    <a:pt x="1990" y="847"/>
                  </a:lnTo>
                  <a:lnTo>
                    <a:pt x="1988" y="847"/>
                  </a:lnTo>
                  <a:lnTo>
                    <a:pt x="1985" y="844"/>
                  </a:lnTo>
                  <a:lnTo>
                    <a:pt x="1985" y="847"/>
                  </a:lnTo>
                  <a:lnTo>
                    <a:pt x="1982" y="849"/>
                  </a:lnTo>
                  <a:lnTo>
                    <a:pt x="1982" y="849"/>
                  </a:lnTo>
                  <a:lnTo>
                    <a:pt x="1982" y="849"/>
                  </a:lnTo>
                  <a:lnTo>
                    <a:pt x="1982" y="849"/>
                  </a:lnTo>
                  <a:lnTo>
                    <a:pt x="1982" y="849"/>
                  </a:lnTo>
                  <a:lnTo>
                    <a:pt x="1982" y="849"/>
                  </a:lnTo>
                  <a:lnTo>
                    <a:pt x="1982" y="849"/>
                  </a:lnTo>
                  <a:lnTo>
                    <a:pt x="1982" y="852"/>
                  </a:lnTo>
                  <a:lnTo>
                    <a:pt x="1982" y="852"/>
                  </a:lnTo>
                  <a:lnTo>
                    <a:pt x="1982" y="852"/>
                  </a:lnTo>
                  <a:lnTo>
                    <a:pt x="1982" y="852"/>
                  </a:lnTo>
                  <a:lnTo>
                    <a:pt x="1982" y="852"/>
                  </a:lnTo>
                  <a:lnTo>
                    <a:pt x="1982" y="852"/>
                  </a:lnTo>
                  <a:lnTo>
                    <a:pt x="1982" y="855"/>
                  </a:lnTo>
                  <a:lnTo>
                    <a:pt x="1982" y="855"/>
                  </a:lnTo>
                  <a:lnTo>
                    <a:pt x="1982" y="855"/>
                  </a:lnTo>
                  <a:lnTo>
                    <a:pt x="1982" y="855"/>
                  </a:lnTo>
                  <a:lnTo>
                    <a:pt x="1982" y="855"/>
                  </a:lnTo>
                  <a:lnTo>
                    <a:pt x="1982" y="858"/>
                  </a:lnTo>
                  <a:lnTo>
                    <a:pt x="1982" y="858"/>
                  </a:lnTo>
                  <a:lnTo>
                    <a:pt x="1982" y="858"/>
                  </a:lnTo>
                  <a:lnTo>
                    <a:pt x="1982" y="858"/>
                  </a:lnTo>
                  <a:lnTo>
                    <a:pt x="1982" y="858"/>
                  </a:lnTo>
                  <a:lnTo>
                    <a:pt x="1985" y="858"/>
                  </a:lnTo>
                  <a:lnTo>
                    <a:pt x="1985" y="858"/>
                  </a:lnTo>
                  <a:lnTo>
                    <a:pt x="1985" y="858"/>
                  </a:lnTo>
                  <a:lnTo>
                    <a:pt x="1988" y="860"/>
                  </a:lnTo>
                  <a:lnTo>
                    <a:pt x="1985" y="860"/>
                  </a:lnTo>
                  <a:lnTo>
                    <a:pt x="1982" y="860"/>
                  </a:lnTo>
                  <a:lnTo>
                    <a:pt x="1980" y="860"/>
                  </a:lnTo>
                  <a:lnTo>
                    <a:pt x="1980" y="860"/>
                  </a:lnTo>
                  <a:lnTo>
                    <a:pt x="1980" y="860"/>
                  </a:lnTo>
                  <a:lnTo>
                    <a:pt x="1980" y="860"/>
                  </a:lnTo>
                  <a:lnTo>
                    <a:pt x="1980" y="863"/>
                  </a:lnTo>
                  <a:lnTo>
                    <a:pt x="1982" y="863"/>
                  </a:lnTo>
                  <a:lnTo>
                    <a:pt x="1985" y="866"/>
                  </a:lnTo>
                  <a:lnTo>
                    <a:pt x="1985" y="868"/>
                  </a:lnTo>
                  <a:lnTo>
                    <a:pt x="1988" y="868"/>
                  </a:lnTo>
                  <a:lnTo>
                    <a:pt x="1988" y="868"/>
                  </a:lnTo>
                  <a:lnTo>
                    <a:pt x="1988" y="866"/>
                  </a:lnTo>
                  <a:lnTo>
                    <a:pt x="1988" y="866"/>
                  </a:lnTo>
                  <a:lnTo>
                    <a:pt x="1990" y="866"/>
                  </a:lnTo>
                  <a:lnTo>
                    <a:pt x="1990" y="866"/>
                  </a:lnTo>
                  <a:lnTo>
                    <a:pt x="1993" y="866"/>
                  </a:lnTo>
                  <a:lnTo>
                    <a:pt x="1993" y="868"/>
                  </a:lnTo>
                  <a:lnTo>
                    <a:pt x="1993" y="868"/>
                  </a:lnTo>
                  <a:lnTo>
                    <a:pt x="1993" y="868"/>
                  </a:lnTo>
                  <a:lnTo>
                    <a:pt x="1993" y="871"/>
                  </a:lnTo>
                  <a:lnTo>
                    <a:pt x="1993" y="871"/>
                  </a:lnTo>
                  <a:lnTo>
                    <a:pt x="1993" y="871"/>
                  </a:lnTo>
                  <a:lnTo>
                    <a:pt x="1993" y="871"/>
                  </a:lnTo>
                  <a:lnTo>
                    <a:pt x="1993" y="871"/>
                  </a:lnTo>
                  <a:lnTo>
                    <a:pt x="1993" y="871"/>
                  </a:lnTo>
                  <a:lnTo>
                    <a:pt x="1996" y="868"/>
                  </a:lnTo>
                  <a:lnTo>
                    <a:pt x="1996" y="868"/>
                  </a:lnTo>
                  <a:lnTo>
                    <a:pt x="1996" y="868"/>
                  </a:lnTo>
                  <a:lnTo>
                    <a:pt x="1998" y="868"/>
                  </a:lnTo>
                  <a:lnTo>
                    <a:pt x="1998" y="871"/>
                  </a:lnTo>
                  <a:lnTo>
                    <a:pt x="1996" y="871"/>
                  </a:lnTo>
                  <a:lnTo>
                    <a:pt x="1996" y="871"/>
                  </a:lnTo>
                  <a:lnTo>
                    <a:pt x="1993" y="874"/>
                  </a:lnTo>
                  <a:lnTo>
                    <a:pt x="1996" y="876"/>
                  </a:lnTo>
                  <a:lnTo>
                    <a:pt x="1996" y="876"/>
                  </a:lnTo>
                  <a:lnTo>
                    <a:pt x="1998" y="879"/>
                  </a:lnTo>
                  <a:lnTo>
                    <a:pt x="1998" y="879"/>
                  </a:lnTo>
                  <a:lnTo>
                    <a:pt x="2001" y="876"/>
                  </a:lnTo>
                  <a:lnTo>
                    <a:pt x="2004" y="876"/>
                  </a:lnTo>
                  <a:lnTo>
                    <a:pt x="2004" y="876"/>
                  </a:lnTo>
                  <a:lnTo>
                    <a:pt x="2004" y="879"/>
                  </a:lnTo>
                  <a:lnTo>
                    <a:pt x="2004" y="879"/>
                  </a:lnTo>
                  <a:lnTo>
                    <a:pt x="2004" y="879"/>
                  </a:lnTo>
                  <a:lnTo>
                    <a:pt x="2001" y="879"/>
                  </a:lnTo>
                  <a:lnTo>
                    <a:pt x="2001" y="879"/>
                  </a:lnTo>
                  <a:lnTo>
                    <a:pt x="2001" y="879"/>
                  </a:lnTo>
                  <a:lnTo>
                    <a:pt x="2001" y="882"/>
                  </a:lnTo>
                  <a:lnTo>
                    <a:pt x="2001" y="882"/>
                  </a:lnTo>
                  <a:lnTo>
                    <a:pt x="2001" y="882"/>
                  </a:lnTo>
                  <a:lnTo>
                    <a:pt x="1998" y="882"/>
                  </a:lnTo>
                  <a:lnTo>
                    <a:pt x="1998" y="882"/>
                  </a:lnTo>
                  <a:lnTo>
                    <a:pt x="1998" y="884"/>
                  </a:lnTo>
                  <a:lnTo>
                    <a:pt x="1998" y="884"/>
                  </a:lnTo>
                  <a:lnTo>
                    <a:pt x="1998" y="884"/>
                  </a:lnTo>
                  <a:lnTo>
                    <a:pt x="1998" y="884"/>
                  </a:lnTo>
                  <a:lnTo>
                    <a:pt x="1998" y="884"/>
                  </a:lnTo>
                  <a:lnTo>
                    <a:pt x="1998" y="884"/>
                  </a:lnTo>
                  <a:lnTo>
                    <a:pt x="1998" y="884"/>
                  </a:lnTo>
                  <a:lnTo>
                    <a:pt x="2001" y="887"/>
                  </a:lnTo>
                  <a:lnTo>
                    <a:pt x="2001" y="887"/>
                  </a:lnTo>
                  <a:lnTo>
                    <a:pt x="2001" y="887"/>
                  </a:lnTo>
                  <a:lnTo>
                    <a:pt x="2001" y="887"/>
                  </a:lnTo>
                  <a:lnTo>
                    <a:pt x="2001" y="887"/>
                  </a:lnTo>
                  <a:lnTo>
                    <a:pt x="2001" y="890"/>
                  </a:lnTo>
                  <a:lnTo>
                    <a:pt x="1998" y="890"/>
                  </a:lnTo>
                  <a:lnTo>
                    <a:pt x="1998" y="890"/>
                  </a:lnTo>
                  <a:lnTo>
                    <a:pt x="2001" y="892"/>
                  </a:lnTo>
                  <a:lnTo>
                    <a:pt x="2001" y="892"/>
                  </a:lnTo>
                  <a:lnTo>
                    <a:pt x="2001" y="892"/>
                  </a:lnTo>
                  <a:lnTo>
                    <a:pt x="2001" y="892"/>
                  </a:lnTo>
                  <a:lnTo>
                    <a:pt x="2001" y="895"/>
                  </a:lnTo>
                  <a:lnTo>
                    <a:pt x="2004" y="895"/>
                  </a:lnTo>
                  <a:lnTo>
                    <a:pt x="2006" y="890"/>
                  </a:lnTo>
                  <a:lnTo>
                    <a:pt x="2009" y="890"/>
                  </a:lnTo>
                  <a:lnTo>
                    <a:pt x="2009" y="890"/>
                  </a:lnTo>
                  <a:lnTo>
                    <a:pt x="2009" y="890"/>
                  </a:lnTo>
                  <a:lnTo>
                    <a:pt x="2009" y="892"/>
                  </a:lnTo>
                  <a:lnTo>
                    <a:pt x="2009" y="892"/>
                  </a:lnTo>
                  <a:lnTo>
                    <a:pt x="2009" y="892"/>
                  </a:lnTo>
                  <a:lnTo>
                    <a:pt x="2009" y="892"/>
                  </a:lnTo>
                  <a:lnTo>
                    <a:pt x="2009" y="895"/>
                  </a:lnTo>
                  <a:lnTo>
                    <a:pt x="2009" y="895"/>
                  </a:lnTo>
                  <a:lnTo>
                    <a:pt x="2009" y="895"/>
                  </a:lnTo>
                  <a:lnTo>
                    <a:pt x="2009" y="898"/>
                  </a:lnTo>
                  <a:lnTo>
                    <a:pt x="2009" y="898"/>
                  </a:lnTo>
                  <a:lnTo>
                    <a:pt x="2009" y="898"/>
                  </a:lnTo>
                  <a:lnTo>
                    <a:pt x="2009" y="898"/>
                  </a:lnTo>
                  <a:lnTo>
                    <a:pt x="2009" y="898"/>
                  </a:lnTo>
                  <a:lnTo>
                    <a:pt x="2009" y="898"/>
                  </a:lnTo>
                  <a:lnTo>
                    <a:pt x="2009" y="900"/>
                  </a:lnTo>
                  <a:lnTo>
                    <a:pt x="2009" y="900"/>
                  </a:lnTo>
                  <a:lnTo>
                    <a:pt x="2009" y="900"/>
                  </a:lnTo>
                  <a:lnTo>
                    <a:pt x="2009" y="900"/>
                  </a:lnTo>
                  <a:lnTo>
                    <a:pt x="2009" y="900"/>
                  </a:lnTo>
                  <a:lnTo>
                    <a:pt x="2012" y="898"/>
                  </a:lnTo>
                  <a:lnTo>
                    <a:pt x="2012" y="895"/>
                  </a:lnTo>
                  <a:lnTo>
                    <a:pt x="2012" y="892"/>
                  </a:lnTo>
                  <a:lnTo>
                    <a:pt x="2012" y="892"/>
                  </a:lnTo>
                  <a:lnTo>
                    <a:pt x="2014" y="892"/>
                  </a:lnTo>
                  <a:lnTo>
                    <a:pt x="2014" y="892"/>
                  </a:lnTo>
                  <a:lnTo>
                    <a:pt x="2014" y="892"/>
                  </a:lnTo>
                  <a:lnTo>
                    <a:pt x="2014" y="895"/>
                  </a:lnTo>
                  <a:lnTo>
                    <a:pt x="2012" y="898"/>
                  </a:lnTo>
                  <a:lnTo>
                    <a:pt x="2012" y="898"/>
                  </a:lnTo>
                  <a:lnTo>
                    <a:pt x="2012" y="900"/>
                  </a:lnTo>
                  <a:lnTo>
                    <a:pt x="2012" y="900"/>
                  </a:lnTo>
                  <a:lnTo>
                    <a:pt x="2012" y="903"/>
                  </a:lnTo>
                  <a:lnTo>
                    <a:pt x="2012" y="903"/>
                  </a:lnTo>
                  <a:lnTo>
                    <a:pt x="2014" y="906"/>
                  </a:lnTo>
                  <a:lnTo>
                    <a:pt x="2014" y="906"/>
                  </a:lnTo>
                  <a:lnTo>
                    <a:pt x="2014" y="903"/>
                  </a:lnTo>
                  <a:lnTo>
                    <a:pt x="2014" y="903"/>
                  </a:lnTo>
                  <a:lnTo>
                    <a:pt x="2017" y="903"/>
                  </a:lnTo>
                  <a:lnTo>
                    <a:pt x="2017" y="900"/>
                  </a:lnTo>
                  <a:lnTo>
                    <a:pt x="2014" y="898"/>
                  </a:lnTo>
                  <a:lnTo>
                    <a:pt x="2017" y="895"/>
                  </a:lnTo>
                  <a:lnTo>
                    <a:pt x="2017" y="895"/>
                  </a:lnTo>
                  <a:lnTo>
                    <a:pt x="2017" y="895"/>
                  </a:lnTo>
                  <a:lnTo>
                    <a:pt x="2017" y="895"/>
                  </a:lnTo>
                  <a:lnTo>
                    <a:pt x="2017" y="898"/>
                  </a:lnTo>
                  <a:lnTo>
                    <a:pt x="2017" y="898"/>
                  </a:lnTo>
                  <a:lnTo>
                    <a:pt x="2017" y="900"/>
                  </a:lnTo>
                  <a:lnTo>
                    <a:pt x="2017" y="900"/>
                  </a:lnTo>
                  <a:lnTo>
                    <a:pt x="2017" y="900"/>
                  </a:lnTo>
                  <a:lnTo>
                    <a:pt x="2020" y="900"/>
                  </a:lnTo>
                  <a:lnTo>
                    <a:pt x="2020" y="900"/>
                  </a:lnTo>
                  <a:lnTo>
                    <a:pt x="2020" y="900"/>
                  </a:lnTo>
                  <a:lnTo>
                    <a:pt x="2020" y="898"/>
                  </a:lnTo>
                  <a:lnTo>
                    <a:pt x="2020" y="898"/>
                  </a:lnTo>
                  <a:lnTo>
                    <a:pt x="2020" y="898"/>
                  </a:lnTo>
                  <a:lnTo>
                    <a:pt x="2020" y="898"/>
                  </a:lnTo>
                  <a:lnTo>
                    <a:pt x="2022" y="895"/>
                  </a:lnTo>
                  <a:lnTo>
                    <a:pt x="2020" y="900"/>
                  </a:lnTo>
                  <a:lnTo>
                    <a:pt x="2020" y="900"/>
                  </a:lnTo>
                  <a:lnTo>
                    <a:pt x="2020" y="903"/>
                  </a:lnTo>
                  <a:lnTo>
                    <a:pt x="2020" y="903"/>
                  </a:lnTo>
                  <a:lnTo>
                    <a:pt x="2017" y="906"/>
                  </a:lnTo>
                  <a:lnTo>
                    <a:pt x="2017" y="906"/>
                  </a:lnTo>
                  <a:lnTo>
                    <a:pt x="2017" y="906"/>
                  </a:lnTo>
                  <a:lnTo>
                    <a:pt x="2017" y="906"/>
                  </a:lnTo>
                  <a:lnTo>
                    <a:pt x="2017" y="906"/>
                  </a:lnTo>
                  <a:lnTo>
                    <a:pt x="2017" y="906"/>
                  </a:lnTo>
                  <a:lnTo>
                    <a:pt x="2017" y="908"/>
                  </a:lnTo>
                  <a:lnTo>
                    <a:pt x="2017" y="908"/>
                  </a:lnTo>
                  <a:lnTo>
                    <a:pt x="2017" y="908"/>
                  </a:lnTo>
                  <a:lnTo>
                    <a:pt x="2017" y="908"/>
                  </a:lnTo>
                  <a:lnTo>
                    <a:pt x="2017" y="908"/>
                  </a:lnTo>
                  <a:lnTo>
                    <a:pt x="2020" y="911"/>
                  </a:lnTo>
                  <a:lnTo>
                    <a:pt x="2020" y="911"/>
                  </a:lnTo>
                  <a:lnTo>
                    <a:pt x="2020" y="911"/>
                  </a:lnTo>
                  <a:lnTo>
                    <a:pt x="2022" y="914"/>
                  </a:lnTo>
                  <a:lnTo>
                    <a:pt x="2022" y="916"/>
                  </a:lnTo>
                  <a:lnTo>
                    <a:pt x="2025" y="916"/>
                  </a:lnTo>
                  <a:lnTo>
                    <a:pt x="2025" y="916"/>
                  </a:lnTo>
                  <a:lnTo>
                    <a:pt x="2025" y="916"/>
                  </a:lnTo>
                  <a:lnTo>
                    <a:pt x="2025" y="916"/>
                  </a:lnTo>
                  <a:lnTo>
                    <a:pt x="2025" y="919"/>
                  </a:lnTo>
                  <a:lnTo>
                    <a:pt x="2025" y="919"/>
                  </a:lnTo>
                  <a:lnTo>
                    <a:pt x="2028" y="919"/>
                  </a:lnTo>
                  <a:lnTo>
                    <a:pt x="2028" y="919"/>
                  </a:lnTo>
                  <a:lnTo>
                    <a:pt x="2028" y="919"/>
                  </a:lnTo>
                  <a:lnTo>
                    <a:pt x="2028" y="919"/>
                  </a:lnTo>
                  <a:lnTo>
                    <a:pt x="2030" y="922"/>
                  </a:lnTo>
                  <a:lnTo>
                    <a:pt x="2030" y="922"/>
                  </a:lnTo>
                  <a:lnTo>
                    <a:pt x="2030" y="922"/>
                  </a:lnTo>
                  <a:lnTo>
                    <a:pt x="2030" y="922"/>
                  </a:lnTo>
                  <a:lnTo>
                    <a:pt x="2030" y="922"/>
                  </a:lnTo>
                  <a:lnTo>
                    <a:pt x="2030" y="922"/>
                  </a:lnTo>
                  <a:lnTo>
                    <a:pt x="2030" y="922"/>
                  </a:lnTo>
                  <a:lnTo>
                    <a:pt x="2030" y="924"/>
                  </a:lnTo>
                  <a:lnTo>
                    <a:pt x="2033" y="924"/>
                  </a:lnTo>
                  <a:lnTo>
                    <a:pt x="2033" y="924"/>
                  </a:lnTo>
                  <a:lnTo>
                    <a:pt x="2033" y="924"/>
                  </a:lnTo>
                  <a:lnTo>
                    <a:pt x="2033" y="924"/>
                  </a:lnTo>
                  <a:lnTo>
                    <a:pt x="2033" y="927"/>
                  </a:lnTo>
                  <a:lnTo>
                    <a:pt x="2033" y="924"/>
                  </a:lnTo>
                  <a:lnTo>
                    <a:pt x="2036" y="924"/>
                  </a:lnTo>
                  <a:lnTo>
                    <a:pt x="2036" y="924"/>
                  </a:lnTo>
                  <a:lnTo>
                    <a:pt x="2036" y="924"/>
                  </a:lnTo>
                  <a:lnTo>
                    <a:pt x="2036" y="924"/>
                  </a:lnTo>
                  <a:lnTo>
                    <a:pt x="2036" y="924"/>
                  </a:lnTo>
                  <a:lnTo>
                    <a:pt x="2036" y="924"/>
                  </a:lnTo>
                  <a:lnTo>
                    <a:pt x="2036" y="924"/>
                  </a:lnTo>
                  <a:lnTo>
                    <a:pt x="2036" y="927"/>
                  </a:lnTo>
                  <a:lnTo>
                    <a:pt x="2036" y="927"/>
                  </a:lnTo>
                  <a:lnTo>
                    <a:pt x="2038" y="927"/>
                  </a:lnTo>
                  <a:lnTo>
                    <a:pt x="2038" y="927"/>
                  </a:lnTo>
                  <a:lnTo>
                    <a:pt x="2038" y="924"/>
                  </a:lnTo>
                  <a:lnTo>
                    <a:pt x="2038" y="924"/>
                  </a:lnTo>
                  <a:close/>
                  <a:moveTo>
                    <a:pt x="1646" y="751"/>
                  </a:moveTo>
                  <a:lnTo>
                    <a:pt x="1643" y="751"/>
                  </a:lnTo>
                  <a:lnTo>
                    <a:pt x="1643" y="753"/>
                  </a:lnTo>
                  <a:lnTo>
                    <a:pt x="1641" y="753"/>
                  </a:lnTo>
                  <a:lnTo>
                    <a:pt x="1641" y="759"/>
                  </a:lnTo>
                  <a:lnTo>
                    <a:pt x="1638" y="759"/>
                  </a:lnTo>
                  <a:lnTo>
                    <a:pt x="1638" y="759"/>
                  </a:lnTo>
                  <a:lnTo>
                    <a:pt x="1638" y="764"/>
                  </a:lnTo>
                  <a:lnTo>
                    <a:pt x="1638" y="764"/>
                  </a:lnTo>
                  <a:lnTo>
                    <a:pt x="1638" y="761"/>
                  </a:lnTo>
                  <a:lnTo>
                    <a:pt x="1643" y="756"/>
                  </a:lnTo>
                  <a:lnTo>
                    <a:pt x="1643" y="756"/>
                  </a:lnTo>
                  <a:lnTo>
                    <a:pt x="1643" y="756"/>
                  </a:lnTo>
                  <a:lnTo>
                    <a:pt x="1643" y="753"/>
                  </a:lnTo>
                  <a:lnTo>
                    <a:pt x="1643" y="753"/>
                  </a:lnTo>
                  <a:lnTo>
                    <a:pt x="1649" y="751"/>
                  </a:lnTo>
                  <a:lnTo>
                    <a:pt x="1649" y="748"/>
                  </a:lnTo>
                  <a:lnTo>
                    <a:pt x="1649" y="748"/>
                  </a:lnTo>
                  <a:lnTo>
                    <a:pt x="1649" y="748"/>
                  </a:lnTo>
                  <a:lnTo>
                    <a:pt x="1649" y="748"/>
                  </a:lnTo>
                  <a:lnTo>
                    <a:pt x="1646" y="748"/>
                  </a:lnTo>
                  <a:lnTo>
                    <a:pt x="1646" y="751"/>
                  </a:lnTo>
                  <a:close/>
                  <a:moveTo>
                    <a:pt x="1614" y="732"/>
                  </a:moveTo>
                  <a:lnTo>
                    <a:pt x="1614" y="732"/>
                  </a:lnTo>
                  <a:lnTo>
                    <a:pt x="1614" y="732"/>
                  </a:lnTo>
                  <a:lnTo>
                    <a:pt x="1614" y="732"/>
                  </a:lnTo>
                  <a:lnTo>
                    <a:pt x="1614" y="732"/>
                  </a:lnTo>
                  <a:lnTo>
                    <a:pt x="1614" y="729"/>
                  </a:lnTo>
                  <a:lnTo>
                    <a:pt x="1614" y="729"/>
                  </a:lnTo>
                  <a:lnTo>
                    <a:pt x="1614" y="727"/>
                  </a:lnTo>
                  <a:lnTo>
                    <a:pt x="1614" y="727"/>
                  </a:lnTo>
                  <a:lnTo>
                    <a:pt x="1614" y="724"/>
                  </a:lnTo>
                  <a:lnTo>
                    <a:pt x="1614" y="727"/>
                  </a:lnTo>
                  <a:lnTo>
                    <a:pt x="1611" y="727"/>
                  </a:lnTo>
                  <a:lnTo>
                    <a:pt x="1609" y="732"/>
                  </a:lnTo>
                  <a:lnTo>
                    <a:pt x="1609" y="732"/>
                  </a:lnTo>
                  <a:lnTo>
                    <a:pt x="1611" y="732"/>
                  </a:lnTo>
                  <a:lnTo>
                    <a:pt x="1611" y="732"/>
                  </a:lnTo>
                  <a:lnTo>
                    <a:pt x="1611" y="732"/>
                  </a:lnTo>
                  <a:lnTo>
                    <a:pt x="1611" y="732"/>
                  </a:lnTo>
                  <a:lnTo>
                    <a:pt x="1614" y="732"/>
                  </a:lnTo>
                  <a:lnTo>
                    <a:pt x="1614" y="732"/>
                  </a:lnTo>
                  <a:close/>
                  <a:moveTo>
                    <a:pt x="1542" y="743"/>
                  </a:moveTo>
                  <a:lnTo>
                    <a:pt x="1539" y="743"/>
                  </a:lnTo>
                  <a:lnTo>
                    <a:pt x="1539" y="743"/>
                  </a:lnTo>
                  <a:lnTo>
                    <a:pt x="1537" y="743"/>
                  </a:lnTo>
                  <a:lnTo>
                    <a:pt x="1537" y="745"/>
                  </a:lnTo>
                  <a:lnTo>
                    <a:pt x="1537" y="745"/>
                  </a:lnTo>
                  <a:lnTo>
                    <a:pt x="1537" y="745"/>
                  </a:lnTo>
                  <a:lnTo>
                    <a:pt x="1537" y="745"/>
                  </a:lnTo>
                  <a:lnTo>
                    <a:pt x="1537" y="745"/>
                  </a:lnTo>
                  <a:lnTo>
                    <a:pt x="1537" y="748"/>
                  </a:lnTo>
                  <a:lnTo>
                    <a:pt x="1537" y="745"/>
                  </a:lnTo>
                  <a:lnTo>
                    <a:pt x="1539" y="745"/>
                  </a:lnTo>
                  <a:lnTo>
                    <a:pt x="1542" y="743"/>
                  </a:lnTo>
                  <a:lnTo>
                    <a:pt x="1542" y="743"/>
                  </a:lnTo>
                  <a:lnTo>
                    <a:pt x="1542" y="743"/>
                  </a:lnTo>
                  <a:lnTo>
                    <a:pt x="1542" y="743"/>
                  </a:lnTo>
                  <a:lnTo>
                    <a:pt x="1542" y="743"/>
                  </a:lnTo>
                  <a:close/>
                  <a:moveTo>
                    <a:pt x="1555" y="700"/>
                  </a:moveTo>
                  <a:lnTo>
                    <a:pt x="1555" y="700"/>
                  </a:lnTo>
                  <a:lnTo>
                    <a:pt x="1555" y="700"/>
                  </a:lnTo>
                  <a:lnTo>
                    <a:pt x="1555" y="700"/>
                  </a:lnTo>
                  <a:lnTo>
                    <a:pt x="1555" y="700"/>
                  </a:lnTo>
                  <a:lnTo>
                    <a:pt x="1555" y="700"/>
                  </a:lnTo>
                  <a:lnTo>
                    <a:pt x="1555" y="700"/>
                  </a:lnTo>
                  <a:lnTo>
                    <a:pt x="1555" y="700"/>
                  </a:lnTo>
                  <a:lnTo>
                    <a:pt x="1555" y="700"/>
                  </a:lnTo>
                  <a:lnTo>
                    <a:pt x="1555" y="700"/>
                  </a:lnTo>
                  <a:lnTo>
                    <a:pt x="1555" y="700"/>
                  </a:lnTo>
                  <a:lnTo>
                    <a:pt x="1555" y="700"/>
                  </a:lnTo>
                  <a:lnTo>
                    <a:pt x="1555" y="700"/>
                  </a:lnTo>
                  <a:lnTo>
                    <a:pt x="1555" y="700"/>
                  </a:lnTo>
                  <a:lnTo>
                    <a:pt x="1555" y="700"/>
                  </a:lnTo>
                  <a:close/>
                  <a:moveTo>
                    <a:pt x="1526" y="761"/>
                  </a:moveTo>
                  <a:lnTo>
                    <a:pt x="1526" y="759"/>
                  </a:lnTo>
                  <a:lnTo>
                    <a:pt x="1526" y="759"/>
                  </a:lnTo>
                  <a:lnTo>
                    <a:pt x="1526" y="759"/>
                  </a:lnTo>
                  <a:lnTo>
                    <a:pt x="1526" y="759"/>
                  </a:lnTo>
                  <a:lnTo>
                    <a:pt x="1526" y="759"/>
                  </a:lnTo>
                  <a:lnTo>
                    <a:pt x="1526" y="759"/>
                  </a:lnTo>
                  <a:lnTo>
                    <a:pt x="1523" y="759"/>
                  </a:lnTo>
                  <a:lnTo>
                    <a:pt x="1523" y="761"/>
                  </a:lnTo>
                  <a:lnTo>
                    <a:pt x="1521" y="764"/>
                  </a:lnTo>
                  <a:lnTo>
                    <a:pt x="1521" y="767"/>
                  </a:lnTo>
                  <a:lnTo>
                    <a:pt x="1521" y="767"/>
                  </a:lnTo>
                  <a:lnTo>
                    <a:pt x="1521" y="767"/>
                  </a:lnTo>
                  <a:lnTo>
                    <a:pt x="1523" y="767"/>
                  </a:lnTo>
                  <a:lnTo>
                    <a:pt x="1523" y="767"/>
                  </a:lnTo>
                  <a:lnTo>
                    <a:pt x="1526" y="764"/>
                  </a:lnTo>
                  <a:lnTo>
                    <a:pt x="1526" y="764"/>
                  </a:lnTo>
                  <a:lnTo>
                    <a:pt x="1526" y="761"/>
                  </a:lnTo>
                  <a:close/>
                  <a:moveTo>
                    <a:pt x="1534" y="719"/>
                  </a:moveTo>
                  <a:lnTo>
                    <a:pt x="1534" y="719"/>
                  </a:lnTo>
                  <a:lnTo>
                    <a:pt x="1534" y="716"/>
                  </a:lnTo>
                  <a:lnTo>
                    <a:pt x="1534" y="719"/>
                  </a:lnTo>
                  <a:lnTo>
                    <a:pt x="1534" y="719"/>
                  </a:lnTo>
                  <a:lnTo>
                    <a:pt x="1534" y="719"/>
                  </a:lnTo>
                  <a:lnTo>
                    <a:pt x="1537" y="719"/>
                  </a:lnTo>
                  <a:lnTo>
                    <a:pt x="1537" y="719"/>
                  </a:lnTo>
                  <a:lnTo>
                    <a:pt x="1537" y="719"/>
                  </a:lnTo>
                  <a:lnTo>
                    <a:pt x="1539" y="719"/>
                  </a:lnTo>
                  <a:lnTo>
                    <a:pt x="1539" y="719"/>
                  </a:lnTo>
                  <a:lnTo>
                    <a:pt x="1539" y="716"/>
                  </a:lnTo>
                  <a:lnTo>
                    <a:pt x="1539" y="716"/>
                  </a:lnTo>
                  <a:lnTo>
                    <a:pt x="1539" y="716"/>
                  </a:lnTo>
                  <a:lnTo>
                    <a:pt x="1539" y="716"/>
                  </a:lnTo>
                  <a:lnTo>
                    <a:pt x="1539" y="716"/>
                  </a:lnTo>
                  <a:lnTo>
                    <a:pt x="1539" y="716"/>
                  </a:lnTo>
                  <a:lnTo>
                    <a:pt x="1537" y="716"/>
                  </a:lnTo>
                  <a:lnTo>
                    <a:pt x="1537" y="716"/>
                  </a:lnTo>
                  <a:lnTo>
                    <a:pt x="1537" y="716"/>
                  </a:lnTo>
                  <a:lnTo>
                    <a:pt x="1537" y="713"/>
                  </a:lnTo>
                  <a:lnTo>
                    <a:pt x="1537" y="713"/>
                  </a:lnTo>
                  <a:lnTo>
                    <a:pt x="1537" y="713"/>
                  </a:lnTo>
                  <a:lnTo>
                    <a:pt x="1534" y="716"/>
                  </a:lnTo>
                  <a:lnTo>
                    <a:pt x="1534" y="716"/>
                  </a:lnTo>
                  <a:lnTo>
                    <a:pt x="1534" y="716"/>
                  </a:lnTo>
                  <a:lnTo>
                    <a:pt x="1534" y="716"/>
                  </a:lnTo>
                  <a:lnTo>
                    <a:pt x="1534" y="716"/>
                  </a:lnTo>
                  <a:lnTo>
                    <a:pt x="1534" y="716"/>
                  </a:lnTo>
                  <a:lnTo>
                    <a:pt x="1534" y="719"/>
                  </a:lnTo>
                  <a:lnTo>
                    <a:pt x="1534" y="719"/>
                  </a:lnTo>
                  <a:close/>
                  <a:moveTo>
                    <a:pt x="1582" y="796"/>
                  </a:moveTo>
                  <a:lnTo>
                    <a:pt x="1582" y="796"/>
                  </a:lnTo>
                  <a:lnTo>
                    <a:pt x="1582" y="799"/>
                  </a:lnTo>
                  <a:lnTo>
                    <a:pt x="1582" y="799"/>
                  </a:lnTo>
                  <a:lnTo>
                    <a:pt x="1582" y="796"/>
                  </a:lnTo>
                  <a:lnTo>
                    <a:pt x="1582" y="796"/>
                  </a:lnTo>
                  <a:lnTo>
                    <a:pt x="1582" y="796"/>
                  </a:lnTo>
                  <a:lnTo>
                    <a:pt x="1582" y="796"/>
                  </a:lnTo>
                  <a:close/>
                  <a:moveTo>
                    <a:pt x="1550" y="743"/>
                  </a:moveTo>
                  <a:lnTo>
                    <a:pt x="1550" y="743"/>
                  </a:lnTo>
                  <a:lnTo>
                    <a:pt x="1553" y="737"/>
                  </a:lnTo>
                  <a:lnTo>
                    <a:pt x="1553" y="737"/>
                  </a:lnTo>
                  <a:lnTo>
                    <a:pt x="1547" y="737"/>
                  </a:lnTo>
                  <a:lnTo>
                    <a:pt x="1547" y="737"/>
                  </a:lnTo>
                  <a:lnTo>
                    <a:pt x="1550" y="737"/>
                  </a:lnTo>
                  <a:lnTo>
                    <a:pt x="1550" y="735"/>
                  </a:lnTo>
                  <a:lnTo>
                    <a:pt x="1547" y="735"/>
                  </a:lnTo>
                  <a:lnTo>
                    <a:pt x="1547" y="735"/>
                  </a:lnTo>
                  <a:lnTo>
                    <a:pt x="1545" y="737"/>
                  </a:lnTo>
                  <a:lnTo>
                    <a:pt x="1545" y="737"/>
                  </a:lnTo>
                  <a:lnTo>
                    <a:pt x="1545" y="737"/>
                  </a:lnTo>
                  <a:lnTo>
                    <a:pt x="1547" y="740"/>
                  </a:lnTo>
                  <a:lnTo>
                    <a:pt x="1547" y="740"/>
                  </a:lnTo>
                  <a:lnTo>
                    <a:pt x="1547" y="740"/>
                  </a:lnTo>
                  <a:lnTo>
                    <a:pt x="1547" y="740"/>
                  </a:lnTo>
                  <a:lnTo>
                    <a:pt x="1547" y="740"/>
                  </a:lnTo>
                  <a:lnTo>
                    <a:pt x="1547" y="740"/>
                  </a:lnTo>
                  <a:lnTo>
                    <a:pt x="1547" y="740"/>
                  </a:lnTo>
                  <a:lnTo>
                    <a:pt x="1545" y="740"/>
                  </a:lnTo>
                  <a:lnTo>
                    <a:pt x="1545" y="743"/>
                  </a:lnTo>
                  <a:lnTo>
                    <a:pt x="1545" y="743"/>
                  </a:lnTo>
                  <a:lnTo>
                    <a:pt x="1545" y="743"/>
                  </a:lnTo>
                  <a:lnTo>
                    <a:pt x="1545" y="743"/>
                  </a:lnTo>
                  <a:lnTo>
                    <a:pt x="1547" y="743"/>
                  </a:lnTo>
                  <a:lnTo>
                    <a:pt x="1547" y="743"/>
                  </a:lnTo>
                  <a:lnTo>
                    <a:pt x="1547" y="745"/>
                  </a:lnTo>
                  <a:lnTo>
                    <a:pt x="1547" y="745"/>
                  </a:lnTo>
                  <a:lnTo>
                    <a:pt x="1545" y="745"/>
                  </a:lnTo>
                  <a:lnTo>
                    <a:pt x="1545" y="745"/>
                  </a:lnTo>
                  <a:lnTo>
                    <a:pt x="1545" y="745"/>
                  </a:lnTo>
                  <a:lnTo>
                    <a:pt x="1545" y="745"/>
                  </a:lnTo>
                  <a:lnTo>
                    <a:pt x="1545" y="745"/>
                  </a:lnTo>
                  <a:lnTo>
                    <a:pt x="1542" y="745"/>
                  </a:lnTo>
                  <a:lnTo>
                    <a:pt x="1542" y="745"/>
                  </a:lnTo>
                  <a:lnTo>
                    <a:pt x="1542" y="748"/>
                  </a:lnTo>
                  <a:lnTo>
                    <a:pt x="1542" y="751"/>
                  </a:lnTo>
                  <a:lnTo>
                    <a:pt x="1542" y="751"/>
                  </a:lnTo>
                  <a:lnTo>
                    <a:pt x="1542" y="751"/>
                  </a:lnTo>
                  <a:lnTo>
                    <a:pt x="1542" y="753"/>
                  </a:lnTo>
                  <a:lnTo>
                    <a:pt x="1539" y="753"/>
                  </a:lnTo>
                  <a:lnTo>
                    <a:pt x="1537" y="759"/>
                  </a:lnTo>
                  <a:lnTo>
                    <a:pt x="1537" y="759"/>
                  </a:lnTo>
                  <a:lnTo>
                    <a:pt x="1531" y="761"/>
                  </a:lnTo>
                  <a:lnTo>
                    <a:pt x="1531" y="764"/>
                  </a:lnTo>
                  <a:lnTo>
                    <a:pt x="1531" y="764"/>
                  </a:lnTo>
                  <a:lnTo>
                    <a:pt x="1531" y="764"/>
                  </a:lnTo>
                  <a:lnTo>
                    <a:pt x="1531" y="764"/>
                  </a:lnTo>
                  <a:lnTo>
                    <a:pt x="1531" y="767"/>
                  </a:lnTo>
                  <a:lnTo>
                    <a:pt x="1529" y="767"/>
                  </a:lnTo>
                  <a:lnTo>
                    <a:pt x="1529" y="767"/>
                  </a:lnTo>
                  <a:lnTo>
                    <a:pt x="1529" y="769"/>
                  </a:lnTo>
                  <a:lnTo>
                    <a:pt x="1529" y="769"/>
                  </a:lnTo>
                  <a:lnTo>
                    <a:pt x="1529" y="769"/>
                  </a:lnTo>
                  <a:lnTo>
                    <a:pt x="1531" y="769"/>
                  </a:lnTo>
                  <a:lnTo>
                    <a:pt x="1529" y="772"/>
                  </a:lnTo>
                  <a:lnTo>
                    <a:pt x="1529" y="772"/>
                  </a:lnTo>
                  <a:lnTo>
                    <a:pt x="1529" y="772"/>
                  </a:lnTo>
                  <a:lnTo>
                    <a:pt x="1526" y="772"/>
                  </a:lnTo>
                  <a:lnTo>
                    <a:pt x="1526" y="772"/>
                  </a:lnTo>
                  <a:lnTo>
                    <a:pt x="1526" y="775"/>
                  </a:lnTo>
                  <a:lnTo>
                    <a:pt x="1526" y="777"/>
                  </a:lnTo>
                  <a:lnTo>
                    <a:pt x="1526" y="777"/>
                  </a:lnTo>
                  <a:lnTo>
                    <a:pt x="1526" y="777"/>
                  </a:lnTo>
                  <a:lnTo>
                    <a:pt x="1526" y="777"/>
                  </a:lnTo>
                  <a:lnTo>
                    <a:pt x="1526" y="777"/>
                  </a:lnTo>
                  <a:lnTo>
                    <a:pt x="1529" y="777"/>
                  </a:lnTo>
                  <a:lnTo>
                    <a:pt x="1529" y="777"/>
                  </a:lnTo>
                  <a:lnTo>
                    <a:pt x="1531" y="775"/>
                  </a:lnTo>
                  <a:lnTo>
                    <a:pt x="1534" y="775"/>
                  </a:lnTo>
                  <a:lnTo>
                    <a:pt x="1534" y="775"/>
                  </a:lnTo>
                  <a:lnTo>
                    <a:pt x="1534" y="772"/>
                  </a:lnTo>
                  <a:lnTo>
                    <a:pt x="1537" y="772"/>
                  </a:lnTo>
                  <a:lnTo>
                    <a:pt x="1539" y="772"/>
                  </a:lnTo>
                  <a:lnTo>
                    <a:pt x="1539" y="772"/>
                  </a:lnTo>
                  <a:lnTo>
                    <a:pt x="1539" y="769"/>
                  </a:lnTo>
                  <a:lnTo>
                    <a:pt x="1539" y="769"/>
                  </a:lnTo>
                  <a:lnTo>
                    <a:pt x="1539" y="767"/>
                  </a:lnTo>
                  <a:lnTo>
                    <a:pt x="1539" y="767"/>
                  </a:lnTo>
                  <a:lnTo>
                    <a:pt x="1539" y="767"/>
                  </a:lnTo>
                  <a:lnTo>
                    <a:pt x="1539" y="767"/>
                  </a:lnTo>
                  <a:lnTo>
                    <a:pt x="1539" y="767"/>
                  </a:lnTo>
                  <a:lnTo>
                    <a:pt x="1539" y="764"/>
                  </a:lnTo>
                  <a:lnTo>
                    <a:pt x="1539" y="764"/>
                  </a:lnTo>
                  <a:lnTo>
                    <a:pt x="1542" y="764"/>
                  </a:lnTo>
                  <a:lnTo>
                    <a:pt x="1542" y="761"/>
                  </a:lnTo>
                  <a:lnTo>
                    <a:pt x="1542" y="761"/>
                  </a:lnTo>
                  <a:lnTo>
                    <a:pt x="1542" y="761"/>
                  </a:lnTo>
                  <a:lnTo>
                    <a:pt x="1542" y="761"/>
                  </a:lnTo>
                  <a:lnTo>
                    <a:pt x="1542" y="759"/>
                  </a:lnTo>
                  <a:lnTo>
                    <a:pt x="1545" y="756"/>
                  </a:lnTo>
                  <a:lnTo>
                    <a:pt x="1547" y="753"/>
                  </a:lnTo>
                  <a:lnTo>
                    <a:pt x="1553" y="745"/>
                  </a:lnTo>
                  <a:lnTo>
                    <a:pt x="1553" y="743"/>
                  </a:lnTo>
                  <a:lnTo>
                    <a:pt x="1555" y="740"/>
                  </a:lnTo>
                  <a:lnTo>
                    <a:pt x="1555" y="740"/>
                  </a:lnTo>
                  <a:lnTo>
                    <a:pt x="1555" y="740"/>
                  </a:lnTo>
                  <a:lnTo>
                    <a:pt x="1555" y="740"/>
                  </a:lnTo>
                  <a:lnTo>
                    <a:pt x="1555" y="740"/>
                  </a:lnTo>
                  <a:lnTo>
                    <a:pt x="1555" y="740"/>
                  </a:lnTo>
                  <a:lnTo>
                    <a:pt x="1550" y="743"/>
                  </a:lnTo>
                  <a:close/>
                  <a:moveTo>
                    <a:pt x="1542" y="700"/>
                  </a:moveTo>
                  <a:lnTo>
                    <a:pt x="1542" y="700"/>
                  </a:lnTo>
                  <a:lnTo>
                    <a:pt x="1542" y="700"/>
                  </a:lnTo>
                  <a:lnTo>
                    <a:pt x="1539" y="700"/>
                  </a:lnTo>
                  <a:lnTo>
                    <a:pt x="1539" y="700"/>
                  </a:lnTo>
                  <a:lnTo>
                    <a:pt x="1539" y="703"/>
                  </a:lnTo>
                  <a:lnTo>
                    <a:pt x="1539" y="703"/>
                  </a:lnTo>
                  <a:lnTo>
                    <a:pt x="1539" y="703"/>
                  </a:lnTo>
                  <a:lnTo>
                    <a:pt x="1539" y="703"/>
                  </a:lnTo>
                  <a:lnTo>
                    <a:pt x="1539" y="703"/>
                  </a:lnTo>
                  <a:lnTo>
                    <a:pt x="1539" y="703"/>
                  </a:lnTo>
                  <a:lnTo>
                    <a:pt x="1539" y="703"/>
                  </a:lnTo>
                  <a:lnTo>
                    <a:pt x="1539" y="703"/>
                  </a:lnTo>
                  <a:lnTo>
                    <a:pt x="1539" y="703"/>
                  </a:lnTo>
                  <a:lnTo>
                    <a:pt x="1539" y="703"/>
                  </a:lnTo>
                  <a:lnTo>
                    <a:pt x="1542" y="703"/>
                  </a:lnTo>
                  <a:lnTo>
                    <a:pt x="1542" y="703"/>
                  </a:lnTo>
                  <a:lnTo>
                    <a:pt x="1542" y="703"/>
                  </a:lnTo>
                  <a:lnTo>
                    <a:pt x="1542" y="703"/>
                  </a:lnTo>
                  <a:lnTo>
                    <a:pt x="1542" y="703"/>
                  </a:lnTo>
                  <a:lnTo>
                    <a:pt x="1542" y="703"/>
                  </a:lnTo>
                  <a:lnTo>
                    <a:pt x="1542" y="703"/>
                  </a:lnTo>
                  <a:lnTo>
                    <a:pt x="1542" y="703"/>
                  </a:lnTo>
                  <a:lnTo>
                    <a:pt x="1542" y="703"/>
                  </a:lnTo>
                  <a:lnTo>
                    <a:pt x="1542" y="703"/>
                  </a:lnTo>
                  <a:lnTo>
                    <a:pt x="1542" y="703"/>
                  </a:lnTo>
                  <a:lnTo>
                    <a:pt x="1545" y="703"/>
                  </a:lnTo>
                  <a:lnTo>
                    <a:pt x="1545" y="703"/>
                  </a:lnTo>
                  <a:lnTo>
                    <a:pt x="1545" y="703"/>
                  </a:lnTo>
                  <a:lnTo>
                    <a:pt x="1547" y="700"/>
                  </a:lnTo>
                  <a:lnTo>
                    <a:pt x="1545" y="700"/>
                  </a:lnTo>
                  <a:lnTo>
                    <a:pt x="1545" y="700"/>
                  </a:lnTo>
                  <a:lnTo>
                    <a:pt x="1545" y="700"/>
                  </a:lnTo>
                  <a:lnTo>
                    <a:pt x="1545" y="700"/>
                  </a:lnTo>
                  <a:lnTo>
                    <a:pt x="1545" y="700"/>
                  </a:lnTo>
                  <a:lnTo>
                    <a:pt x="1545" y="700"/>
                  </a:lnTo>
                  <a:lnTo>
                    <a:pt x="1545" y="703"/>
                  </a:lnTo>
                  <a:lnTo>
                    <a:pt x="1545" y="703"/>
                  </a:lnTo>
                  <a:lnTo>
                    <a:pt x="1545" y="703"/>
                  </a:lnTo>
                  <a:lnTo>
                    <a:pt x="1545" y="703"/>
                  </a:lnTo>
                  <a:lnTo>
                    <a:pt x="1545" y="700"/>
                  </a:lnTo>
                  <a:lnTo>
                    <a:pt x="1545" y="700"/>
                  </a:lnTo>
                  <a:lnTo>
                    <a:pt x="1545" y="700"/>
                  </a:lnTo>
                  <a:lnTo>
                    <a:pt x="1545" y="700"/>
                  </a:lnTo>
                  <a:lnTo>
                    <a:pt x="1545" y="700"/>
                  </a:lnTo>
                  <a:lnTo>
                    <a:pt x="1545" y="700"/>
                  </a:lnTo>
                  <a:lnTo>
                    <a:pt x="1545" y="700"/>
                  </a:lnTo>
                  <a:lnTo>
                    <a:pt x="1542" y="700"/>
                  </a:lnTo>
                  <a:lnTo>
                    <a:pt x="1542" y="700"/>
                  </a:lnTo>
                  <a:lnTo>
                    <a:pt x="1542" y="700"/>
                  </a:lnTo>
                  <a:lnTo>
                    <a:pt x="1542" y="700"/>
                  </a:lnTo>
                  <a:lnTo>
                    <a:pt x="1542" y="700"/>
                  </a:lnTo>
                  <a:lnTo>
                    <a:pt x="1542" y="700"/>
                  </a:lnTo>
                  <a:lnTo>
                    <a:pt x="1542" y="700"/>
                  </a:lnTo>
                  <a:lnTo>
                    <a:pt x="1542" y="700"/>
                  </a:lnTo>
                  <a:lnTo>
                    <a:pt x="1542" y="700"/>
                  </a:lnTo>
                  <a:lnTo>
                    <a:pt x="1542" y="700"/>
                  </a:lnTo>
                  <a:lnTo>
                    <a:pt x="1542" y="700"/>
                  </a:lnTo>
                  <a:close/>
                  <a:moveTo>
                    <a:pt x="1603" y="735"/>
                  </a:moveTo>
                  <a:lnTo>
                    <a:pt x="1601" y="735"/>
                  </a:lnTo>
                  <a:lnTo>
                    <a:pt x="1601" y="735"/>
                  </a:lnTo>
                  <a:lnTo>
                    <a:pt x="1601" y="735"/>
                  </a:lnTo>
                  <a:lnTo>
                    <a:pt x="1601" y="735"/>
                  </a:lnTo>
                  <a:lnTo>
                    <a:pt x="1601" y="735"/>
                  </a:lnTo>
                  <a:lnTo>
                    <a:pt x="1601" y="735"/>
                  </a:lnTo>
                  <a:lnTo>
                    <a:pt x="1601" y="735"/>
                  </a:lnTo>
                  <a:lnTo>
                    <a:pt x="1601" y="732"/>
                  </a:lnTo>
                  <a:lnTo>
                    <a:pt x="1601" y="732"/>
                  </a:lnTo>
                  <a:lnTo>
                    <a:pt x="1598" y="732"/>
                  </a:lnTo>
                  <a:lnTo>
                    <a:pt x="1598" y="732"/>
                  </a:lnTo>
                  <a:lnTo>
                    <a:pt x="1598" y="732"/>
                  </a:lnTo>
                  <a:lnTo>
                    <a:pt x="1598" y="732"/>
                  </a:lnTo>
                  <a:lnTo>
                    <a:pt x="1598" y="732"/>
                  </a:lnTo>
                  <a:lnTo>
                    <a:pt x="1601" y="735"/>
                  </a:lnTo>
                  <a:lnTo>
                    <a:pt x="1601" y="735"/>
                  </a:lnTo>
                  <a:lnTo>
                    <a:pt x="1601" y="735"/>
                  </a:lnTo>
                  <a:lnTo>
                    <a:pt x="1601" y="735"/>
                  </a:lnTo>
                  <a:lnTo>
                    <a:pt x="1601" y="735"/>
                  </a:lnTo>
                  <a:lnTo>
                    <a:pt x="1601" y="735"/>
                  </a:lnTo>
                  <a:lnTo>
                    <a:pt x="1601" y="735"/>
                  </a:lnTo>
                  <a:lnTo>
                    <a:pt x="1603" y="735"/>
                  </a:lnTo>
                  <a:lnTo>
                    <a:pt x="1603" y="735"/>
                  </a:lnTo>
                  <a:lnTo>
                    <a:pt x="1603" y="735"/>
                  </a:lnTo>
                  <a:lnTo>
                    <a:pt x="1603" y="735"/>
                  </a:lnTo>
                  <a:close/>
                  <a:moveTo>
                    <a:pt x="1611" y="737"/>
                  </a:moveTo>
                  <a:lnTo>
                    <a:pt x="1609" y="737"/>
                  </a:lnTo>
                  <a:lnTo>
                    <a:pt x="1609" y="735"/>
                  </a:lnTo>
                  <a:lnTo>
                    <a:pt x="1606" y="735"/>
                  </a:lnTo>
                  <a:lnTo>
                    <a:pt x="1606" y="735"/>
                  </a:lnTo>
                  <a:lnTo>
                    <a:pt x="1606" y="735"/>
                  </a:lnTo>
                  <a:lnTo>
                    <a:pt x="1606" y="735"/>
                  </a:lnTo>
                  <a:lnTo>
                    <a:pt x="1609" y="737"/>
                  </a:lnTo>
                  <a:lnTo>
                    <a:pt x="1609" y="737"/>
                  </a:lnTo>
                  <a:lnTo>
                    <a:pt x="1609" y="737"/>
                  </a:lnTo>
                  <a:lnTo>
                    <a:pt x="1611" y="737"/>
                  </a:lnTo>
                  <a:lnTo>
                    <a:pt x="1611" y="737"/>
                  </a:lnTo>
                  <a:lnTo>
                    <a:pt x="1611" y="737"/>
                  </a:lnTo>
                  <a:lnTo>
                    <a:pt x="1611" y="737"/>
                  </a:lnTo>
                  <a:lnTo>
                    <a:pt x="1611" y="737"/>
                  </a:lnTo>
                  <a:close/>
                  <a:moveTo>
                    <a:pt x="1593" y="732"/>
                  </a:moveTo>
                  <a:lnTo>
                    <a:pt x="1595" y="732"/>
                  </a:lnTo>
                  <a:lnTo>
                    <a:pt x="1595" y="732"/>
                  </a:lnTo>
                  <a:lnTo>
                    <a:pt x="1595" y="732"/>
                  </a:lnTo>
                  <a:lnTo>
                    <a:pt x="1595" y="732"/>
                  </a:lnTo>
                  <a:lnTo>
                    <a:pt x="1593" y="732"/>
                  </a:lnTo>
                  <a:close/>
                  <a:moveTo>
                    <a:pt x="1593" y="732"/>
                  </a:moveTo>
                  <a:lnTo>
                    <a:pt x="1593" y="732"/>
                  </a:lnTo>
                  <a:lnTo>
                    <a:pt x="1593" y="732"/>
                  </a:lnTo>
                  <a:lnTo>
                    <a:pt x="1593" y="732"/>
                  </a:lnTo>
                  <a:lnTo>
                    <a:pt x="1593" y="732"/>
                  </a:lnTo>
                  <a:close/>
                  <a:moveTo>
                    <a:pt x="1587" y="719"/>
                  </a:moveTo>
                  <a:lnTo>
                    <a:pt x="1590" y="716"/>
                  </a:lnTo>
                  <a:lnTo>
                    <a:pt x="1590" y="716"/>
                  </a:lnTo>
                  <a:lnTo>
                    <a:pt x="1593" y="716"/>
                  </a:lnTo>
                  <a:lnTo>
                    <a:pt x="1593" y="716"/>
                  </a:lnTo>
                  <a:lnTo>
                    <a:pt x="1593" y="716"/>
                  </a:lnTo>
                  <a:lnTo>
                    <a:pt x="1593" y="716"/>
                  </a:lnTo>
                  <a:lnTo>
                    <a:pt x="1590" y="716"/>
                  </a:lnTo>
                  <a:lnTo>
                    <a:pt x="1590" y="713"/>
                  </a:lnTo>
                  <a:lnTo>
                    <a:pt x="1593" y="713"/>
                  </a:lnTo>
                  <a:lnTo>
                    <a:pt x="1590" y="713"/>
                  </a:lnTo>
                  <a:lnTo>
                    <a:pt x="1590" y="716"/>
                  </a:lnTo>
                  <a:lnTo>
                    <a:pt x="1587" y="716"/>
                  </a:lnTo>
                  <a:lnTo>
                    <a:pt x="1585" y="716"/>
                  </a:lnTo>
                  <a:lnTo>
                    <a:pt x="1585" y="719"/>
                  </a:lnTo>
                  <a:lnTo>
                    <a:pt x="1585" y="719"/>
                  </a:lnTo>
                  <a:lnTo>
                    <a:pt x="1585" y="719"/>
                  </a:lnTo>
                  <a:lnTo>
                    <a:pt x="1585" y="719"/>
                  </a:lnTo>
                  <a:lnTo>
                    <a:pt x="1582" y="719"/>
                  </a:lnTo>
                  <a:lnTo>
                    <a:pt x="1579" y="721"/>
                  </a:lnTo>
                  <a:lnTo>
                    <a:pt x="1582" y="721"/>
                  </a:lnTo>
                  <a:lnTo>
                    <a:pt x="1582" y="721"/>
                  </a:lnTo>
                  <a:lnTo>
                    <a:pt x="1579" y="721"/>
                  </a:lnTo>
                  <a:lnTo>
                    <a:pt x="1574" y="724"/>
                  </a:lnTo>
                  <a:lnTo>
                    <a:pt x="1574" y="724"/>
                  </a:lnTo>
                  <a:lnTo>
                    <a:pt x="1574" y="724"/>
                  </a:lnTo>
                  <a:lnTo>
                    <a:pt x="1574" y="727"/>
                  </a:lnTo>
                  <a:lnTo>
                    <a:pt x="1574" y="727"/>
                  </a:lnTo>
                  <a:lnTo>
                    <a:pt x="1582" y="724"/>
                  </a:lnTo>
                  <a:lnTo>
                    <a:pt x="1582" y="724"/>
                  </a:lnTo>
                  <a:lnTo>
                    <a:pt x="1585" y="721"/>
                  </a:lnTo>
                  <a:lnTo>
                    <a:pt x="1585" y="721"/>
                  </a:lnTo>
                  <a:lnTo>
                    <a:pt x="1587" y="721"/>
                  </a:lnTo>
                  <a:lnTo>
                    <a:pt x="1587" y="719"/>
                  </a:lnTo>
                  <a:close/>
                  <a:moveTo>
                    <a:pt x="1590" y="729"/>
                  </a:moveTo>
                  <a:lnTo>
                    <a:pt x="1590" y="729"/>
                  </a:lnTo>
                  <a:lnTo>
                    <a:pt x="1590" y="729"/>
                  </a:lnTo>
                  <a:lnTo>
                    <a:pt x="1590" y="729"/>
                  </a:lnTo>
                  <a:lnTo>
                    <a:pt x="1590" y="729"/>
                  </a:lnTo>
                  <a:lnTo>
                    <a:pt x="1590" y="729"/>
                  </a:lnTo>
                  <a:lnTo>
                    <a:pt x="1590" y="729"/>
                  </a:lnTo>
                  <a:close/>
                  <a:moveTo>
                    <a:pt x="1579" y="729"/>
                  </a:moveTo>
                  <a:lnTo>
                    <a:pt x="1579" y="729"/>
                  </a:lnTo>
                  <a:lnTo>
                    <a:pt x="1582" y="729"/>
                  </a:lnTo>
                  <a:lnTo>
                    <a:pt x="1582" y="729"/>
                  </a:lnTo>
                  <a:lnTo>
                    <a:pt x="1579" y="727"/>
                  </a:lnTo>
                  <a:lnTo>
                    <a:pt x="1579" y="727"/>
                  </a:lnTo>
                  <a:lnTo>
                    <a:pt x="1577" y="729"/>
                  </a:lnTo>
                  <a:lnTo>
                    <a:pt x="1574" y="729"/>
                  </a:lnTo>
                  <a:lnTo>
                    <a:pt x="1574" y="729"/>
                  </a:lnTo>
                  <a:lnTo>
                    <a:pt x="1574" y="729"/>
                  </a:lnTo>
                  <a:lnTo>
                    <a:pt x="1574" y="727"/>
                  </a:lnTo>
                  <a:lnTo>
                    <a:pt x="1574" y="727"/>
                  </a:lnTo>
                  <a:lnTo>
                    <a:pt x="1571" y="727"/>
                  </a:lnTo>
                  <a:lnTo>
                    <a:pt x="1571" y="727"/>
                  </a:lnTo>
                  <a:lnTo>
                    <a:pt x="1571" y="727"/>
                  </a:lnTo>
                  <a:lnTo>
                    <a:pt x="1569" y="727"/>
                  </a:lnTo>
                  <a:lnTo>
                    <a:pt x="1566" y="727"/>
                  </a:lnTo>
                  <a:lnTo>
                    <a:pt x="1566" y="727"/>
                  </a:lnTo>
                  <a:lnTo>
                    <a:pt x="1566" y="727"/>
                  </a:lnTo>
                  <a:lnTo>
                    <a:pt x="1566" y="727"/>
                  </a:lnTo>
                  <a:lnTo>
                    <a:pt x="1566" y="727"/>
                  </a:lnTo>
                  <a:lnTo>
                    <a:pt x="1566" y="727"/>
                  </a:lnTo>
                  <a:lnTo>
                    <a:pt x="1566" y="727"/>
                  </a:lnTo>
                  <a:lnTo>
                    <a:pt x="1563" y="727"/>
                  </a:lnTo>
                  <a:lnTo>
                    <a:pt x="1563" y="727"/>
                  </a:lnTo>
                  <a:lnTo>
                    <a:pt x="1563" y="729"/>
                  </a:lnTo>
                  <a:lnTo>
                    <a:pt x="1563" y="729"/>
                  </a:lnTo>
                  <a:lnTo>
                    <a:pt x="1563" y="729"/>
                  </a:lnTo>
                  <a:lnTo>
                    <a:pt x="1563" y="729"/>
                  </a:lnTo>
                  <a:lnTo>
                    <a:pt x="1561" y="732"/>
                  </a:lnTo>
                  <a:lnTo>
                    <a:pt x="1561" y="735"/>
                  </a:lnTo>
                  <a:lnTo>
                    <a:pt x="1563" y="735"/>
                  </a:lnTo>
                  <a:lnTo>
                    <a:pt x="1563" y="737"/>
                  </a:lnTo>
                  <a:lnTo>
                    <a:pt x="1566" y="735"/>
                  </a:lnTo>
                  <a:lnTo>
                    <a:pt x="1563" y="735"/>
                  </a:lnTo>
                  <a:lnTo>
                    <a:pt x="1566" y="735"/>
                  </a:lnTo>
                  <a:lnTo>
                    <a:pt x="1566" y="735"/>
                  </a:lnTo>
                  <a:lnTo>
                    <a:pt x="1566" y="735"/>
                  </a:lnTo>
                  <a:lnTo>
                    <a:pt x="1566" y="735"/>
                  </a:lnTo>
                  <a:lnTo>
                    <a:pt x="1566" y="735"/>
                  </a:lnTo>
                  <a:lnTo>
                    <a:pt x="1569" y="735"/>
                  </a:lnTo>
                  <a:lnTo>
                    <a:pt x="1569" y="735"/>
                  </a:lnTo>
                  <a:lnTo>
                    <a:pt x="1563" y="737"/>
                  </a:lnTo>
                  <a:lnTo>
                    <a:pt x="1563" y="740"/>
                  </a:lnTo>
                  <a:lnTo>
                    <a:pt x="1563" y="740"/>
                  </a:lnTo>
                  <a:lnTo>
                    <a:pt x="1566" y="743"/>
                  </a:lnTo>
                  <a:lnTo>
                    <a:pt x="1566" y="743"/>
                  </a:lnTo>
                  <a:lnTo>
                    <a:pt x="1566" y="743"/>
                  </a:lnTo>
                  <a:lnTo>
                    <a:pt x="1566" y="743"/>
                  </a:lnTo>
                  <a:lnTo>
                    <a:pt x="1569" y="740"/>
                  </a:lnTo>
                  <a:lnTo>
                    <a:pt x="1569" y="737"/>
                  </a:lnTo>
                  <a:lnTo>
                    <a:pt x="1574" y="735"/>
                  </a:lnTo>
                  <a:lnTo>
                    <a:pt x="1577" y="735"/>
                  </a:lnTo>
                  <a:lnTo>
                    <a:pt x="1577" y="735"/>
                  </a:lnTo>
                  <a:lnTo>
                    <a:pt x="1579" y="735"/>
                  </a:lnTo>
                  <a:lnTo>
                    <a:pt x="1579" y="732"/>
                  </a:lnTo>
                  <a:lnTo>
                    <a:pt x="1579" y="732"/>
                  </a:lnTo>
                  <a:lnTo>
                    <a:pt x="1579" y="732"/>
                  </a:lnTo>
                  <a:lnTo>
                    <a:pt x="1579" y="732"/>
                  </a:lnTo>
                  <a:lnTo>
                    <a:pt x="1579" y="732"/>
                  </a:lnTo>
                  <a:lnTo>
                    <a:pt x="1579" y="732"/>
                  </a:lnTo>
                  <a:lnTo>
                    <a:pt x="1582" y="729"/>
                  </a:lnTo>
                  <a:lnTo>
                    <a:pt x="1582" y="729"/>
                  </a:lnTo>
                  <a:lnTo>
                    <a:pt x="1582" y="729"/>
                  </a:lnTo>
                  <a:lnTo>
                    <a:pt x="1582" y="729"/>
                  </a:lnTo>
                  <a:lnTo>
                    <a:pt x="1582" y="729"/>
                  </a:lnTo>
                  <a:lnTo>
                    <a:pt x="1582" y="729"/>
                  </a:lnTo>
                  <a:lnTo>
                    <a:pt x="1579" y="7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404041"/>
                </a:solidFill>
                <a:effectLst/>
                <a:uLnTx/>
                <a:uFillTx/>
                <a:latin typeface="Calibri"/>
                <a:ea typeface="+mn-ea"/>
                <a:cs typeface="+mn-cs"/>
              </a:endParaRPr>
            </a:p>
          </p:txBody>
        </p:sp>
      </p:grpSp>
      <p:pic>
        <p:nvPicPr>
          <p:cNvPr id="522" name="Graphic 1">
            <a:extLst>
              <a:ext uri="{FF2B5EF4-FFF2-40B4-BE49-F238E27FC236}">
                <a16:creationId xmlns="" xmlns:a16="http://schemas.microsoft.com/office/drawing/2014/main" id="{1FBA773F-4C5A-49BA-9867-FDD3F9380E12}"/>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11345612" y="6490506"/>
            <a:ext cx="720740" cy="276876"/>
          </a:xfrm>
          <a:prstGeom prst="rect">
            <a:avLst/>
          </a:prstGeom>
        </p:spPr>
      </p:pic>
      <p:grpSp>
        <p:nvGrpSpPr>
          <p:cNvPr id="221" name="Group 472">
            <a:extLst>
              <a:ext uri="{FF2B5EF4-FFF2-40B4-BE49-F238E27FC236}">
                <a16:creationId xmlns="" xmlns:a16="http://schemas.microsoft.com/office/drawing/2014/main" id="{8BA13E38-CE0C-4634-8045-615DFEA8B14B}"/>
              </a:ext>
            </a:extLst>
          </p:cNvPr>
          <p:cNvGrpSpPr/>
          <p:nvPr/>
        </p:nvGrpSpPr>
        <p:grpSpPr>
          <a:xfrm flipH="1">
            <a:off x="898623" y="2913171"/>
            <a:ext cx="4113481" cy="801913"/>
            <a:chOff x="8256325" y="2692779"/>
            <a:chExt cx="4113481" cy="801913"/>
          </a:xfrm>
        </p:grpSpPr>
        <p:cxnSp>
          <p:nvCxnSpPr>
            <p:cNvPr id="222" name="Straight Connector 473">
              <a:extLst>
                <a:ext uri="{FF2B5EF4-FFF2-40B4-BE49-F238E27FC236}">
                  <a16:creationId xmlns="" xmlns:a16="http://schemas.microsoft.com/office/drawing/2014/main" id="{7644B4A6-4034-468B-993A-E9E735E42AC9}"/>
                </a:ext>
              </a:extLst>
            </p:cNvPr>
            <p:cNvCxnSpPr>
              <a:cxnSpLocks/>
            </p:cNvCxnSpPr>
            <p:nvPr/>
          </p:nvCxnSpPr>
          <p:spPr>
            <a:xfrm>
              <a:off x="8697429" y="2692779"/>
              <a:ext cx="3672377"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cxnSp>
          <p:nvCxnSpPr>
            <p:cNvPr id="223" name="Straight Connector 474">
              <a:extLst>
                <a:ext uri="{FF2B5EF4-FFF2-40B4-BE49-F238E27FC236}">
                  <a16:creationId xmlns="" xmlns:a16="http://schemas.microsoft.com/office/drawing/2014/main" id="{37916D01-B9F2-4345-B15D-62A0E4B88A6A}"/>
                </a:ext>
              </a:extLst>
            </p:cNvPr>
            <p:cNvCxnSpPr>
              <a:cxnSpLocks/>
            </p:cNvCxnSpPr>
            <p:nvPr/>
          </p:nvCxnSpPr>
          <p:spPr>
            <a:xfrm flipV="1">
              <a:off x="8256325" y="2692779"/>
              <a:ext cx="445204" cy="801913"/>
            </a:xfrm>
            <a:prstGeom prst="line">
              <a:avLst/>
            </a:prstGeom>
            <a:ln w="3175">
              <a:solidFill>
                <a:srgbClr val="F26926"/>
              </a:solidFill>
            </a:ln>
          </p:spPr>
          <p:style>
            <a:lnRef idx="1">
              <a:schemeClr val="accent1"/>
            </a:lnRef>
            <a:fillRef idx="0">
              <a:schemeClr val="accent1"/>
            </a:fillRef>
            <a:effectRef idx="0">
              <a:schemeClr val="accent1"/>
            </a:effectRef>
            <a:fontRef idx="minor">
              <a:schemeClr val="tx1"/>
            </a:fontRef>
          </p:style>
        </p:cxnSp>
      </p:grpSp>
      <p:sp>
        <p:nvSpPr>
          <p:cNvPr id="224" name="TextBox 50">
            <a:extLst>
              <a:ext uri="{FF2B5EF4-FFF2-40B4-BE49-F238E27FC236}">
                <a16:creationId xmlns="" xmlns:a16="http://schemas.microsoft.com/office/drawing/2014/main" id="{92ACEE84-5991-449C-87DF-DE04B30468E3}"/>
              </a:ext>
            </a:extLst>
          </p:cNvPr>
          <p:cNvSpPr txBox="1"/>
          <p:nvPr/>
        </p:nvSpPr>
        <p:spPr>
          <a:xfrm>
            <a:off x="829147" y="5678806"/>
            <a:ext cx="2036606" cy="236219"/>
          </a:xfrm>
          <a:prstGeom prst="rect">
            <a:avLst/>
          </a:prstGeom>
          <a:noFill/>
          <a:ln>
            <a:noFill/>
          </a:ln>
        </p:spPr>
        <p:txBody>
          <a:bodyPr wrap="square" rtlCol="0">
            <a:spAutoFit/>
          </a:bodyPr>
          <a:lstStyle>
            <a:defPPr>
              <a:defRPr lang="en-US"/>
            </a:defPPr>
            <a:lvl1pPr lvl="0">
              <a:lnSpc>
                <a:spcPct val="85000"/>
              </a:lnSpc>
              <a:defRPr sz="1100">
                <a:solidFill>
                  <a:srgbClr val="40404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Mayo Clinic Phoenix</a:t>
            </a:r>
          </a:p>
        </p:txBody>
      </p:sp>
      <p:grpSp>
        <p:nvGrpSpPr>
          <p:cNvPr id="226" name="Group 472">
            <a:extLst>
              <a:ext uri="{FF2B5EF4-FFF2-40B4-BE49-F238E27FC236}">
                <a16:creationId xmlns="" xmlns:a16="http://schemas.microsoft.com/office/drawing/2014/main" id="{DDB332C6-CECC-417D-B9B4-40666304CAC1}"/>
              </a:ext>
            </a:extLst>
          </p:cNvPr>
          <p:cNvGrpSpPr/>
          <p:nvPr/>
        </p:nvGrpSpPr>
        <p:grpSpPr>
          <a:xfrm flipH="1" flipV="1">
            <a:off x="3164933" y="5096527"/>
            <a:ext cx="2889563" cy="1211239"/>
            <a:chOff x="8245983" y="1190603"/>
            <a:chExt cx="2889563" cy="1211239"/>
          </a:xfrm>
        </p:grpSpPr>
        <p:cxnSp>
          <p:nvCxnSpPr>
            <p:cNvPr id="227" name="Straight Connector 473">
              <a:extLst>
                <a:ext uri="{FF2B5EF4-FFF2-40B4-BE49-F238E27FC236}">
                  <a16:creationId xmlns="" xmlns:a16="http://schemas.microsoft.com/office/drawing/2014/main" id="{B32A0DF8-B087-41E5-8CF2-F8C5BD6998D9}"/>
                </a:ext>
              </a:extLst>
            </p:cNvPr>
            <p:cNvCxnSpPr>
              <a:cxnSpLocks/>
            </p:cNvCxnSpPr>
            <p:nvPr/>
          </p:nvCxnSpPr>
          <p:spPr>
            <a:xfrm flipV="1">
              <a:off x="9006144" y="1190603"/>
              <a:ext cx="2129402"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cxnSp>
          <p:nvCxnSpPr>
            <p:cNvPr id="228" name="Straight Connector 474">
              <a:extLst>
                <a:ext uri="{FF2B5EF4-FFF2-40B4-BE49-F238E27FC236}">
                  <a16:creationId xmlns="" xmlns:a16="http://schemas.microsoft.com/office/drawing/2014/main" id="{4AAD93E5-BF9A-4A72-972F-76D5939BFC89}"/>
                </a:ext>
              </a:extLst>
            </p:cNvPr>
            <p:cNvCxnSpPr>
              <a:cxnSpLocks/>
            </p:cNvCxnSpPr>
            <p:nvPr/>
          </p:nvCxnSpPr>
          <p:spPr>
            <a:xfrm flipV="1">
              <a:off x="8245983" y="1190603"/>
              <a:ext cx="762160" cy="1211239"/>
            </a:xfrm>
            <a:prstGeom prst="line">
              <a:avLst/>
            </a:prstGeom>
            <a:ln w="3175">
              <a:solidFill>
                <a:srgbClr val="F26926"/>
              </a:solidFill>
            </a:ln>
          </p:spPr>
          <p:style>
            <a:lnRef idx="1">
              <a:schemeClr val="accent1"/>
            </a:lnRef>
            <a:fillRef idx="0">
              <a:schemeClr val="accent1"/>
            </a:fillRef>
            <a:effectRef idx="0">
              <a:schemeClr val="accent1"/>
            </a:effectRef>
            <a:fontRef idx="minor">
              <a:schemeClr val="tx1"/>
            </a:fontRef>
          </p:style>
        </p:cxnSp>
      </p:grpSp>
      <p:sp>
        <p:nvSpPr>
          <p:cNvPr id="230" name="TextBox 50">
            <a:extLst>
              <a:ext uri="{FF2B5EF4-FFF2-40B4-BE49-F238E27FC236}">
                <a16:creationId xmlns="" xmlns:a16="http://schemas.microsoft.com/office/drawing/2014/main" id="{2453ECED-5DC8-49A2-BCAA-AA6E0962F47A}"/>
              </a:ext>
            </a:extLst>
          </p:cNvPr>
          <p:cNvSpPr txBox="1"/>
          <p:nvPr/>
        </p:nvSpPr>
        <p:spPr>
          <a:xfrm>
            <a:off x="3124200" y="6074118"/>
            <a:ext cx="2790769" cy="236219"/>
          </a:xfrm>
          <a:prstGeom prst="rect">
            <a:avLst/>
          </a:prstGeom>
          <a:noFill/>
          <a:ln>
            <a:noFill/>
          </a:ln>
        </p:spPr>
        <p:txBody>
          <a:bodyPr wrap="square" rtlCol="0">
            <a:spAutoFit/>
          </a:bodyPr>
          <a:lstStyle/>
          <a:p>
            <a:pPr lvl="0">
              <a:lnSpc>
                <a:spcPct val="85000"/>
              </a:lnSpc>
              <a:defRPr/>
            </a:pPr>
            <a:r>
              <a:rPr lang="pt-PT" sz="1100" dirty="0">
                <a:solidFill>
                  <a:srgbClr val="404041"/>
                </a:solidFill>
                <a:latin typeface="Verdana" panose="020B0604030504040204" pitchFamily="34" charset="0"/>
                <a:ea typeface="Verdana" panose="020B0604030504040204" pitchFamily="34" charset="0"/>
                <a:cs typeface="Verdana" panose="020B0604030504040204" pitchFamily="34" charset="0"/>
              </a:rPr>
              <a:t>Houston Methodist Hospital</a:t>
            </a:r>
            <a:endParaRPr lang="pt-PT" sz="1100" b="1" dirty="0">
              <a:solidFill>
                <a:srgbClr val="F26926"/>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5" name="Straight Connector 473">
            <a:extLst>
              <a:ext uri="{FF2B5EF4-FFF2-40B4-BE49-F238E27FC236}">
                <a16:creationId xmlns="" xmlns:a16="http://schemas.microsoft.com/office/drawing/2014/main" id="{3879DC1A-A769-497A-90B5-071DC7F651E0}"/>
              </a:ext>
            </a:extLst>
          </p:cNvPr>
          <p:cNvCxnSpPr>
            <a:cxnSpLocks/>
          </p:cNvCxnSpPr>
          <p:nvPr/>
        </p:nvCxnSpPr>
        <p:spPr>
          <a:xfrm>
            <a:off x="8447970" y="3117592"/>
            <a:ext cx="3095751"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grpSp>
        <p:nvGrpSpPr>
          <p:cNvPr id="236" name="Group 472">
            <a:extLst>
              <a:ext uri="{FF2B5EF4-FFF2-40B4-BE49-F238E27FC236}">
                <a16:creationId xmlns="" xmlns:a16="http://schemas.microsoft.com/office/drawing/2014/main" id="{78249B47-0E53-439D-B117-F334E93963FC}"/>
              </a:ext>
            </a:extLst>
          </p:cNvPr>
          <p:cNvGrpSpPr/>
          <p:nvPr/>
        </p:nvGrpSpPr>
        <p:grpSpPr>
          <a:xfrm>
            <a:off x="8411776" y="2357767"/>
            <a:ext cx="3131945" cy="440667"/>
            <a:chOff x="8161270" y="2087128"/>
            <a:chExt cx="3131945" cy="440667"/>
          </a:xfrm>
        </p:grpSpPr>
        <p:cxnSp>
          <p:nvCxnSpPr>
            <p:cNvPr id="237" name="Straight Connector 473">
              <a:extLst>
                <a:ext uri="{FF2B5EF4-FFF2-40B4-BE49-F238E27FC236}">
                  <a16:creationId xmlns="" xmlns:a16="http://schemas.microsoft.com/office/drawing/2014/main" id="{FEF4B9DA-88C3-4099-8680-81ACE8D5631E}"/>
                </a:ext>
              </a:extLst>
            </p:cNvPr>
            <p:cNvCxnSpPr>
              <a:cxnSpLocks/>
            </p:cNvCxnSpPr>
            <p:nvPr/>
          </p:nvCxnSpPr>
          <p:spPr>
            <a:xfrm>
              <a:off x="8444581" y="2087128"/>
              <a:ext cx="2848634"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cxnSp>
          <p:nvCxnSpPr>
            <p:cNvPr id="238" name="Straight Connector 474">
              <a:extLst>
                <a:ext uri="{FF2B5EF4-FFF2-40B4-BE49-F238E27FC236}">
                  <a16:creationId xmlns="" xmlns:a16="http://schemas.microsoft.com/office/drawing/2014/main" id="{334AAEF0-5E9D-4EE1-9FB5-EAECF5A89A6A}"/>
                </a:ext>
              </a:extLst>
            </p:cNvPr>
            <p:cNvCxnSpPr>
              <a:cxnSpLocks/>
            </p:cNvCxnSpPr>
            <p:nvPr/>
          </p:nvCxnSpPr>
          <p:spPr>
            <a:xfrm flipV="1">
              <a:off x="8161270" y="2089777"/>
              <a:ext cx="287183" cy="438018"/>
            </a:xfrm>
            <a:prstGeom prst="line">
              <a:avLst/>
            </a:prstGeom>
            <a:ln w="3175">
              <a:solidFill>
                <a:srgbClr val="F26926"/>
              </a:solidFill>
            </a:ln>
          </p:spPr>
          <p:style>
            <a:lnRef idx="1">
              <a:schemeClr val="accent1"/>
            </a:lnRef>
            <a:fillRef idx="0">
              <a:schemeClr val="accent1"/>
            </a:fillRef>
            <a:effectRef idx="0">
              <a:schemeClr val="accent1"/>
            </a:effectRef>
            <a:fontRef idx="minor">
              <a:schemeClr val="tx1"/>
            </a:fontRef>
          </p:style>
        </p:cxnSp>
      </p:grpSp>
      <p:sp>
        <p:nvSpPr>
          <p:cNvPr id="241" name="TextBox 50">
            <a:extLst>
              <a:ext uri="{FF2B5EF4-FFF2-40B4-BE49-F238E27FC236}">
                <a16:creationId xmlns="" xmlns:a16="http://schemas.microsoft.com/office/drawing/2014/main" id="{999B0753-0B49-42B9-93A4-CEBBF40931B7}"/>
              </a:ext>
            </a:extLst>
          </p:cNvPr>
          <p:cNvSpPr txBox="1"/>
          <p:nvPr/>
        </p:nvSpPr>
        <p:spPr>
          <a:xfrm>
            <a:off x="8342556" y="2115494"/>
            <a:ext cx="3262269" cy="236219"/>
          </a:xfrm>
          <a:prstGeom prst="rect">
            <a:avLst/>
          </a:prstGeom>
          <a:noFill/>
          <a:ln>
            <a:noFill/>
          </a:ln>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pt-PT" sz="11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New York-Presbyterian Hospital</a:t>
            </a:r>
            <a:endParaRPr kumimoji="0" lang="pt-PT" sz="11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42" name="TextBox 50">
            <a:extLst>
              <a:ext uri="{FF2B5EF4-FFF2-40B4-BE49-F238E27FC236}">
                <a16:creationId xmlns="" xmlns:a16="http://schemas.microsoft.com/office/drawing/2014/main" id="{4274A5DF-DD51-4111-87C4-C03BDB56735F}"/>
              </a:ext>
            </a:extLst>
          </p:cNvPr>
          <p:cNvSpPr txBox="1"/>
          <p:nvPr/>
        </p:nvSpPr>
        <p:spPr>
          <a:xfrm>
            <a:off x="8542332" y="2491484"/>
            <a:ext cx="3062493" cy="236219"/>
          </a:xfrm>
          <a:prstGeom prst="rect">
            <a:avLst/>
          </a:prstGeom>
          <a:noFill/>
          <a:ln>
            <a:noFill/>
          </a:ln>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pt-PT" sz="11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NYU Langone Medical Center</a:t>
            </a:r>
            <a:endParaRPr kumimoji="0" lang="pt-PT" sz="11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43" name="TextBox 50">
            <a:extLst>
              <a:ext uri="{FF2B5EF4-FFF2-40B4-BE49-F238E27FC236}">
                <a16:creationId xmlns="" xmlns:a16="http://schemas.microsoft.com/office/drawing/2014/main" id="{D67BF291-D2CE-438E-B5FE-3CD11D24E679}"/>
              </a:ext>
            </a:extLst>
          </p:cNvPr>
          <p:cNvSpPr txBox="1"/>
          <p:nvPr/>
        </p:nvSpPr>
        <p:spPr>
          <a:xfrm>
            <a:off x="8542332" y="2878109"/>
            <a:ext cx="3062493" cy="236219"/>
          </a:xfrm>
          <a:prstGeom prst="rect">
            <a:avLst/>
          </a:prstGeom>
          <a:noFill/>
          <a:ln>
            <a:noFill/>
          </a:ln>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pt-PT" sz="11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Mount Sinai Hospital, New York</a:t>
            </a:r>
            <a:endParaRPr kumimoji="0" lang="pt-PT" sz="11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244" name="Straight Connector 473">
            <a:extLst>
              <a:ext uri="{FF2B5EF4-FFF2-40B4-BE49-F238E27FC236}">
                <a16:creationId xmlns="" xmlns:a16="http://schemas.microsoft.com/office/drawing/2014/main" id="{ACAAE520-EA60-499A-8149-F0FD9AE423D6}"/>
              </a:ext>
            </a:extLst>
          </p:cNvPr>
          <p:cNvCxnSpPr>
            <a:cxnSpLocks/>
          </p:cNvCxnSpPr>
          <p:nvPr/>
        </p:nvCxnSpPr>
        <p:spPr>
          <a:xfrm>
            <a:off x="8139064" y="3440030"/>
            <a:ext cx="3404657"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grpSp>
        <p:nvGrpSpPr>
          <p:cNvPr id="245" name="Group 472">
            <a:extLst>
              <a:ext uri="{FF2B5EF4-FFF2-40B4-BE49-F238E27FC236}">
                <a16:creationId xmlns="" xmlns:a16="http://schemas.microsoft.com/office/drawing/2014/main" id="{919B2607-2F7C-4427-B9B0-48298A40E37A}"/>
              </a:ext>
            </a:extLst>
          </p:cNvPr>
          <p:cNvGrpSpPr/>
          <p:nvPr/>
        </p:nvGrpSpPr>
        <p:grpSpPr>
          <a:xfrm flipV="1">
            <a:off x="7774413" y="3768957"/>
            <a:ext cx="3773170" cy="706135"/>
            <a:chOff x="8245984" y="1695708"/>
            <a:chExt cx="3773170" cy="706135"/>
          </a:xfrm>
        </p:grpSpPr>
        <p:cxnSp>
          <p:nvCxnSpPr>
            <p:cNvPr id="246" name="Straight Connector 473">
              <a:extLst>
                <a:ext uri="{FF2B5EF4-FFF2-40B4-BE49-F238E27FC236}">
                  <a16:creationId xmlns="" xmlns:a16="http://schemas.microsoft.com/office/drawing/2014/main" id="{0B01EF78-7DED-4C21-9F57-5215E1B7916E}"/>
                </a:ext>
              </a:extLst>
            </p:cNvPr>
            <p:cNvCxnSpPr>
              <a:cxnSpLocks/>
            </p:cNvCxnSpPr>
            <p:nvPr/>
          </p:nvCxnSpPr>
          <p:spPr>
            <a:xfrm flipV="1">
              <a:off x="8862144" y="1698179"/>
              <a:ext cx="3157010"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cxnSp>
          <p:nvCxnSpPr>
            <p:cNvPr id="247" name="Straight Connector 474">
              <a:extLst>
                <a:ext uri="{FF2B5EF4-FFF2-40B4-BE49-F238E27FC236}">
                  <a16:creationId xmlns="" xmlns:a16="http://schemas.microsoft.com/office/drawing/2014/main" id="{AB106D93-0408-4885-89F5-313544AF05F6}"/>
                </a:ext>
              </a:extLst>
            </p:cNvPr>
            <p:cNvCxnSpPr>
              <a:cxnSpLocks/>
            </p:cNvCxnSpPr>
            <p:nvPr/>
          </p:nvCxnSpPr>
          <p:spPr>
            <a:xfrm flipV="1">
              <a:off x="8245984" y="1695708"/>
              <a:ext cx="626646" cy="706135"/>
            </a:xfrm>
            <a:prstGeom prst="line">
              <a:avLst/>
            </a:prstGeom>
            <a:ln w="3175">
              <a:solidFill>
                <a:srgbClr val="F26926"/>
              </a:solidFill>
            </a:ln>
          </p:spPr>
          <p:style>
            <a:lnRef idx="1">
              <a:schemeClr val="accent1"/>
            </a:lnRef>
            <a:fillRef idx="0">
              <a:schemeClr val="accent1"/>
            </a:fillRef>
            <a:effectRef idx="0">
              <a:schemeClr val="accent1"/>
            </a:effectRef>
            <a:fontRef idx="minor">
              <a:schemeClr val="tx1"/>
            </a:fontRef>
          </p:style>
        </p:cxnSp>
      </p:grpSp>
      <p:cxnSp>
        <p:nvCxnSpPr>
          <p:cNvPr id="248" name="Straight Connector 473">
            <a:extLst>
              <a:ext uri="{FF2B5EF4-FFF2-40B4-BE49-F238E27FC236}">
                <a16:creationId xmlns="" xmlns:a16="http://schemas.microsoft.com/office/drawing/2014/main" id="{D12CC00C-6C38-4D33-B063-8664FB5E283E}"/>
              </a:ext>
            </a:extLst>
          </p:cNvPr>
          <p:cNvCxnSpPr>
            <a:cxnSpLocks/>
          </p:cNvCxnSpPr>
          <p:nvPr/>
        </p:nvCxnSpPr>
        <p:spPr>
          <a:xfrm>
            <a:off x="8144033" y="3962400"/>
            <a:ext cx="3399688"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grpSp>
        <p:nvGrpSpPr>
          <p:cNvPr id="249" name="Group 472">
            <a:extLst>
              <a:ext uri="{FF2B5EF4-FFF2-40B4-BE49-F238E27FC236}">
                <a16:creationId xmlns="" xmlns:a16="http://schemas.microsoft.com/office/drawing/2014/main" id="{DAD88D9C-345C-413B-9CB1-8F6C229B63E6}"/>
              </a:ext>
            </a:extLst>
          </p:cNvPr>
          <p:cNvGrpSpPr/>
          <p:nvPr/>
        </p:nvGrpSpPr>
        <p:grpSpPr>
          <a:xfrm>
            <a:off x="7855600" y="1576468"/>
            <a:ext cx="3687213" cy="1231811"/>
            <a:chOff x="7559611" y="2251006"/>
            <a:chExt cx="3687213" cy="1231811"/>
          </a:xfrm>
        </p:grpSpPr>
        <p:cxnSp>
          <p:nvCxnSpPr>
            <p:cNvPr id="250" name="Straight Connector 473">
              <a:extLst>
                <a:ext uri="{FF2B5EF4-FFF2-40B4-BE49-F238E27FC236}">
                  <a16:creationId xmlns="" xmlns:a16="http://schemas.microsoft.com/office/drawing/2014/main" id="{B971E540-0742-4C6B-9609-7B4F4C676561}"/>
                </a:ext>
              </a:extLst>
            </p:cNvPr>
            <p:cNvCxnSpPr>
              <a:cxnSpLocks/>
            </p:cNvCxnSpPr>
            <p:nvPr/>
          </p:nvCxnSpPr>
          <p:spPr>
            <a:xfrm>
              <a:off x="8331664" y="2251971"/>
              <a:ext cx="2915160"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cxnSp>
          <p:nvCxnSpPr>
            <p:cNvPr id="251" name="Straight Connector 474">
              <a:extLst>
                <a:ext uri="{FF2B5EF4-FFF2-40B4-BE49-F238E27FC236}">
                  <a16:creationId xmlns="" xmlns:a16="http://schemas.microsoft.com/office/drawing/2014/main" id="{0457C20F-42D4-49F1-B40C-B21BE7A10DA2}"/>
                </a:ext>
              </a:extLst>
            </p:cNvPr>
            <p:cNvCxnSpPr>
              <a:cxnSpLocks/>
            </p:cNvCxnSpPr>
            <p:nvPr/>
          </p:nvCxnSpPr>
          <p:spPr>
            <a:xfrm flipV="1">
              <a:off x="7559611" y="2251006"/>
              <a:ext cx="782148" cy="1231811"/>
            </a:xfrm>
            <a:prstGeom prst="line">
              <a:avLst/>
            </a:prstGeom>
            <a:ln w="3175">
              <a:solidFill>
                <a:srgbClr val="F26926"/>
              </a:solidFill>
            </a:ln>
          </p:spPr>
          <p:style>
            <a:lnRef idx="1">
              <a:schemeClr val="accent1"/>
            </a:lnRef>
            <a:fillRef idx="0">
              <a:schemeClr val="accent1"/>
            </a:fillRef>
            <a:effectRef idx="0">
              <a:schemeClr val="accent1"/>
            </a:effectRef>
            <a:fontRef idx="minor">
              <a:schemeClr val="tx1"/>
            </a:fontRef>
          </p:style>
        </p:cxnSp>
      </p:grpSp>
      <p:sp>
        <p:nvSpPr>
          <p:cNvPr id="256" name="TextBox 50">
            <a:extLst>
              <a:ext uri="{FF2B5EF4-FFF2-40B4-BE49-F238E27FC236}">
                <a16:creationId xmlns="" xmlns:a16="http://schemas.microsoft.com/office/drawing/2014/main" id="{F955A907-AA3C-403F-A8F1-6F165F78AAE9}"/>
              </a:ext>
            </a:extLst>
          </p:cNvPr>
          <p:cNvSpPr txBox="1"/>
          <p:nvPr/>
        </p:nvSpPr>
        <p:spPr>
          <a:xfrm>
            <a:off x="9438568" y="1686406"/>
            <a:ext cx="2166257" cy="236219"/>
          </a:xfrm>
          <a:prstGeom prst="rect">
            <a:avLst/>
          </a:prstGeom>
          <a:noFill/>
          <a:ln>
            <a:noFill/>
          </a:ln>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pt-PT" sz="11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Cleveland Clinic</a:t>
            </a:r>
            <a:endParaRPr kumimoji="0" lang="pt-PT" sz="11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7" name="TextBox 50">
            <a:extLst>
              <a:ext uri="{FF2B5EF4-FFF2-40B4-BE49-F238E27FC236}">
                <a16:creationId xmlns="" xmlns:a16="http://schemas.microsoft.com/office/drawing/2014/main" id="{215325A7-F98D-4E98-AAA4-B7A9BFC0EEFD}"/>
              </a:ext>
            </a:extLst>
          </p:cNvPr>
          <p:cNvSpPr txBox="1"/>
          <p:nvPr/>
        </p:nvSpPr>
        <p:spPr>
          <a:xfrm>
            <a:off x="9471226" y="4549020"/>
            <a:ext cx="2133599" cy="380104"/>
          </a:xfrm>
          <a:prstGeom prst="rect">
            <a:avLst/>
          </a:prstGeom>
          <a:noFill/>
          <a:ln>
            <a:noFill/>
          </a:ln>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pt-PT" sz="11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Northwestern Memorial Hospital, Chicago</a:t>
            </a:r>
            <a:endParaRPr kumimoji="0" lang="pt-PT" sz="11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8" name="TextBox 50">
            <a:extLst>
              <a:ext uri="{FF2B5EF4-FFF2-40B4-BE49-F238E27FC236}">
                <a16:creationId xmlns="" xmlns:a16="http://schemas.microsoft.com/office/drawing/2014/main" id="{02A1027A-84B4-452D-810B-35584B5196EA}"/>
              </a:ext>
            </a:extLst>
          </p:cNvPr>
          <p:cNvSpPr txBox="1"/>
          <p:nvPr/>
        </p:nvSpPr>
        <p:spPr>
          <a:xfrm>
            <a:off x="8104359" y="3200906"/>
            <a:ext cx="3500466" cy="236219"/>
          </a:xfrm>
          <a:prstGeom prst="rect">
            <a:avLst/>
          </a:prstGeom>
          <a:noFill/>
          <a:ln>
            <a:noFill/>
          </a:ln>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pt-PT" sz="11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Jonhs Hopkins Hospital, Baltimore</a:t>
            </a:r>
            <a:endParaRPr kumimoji="0" lang="pt-PT" sz="11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59" name="TextBox 50">
            <a:extLst>
              <a:ext uri="{FF2B5EF4-FFF2-40B4-BE49-F238E27FC236}">
                <a16:creationId xmlns="" xmlns:a16="http://schemas.microsoft.com/office/drawing/2014/main" id="{F36F1AE8-6227-4259-8B7F-75A8432507A3}"/>
              </a:ext>
            </a:extLst>
          </p:cNvPr>
          <p:cNvSpPr txBox="1"/>
          <p:nvPr/>
        </p:nvSpPr>
        <p:spPr>
          <a:xfrm>
            <a:off x="8320698" y="3581126"/>
            <a:ext cx="3284127" cy="380104"/>
          </a:xfrm>
          <a:prstGeom prst="rect">
            <a:avLst/>
          </a:prstGeom>
          <a:noFill/>
          <a:ln>
            <a:noFill/>
          </a:ln>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pt-PT" sz="11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Hospitals of the University of Pennsylvania –</a:t>
            </a:r>
            <a:r>
              <a:rPr lang="pt-PT" sz="1100" dirty="0">
                <a:solidFill>
                  <a:srgbClr val="404041"/>
                </a:solidFill>
                <a:latin typeface="Verdana" panose="020B0604030504040204" pitchFamily="34" charset="0"/>
                <a:ea typeface="Verdana" panose="020B0604030504040204" pitchFamily="34" charset="0"/>
                <a:cs typeface="Verdana" panose="020B0604030504040204" pitchFamily="34" charset="0"/>
              </a:rPr>
              <a:t> </a:t>
            </a:r>
            <a:r>
              <a:rPr kumimoji="0" lang="pt-PT" sz="11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Penn Presbyterian, Philadelphia</a:t>
            </a:r>
            <a:endParaRPr kumimoji="0" lang="pt-PT" sz="11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60" name="TextBox 50">
            <a:extLst>
              <a:ext uri="{FF2B5EF4-FFF2-40B4-BE49-F238E27FC236}">
                <a16:creationId xmlns="" xmlns:a16="http://schemas.microsoft.com/office/drawing/2014/main" id="{95264830-F585-473A-9C41-2670C4A001CC}"/>
              </a:ext>
            </a:extLst>
          </p:cNvPr>
          <p:cNvSpPr txBox="1"/>
          <p:nvPr/>
        </p:nvSpPr>
        <p:spPr>
          <a:xfrm>
            <a:off x="829147" y="4151908"/>
            <a:ext cx="1945731" cy="380104"/>
          </a:xfrm>
          <a:prstGeom prst="rect">
            <a:avLst/>
          </a:prstGeom>
          <a:noFill/>
          <a:ln>
            <a:noFill/>
          </a:ln>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pt-PT" sz="11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Stanford Health Care - Stanford Hospital</a:t>
            </a:r>
            <a:endParaRPr kumimoji="0" lang="pt-PT" sz="11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61" name="TextBox 50">
            <a:extLst>
              <a:ext uri="{FF2B5EF4-FFF2-40B4-BE49-F238E27FC236}">
                <a16:creationId xmlns="" xmlns:a16="http://schemas.microsoft.com/office/drawing/2014/main" id="{888EED7D-A169-4B5E-89BA-A792AB890F38}"/>
              </a:ext>
            </a:extLst>
          </p:cNvPr>
          <p:cNvSpPr txBox="1"/>
          <p:nvPr/>
        </p:nvSpPr>
        <p:spPr>
          <a:xfrm>
            <a:off x="8990750" y="4095575"/>
            <a:ext cx="2614075" cy="380104"/>
          </a:xfrm>
          <a:prstGeom prst="rect">
            <a:avLst/>
          </a:prstGeom>
          <a:noFill/>
          <a:ln>
            <a:noFill/>
          </a:ln>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pt-PT" sz="11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Duke University Hospital, Durham, N.C.</a:t>
            </a:r>
            <a:endParaRPr kumimoji="0" lang="pt-PT" sz="11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266" name="Group 472">
            <a:extLst>
              <a:ext uri="{FF2B5EF4-FFF2-40B4-BE49-F238E27FC236}">
                <a16:creationId xmlns="" xmlns:a16="http://schemas.microsoft.com/office/drawing/2014/main" id="{67747680-66FA-4D2C-85C9-9F7B2E4614BB}"/>
              </a:ext>
            </a:extLst>
          </p:cNvPr>
          <p:cNvGrpSpPr/>
          <p:nvPr/>
        </p:nvGrpSpPr>
        <p:grpSpPr>
          <a:xfrm flipV="1">
            <a:off x="6869758" y="3289360"/>
            <a:ext cx="4673963" cy="1634695"/>
            <a:chOff x="7399667" y="2163172"/>
            <a:chExt cx="4673963" cy="1634695"/>
          </a:xfrm>
        </p:grpSpPr>
        <p:cxnSp>
          <p:nvCxnSpPr>
            <p:cNvPr id="267" name="Straight Connector 473">
              <a:extLst>
                <a:ext uri="{FF2B5EF4-FFF2-40B4-BE49-F238E27FC236}">
                  <a16:creationId xmlns="" xmlns:a16="http://schemas.microsoft.com/office/drawing/2014/main" id="{365EB8F9-BF10-42BF-8CAF-506DCBAB2026}"/>
                </a:ext>
              </a:extLst>
            </p:cNvPr>
            <p:cNvCxnSpPr>
              <a:cxnSpLocks/>
            </p:cNvCxnSpPr>
            <p:nvPr/>
          </p:nvCxnSpPr>
          <p:spPr>
            <a:xfrm flipV="1">
              <a:off x="8771535" y="2163172"/>
              <a:ext cx="3302095"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cxnSp>
          <p:nvCxnSpPr>
            <p:cNvPr id="268" name="Straight Connector 474">
              <a:extLst>
                <a:ext uri="{FF2B5EF4-FFF2-40B4-BE49-F238E27FC236}">
                  <a16:creationId xmlns="" xmlns:a16="http://schemas.microsoft.com/office/drawing/2014/main" id="{4496B5A7-27D1-4668-B53C-7E7240F4B043}"/>
                </a:ext>
              </a:extLst>
            </p:cNvPr>
            <p:cNvCxnSpPr>
              <a:cxnSpLocks/>
            </p:cNvCxnSpPr>
            <p:nvPr/>
          </p:nvCxnSpPr>
          <p:spPr>
            <a:xfrm flipV="1">
              <a:off x="7399667" y="2163846"/>
              <a:ext cx="1373359" cy="1634021"/>
            </a:xfrm>
            <a:prstGeom prst="line">
              <a:avLst/>
            </a:prstGeom>
            <a:ln w="3175">
              <a:solidFill>
                <a:srgbClr val="F26926"/>
              </a:solidFill>
            </a:ln>
          </p:spPr>
          <p:style>
            <a:lnRef idx="1">
              <a:schemeClr val="accent1"/>
            </a:lnRef>
            <a:fillRef idx="0">
              <a:schemeClr val="accent1"/>
            </a:fillRef>
            <a:effectRef idx="0">
              <a:schemeClr val="accent1"/>
            </a:effectRef>
            <a:fontRef idx="minor">
              <a:schemeClr val="tx1"/>
            </a:fontRef>
          </p:style>
        </p:cxnSp>
      </p:grpSp>
      <p:grpSp>
        <p:nvGrpSpPr>
          <p:cNvPr id="274" name="Group 472">
            <a:extLst>
              <a:ext uri="{FF2B5EF4-FFF2-40B4-BE49-F238E27FC236}">
                <a16:creationId xmlns="" xmlns:a16="http://schemas.microsoft.com/office/drawing/2014/main" id="{E433FFE3-4B38-45B1-A9A1-3BC1F013F793}"/>
              </a:ext>
            </a:extLst>
          </p:cNvPr>
          <p:cNvGrpSpPr/>
          <p:nvPr/>
        </p:nvGrpSpPr>
        <p:grpSpPr>
          <a:xfrm flipH="1" flipV="1">
            <a:off x="875576" y="3763667"/>
            <a:ext cx="2527034" cy="781975"/>
            <a:chOff x="9952715" y="1609355"/>
            <a:chExt cx="2527034" cy="781975"/>
          </a:xfrm>
        </p:grpSpPr>
        <p:cxnSp>
          <p:nvCxnSpPr>
            <p:cNvPr id="275" name="Straight Connector 473">
              <a:extLst>
                <a:ext uri="{FF2B5EF4-FFF2-40B4-BE49-F238E27FC236}">
                  <a16:creationId xmlns="" xmlns:a16="http://schemas.microsoft.com/office/drawing/2014/main" id="{8E893711-3DC5-4FD6-8560-E7D0C628B1F4}"/>
                </a:ext>
              </a:extLst>
            </p:cNvPr>
            <p:cNvCxnSpPr>
              <a:cxnSpLocks/>
            </p:cNvCxnSpPr>
            <p:nvPr/>
          </p:nvCxnSpPr>
          <p:spPr>
            <a:xfrm flipV="1">
              <a:off x="10631815" y="1620725"/>
              <a:ext cx="1847934"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cxnSp>
          <p:nvCxnSpPr>
            <p:cNvPr id="276" name="Straight Connector 474">
              <a:extLst>
                <a:ext uri="{FF2B5EF4-FFF2-40B4-BE49-F238E27FC236}">
                  <a16:creationId xmlns="" xmlns:a16="http://schemas.microsoft.com/office/drawing/2014/main" id="{B48C08D1-4E25-40DA-B1DF-16BA2D5806CE}"/>
                </a:ext>
              </a:extLst>
            </p:cNvPr>
            <p:cNvCxnSpPr>
              <a:cxnSpLocks/>
            </p:cNvCxnSpPr>
            <p:nvPr/>
          </p:nvCxnSpPr>
          <p:spPr>
            <a:xfrm flipV="1">
              <a:off x="9952715" y="1609355"/>
              <a:ext cx="682204" cy="781975"/>
            </a:xfrm>
            <a:prstGeom prst="line">
              <a:avLst/>
            </a:prstGeom>
            <a:ln w="3175">
              <a:solidFill>
                <a:srgbClr val="F26926"/>
              </a:solidFill>
            </a:ln>
          </p:spPr>
          <p:style>
            <a:lnRef idx="1">
              <a:schemeClr val="accent1"/>
            </a:lnRef>
            <a:fillRef idx="0">
              <a:schemeClr val="accent1"/>
            </a:fillRef>
            <a:effectRef idx="0">
              <a:schemeClr val="accent1"/>
            </a:effectRef>
            <a:fontRef idx="minor">
              <a:schemeClr val="tx1"/>
            </a:fontRef>
          </p:style>
        </p:cxnSp>
      </p:grpSp>
      <p:grpSp>
        <p:nvGrpSpPr>
          <p:cNvPr id="291" name="Group 472">
            <a:extLst>
              <a:ext uri="{FF2B5EF4-FFF2-40B4-BE49-F238E27FC236}">
                <a16:creationId xmlns="" xmlns:a16="http://schemas.microsoft.com/office/drawing/2014/main" id="{3807C613-E93F-40AE-8756-D6697553FCCB}"/>
              </a:ext>
            </a:extLst>
          </p:cNvPr>
          <p:cNvGrpSpPr/>
          <p:nvPr/>
        </p:nvGrpSpPr>
        <p:grpSpPr>
          <a:xfrm>
            <a:off x="8474885" y="2725900"/>
            <a:ext cx="3068836" cy="197918"/>
            <a:chOff x="8227115" y="2087128"/>
            <a:chExt cx="3068836" cy="197918"/>
          </a:xfrm>
        </p:grpSpPr>
        <p:cxnSp>
          <p:nvCxnSpPr>
            <p:cNvPr id="292" name="Straight Connector 473">
              <a:extLst>
                <a:ext uri="{FF2B5EF4-FFF2-40B4-BE49-F238E27FC236}">
                  <a16:creationId xmlns="" xmlns:a16="http://schemas.microsoft.com/office/drawing/2014/main" id="{5020CF38-170F-4E2D-ACB3-03A3AC4F1523}"/>
                </a:ext>
              </a:extLst>
            </p:cNvPr>
            <p:cNvCxnSpPr>
              <a:cxnSpLocks/>
            </p:cNvCxnSpPr>
            <p:nvPr/>
          </p:nvCxnSpPr>
          <p:spPr>
            <a:xfrm>
              <a:off x="8353609" y="2087128"/>
              <a:ext cx="2942342"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cxnSp>
          <p:nvCxnSpPr>
            <p:cNvPr id="293" name="Straight Connector 474">
              <a:extLst>
                <a:ext uri="{FF2B5EF4-FFF2-40B4-BE49-F238E27FC236}">
                  <a16:creationId xmlns="" xmlns:a16="http://schemas.microsoft.com/office/drawing/2014/main" id="{C19A6937-2832-40B5-B3A3-AB07CC9ED558}"/>
                </a:ext>
              </a:extLst>
            </p:cNvPr>
            <p:cNvCxnSpPr>
              <a:cxnSpLocks/>
            </p:cNvCxnSpPr>
            <p:nvPr/>
          </p:nvCxnSpPr>
          <p:spPr>
            <a:xfrm flipV="1">
              <a:off x="8227115" y="2089778"/>
              <a:ext cx="124418" cy="195268"/>
            </a:xfrm>
            <a:prstGeom prst="line">
              <a:avLst/>
            </a:prstGeom>
            <a:ln w="3175">
              <a:solidFill>
                <a:srgbClr val="F26926"/>
              </a:solidFill>
            </a:ln>
          </p:spPr>
          <p:style>
            <a:lnRef idx="1">
              <a:schemeClr val="accent1"/>
            </a:lnRef>
            <a:fillRef idx="0">
              <a:schemeClr val="accent1"/>
            </a:fillRef>
            <a:effectRef idx="0">
              <a:schemeClr val="accent1"/>
            </a:effectRef>
            <a:fontRef idx="minor">
              <a:schemeClr val="tx1"/>
            </a:fontRef>
          </p:style>
        </p:cxnSp>
      </p:grpSp>
      <p:grpSp>
        <p:nvGrpSpPr>
          <p:cNvPr id="45" name="Agrupar 44">
            <a:extLst>
              <a:ext uri="{FF2B5EF4-FFF2-40B4-BE49-F238E27FC236}">
                <a16:creationId xmlns="" xmlns:a16="http://schemas.microsoft.com/office/drawing/2014/main" id="{5A62184A-8F97-488B-AC66-444E8A12F102}"/>
              </a:ext>
            </a:extLst>
          </p:cNvPr>
          <p:cNvGrpSpPr/>
          <p:nvPr/>
        </p:nvGrpSpPr>
        <p:grpSpPr>
          <a:xfrm>
            <a:off x="455006" y="299191"/>
            <a:ext cx="2009622" cy="2009622"/>
            <a:chOff x="775794" y="1095916"/>
            <a:chExt cx="2108427" cy="2108427"/>
          </a:xfrm>
        </p:grpSpPr>
        <p:sp>
          <p:nvSpPr>
            <p:cNvPr id="483" name="TextBox 8">
              <a:extLst>
                <a:ext uri="{FF2B5EF4-FFF2-40B4-BE49-F238E27FC236}">
                  <a16:creationId xmlns="" xmlns:a16="http://schemas.microsoft.com/office/drawing/2014/main" id="{47362759-445C-4351-9291-BF63292D258B}"/>
                </a:ext>
              </a:extLst>
            </p:cNvPr>
            <p:cNvSpPr txBox="1"/>
            <p:nvPr/>
          </p:nvSpPr>
          <p:spPr>
            <a:xfrm>
              <a:off x="947867" y="2213148"/>
              <a:ext cx="1807316" cy="563231"/>
            </a:xfrm>
            <a:prstGeom prst="rect">
              <a:avLst/>
            </a:prstGeom>
            <a:noFill/>
          </p:spPr>
          <p:txBody>
            <a:bodyPr wrap="square" rtlCol="0">
              <a:spAutoFit/>
            </a:bodyPr>
            <a:lstStyle/>
            <a:p>
              <a:pPr lvl="0" algn="ctr">
                <a:lnSpc>
                  <a:spcPct val="85000"/>
                </a:lnSpc>
                <a:defRPr/>
              </a:pPr>
              <a:r>
                <a:rPr lang="en-US" sz="1100" spc="600" dirty="0">
                  <a:solidFill>
                    <a:srgbClr val="404041"/>
                  </a:solidFill>
                  <a:latin typeface="Verdana" panose="020B0604030504040204" pitchFamily="34" charset="0"/>
                  <a:ea typeface="Verdana" panose="020B0604030504040204" pitchFamily="34" charset="0"/>
                  <a:cs typeface="Verdana" panose="020B0604030504040204" pitchFamily="34" charset="0"/>
                </a:rPr>
                <a:t>19 OF THE TOP 20 US HOSPITALS</a:t>
              </a:r>
              <a:endParaRPr kumimoji="0" lang="pt-PT" sz="1100" b="0" i="0" u="none" strike="noStrike" kern="1200" cap="none" spc="60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84" name="TextBox 483">
              <a:extLst>
                <a:ext uri="{FF2B5EF4-FFF2-40B4-BE49-F238E27FC236}">
                  <a16:creationId xmlns="" xmlns:a16="http://schemas.microsoft.com/office/drawing/2014/main" id="{C009AC00-BB12-4EAF-9613-E0BC9B6591A2}"/>
                </a:ext>
              </a:extLst>
            </p:cNvPr>
            <p:cNvSpPr txBox="1"/>
            <p:nvPr/>
          </p:nvSpPr>
          <p:spPr>
            <a:xfrm>
              <a:off x="947866" y="1788165"/>
              <a:ext cx="1807316" cy="510909"/>
            </a:xfrm>
            <a:prstGeom prst="rect">
              <a:avLst/>
            </a:prstGeom>
            <a:noFill/>
          </p:spPr>
          <p:txBody>
            <a:bodyPr wrap="square" rtlCol="0">
              <a:spAutoFit/>
              <a:scene3d>
                <a:camera prst="orthographicFront"/>
                <a:lightRig rig="threePt" dir="t"/>
              </a:scene3d>
              <a:sp3d>
                <a:bevelT w="0" h="0" prst="artDeco"/>
              </a:sp3d>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pt-PT" sz="16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BD PROUDLY SERVES</a:t>
              </a:r>
              <a:endParaRPr kumimoji="0" lang="pt-PT" sz="12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02" name="Oval 7">
              <a:extLst>
                <a:ext uri="{FF2B5EF4-FFF2-40B4-BE49-F238E27FC236}">
                  <a16:creationId xmlns="" xmlns:a16="http://schemas.microsoft.com/office/drawing/2014/main" id="{3C2F4AB2-5086-4668-8535-9A6F4B26E3E3}"/>
                </a:ext>
              </a:extLst>
            </p:cNvPr>
            <p:cNvSpPr/>
            <p:nvPr/>
          </p:nvSpPr>
          <p:spPr>
            <a:xfrm>
              <a:off x="775794" y="1095916"/>
              <a:ext cx="2108427" cy="2108427"/>
            </a:xfrm>
            <a:prstGeom prst="ellipse">
              <a:avLst/>
            </a:prstGeom>
            <a:noFill/>
            <a:ln w="57150">
              <a:solidFill>
                <a:srgbClr val="8CC6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303" name="Freeform 7710">
              <a:extLst>
                <a:ext uri="{FF2B5EF4-FFF2-40B4-BE49-F238E27FC236}">
                  <a16:creationId xmlns="" xmlns:a16="http://schemas.microsoft.com/office/drawing/2014/main" id="{660EA974-9AF1-4283-8FD8-E9183185BE66}"/>
                </a:ext>
              </a:extLst>
            </p:cNvPr>
            <p:cNvSpPr>
              <a:spLocks noEditPoints="1"/>
            </p:cNvSpPr>
            <p:nvPr/>
          </p:nvSpPr>
          <p:spPr bwMode="auto">
            <a:xfrm>
              <a:off x="1701083" y="1379796"/>
              <a:ext cx="311200" cy="309160"/>
            </a:xfrm>
            <a:custGeom>
              <a:avLst/>
              <a:gdLst>
                <a:gd name="T0" fmla="*/ 122 w 305"/>
                <a:gd name="T1" fmla="*/ 106 h 303"/>
                <a:gd name="T2" fmla="*/ 117 w 305"/>
                <a:gd name="T3" fmla="*/ 116 h 303"/>
                <a:gd name="T4" fmla="*/ 108 w 305"/>
                <a:gd name="T5" fmla="*/ 120 h 303"/>
                <a:gd name="T6" fmla="*/ 26 w 305"/>
                <a:gd name="T7" fmla="*/ 183 h 303"/>
                <a:gd name="T8" fmla="*/ 113 w 305"/>
                <a:gd name="T9" fmla="*/ 183 h 303"/>
                <a:gd name="T10" fmla="*/ 120 w 305"/>
                <a:gd name="T11" fmla="*/ 191 h 303"/>
                <a:gd name="T12" fmla="*/ 122 w 305"/>
                <a:gd name="T13" fmla="*/ 278 h 303"/>
                <a:gd name="T14" fmla="*/ 183 w 305"/>
                <a:gd name="T15" fmla="*/ 195 h 303"/>
                <a:gd name="T16" fmla="*/ 188 w 305"/>
                <a:gd name="T17" fmla="*/ 186 h 303"/>
                <a:gd name="T18" fmla="*/ 197 w 305"/>
                <a:gd name="T19" fmla="*/ 183 h 303"/>
                <a:gd name="T20" fmla="*/ 278 w 305"/>
                <a:gd name="T21" fmla="*/ 120 h 303"/>
                <a:gd name="T22" fmla="*/ 191 w 305"/>
                <a:gd name="T23" fmla="*/ 119 h 303"/>
                <a:gd name="T24" fmla="*/ 185 w 305"/>
                <a:gd name="T25" fmla="*/ 112 h 303"/>
                <a:gd name="T26" fmla="*/ 183 w 305"/>
                <a:gd name="T27" fmla="*/ 25 h 303"/>
                <a:gd name="T28" fmla="*/ 108 w 305"/>
                <a:gd name="T29" fmla="*/ 0 h 303"/>
                <a:gd name="T30" fmla="*/ 201 w 305"/>
                <a:gd name="T31" fmla="*/ 0 h 303"/>
                <a:gd name="T32" fmla="*/ 209 w 305"/>
                <a:gd name="T33" fmla="*/ 7 h 303"/>
                <a:gd name="T34" fmla="*/ 209 w 305"/>
                <a:gd name="T35" fmla="*/ 94 h 303"/>
                <a:gd name="T36" fmla="*/ 296 w 305"/>
                <a:gd name="T37" fmla="*/ 94 h 303"/>
                <a:gd name="T38" fmla="*/ 303 w 305"/>
                <a:gd name="T39" fmla="*/ 102 h 303"/>
                <a:gd name="T40" fmla="*/ 305 w 305"/>
                <a:gd name="T41" fmla="*/ 195 h 303"/>
                <a:gd name="T42" fmla="*/ 300 w 305"/>
                <a:gd name="T43" fmla="*/ 204 h 303"/>
                <a:gd name="T44" fmla="*/ 291 w 305"/>
                <a:gd name="T45" fmla="*/ 209 h 303"/>
                <a:gd name="T46" fmla="*/ 209 w 305"/>
                <a:gd name="T47" fmla="*/ 290 h 303"/>
                <a:gd name="T48" fmla="*/ 206 w 305"/>
                <a:gd name="T49" fmla="*/ 299 h 303"/>
                <a:gd name="T50" fmla="*/ 197 w 305"/>
                <a:gd name="T51" fmla="*/ 303 h 303"/>
                <a:gd name="T52" fmla="*/ 104 w 305"/>
                <a:gd name="T53" fmla="*/ 302 h 303"/>
                <a:gd name="T54" fmla="*/ 96 w 305"/>
                <a:gd name="T55" fmla="*/ 296 h 303"/>
                <a:gd name="T56" fmla="*/ 95 w 305"/>
                <a:gd name="T57" fmla="*/ 209 h 303"/>
                <a:gd name="T58" fmla="*/ 8 w 305"/>
                <a:gd name="T59" fmla="*/ 207 h 303"/>
                <a:gd name="T60" fmla="*/ 2 w 305"/>
                <a:gd name="T61" fmla="*/ 200 h 303"/>
                <a:gd name="T62" fmla="*/ 0 w 305"/>
                <a:gd name="T63" fmla="*/ 106 h 303"/>
                <a:gd name="T64" fmla="*/ 5 w 305"/>
                <a:gd name="T65" fmla="*/ 97 h 303"/>
                <a:gd name="T66" fmla="*/ 14 w 305"/>
                <a:gd name="T67" fmla="*/ 94 h 303"/>
                <a:gd name="T68" fmla="*/ 95 w 305"/>
                <a:gd name="T69" fmla="*/ 12 h 303"/>
                <a:gd name="T70" fmla="*/ 99 w 305"/>
                <a:gd name="T71" fmla="*/ 3 h 303"/>
                <a:gd name="T72" fmla="*/ 108 w 305"/>
                <a:gd name="T7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5" h="303">
                  <a:moveTo>
                    <a:pt x="122" y="25"/>
                  </a:moveTo>
                  <a:lnTo>
                    <a:pt x="122" y="106"/>
                  </a:lnTo>
                  <a:lnTo>
                    <a:pt x="120" y="112"/>
                  </a:lnTo>
                  <a:lnTo>
                    <a:pt x="117" y="116"/>
                  </a:lnTo>
                  <a:lnTo>
                    <a:pt x="113" y="119"/>
                  </a:lnTo>
                  <a:lnTo>
                    <a:pt x="108" y="120"/>
                  </a:lnTo>
                  <a:lnTo>
                    <a:pt x="26" y="120"/>
                  </a:lnTo>
                  <a:lnTo>
                    <a:pt x="26" y="183"/>
                  </a:lnTo>
                  <a:lnTo>
                    <a:pt x="108" y="183"/>
                  </a:lnTo>
                  <a:lnTo>
                    <a:pt x="113" y="183"/>
                  </a:lnTo>
                  <a:lnTo>
                    <a:pt x="117" y="186"/>
                  </a:lnTo>
                  <a:lnTo>
                    <a:pt x="120" y="191"/>
                  </a:lnTo>
                  <a:lnTo>
                    <a:pt x="122" y="195"/>
                  </a:lnTo>
                  <a:lnTo>
                    <a:pt x="122" y="278"/>
                  </a:lnTo>
                  <a:lnTo>
                    <a:pt x="183" y="278"/>
                  </a:lnTo>
                  <a:lnTo>
                    <a:pt x="183" y="195"/>
                  </a:lnTo>
                  <a:lnTo>
                    <a:pt x="185" y="191"/>
                  </a:lnTo>
                  <a:lnTo>
                    <a:pt x="188" y="186"/>
                  </a:lnTo>
                  <a:lnTo>
                    <a:pt x="191" y="183"/>
                  </a:lnTo>
                  <a:lnTo>
                    <a:pt x="197" y="183"/>
                  </a:lnTo>
                  <a:lnTo>
                    <a:pt x="278" y="183"/>
                  </a:lnTo>
                  <a:lnTo>
                    <a:pt x="278" y="120"/>
                  </a:lnTo>
                  <a:lnTo>
                    <a:pt x="197" y="120"/>
                  </a:lnTo>
                  <a:lnTo>
                    <a:pt x="191" y="119"/>
                  </a:lnTo>
                  <a:lnTo>
                    <a:pt x="188" y="116"/>
                  </a:lnTo>
                  <a:lnTo>
                    <a:pt x="185" y="112"/>
                  </a:lnTo>
                  <a:lnTo>
                    <a:pt x="183" y="106"/>
                  </a:lnTo>
                  <a:lnTo>
                    <a:pt x="183" y="25"/>
                  </a:lnTo>
                  <a:lnTo>
                    <a:pt x="122" y="25"/>
                  </a:lnTo>
                  <a:close/>
                  <a:moveTo>
                    <a:pt x="108" y="0"/>
                  </a:moveTo>
                  <a:lnTo>
                    <a:pt x="197" y="0"/>
                  </a:lnTo>
                  <a:lnTo>
                    <a:pt x="201" y="0"/>
                  </a:lnTo>
                  <a:lnTo>
                    <a:pt x="206" y="3"/>
                  </a:lnTo>
                  <a:lnTo>
                    <a:pt x="209" y="7"/>
                  </a:lnTo>
                  <a:lnTo>
                    <a:pt x="209" y="12"/>
                  </a:lnTo>
                  <a:lnTo>
                    <a:pt x="209" y="94"/>
                  </a:lnTo>
                  <a:lnTo>
                    <a:pt x="291" y="94"/>
                  </a:lnTo>
                  <a:lnTo>
                    <a:pt x="296" y="94"/>
                  </a:lnTo>
                  <a:lnTo>
                    <a:pt x="300" y="97"/>
                  </a:lnTo>
                  <a:lnTo>
                    <a:pt x="303" y="102"/>
                  </a:lnTo>
                  <a:lnTo>
                    <a:pt x="305" y="106"/>
                  </a:lnTo>
                  <a:lnTo>
                    <a:pt x="305" y="195"/>
                  </a:lnTo>
                  <a:lnTo>
                    <a:pt x="303" y="200"/>
                  </a:lnTo>
                  <a:lnTo>
                    <a:pt x="300" y="204"/>
                  </a:lnTo>
                  <a:lnTo>
                    <a:pt x="296" y="207"/>
                  </a:lnTo>
                  <a:lnTo>
                    <a:pt x="291" y="209"/>
                  </a:lnTo>
                  <a:lnTo>
                    <a:pt x="209" y="209"/>
                  </a:lnTo>
                  <a:lnTo>
                    <a:pt x="209" y="290"/>
                  </a:lnTo>
                  <a:lnTo>
                    <a:pt x="209" y="296"/>
                  </a:lnTo>
                  <a:lnTo>
                    <a:pt x="206" y="299"/>
                  </a:lnTo>
                  <a:lnTo>
                    <a:pt x="201" y="302"/>
                  </a:lnTo>
                  <a:lnTo>
                    <a:pt x="197" y="303"/>
                  </a:lnTo>
                  <a:lnTo>
                    <a:pt x="108" y="303"/>
                  </a:lnTo>
                  <a:lnTo>
                    <a:pt x="104" y="302"/>
                  </a:lnTo>
                  <a:lnTo>
                    <a:pt x="99" y="299"/>
                  </a:lnTo>
                  <a:lnTo>
                    <a:pt x="96" y="296"/>
                  </a:lnTo>
                  <a:lnTo>
                    <a:pt x="95" y="290"/>
                  </a:lnTo>
                  <a:lnTo>
                    <a:pt x="95" y="209"/>
                  </a:lnTo>
                  <a:lnTo>
                    <a:pt x="14" y="209"/>
                  </a:lnTo>
                  <a:lnTo>
                    <a:pt x="8" y="207"/>
                  </a:lnTo>
                  <a:lnTo>
                    <a:pt x="5" y="204"/>
                  </a:lnTo>
                  <a:lnTo>
                    <a:pt x="2" y="200"/>
                  </a:lnTo>
                  <a:lnTo>
                    <a:pt x="0" y="195"/>
                  </a:lnTo>
                  <a:lnTo>
                    <a:pt x="0" y="106"/>
                  </a:lnTo>
                  <a:lnTo>
                    <a:pt x="2" y="102"/>
                  </a:lnTo>
                  <a:lnTo>
                    <a:pt x="5" y="97"/>
                  </a:lnTo>
                  <a:lnTo>
                    <a:pt x="8" y="94"/>
                  </a:lnTo>
                  <a:lnTo>
                    <a:pt x="14" y="94"/>
                  </a:lnTo>
                  <a:lnTo>
                    <a:pt x="95" y="94"/>
                  </a:lnTo>
                  <a:lnTo>
                    <a:pt x="95" y="12"/>
                  </a:lnTo>
                  <a:lnTo>
                    <a:pt x="96" y="7"/>
                  </a:lnTo>
                  <a:lnTo>
                    <a:pt x="99" y="3"/>
                  </a:lnTo>
                  <a:lnTo>
                    <a:pt x="104" y="0"/>
                  </a:lnTo>
                  <a:lnTo>
                    <a:pt x="108" y="0"/>
                  </a:lnTo>
                  <a:close/>
                </a:path>
              </a:pathLst>
            </a:custGeom>
            <a:solidFill>
              <a:srgbClr val="05589C"/>
            </a:solidFill>
            <a:ln w="0">
              <a:noFill/>
              <a:prstDash val="solid"/>
              <a:round/>
              <a:headEnd/>
              <a:tailEnd/>
            </a:ln>
          </p:spPr>
          <p:txBody>
            <a:bodyPr vert="horz" wrap="square" lIns="91440" tIns="45720" rIns="91440" bIns="45720" numCol="1" anchor="t" anchorCtr="0" compatLnSpc="1">
              <a:prstTxWarp prst="textNoShape">
                <a:avLst/>
              </a:prstTxWarp>
            </a:bodyPr>
            <a:lstStyle/>
            <a:p>
              <a:pPr algn="r"/>
              <a:endParaRPr lang="pt-BR" dirty="0">
                <a:solidFill>
                  <a:prstClr val="black"/>
                </a:solidFill>
              </a:endParaRPr>
            </a:p>
          </p:txBody>
        </p:sp>
      </p:grpSp>
      <p:grpSp>
        <p:nvGrpSpPr>
          <p:cNvPr id="649" name="Agrupar 648">
            <a:extLst>
              <a:ext uri="{FF2B5EF4-FFF2-40B4-BE49-F238E27FC236}">
                <a16:creationId xmlns="" xmlns:a16="http://schemas.microsoft.com/office/drawing/2014/main" id="{0324C43F-65EA-457D-A189-A1088A0124CF}"/>
              </a:ext>
            </a:extLst>
          </p:cNvPr>
          <p:cNvGrpSpPr/>
          <p:nvPr/>
        </p:nvGrpSpPr>
        <p:grpSpPr>
          <a:xfrm>
            <a:off x="4854116" y="3275081"/>
            <a:ext cx="340482" cy="572400"/>
            <a:chOff x="1733926" y="3156019"/>
            <a:chExt cx="340482" cy="572400"/>
          </a:xfrm>
        </p:grpSpPr>
        <p:pic>
          <p:nvPicPr>
            <p:cNvPr id="650" name="Picture 422" descr="A picture containing thing, object&#10;&#10;Description generated with very high confidence">
              <a:extLst>
                <a:ext uri="{FF2B5EF4-FFF2-40B4-BE49-F238E27FC236}">
                  <a16:creationId xmlns="" xmlns:a16="http://schemas.microsoft.com/office/drawing/2014/main" id="{5BD5B763-CD36-4F5C-A522-E5811A6FB06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1733926" y="3156019"/>
              <a:ext cx="340482" cy="572400"/>
            </a:xfrm>
            <a:prstGeom prst="rect">
              <a:avLst/>
            </a:prstGeom>
          </p:spPr>
        </p:pic>
        <p:sp>
          <p:nvSpPr>
            <p:cNvPr id="651" name="Freeform 7710">
              <a:extLst>
                <a:ext uri="{FF2B5EF4-FFF2-40B4-BE49-F238E27FC236}">
                  <a16:creationId xmlns="" xmlns:a16="http://schemas.microsoft.com/office/drawing/2014/main" id="{FA71E640-34A4-400F-831B-5A9470EDFCEC}"/>
                </a:ext>
              </a:extLst>
            </p:cNvPr>
            <p:cNvSpPr>
              <a:spLocks noEditPoints="1"/>
            </p:cNvSpPr>
            <p:nvPr/>
          </p:nvSpPr>
          <p:spPr bwMode="auto">
            <a:xfrm>
              <a:off x="1836619" y="3254122"/>
              <a:ext cx="140053" cy="139135"/>
            </a:xfrm>
            <a:custGeom>
              <a:avLst/>
              <a:gdLst>
                <a:gd name="T0" fmla="*/ 122 w 305"/>
                <a:gd name="T1" fmla="*/ 106 h 303"/>
                <a:gd name="T2" fmla="*/ 117 w 305"/>
                <a:gd name="T3" fmla="*/ 116 h 303"/>
                <a:gd name="T4" fmla="*/ 108 w 305"/>
                <a:gd name="T5" fmla="*/ 120 h 303"/>
                <a:gd name="T6" fmla="*/ 26 w 305"/>
                <a:gd name="T7" fmla="*/ 183 h 303"/>
                <a:gd name="T8" fmla="*/ 113 w 305"/>
                <a:gd name="T9" fmla="*/ 183 h 303"/>
                <a:gd name="T10" fmla="*/ 120 w 305"/>
                <a:gd name="T11" fmla="*/ 191 h 303"/>
                <a:gd name="T12" fmla="*/ 122 w 305"/>
                <a:gd name="T13" fmla="*/ 278 h 303"/>
                <a:gd name="T14" fmla="*/ 183 w 305"/>
                <a:gd name="T15" fmla="*/ 195 h 303"/>
                <a:gd name="T16" fmla="*/ 188 w 305"/>
                <a:gd name="T17" fmla="*/ 186 h 303"/>
                <a:gd name="T18" fmla="*/ 197 w 305"/>
                <a:gd name="T19" fmla="*/ 183 h 303"/>
                <a:gd name="T20" fmla="*/ 278 w 305"/>
                <a:gd name="T21" fmla="*/ 120 h 303"/>
                <a:gd name="T22" fmla="*/ 191 w 305"/>
                <a:gd name="T23" fmla="*/ 119 h 303"/>
                <a:gd name="T24" fmla="*/ 185 w 305"/>
                <a:gd name="T25" fmla="*/ 112 h 303"/>
                <a:gd name="T26" fmla="*/ 183 w 305"/>
                <a:gd name="T27" fmla="*/ 25 h 303"/>
                <a:gd name="T28" fmla="*/ 108 w 305"/>
                <a:gd name="T29" fmla="*/ 0 h 303"/>
                <a:gd name="T30" fmla="*/ 201 w 305"/>
                <a:gd name="T31" fmla="*/ 0 h 303"/>
                <a:gd name="T32" fmla="*/ 209 w 305"/>
                <a:gd name="T33" fmla="*/ 7 h 303"/>
                <a:gd name="T34" fmla="*/ 209 w 305"/>
                <a:gd name="T35" fmla="*/ 94 h 303"/>
                <a:gd name="T36" fmla="*/ 296 w 305"/>
                <a:gd name="T37" fmla="*/ 94 h 303"/>
                <a:gd name="T38" fmla="*/ 303 w 305"/>
                <a:gd name="T39" fmla="*/ 102 h 303"/>
                <a:gd name="T40" fmla="*/ 305 w 305"/>
                <a:gd name="T41" fmla="*/ 195 h 303"/>
                <a:gd name="T42" fmla="*/ 300 w 305"/>
                <a:gd name="T43" fmla="*/ 204 h 303"/>
                <a:gd name="T44" fmla="*/ 291 w 305"/>
                <a:gd name="T45" fmla="*/ 209 h 303"/>
                <a:gd name="T46" fmla="*/ 209 w 305"/>
                <a:gd name="T47" fmla="*/ 290 h 303"/>
                <a:gd name="T48" fmla="*/ 206 w 305"/>
                <a:gd name="T49" fmla="*/ 299 h 303"/>
                <a:gd name="T50" fmla="*/ 197 w 305"/>
                <a:gd name="T51" fmla="*/ 303 h 303"/>
                <a:gd name="T52" fmla="*/ 104 w 305"/>
                <a:gd name="T53" fmla="*/ 302 h 303"/>
                <a:gd name="T54" fmla="*/ 96 w 305"/>
                <a:gd name="T55" fmla="*/ 296 h 303"/>
                <a:gd name="T56" fmla="*/ 95 w 305"/>
                <a:gd name="T57" fmla="*/ 209 h 303"/>
                <a:gd name="T58" fmla="*/ 8 w 305"/>
                <a:gd name="T59" fmla="*/ 207 h 303"/>
                <a:gd name="T60" fmla="*/ 2 w 305"/>
                <a:gd name="T61" fmla="*/ 200 h 303"/>
                <a:gd name="T62" fmla="*/ 0 w 305"/>
                <a:gd name="T63" fmla="*/ 106 h 303"/>
                <a:gd name="T64" fmla="*/ 5 w 305"/>
                <a:gd name="T65" fmla="*/ 97 h 303"/>
                <a:gd name="T66" fmla="*/ 14 w 305"/>
                <a:gd name="T67" fmla="*/ 94 h 303"/>
                <a:gd name="T68" fmla="*/ 95 w 305"/>
                <a:gd name="T69" fmla="*/ 12 h 303"/>
                <a:gd name="T70" fmla="*/ 99 w 305"/>
                <a:gd name="T71" fmla="*/ 3 h 303"/>
                <a:gd name="T72" fmla="*/ 108 w 305"/>
                <a:gd name="T7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5" h="303">
                  <a:moveTo>
                    <a:pt x="122" y="25"/>
                  </a:moveTo>
                  <a:lnTo>
                    <a:pt x="122" y="106"/>
                  </a:lnTo>
                  <a:lnTo>
                    <a:pt x="120" y="112"/>
                  </a:lnTo>
                  <a:lnTo>
                    <a:pt x="117" y="116"/>
                  </a:lnTo>
                  <a:lnTo>
                    <a:pt x="113" y="119"/>
                  </a:lnTo>
                  <a:lnTo>
                    <a:pt x="108" y="120"/>
                  </a:lnTo>
                  <a:lnTo>
                    <a:pt x="26" y="120"/>
                  </a:lnTo>
                  <a:lnTo>
                    <a:pt x="26" y="183"/>
                  </a:lnTo>
                  <a:lnTo>
                    <a:pt x="108" y="183"/>
                  </a:lnTo>
                  <a:lnTo>
                    <a:pt x="113" y="183"/>
                  </a:lnTo>
                  <a:lnTo>
                    <a:pt x="117" y="186"/>
                  </a:lnTo>
                  <a:lnTo>
                    <a:pt x="120" y="191"/>
                  </a:lnTo>
                  <a:lnTo>
                    <a:pt x="122" y="195"/>
                  </a:lnTo>
                  <a:lnTo>
                    <a:pt x="122" y="278"/>
                  </a:lnTo>
                  <a:lnTo>
                    <a:pt x="183" y="278"/>
                  </a:lnTo>
                  <a:lnTo>
                    <a:pt x="183" y="195"/>
                  </a:lnTo>
                  <a:lnTo>
                    <a:pt x="185" y="191"/>
                  </a:lnTo>
                  <a:lnTo>
                    <a:pt x="188" y="186"/>
                  </a:lnTo>
                  <a:lnTo>
                    <a:pt x="191" y="183"/>
                  </a:lnTo>
                  <a:lnTo>
                    <a:pt x="197" y="183"/>
                  </a:lnTo>
                  <a:lnTo>
                    <a:pt x="278" y="183"/>
                  </a:lnTo>
                  <a:lnTo>
                    <a:pt x="278" y="120"/>
                  </a:lnTo>
                  <a:lnTo>
                    <a:pt x="197" y="120"/>
                  </a:lnTo>
                  <a:lnTo>
                    <a:pt x="191" y="119"/>
                  </a:lnTo>
                  <a:lnTo>
                    <a:pt x="188" y="116"/>
                  </a:lnTo>
                  <a:lnTo>
                    <a:pt x="185" y="112"/>
                  </a:lnTo>
                  <a:lnTo>
                    <a:pt x="183" y="106"/>
                  </a:lnTo>
                  <a:lnTo>
                    <a:pt x="183" y="25"/>
                  </a:lnTo>
                  <a:lnTo>
                    <a:pt x="122" y="25"/>
                  </a:lnTo>
                  <a:close/>
                  <a:moveTo>
                    <a:pt x="108" y="0"/>
                  </a:moveTo>
                  <a:lnTo>
                    <a:pt x="197" y="0"/>
                  </a:lnTo>
                  <a:lnTo>
                    <a:pt x="201" y="0"/>
                  </a:lnTo>
                  <a:lnTo>
                    <a:pt x="206" y="3"/>
                  </a:lnTo>
                  <a:lnTo>
                    <a:pt x="209" y="7"/>
                  </a:lnTo>
                  <a:lnTo>
                    <a:pt x="209" y="12"/>
                  </a:lnTo>
                  <a:lnTo>
                    <a:pt x="209" y="94"/>
                  </a:lnTo>
                  <a:lnTo>
                    <a:pt x="291" y="94"/>
                  </a:lnTo>
                  <a:lnTo>
                    <a:pt x="296" y="94"/>
                  </a:lnTo>
                  <a:lnTo>
                    <a:pt x="300" y="97"/>
                  </a:lnTo>
                  <a:lnTo>
                    <a:pt x="303" y="102"/>
                  </a:lnTo>
                  <a:lnTo>
                    <a:pt x="305" y="106"/>
                  </a:lnTo>
                  <a:lnTo>
                    <a:pt x="305" y="195"/>
                  </a:lnTo>
                  <a:lnTo>
                    <a:pt x="303" y="200"/>
                  </a:lnTo>
                  <a:lnTo>
                    <a:pt x="300" y="204"/>
                  </a:lnTo>
                  <a:lnTo>
                    <a:pt x="296" y="207"/>
                  </a:lnTo>
                  <a:lnTo>
                    <a:pt x="291" y="209"/>
                  </a:lnTo>
                  <a:lnTo>
                    <a:pt x="209" y="209"/>
                  </a:lnTo>
                  <a:lnTo>
                    <a:pt x="209" y="290"/>
                  </a:lnTo>
                  <a:lnTo>
                    <a:pt x="209" y="296"/>
                  </a:lnTo>
                  <a:lnTo>
                    <a:pt x="206" y="299"/>
                  </a:lnTo>
                  <a:lnTo>
                    <a:pt x="201" y="302"/>
                  </a:lnTo>
                  <a:lnTo>
                    <a:pt x="197" y="303"/>
                  </a:lnTo>
                  <a:lnTo>
                    <a:pt x="108" y="303"/>
                  </a:lnTo>
                  <a:lnTo>
                    <a:pt x="104" y="302"/>
                  </a:lnTo>
                  <a:lnTo>
                    <a:pt x="99" y="299"/>
                  </a:lnTo>
                  <a:lnTo>
                    <a:pt x="96" y="296"/>
                  </a:lnTo>
                  <a:lnTo>
                    <a:pt x="95" y="290"/>
                  </a:lnTo>
                  <a:lnTo>
                    <a:pt x="95" y="209"/>
                  </a:lnTo>
                  <a:lnTo>
                    <a:pt x="14" y="209"/>
                  </a:lnTo>
                  <a:lnTo>
                    <a:pt x="8" y="207"/>
                  </a:lnTo>
                  <a:lnTo>
                    <a:pt x="5" y="204"/>
                  </a:lnTo>
                  <a:lnTo>
                    <a:pt x="2" y="200"/>
                  </a:lnTo>
                  <a:lnTo>
                    <a:pt x="0" y="195"/>
                  </a:lnTo>
                  <a:lnTo>
                    <a:pt x="0" y="106"/>
                  </a:lnTo>
                  <a:lnTo>
                    <a:pt x="2" y="102"/>
                  </a:lnTo>
                  <a:lnTo>
                    <a:pt x="5" y="97"/>
                  </a:lnTo>
                  <a:lnTo>
                    <a:pt x="8" y="94"/>
                  </a:lnTo>
                  <a:lnTo>
                    <a:pt x="14" y="94"/>
                  </a:lnTo>
                  <a:lnTo>
                    <a:pt x="95" y="94"/>
                  </a:lnTo>
                  <a:lnTo>
                    <a:pt x="95" y="12"/>
                  </a:lnTo>
                  <a:lnTo>
                    <a:pt x="96" y="7"/>
                  </a:lnTo>
                  <a:lnTo>
                    <a:pt x="99" y="3"/>
                  </a:lnTo>
                  <a:lnTo>
                    <a:pt x="104" y="0"/>
                  </a:lnTo>
                  <a:lnTo>
                    <a:pt x="108" y="0"/>
                  </a:lnTo>
                  <a:close/>
                </a:path>
              </a:pathLst>
            </a:custGeom>
            <a:solidFill>
              <a:srgbClr val="05589C"/>
            </a:solidFill>
            <a:ln w="0">
              <a:noFill/>
              <a:prstDash val="solid"/>
              <a:round/>
              <a:headEnd/>
              <a:tailEnd/>
            </a:ln>
          </p:spPr>
          <p:txBody>
            <a:bodyPr vert="horz" wrap="square" lIns="91440" tIns="45720" rIns="91440" bIns="45720" numCol="1" anchor="t" anchorCtr="0" compatLnSpc="1">
              <a:prstTxWarp prst="textNoShape">
                <a:avLst/>
              </a:prstTxWarp>
            </a:bodyPr>
            <a:lstStyle/>
            <a:p>
              <a:pPr algn="r"/>
              <a:endParaRPr lang="pt-BR" dirty="0">
                <a:solidFill>
                  <a:prstClr val="black"/>
                </a:solidFill>
              </a:endParaRPr>
            </a:p>
          </p:txBody>
        </p:sp>
      </p:grpSp>
      <p:grpSp>
        <p:nvGrpSpPr>
          <p:cNvPr id="652" name="Agrupar 651">
            <a:extLst>
              <a:ext uri="{FF2B5EF4-FFF2-40B4-BE49-F238E27FC236}">
                <a16:creationId xmlns="" xmlns:a16="http://schemas.microsoft.com/office/drawing/2014/main" id="{7A53CC04-747D-48E1-A56C-C803C2BA3187}"/>
              </a:ext>
            </a:extLst>
          </p:cNvPr>
          <p:cNvGrpSpPr/>
          <p:nvPr/>
        </p:nvGrpSpPr>
        <p:grpSpPr>
          <a:xfrm>
            <a:off x="5890128" y="4600143"/>
            <a:ext cx="340482" cy="572400"/>
            <a:chOff x="1733926" y="3156019"/>
            <a:chExt cx="340482" cy="572400"/>
          </a:xfrm>
        </p:grpSpPr>
        <p:pic>
          <p:nvPicPr>
            <p:cNvPr id="653" name="Picture 422" descr="A picture containing thing, object&#10;&#10;Description generated with very high confidence">
              <a:extLst>
                <a:ext uri="{FF2B5EF4-FFF2-40B4-BE49-F238E27FC236}">
                  <a16:creationId xmlns="" xmlns:a16="http://schemas.microsoft.com/office/drawing/2014/main" id="{E514B12A-E8BF-4784-9E08-E73862EC130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1733926" y="3156019"/>
              <a:ext cx="340482" cy="572400"/>
            </a:xfrm>
            <a:prstGeom prst="rect">
              <a:avLst/>
            </a:prstGeom>
          </p:spPr>
        </p:pic>
        <p:sp>
          <p:nvSpPr>
            <p:cNvPr id="654" name="Freeform 7710">
              <a:extLst>
                <a:ext uri="{FF2B5EF4-FFF2-40B4-BE49-F238E27FC236}">
                  <a16:creationId xmlns="" xmlns:a16="http://schemas.microsoft.com/office/drawing/2014/main" id="{BAFA15EE-992A-46D0-861D-2EF84B49219F}"/>
                </a:ext>
              </a:extLst>
            </p:cNvPr>
            <p:cNvSpPr>
              <a:spLocks noEditPoints="1"/>
            </p:cNvSpPr>
            <p:nvPr/>
          </p:nvSpPr>
          <p:spPr bwMode="auto">
            <a:xfrm>
              <a:off x="1836619" y="3254122"/>
              <a:ext cx="140053" cy="139135"/>
            </a:xfrm>
            <a:custGeom>
              <a:avLst/>
              <a:gdLst>
                <a:gd name="T0" fmla="*/ 122 w 305"/>
                <a:gd name="T1" fmla="*/ 106 h 303"/>
                <a:gd name="T2" fmla="*/ 117 w 305"/>
                <a:gd name="T3" fmla="*/ 116 h 303"/>
                <a:gd name="T4" fmla="*/ 108 w 305"/>
                <a:gd name="T5" fmla="*/ 120 h 303"/>
                <a:gd name="T6" fmla="*/ 26 w 305"/>
                <a:gd name="T7" fmla="*/ 183 h 303"/>
                <a:gd name="T8" fmla="*/ 113 w 305"/>
                <a:gd name="T9" fmla="*/ 183 h 303"/>
                <a:gd name="T10" fmla="*/ 120 w 305"/>
                <a:gd name="T11" fmla="*/ 191 h 303"/>
                <a:gd name="T12" fmla="*/ 122 w 305"/>
                <a:gd name="T13" fmla="*/ 278 h 303"/>
                <a:gd name="T14" fmla="*/ 183 w 305"/>
                <a:gd name="T15" fmla="*/ 195 h 303"/>
                <a:gd name="T16" fmla="*/ 188 w 305"/>
                <a:gd name="T17" fmla="*/ 186 h 303"/>
                <a:gd name="T18" fmla="*/ 197 w 305"/>
                <a:gd name="T19" fmla="*/ 183 h 303"/>
                <a:gd name="T20" fmla="*/ 278 w 305"/>
                <a:gd name="T21" fmla="*/ 120 h 303"/>
                <a:gd name="T22" fmla="*/ 191 w 305"/>
                <a:gd name="T23" fmla="*/ 119 h 303"/>
                <a:gd name="T24" fmla="*/ 185 w 305"/>
                <a:gd name="T25" fmla="*/ 112 h 303"/>
                <a:gd name="T26" fmla="*/ 183 w 305"/>
                <a:gd name="T27" fmla="*/ 25 h 303"/>
                <a:gd name="T28" fmla="*/ 108 w 305"/>
                <a:gd name="T29" fmla="*/ 0 h 303"/>
                <a:gd name="T30" fmla="*/ 201 w 305"/>
                <a:gd name="T31" fmla="*/ 0 h 303"/>
                <a:gd name="T32" fmla="*/ 209 w 305"/>
                <a:gd name="T33" fmla="*/ 7 h 303"/>
                <a:gd name="T34" fmla="*/ 209 w 305"/>
                <a:gd name="T35" fmla="*/ 94 h 303"/>
                <a:gd name="T36" fmla="*/ 296 w 305"/>
                <a:gd name="T37" fmla="*/ 94 h 303"/>
                <a:gd name="T38" fmla="*/ 303 w 305"/>
                <a:gd name="T39" fmla="*/ 102 h 303"/>
                <a:gd name="T40" fmla="*/ 305 w 305"/>
                <a:gd name="T41" fmla="*/ 195 h 303"/>
                <a:gd name="T42" fmla="*/ 300 w 305"/>
                <a:gd name="T43" fmla="*/ 204 h 303"/>
                <a:gd name="T44" fmla="*/ 291 w 305"/>
                <a:gd name="T45" fmla="*/ 209 h 303"/>
                <a:gd name="T46" fmla="*/ 209 w 305"/>
                <a:gd name="T47" fmla="*/ 290 h 303"/>
                <a:gd name="T48" fmla="*/ 206 w 305"/>
                <a:gd name="T49" fmla="*/ 299 h 303"/>
                <a:gd name="T50" fmla="*/ 197 w 305"/>
                <a:gd name="T51" fmla="*/ 303 h 303"/>
                <a:gd name="T52" fmla="*/ 104 w 305"/>
                <a:gd name="T53" fmla="*/ 302 h 303"/>
                <a:gd name="T54" fmla="*/ 96 w 305"/>
                <a:gd name="T55" fmla="*/ 296 h 303"/>
                <a:gd name="T56" fmla="*/ 95 w 305"/>
                <a:gd name="T57" fmla="*/ 209 h 303"/>
                <a:gd name="T58" fmla="*/ 8 w 305"/>
                <a:gd name="T59" fmla="*/ 207 h 303"/>
                <a:gd name="T60" fmla="*/ 2 w 305"/>
                <a:gd name="T61" fmla="*/ 200 h 303"/>
                <a:gd name="T62" fmla="*/ 0 w 305"/>
                <a:gd name="T63" fmla="*/ 106 h 303"/>
                <a:gd name="T64" fmla="*/ 5 w 305"/>
                <a:gd name="T65" fmla="*/ 97 h 303"/>
                <a:gd name="T66" fmla="*/ 14 w 305"/>
                <a:gd name="T67" fmla="*/ 94 h 303"/>
                <a:gd name="T68" fmla="*/ 95 w 305"/>
                <a:gd name="T69" fmla="*/ 12 h 303"/>
                <a:gd name="T70" fmla="*/ 99 w 305"/>
                <a:gd name="T71" fmla="*/ 3 h 303"/>
                <a:gd name="T72" fmla="*/ 108 w 305"/>
                <a:gd name="T7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5" h="303">
                  <a:moveTo>
                    <a:pt x="122" y="25"/>
                  </a:moveTo>
                  <a:lnTo>
                    <a:pt x="122" y="106"/>
                  </a:lnTo>
                  <a:lnTo>
                    <a:pt x="120" y="112"/>
                  </a:lnTo>
                  <a:lnTo>
                    <a:pt x="117" y="116"/>
                  </a:lnTo>
                  <a:lnTo>
                    <a:pt x="113" y="119"/>
                  </a:lnTo>
                  <a:lnTo>
                    <a:pt x="108" y="120"/>
                  </a:lnTo>
                  <a:lnTo>
                    <a:pt x="26" y="120"/>
                  </a:lnTo>
                  <a:lnTo>
                    <a:pt x="26" y="183"/>
                  </a:lnTo>
                  <a:lnTo>
                    <a:pt x="108" y="183"/>
                  </a:lnTo>
                  <a:lnTo>
                    <a:pt x="113" y="183"/>
                  </a:lnTo>
                  <a:lnTo>
                    <a:pt x="117" y="186"/>
                  </a:lnTo>
                  <a:lnTo>
                    <a:pt x="120" y="191"/>
                  </a:lnTo>
                  <a:lnTo>
                    <a:pt x="122" y="195"/>
                  </a:lnTo>
                  <a:lnTo>
                    <a:pt x="122" y="278"/>
                  </a:lnTo>
                  <a:lnTo>
                    <a:pt x="183" y="278"/>
                  </a:lnTo>
                  <a:lnTo>
                    <a:pt x="183" y="195"/>
                  </a:lnTo>
                  <a:lnTo>
                    <a:pt x="185" y="191"/>
                  </a:lnTo>
                  <a:lnTo>
                    <a:pt x="188" y="186"/>
                  </a:lnTo>
                  <a:lnTo>
                    <a:pt x="191" y="183"/>
                  </a:lnTo>
                  <a:lnTo>
                    <a:pt x="197" y="183"/>
                  </a:lnTo>
                  <a:lnTo>
                    <a:pt x="278" y="183"/>
                  </a:lnTo>
                  <a:lnTo>
                    <a:pt x="278" y="120"/>
                  </a:lnTo>
                  <a:lnTo>
                    <a:pt x="197" y="120"/>
                  </a:lnTo>
                  <a:lnTo>
                    <a:pt x="191" y="119"/>
                  </a:lnTo>
                  <a:lnTo>
                    <a:pt x="188" y="116"/>
                  </a:lnTo>
                  <a:lnTo>
                    <a:pt x="185" y="112"/>
                  </a:lnTo>
                  <a:lnTo>
                    <a:pt x="183" y="106"/>
                  </a:lnTo>
                  <a:lnTo>
                    <a:pt x="183" y="25"/>
                  </a:lnTo>
                  <a:lnTo>
                    <a:pt x="122" y="25"/>
                  </a:lnTo>
                  <a:close/>
                  <a:moveTo>
                    <a:pt x="108" y="0"/>
                  </a:moveTo>
                  <a:lnTo>
                    <a:pt x="197" y="0"/>
                  </a:lnTo>
                  <a:lnTo>
                    <a:pt x="201" y="0"/>
                  </a:lnTo>
                  <a:lnTo>
                    <a:pt x="206" y="3"/>
                  </a:lnTo>
                  <a:lnTo>
                    <a:pt x="209" y="7"/>
                  </a:lnTo>
                  <a:lnTo>
                    <a:pt x="209" y="12"/>
                  </a:lnTo>
                  <a:lnTo>
                    <a:pt x="209" y="94"/>
                  </a:lnTo>
                  <a:lnTo>
                    <a:pt x="291" y="94"/>
                  </a:lnTo>
                  <a:lnTo>
                    <a:pt x="296" y="94"/>
                  </a:lnTo>
                  <a:lnTo>
                    <a:pt x="300" y="97"/>
                  </a:lnTo>
                  <a:lnTo>
                    <a:pt x="303" y="102"/>
                  </a:lnTo>
                  <a:lnTo>
                    <a:pt x="305" y="106"/>
                  </a:lnTo>
                  <a:lnTo>
                    <a:pt x="305" y="195"/>
                  </a:lnTo>
                  <a:lnTo>
                    <a:pt x="303" y="200"/>
                  </a:lnTo>
                  <a:lnTo>
                    <a:pt x="300" y="204"/>
                  </a:lnTo>
                  <a:lnTo>
                    <a:pt x="296" y="207"/>
                  </a:lnTo>
                  <a:lnTo>
                    <a:pt x="291" y="209"/>
                  </a:lnTo>
                  <a:lnTo>
                    <a:pt x="209" y="209"/>
                  </a:lnTo>
                  <a:lnTo>
                    <a:pt x="209" y="290"/>
                  </a:lnTo>
                  <a:lnTo>
                    <a:pt x="209" y="296"/>
                  </a:lnTo>
                  <a:lnTo>
                    <a:pt x="206" y="299"/>
                  </a:lnTo>
                  <a:lnTo>
                    <a:pt x="201" y="302"/>
                  </a:lnTo>
                  <a:lnTo>
                    <a:pt x="197" y="303"/>
                  </a:lnTo>
                  <a:lnTo>
                    <a:pt x="108" y="303"/>
                  </a:lnTo>
                  <a:lnTo>
                    <a:pt x="104" y="302"/>
                  </a:lnTo>
                  <a:lnTo>
                    <a:pt x="99" y="299"/>
                  </a:lnTo>
                  <a:lnTo>
                    <a:pt x="96" y="296"/>
                  </a:lnTo>
                  <a:lnTo>
                    <a:pt x="95" y="290"/>
                  </a:lnTo>
                  <a:lnTo>
                    <a:pt x="95" y="209"/>
                  </a:lnTo>
                  <a:lnTo>
                    <a:pt x="14" y="209"/>
                  </a:lnTo>
                  <a:lnTo>
                    <a:pt x="8" y="207"/>
                  </a:lnTo>
                  <a:lnTo>
                    <a:pt x="5" y="204"/>
                  </a:lnTo>
                  <a:lnTo>
                    <a:pt x="2" y="200"/>
                  </a:lnTo>
                  <a:lnTo>
                    <a:pt x="0" y="195"/>
                  </a:lnTo>
                  <a:lnTo>
                    <a:pt x="0" y="106"/>
                  </a:lnTo>
                  <a:lnTo>
                    <a:pt x="2" y="102"/>
                  </a:lnTo>
                  <a:lnTo>
                    <a:pt x="5" y="97"/>
                  </a:lnTo>
                  <a:lnTo>
                    <a:pt x="8" y="94"/>
                  </a:lnTo>
                  <a:lnTo>
                    <a:pt x="14" y="94"/>
                  </a:lnTo>
                  <a:lnTo>
                    <a:pt x="95" y="94"/>
                  </a:lnTo>
                  <a:lnTo>
                    <a:pt x="95" y="12"/>
                  </a:lnTo>
                  <a:lnTo>
                    <a:pt x="96" y="7"/>
                  </a:lnTo>
                  <a:lnTo>
                    <a:pt x="99" y="3"/>
                  </a:lnTo>
                  <a:lnTo>
                    <a:pt x="104" y="0"/>
                  </a:lnTo>
                  <a:lnTo>
                    <a:pt x="108" y="0"/>
                  </a:lnTo>
                  <a:close/>
                </a:path>
              </a:pathLst>
            </a:custGeom>
            <a:solidFill>
              <a:srgbClr val="05589C"/>
            </a:solidFill>
            <a:ln w="0">
              <a:noFill/>
              <a:prstDash val="solid"/>
              <a:round/>
              <a:headEnd/>
              <a:tailEnd/>
            </a:ln>
          </p:spPr>
          <p:txBody>
            <a:bodyPr vert="horz" wrap="square" lIns="91440" tIns="45720" rIns="91440" bIns="45720" numCol="1" anchor="t" anchorCtr="0" compatLnSpc="1">
              <a:prstTxWarp prst="textNoShape">
                <a:avLst/>
              </a:prstTxWarp>
            </a:bodyPr>
            <a:lstStyle/>
            <a:p>
              <a:pPr algn="r"/>
              <a:endParaRPr lang="pt-BR" dirty="0">
                <a:solidFill>
                  <a:prstClr val="black"/>
                </a:solidFill>
              </a:endParaRPr>
            </a:p>
          </p:txBody>
        </p:sp>
      </p:grpSp>
      <p:grpSp>
        <p:nvGrpSpPr>
          <p:cNvPr id="655" name="Agrupar 654">
            <a:extLst>
              <a:ext uri="{FF2B5EF4-FFF2-40B4-BE49-F238E27FC236}">
                <a16:creationId xmlns="" xmlns:a16="http://schemas.microsoft.com/office/drawing/2014/main" id="{34CA6B4E-9D0E-426F-8828-E132A47259C4}"/>
              </a:ext>
            </a:extLst>
          </p:cNvPr>
          <p:cNvGrpSpPr/>
          <p:nvPr/>
        </p:nvGrpSpPr>
        <p:grpSpPr>
          <a:xfrm>
            <a:off x="6704022" y="2819044"/>
            <a:ext cx="340482" cy="572400"/>
            <a:chOff x="1733926" y="3156019"/>
            <a:chExt cx="340482" cy="572400"/>
          </a:xfrm>
        </p:grpSpPr>
        <p:pic>
          <p:nvPicPr>
            <p:cNvPr id="656" name="Picture 422" descr="A picture containing thing, object&#10;&#10;Description generated with very high confidence">
              <a:extLst>
                <a:ext uri="{FF2B5EF4-FFF2-40B4-BE49-F238E27FC236}">
                  <a16:creationId xmlns="" xmlns:a16="http://schemas.microsoft.com/office/drawing/2014/main" id="{EAE69A5F-17E2-4842-815D-16A7C7CE23D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1733926" y="3156019"/>
              <a:ext cx="340482" cy="572400"/>
            </a:xfrm>
            <a:prstGeom prst="rect">
              <a:avLst/>
            </a:prstGeom>
          </p:spPr>
        </p:pic>
        <p:sp>
          <p:nvSpPr>
            <p:cNvPr id="657" name="Freeform 7710">
              <a:extLst>
                <a:ext uri="{FF2B5EF4-FFF2-40B4-BE49-F238E27FC236}">
                  <a16:creationId xmlns="" xmlns:a16="http://schemas.microsoft.com/office/drawing/2014/main" id="{51C1E4C5-9812-40EC-A0BC-99BEA1D69B38}"/>
                </a:ext>
              </a:extLst>
            </p:cNvPr>
            <p:cNvSpPr>
              <a:spLocks noEditPoints="1"/>
            </p:cNvSpPr>
            <p:nvPr/>
          </p:nvSpPr>
          <p:spPr bwMode="auto">
            <a:xfrm>
              <a:off x="1836619" y="3254122"/>
              <a:ext cx="140053" cy="139135"/>
            </a:xfrm>
            <a:custGeom>
              <a:avLst/>
              <a:gdLst>
                <a:gd name="T0" fmla="*/ 122 w 305"/>
                <a:gd name="T1" fmla="*/ 106 h 303"/>
                <a:gd name="T2" fmla="*/ 117 w 305"/>
                <a:gd name="T3" fmla="*/ 116 h 303"/>
                <a:gd name="T4" fmla="*/ 108 w 305"/>
                <a:gd name="T5" fmla="*/ 120 h 303"/>
                <a:gd name="T6" fmla="*/ 26 w 305"/>
                <a:gd name="T7" fmla="*/ 183 h 303"/>
                <a:gd name="T8" fmla="*/ 113 w 305"/>
                <a:gd name="T9" fmla="*/ 183 h 303"/>
                <a:gd name="T10" fmla="*/ 120 w 305"/>
                <a:gd name="T11" fmla="*/ 191 h 303"/>
                <a:gd name="T12" fmla="*/ 122 w 305"/>
                <a:gd name="T13" fmla="*/ 278 h 303"/>
                <a:gd name="T14" fmla="*/ 183 w 305"/>
                <a:gd name="T15" fmla="*/ 195 h 303"/>
                <a:gd name="T16" fmla="*/ 188 w 305"/>
                <a:gd name="T17" fmla="*/ 186 h 303"/>
                <a:gd name="T18" fmla="*/ 197 w 305"/>
                <a:gd name="T19" fmla="*/ 183 h 303"/>
                <a:gd name="T20" fmla="*/ 278 w 305"/>
                <a:gd name="T21" fmla="*/ 120 h 303"/>
                <a:gd name="T22" fmla="*/ 191 w 305"/>
                <a:gd name="T23" fmla="*/ 119 h 303"/>
                <a:gd name="T24" fmla="*/ 185 w 305"/>
                <a:gd name="T25" fmla="*/ 112 h 303"/>
                <a:gd name="T26" fmla="*/ 183 w 305"/>
                <a:gd name="T27" fmla="*/ 25 h 303"/>
                <a:gd name="T28" fmla="*/ 108 w 305"/>
                <a:gd name="T29" fmla="*/ 0 h 303"/>
                <a:gd name="T30" fmla="*/ 201 w 305"/>
                <a:gd name="T31" fmla="*/ 0 h 303"/>
                <a:gd name="T32" fmla="*/ 209 w 305"/>
                <a:gd name="T33" fmla="*/ 7 h 303"/>
                <a:gd name="T34" fmla="*/ 209 w 305"/>
                <a:gd name="T35" fmla="*/ 94 h 303"/>
                <a:gd name="T36" fmla="*/ 296 w 305"/>
                <a:gd name="T37" fmla="*/ 94 h 303"/>
                <a:gd name="T38" fmla="*/ 303 w 305"/>
                <a:gd name="T39" fmla="*/ 102 h 303"/>
                <a:gd name="T40" fmla="*/ 305 w 305"/>
                <a:gd name="T41" fmla="*/ 195 h 303"/>
                <a:gd name="T42" fmla="*/ 300 w 305"/>
                <a:gd name="T43" fmla="*/ 204 h 303"/>
                <a:gd name="T44" fmla="*/ 291 w 305"/>
                <a:gd name="T45" fmla="*/ 209 h 303"/>
                <a:gd name="T46" fmla="*/ 209 w 305"/>
                <a:gd name="T47" fmla="*/ 290 h 303"/>
                <a:gd name="T48" fmla="*/ 206 w 305"/>
                <a:gd name="T49" fmla="*/ 299 h 303"/>
                <a:gd name="T50" fmla="*/ 197 w 305"/>
                <a:gd name="T51" fmla="*/ 303 h 303"/>
                <a:gd name="T52" fmla="*/ 104 w 305"/>
                <a:gd name="T53" fmla="*/ 302 h 303"/>
                <a:gd name="T54" fmla="*/ 96 w 305"/>
                <a:gd name="T55" fmla="*/ 296 h 303"/>
                <a:gd name="T56" fmla="*/ 95 w 305"/>
                <a:gd name="T57" fmla="*/ 209 h 303"/>
                <a:gd name="T58" fmla="*/ 8 w 305"/>
                <a:gd name="T59" fmla="*/ 207 h 303"/>
                <a:gd name="T60" fmla="*/ 2 w 305"/>
                <a:gd name="T61" fmla="*/ 200 h 303"/>
                <a:gd name="T62" fmla="*/ 0 w 305"/>
                <a:gd name="T63" fmla="*/ 106 h 303"/>
                <a:gd name="T64" fmla="*/ 5 w 305"/>
                <a:gd name="T65" fmla="*/ 97 h 303"/>
                <a:gd name="T66" fmla="*/ 14 w 305"/>
                <a:gd name="T67" fmla="*/ 94 h 303"/>
                <a:gd name="T68" fmla="*/ 95 w 305"/>
                <a:gd name="T69" fmla="*/ 12 h 303"/>
                <a:gd name="T70" fmla="*/ 99 w 305"/>
                <a:gd name="T71" fmla="*/ 3 h 303"/>
                <a:gd name="T72" fmla="*/ 108 w 305"/>
                <a:gd name="T7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5" h="303">
                  <a:moveTo>
                    <a:pt x="122" y="25"/>
                  </a:moveTo>
                  <a:lnTo>
                    <a:pt x="122" y="106"/>
                  </a:lnTo>
                  <a:lnTo>
                    <a:pt x="120" y="112"/>
                  </a:lnTo>
                  <a:lnTo>
                    <a:pt x="117" y="116"/>
                  </a:lnTo>
                  <a:lnTo>
                    <a:pt x="113" y="119"/>
                  </a:lnTo>
                  <a:lnTo>
                    <a:pt x="108" y="120"/>
                  </a:lnTo>
                  <a:lnTo>
                    <a:pt x="26" y="120"/>
                  </a:lnTo>
                  <a:lnTo>
                    <a:pt x="26" y="183"/>
                  </a:lnTo>
                  <a:lnTo>
                    <a:pt x="108" y="183"/>
                  </a:lnTo>
                  <a:lnTo>
                    <a:pt x="113" y="183"/>
                  </a:lnTo>
                  <a:lnTo>
                    <a:pt x="117" y="186"/>
                  </a:lnTo>
                  <a:lnTo>
                    <a:pt x="120" y="191"/>
                  </a:lnTo>
                  <a:lnTo>
                    <a:pt x="122" y="195"/>
                  </a:lnTo>
                  <a:lnTo>
                    <a:pt x="122" y="278"/>
                  </a:lnTo>
                  <a:lnTo>
                    <a:pt x="183" y="278"/>
                  </a:lnTo>
                  <a:lnTo>
                    <a:pt x="183" y="195"/>
                  </a:lnTo>
                  <a:lnTo>
                    <a:pt x="185" y="191"/>
                  </a:lnTo>
                  <a:lnTo>
                    <a:pt x="188" y="186"/>
                  </a:lnTo>
                  <a:lnTo>
                    <a:pt x="191" y="183"/>
                  </a:lnTo>
                  <a:lnTo>
                    <a:pt x="197" y="183"/>
                  </a:lnTo>
                  <a:lnTo>
                    <a:pt x="278" y="183"/>
                  </a:lnTo>
                  <a:lnTo>
                    <a:pt x="278" y="120"/>
                  </a:lnTo>
                  <a:lnTo>
                    <a:pt x="197" y="120"/>
                  </a:lnTo>
                  <a:lnTo>
                    <a:pt x="191" y="119"/>
                  </a:lnTo>
                  <a:lnTo>
                    <a:pt x="188" y="116"/>
                  </a:lnTo>
                  <a:lnTo>
                    <a:pt x="185" y="112"/>
                  </a:lnTo>
                  <a:lnTo>
                    <a:pt x="183" y="106"/>
                  </a:lnTo>
                  <a:lnTo>
                    <a:pt x="183" y="25"/>
                  </a:lnTo>
                  <a:lnTo>
                    <a:pt x="122" y="25"/>
                  </a:lnTo>
                  <a:close/>
                  <a:moveTo>
                    <a:pt x="108" y="0"/>
                  </a:moveTo>
                  <a:lnTo>
                    <a:pt x="197" y="0"/>
                  </a:lnTo>
                  <a:lnTo>
                    <a:pt x="201" y="0"/>
                  </a:lnTo>
                  <a:lnTo>
                    <a:pt x="206" y="3"/>
                  </a:lnTo>
                  <a:lnTo>
                    <a:pt x="209" y="7"/>
                  </a:lnTo>
                  <a:lnTo>
                    <a:pt x="209" y="12"/>
                  </a:lnTo>
                  <a:lnTo>
                    <a:pt x="209" y="94"/>
                  </a:lnTo>
                  <a:lnTo>
                    <a:pt x="291" y="94"/>
                  </a:lnTo>
                  <a:lnTo>
                    <a:pt x="296" y="94"/>
                  </a:lnTo>
                  <a:lnTo>
                    <a:pt x="300" y="97"/>
                  </a:lnTo>
                  <a:lnTo>
                    <a:pt x="303" y="102"/>
                  </a:lnTo>
                  <a:lnTo>
                    <a:pt x="305" y="106"/>
                  </a:lnTo>
                  <a:lnTo>
                    <a:pt x="305" y="195"/>
                  </a:lnTo>
                  <a:lnTo>
                    <a:pt x="303" y="200"/>
                  </a:lnTo>
                  <a:lnTo>
                    <a:pt x="300" y="204"/>
                  </a:lnTo>
                  <a:lnTo>
                    <a:pt x="296" y="207"/>
                  </a:lnTo>
                  <a:lnTo>
                    <a:pt x="291" y="209"/>
                  </a:lnTo>
                  <a:lnTo>
                    <a:pt x="209" y="209"/>
                  </a:lnTo>
                  <a:lnTo>
                    <a:pt x="209" y="290"/>
                  </a:lnTo>
                  <a:lnTo>
                    <a:pt x="209" y="296"/>
                  </a:lnTo>
                  <a:lnTo>
                    <a:pt x="206" y="299"/>
                  </a:lnTo>
                  <a:lnTo>
                    <a:pt x="201" y="302"/>
                  </a:lnTo>
                  <a:lnTo>
                    <a:pt x="197" y="303"/>
                  </a:lnTo>
                  <a:lnTo>
                    <a:pt x="108" y="303"/>
                  </a:lnTo>
                  <a:lnTo>
                    <a:pt x="104" y="302"/>
                  </a:lnTo>
                  <a:lnTo>
                    <a:pt x="99" y="299"/>
                  </a:lnTo>
                  <a:lnTo>
                    <a:pt x="96" y="296"/>
                  </a:lnTo>
                  <a:lnTo>
                    <a:pt x="95" y="290"/>
                  </a:lnTo>
                  <a:lnTo>
                    <a:pt x="95" y="209"/>
                  </a:lnTo>
                  <a:lnTo>
                    <a:pt x="14" y="209"/>
                  </a:lnTo>
                  <a:lnTo>
                    <a:pt x="8" y="207"/>
                  </a:lnTo>
                  <a:lnTo>
                    <a:pt x="5" y="204"/>
                  </a:lnTo>
                  <a:lnTo>
                    <a:pt x="2" y="200"/>
                  </a:lnTo>
                  <a:lnTo>
                    <a:pt x="0" y="195"/>
                  </a:lnTo>
                  <a:lnTo>
                    <a:pt x="0" y="106"/>
                  </a:lnTo>
                  <a:lnTo>
                    <a:pt x="2" y="102"/>
                  </a:lnTo>
                  <a:lnTo>
                    <a:pt x="5" y="97"/>
                  </a:lnTo>
                  <a:lnTo>
                    <a:pt x="8" y="94"/>
                  </a:lnTo>
                  <a:lnTo>
                    <a:pt x="14" y="94"/>
                  </a:lnTo>
                  <a:lnTo>
                    <a:pt x="95" y="94"/>
                  </a:lnTo>
                  <a:lnTo>
                    <a:pt x="95" y="12"/>
                  </a:lnTo>
                  <a:lnTo>
                    <a:pt x="96" y="7"/>
                  </a:lnTo>
                  <a:lnTo>
                    <a:pt x="99" y="3"/>
                  </a:lnTo>
                  <a:lnTo>
                    <a:pt x="104" y="0"/>
                  </a:lnTo>
                  <a:lnTo>
                    <a:pt x="108" y="0"/>
                  </a:lnTo>
                  <a:close/>
                </a:path>
              </a:pathLst>
            </a:custGeom>
            <a:solidFill>
              <a:srgbClr val="05589C"/>
            </a:solidFill>
            <a:ln w="0">
              <a:noFill/>
              <a:prstDash val="solid"/>
              <a:round/>
              <a:headEnd/>
              <a:tailEnd/>
            </a:ln>
          </p:spPr>
          <p:txBody>
            <a:bodyPr vert="horz" wrap="square" lIns="91440" tIns="45720" rIns="91440" bIns="45720" numCol="1" anchor="t" anchorCtr="0" compatLnSpc="1">
              <a:prstTxWarp prst="textNoShape">
                <a:avLst/>
              </a:prstTxWarp>
            </a:bodyPr>
            <a:lstStyle/>
            <a:p>
              <a:pPr algn="r"/>
              <a:endParaRPr lang="pt-BR" dirty="0">
                <a:solidFill>
                  <a:prstClr val="black"/>
                </a:solidFill>
              </a:endParaRPr>
            </a:p>
          </p:txBody>
        </p:sp>
      </p:grpSp>
      <p:grpSp>
        <p:nvGrpSpPr>
          <p:cNvPr id="661" name="Agrupar 660">
            <a:extLst>
              <a:ext uri="{FF2B5EF4-FFF2-40B4-BE49-F238E27FC236}">
                <a16:creationId xmlns="" xmlns:a16="http://schemas.microsoft.com/office/drawing/2014/main" id="{194C760B-5926-49FA-872F-53F3FB8DCE91}"/>
              </a:ext>
            </a:extLst>
          </p:cNvPr>
          <p:cNvGrpSpPr/>
          <p:nvPr/>
        </p:nvGrpSpPr>
        <p:grpSpPr>
          <a:xfrm>
            <a:off x="7599506" y="3450453"/>
            <a:ext cx="340482" cy="572400"/>
            <a:chOff x="1733926" y="3156019"/>
            <a:chExt cx="340482" cy="572400"/>
          </a:xfrm>
        </p:grpSpPr>
        <p:pic>
          <p:nvPicPr>
            <p:cNvPr id="662" name="Picture 422" descr="A picture containing thing, object&#10;&#10;Description generated with very high confidence">
              <a:extLst>
                <a:ext uri="{FF2B5EF4-FFF2-40B4-BE49-F238E27FC236}">
                  <a16:creationId xmlns="" xmlns:a16="http://schemas.microsoft.com/office/drawing/2014/main" id="{5612B73A-6DE0-450F-8327-99DFB2AF08ED}"/>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1733926" y="3156019"/>
              <a:ext cx="340482" cy="572400"/>
            </a:xfrm>
            <a:prstGeom prst="rect">
              <a:avLst/>
            </a:prstGeom>
          </p:spPr>
        </p:pic>
        <p:sp>
          <p:nvSpPr>
            <p:cNvPr id="663" name="Freeform 7710">
              <a:extLst>
                <a:ext uri="{FF2B5EF4-FFF2-40B4-BE49-F238E27FC236}">
                  <a16:creationId xmlns="" xmlns:a16="http://schemas.microsoft.com/office/drawing/2014/main" id="{DEBC1E8E-0F74-4967-9631-D9C1BDF65236}"/>
                </a:ext>
              </a:extLst>
            </p:cNvPr>
            <p:cNvSpPr>
              <a:spLocks noEditPoints="1"/>
            </p:cNvSpPr>
            <p:nvPr/>
          </p:nvSpPr>
          <p:spPr bwMode="auto">
            <a:xfrm>
              <a:off x="1836619" y="3254122"/>
              <a:ext cx="140053" cy="139135"/>
            </a:xfrm>
            <a:custGeom>
              <a:avLst/>
              <a:gdLst>
                <a:gd name="T0" fmla="*/ 122 w 305"/>
                <a:gd name="T1" fmla="*/ 106 h 303"/>
                <a:gd name="T2" fmla="*/ 117 w 305"/>
                <a:gd name="T3" fmla="*/ 116 h 303"/>
                <a:gd name="T4" fmla="*/ 108 w 305"/>
                <a:gd name="T5" fmla="*/ 120 h 303"/>
                <a:gd name="T6" fmla="*/ 26 w 305"/>
                <a:gd name="T7" fmla="*/ 183 h 303"/>
                <a:gd name="T8" fmla="*/ 113 w 305"/>
                <a:gd name="T9" fmla="*/ 183 h 303"/>
                <a:gd name="T10" fmla="*/ 120 w 305"/>
                <a:gd name="T11" fmla="*/ 191 h 303"/>
                <a:gd name="T12" fmla="*/ 122 w 305"/>
                <a:gd name="T13" fmla="*/ 278 h 303"/>
                <a:gd name="T14" fmla="*/ 183 w 305"/>
                <a:gd name="T15" fmla="*/ 195 h 303"/>
                <a:gd name="T16" fmla="*/ 188 w 305"/>
                <a:gd name="T17" fmla="*/ 186 h 303"/>
                <a:gd name="T18" fmla="*/ 197 w 305"/>
                <a:gd name="T19" fmla="*/ 183 h 303"/>
                <a:gd name="T20" fmla="*/ 278 w 305"/>
                <a:gd name="T21" fmla="*/ 120 h 303"/>
                <a:gd name="T22" fmla="*/ 191 w 305"/>
                <a:gd name="T23" fmla="*/ 119 h 303"/>
                <a:gd name="T24" fmla="*/ 185 w 305"/>
                <a:gd name="T25" fmla="*/ 112 h 303"/>
                <a:gd name="T26" fmla="*/ 183 w 305"/>
                <a:gd name="T27" fmla="*/ 25 h 303"/>
                <a:gd name="T28" fmla="*/ 108 w 305"/>
                <a:gd name="T29" fmla="*/ 0 h 303"/>
                <a:gd name="T30" fmla="*/ 201 w 305"/>
                <a:gd name="T31" fmla="*/ 0 h 303"/>
                <a:gd name="T32" fmla="*/ 209 w 305"/>
                <a:gd name="T33" fmla="*/ 7 h 303"/>
                <a:gd name="T34" fmla="*/ 209 w 305"/>
                <a:gd name="T35" fmla="*/ 94 h 303"/>
                <a:gd name="T36" fmla="*/ 296 w 305"/>
                <a:gd name="T37" fmla="*/ 94 h 303"/>
                <a:gd name="T38" fmla="*/ 303 w 305"/>
                <a:gd name="T39" fmla="*/ 102 h 303"/>
                <a:gd name="T40" fmla="*/ 305 w 305"/>
                <a:gd name="T41" fmla="*/ 195 h 303"/>
                <a:gd name="T42" fmla="*/ 300 w 305"/>
                <a:gd name="T43" fmla="*/ 204 h 303"/>
                <a:gd name="T44" fmla="*/ 291 w 305"/>
                <a:gd name="T45" fmla="*/ 209 h 303"/>
                <a:gd name="T46" fmla="*/ 209 w 305"/>
                <a:gd name="T47" fmla="*/ 290 h 303"/>
                <a:gd name="T48" fmla="*/ 206 w 305"/>
                <a:gd name="T49" fmla="*/ 299 h 303"/>
                <a:gd name="T50" fmla="*/ 197 w 305"/>
                <a:gd name="T51" fmla="*/ 303 h 303"/>
                <a:gd name="T52" fmla="*/ 104 w 305"/>
                <a:gd name="T53" fmla="*/ 302 h 303"/>
                <a:gd name="T54" fmla="*/ 96 w 305"/>
                <a:gd name="T55" fmla="*/ 296 h 303"/>
                <a:gd name="T56" fmla="*/ 95 w 305"/>
                <a:gd name="T57" fmla="*/ 209 h 303"/>
                <a:gd name="T58" fmla="*/ 8 w 305"/>
                <a:gd name="T59" fmla="*/ 207 h 303"/>
                <a:gd name="T60" fmla="*/ 2 w 305"/>
                <a:gd name="T61" fmla="*/ 200 h 303"/>
                <a:gd name="T62" fmla="*/ 0 w 305"/>
                <a:gd name="T63" fmla="*/ 106 h 303"/>
                <a:gd name="T64" fmla="*/ 5 w 305"/>
                <a:gd name="T65" fmla="*/ 97 h 303"/>
                <a:gd name="T66" fmla="*/ 14 w 305"/>
                <a:gd name="T67" fmla="*/ 94 h 303"/>
                <a:gd name="T68" fmla="*/ 95 w 305"/>
                <a:gd name="T69" fmla="*/ 12 h 303"/>
                <a:gd name="T70" fmla="*/ 99 w 305"/>
                <a:gd name="T71" fmla="*/ 3 h 303"/>
                <a:gd name="T72" fmla="*/ 108 w 305"/>
                <a:gd name="T7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5" h="303">
                  <a:moveTo>
                    <a:pt x="122" y="25"/>
                  </a:moveTo>
                  <a:lnTo>
                    <a:pt x="122" y="106"/>
                  </a:lnTo>
                  <a:lnTo>
                    <a:pt x="120" y="112"/>
                  </a:lnTo>
                  <a:lnTo>
                    <a:pt x="117" y="116"/>
                  </a:lnTo>
                  <a:lnTo>
                    <a:pt x="113" y="119"/>
                  </a:lnTo>
                  <a:lnTo>
                    <a:pt x="108" y="120"/>
                  </a:lnTo>
                  <a:lnTo>
                    <a:pt x="26" y="120"/>
                  </a:lnTo>
                  <a:lnTo>
                    <a:pt x="26" y="183"/>
                  </a:lnTo>
                  <a:lnTo>
                    <a:pt x="108" y="183"/>
                  </a:lnTo>
                  <a:lnTo>
                    <a:pt x="113" y="183"/>
                  </a:lnTo>
                  <a:lnTo>
                    <a:pt x="117" y="186"/>
                  </a:lnTo>
                  <a:lnTo>
                    <a:pt x="120" y="191"/>
                  </a:lnTo>
                  <a:lnTo>
                    <a:pt x="122" y="195"/>
                  </a:lnTo>
                  <a:lnTo>
                    <a:pt x="122" y="278"/>
                  </a:lnTo>
                  <a:lnTo>
                    <a:pt x="183" y="278"/>
                  </a:lnTo>
                  <a:lnTo>
                    <a:pt x="183" y="195"/>
                  </a:lnTo>
                  <a:lnTo>
                    <a:pt x="185" y="191"/>
                  </a:lnTo>
                  <a:lnTo>
                    <a:pt x="188" y="186"/>
                  </a:lnTo>
                  <a:lnTo>
                    <a:pt x="191" y="183"/>
                  </a:lnTo>
                  <a:lnTo>
                    <a:pt x="197" y="183"/>
                  </a:lnTo>
                  <a:lnTo>
                    <a:pt x="278" y="183"/>
                  </a:lnTo>
                  <a:lnTo>
                    <a:pt x="278" y="120"/>
                  </a:lnTo>
                  <a:lnTo>
                    <a:pt x="197" y="120"/>
                  </a:lnTo>
                  <a:lnTo>
                    <a:pt x="191" y="119"/>
                  </a:lnTo>
                  <a:lnTo>
                    <a:pt x="188" y="116"/>
                  </a:lnTo>
                  <a:lnTo>
                    <a:pt x="185" y="112"/>
                  </a:lnTo>
                  <a:lnTo>
                    <a:pt x="183" y="106"/>
                  </a:lnTo>
                  <a:lnTo>
                    <a:pt x="183" y="25"/>
                  </a:lnTo>
                  <a:lnTo>
                    <a:pt x="122" y="25"/>
                  </a:lnTo>
                  <a:close/>
                  <a:moveTo>
                    <a:pt x="108" y="0"/>
                  </a:moveTo>
                  <a:lnTo>
                    <a:pt x="197" y="0"/>
                  </a:lnTo>
                  <a:lnTo>
                    <a:pt x="201" y="0"/>
                  </a:lnTo>
                  <a:lnTo>
                    <a:pt x="206" y="3"/>
                  </a:lnTo>
                  <a:lnTo>
                    <a:pt x="209" y="7"/>
                  </a:lnTo>
                  <a:lnTo>
                    <a:pt x="209" y="12"/>
                  </a:lnTo>
                  <a:lnTo>
                    <a:pt x="209" y="94"/>
                  </a:lnTo>
                  <a:lnTo>
                    <a:pt x="291" y="94"/>
                  </a:lnTo>
                  <a:lnTo>
                    <a:pt x="296" y="94"/>
                  </a:lnTo>
                  <a:lnTo>
                    <a:pt x="300" y="97"/>
                  </a:lnTo>
                  <a:lnTo>
                    <a:pt x="303" y="102"/>
                  </a:lnTo>
                  <a:lnTo>
                    <a:pt x="305" y="106"/>
                  </a:lnTo>
                  <a:lnTo>
                    <a:pt x="305" y="195"/>
                  </a:lnTo>
                  <a:lnTo>
                    <a:pt x="303" y="200"/>
                  </a:lnTo>
                  <a:lnTo>
                    <a:pt x="300" y="204"/>
                  </a:lnTo>
                  <a:lnTo>
                    <a:pt x="296" y="207"/>
                  </a:lnTo>
                  <a:lnTo>
                    <a:pt x="291" y="209"/>
                  </a:lnTo>
                  <a:lnTo>
                    <a:pt x="209" y="209"/>
                  </a:lnTo>
                  <a:lnTo>
                    <a:pt x="209" y="290"/>
                  </a:lnTo>
                  <a:lnTo>
                    <a:pt x="209" y="296"/>
                  </a:lnTo>
                  <a:lnTo>
                    <a:pt x="206" y="299"/>
                  </a:lnTo>
                  <a:lnTo>
                    <a:pt x="201" y="302"/>
                  </a:lnTo>
                  <a:lnTo>
                    <a:pt x="197" y="303"/>
                  </a:lnTo>
                  <a:lnTo>
                    <a:pt x="108" y="303"/>
                  </a:lnTo>
                  <a:lnTo>
                    <a:pt x="104" y="302"/>
                  </a:lnTo>
                  <a:lnTo>
                    <a:pt x="99" y="299"/>
                  </a:lnTo>
                  <a:lnTo>
                    <a:pt x="96" y="296"/>
                  </a:lnTo>
                  <a:lnTo>
                    <a:pt x="95" y="290"/>
                  </a:lnTo>
                  <a:lnTo>
                    <a:pt x="95" y="209"/>
                  </a:lnTo>
                  <a:lnTo>
                    <a:pt x="14" y="209"/>
                  </a:lnTo>
                  <a:lnTo>
                    <a:pt x="8" y="207"/>
                  </a:lnTo>
                  <a:lnTo>
                    <a:pt x="5" y="204"/>
                  </a:lnTo>
                  <a:lnTo>
                    <a:pt x="2" y="200"/>
                  </a:lnTo>
                  <a:lnTo>
                    <a:pt x="0" y="195"/>
                  </a:lnTo>
                  <a:lnTo>
                    <a:pt x="0" y="106"/>
                  </a:lnTo>
                  <a:lnTo>
                    <a:pt x="2" y="102"/>
                  </a:lnTo>
                  <a:lnTo>
                    <a:pt x="5" y="97"/>
                  </a:lnTo>
                  <a:lnTo>
                    <a:pt x="8" y="94"/>
                  </a:lnTo>
                  <a:lnTo>
                    <a:pt x="14" y="94"/>
                  </a:lnTo>
                  <a:lnTo>
                    <a:pt x="95" y="94"/>
                  </a:lnTo>
                  <a:lnTo>
                    <a:pt x="95" y="12"/>
                  </a:lnTo>
                  <a:lnTo>
                    <a:pt x="96" y="7"/>
                  </a:lnTo>
                  <a:lnTo>
                    <a:pt x="99" y="3"/>
                  </a:lnTo>
                  <a:lnTo>
                    <a:pt x="104" y="0"/>
                  </a:lnTo>
                  <a:lnTo>
                    <a:pt x="108" y="0"/>
                  </a:lnTo>
                  <a:close/>
                </a:path>
              </a:pathLst>
            </a:custGeom>
            <a:solidFill>
              <a:srgbClr val="05589C"/>
            </a:solidFill>
            <a:ln w="0">
              <a:noFill/>
              <a:prstDash val="solid"/>
              <a:round/>
              <a:headEnd/>
              <a:tailEnd/>
            </a:ln>
          </p:spPr>
          <p:txBody>
            <a:bodyPr vert="horz" wrap="square" lIns="91440" tIns="45720" rIns="91440" bIns="45720" numCol="1" anchor="t" anchorCtr="0" compatLnSpc="1">
              <a:prstTxWarp prst="textNoShape">
                <a:avLst/>
              </a:prstTxWarp>
            </a:bodyPr>
            <a:lstStyle/>
            <a:p>
              <a:pPr algn="r"/>
              <a:endParaRPr lang="pt-BR" dirty="0">
                <a:solidFill>
                  <a:prstClr val="black"/>
                </a:solidFill>
              </a:endParaRPr>
            </a:p>
          </p:txBody>
        </p:sp>
      </p:grpSp>
      <p:grpSp>
        <p:nvGrpSpPr>
          <p:cNvPr id="670" name="Agrupar 669">
            <a:extLst>
              <a:ext uri="{FF2B5EF4-FFF2-40B4-BE49-F238E27FC236}">
                <a16:creationId xmlns="" xmlns:a16="http://schemas.microsoft.com/office/drawing/2014/main" id="{3AC62B47-FF99-4057-ACDA-D32A020F8F24}"/>
              </a:ext>
            </a:extLst>
          </p:cNvPr>
          <p:cNvGrpSpPr/>
          <p:nvPr/>
        </p:nvGrpSpPr>
        <p:grpSpPr>
          <a:xfrm>
            <a:off x="8158313" y="2705674"/>
            <a:ext cx="340482" cy="572400"/>
            <a:chOff x="1733926" y="3156019"/>
            <a:chExt cx="340482" cy="572400"/>
          </a:xfrm>
        </p:grpSpPr>
        <p:pic>
          <p:nvPicPr>
            <p:cNvPr id="671" name="Picture 422" descr="A picture containing thing, object&#10;&#10;Description generated with very high confidence">
              <a:extLst>
                <a:ext uri="{FF2B5EF4-FFF2-40B4-BE49-F238E27FC236}">
                  <a16:creationId xmlns="" xmlns:a16="http://schemas.microsoft.com/office/drawing/2014/main" id="{DAE93667-FEF6-4546-931D-3B0A6A9815A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1733926" y="3156019"/>
              <a:ext cx="340482" cy="572400"/>
            </a:xfrm>
            <a:prstGeom prst="rect">
              <a:avLst/>
            </a:prstGeom>
          </p:spPr>
        </p:pic>
        <p:sp>
          <p:nvSpPr>
            <p:cNvPr id="672" name="Freeform 7710">
              <a:extLst>
                <a:ext uri="{FF2B5EF4-FFF2-40B4-BE49-F238E27FC236}">
                  <a16:creationId xmlns="" xmlns:a16="http://schemas.microsoft.com/office/drawing/2014/main" id="{C5F25991-4A6D-4389-AFD8-C458F495A1B9}"/>
                </a:ext>
              </a:extLst>
            </p:cNvPr>
            <p:cNvSpPr>
              <a:spLocks noEditPoints="1"/>
            </p:cNvSpPr>
            <p:nvPr/>
          </p:nvSpPr>
          <p:spPr bwMode="auto">
            <a:xfrm>
              <a:off x="1836619" y="3254122"/>
              <a:ext cx="140053" cy="139135"/>
            </a:xfrm>
            <a:custGeom>
              <a:avLst/>
              <a:gdLst>
                <a:gd name="T0" fmla="*/ 122 w 305"/>
                <a:gd name="T1" fmla="*/ 106 h 303"/>
                <a:gd name="T2" fmla="*/ 117 w 305"/>
                <a:gd name="T3" fmla="*/ 116 h 303"/>
                <a:gd name="T4" fmla="*/ 108 w 305"/>
                <a:gd name="T5" fmla="*/ 120 h 303"/>
                <a:gd name="T6" fmla="*/ 26 w 305"/>
                <a:gd name="T7" fmla="*/ 183 h 303"/>
                <a:gd name="T8" fmla="*/ 113 w 305"/>
                <a:gd name="T9" fmla="*/ 183 h 303"/>
                <a:gd name="T10" fmla="*/ 120 w 305"/>
                <a:gd name="T11" fmla="*/ 191 h 303"/>
                <a:gd name="T12" fmla="*/ 122 w 305"/>
                <a:gd name="T13" fmla="*/ 278 h 303"/>
                <a:gd name="T14" fmla="*/ 183 w 305"/>
                <a:gd name="T15" fmla="*/ 195 h 303"/>
                <a:gd name="T16" fmla="*/ 188 w 305"/>
                <a:gd name="T17" fmla="*/ 186 h 303"/>
                <a:gd name="T18" fmla="*/ 197 w 305"/>
                <a:gd name="T19" fmla="*/ 183 h 303"/>
                <a:gd name="T20" fmla="*/ 278 w 305"/>
                <a:gd name="T21" fmla="*/ 120 h 303"/>
                <a:gd name="T22" fmla="*/ 191 w 305"/>
                <a:gd name="T23" fmla="*/ 119 h 303"/>
                <a:gd name="T24" fmla="*/ 185 w 305"/>
                <a:gd name="T25" fmla="*/ 112 h 303"/>
                <a:gd name="T26" fmla="*/ 183 w 305"/>
                <a:gd name="T27" fmla="*/ 25 h 303"/>
                <a:gd name="T28" fmla="*/ 108 w 305"/>
                <a:gd name="T29" fmla="*/ 0 h 303"/>
                <a:gd name="T30" fmla="*/ 201 w 305"/>
                <a:gd name="T31" fmla="*/ 0 h 303"/>
                <a:gd name="T32" fmla="*/ 209 w 305"/>
                <a:gd name="T33" fmla="*/ 7 h 303"/>
                <a:gd name="T34" fmla="*/ 209 w 305"/>
                <a:gd name="T35" fmla="*/ 94 h 303"/>
                <a:gd name="T36" fmla="*/ 296 w 305"/>
                <a:gd name="T37" fmla="*/ 94 h 303"/>
                <a:gd name="T38" fmla="*/ 303 w 305"/>
                <a:gd name="T39" fmla="*/ 102 h 303"/>
                <a:gd name="T40" fmla="*/ 305 w 305"/>
                <a:gd name="T41" fmla="*/ 195 h 303"/>
                <a:gd name="T42" fmla="*/ 300 w 305"/>
                <a:gd name="T43" fmla="*/ 204 h 303"/>
                <a:gd name="T44" fmla="*/ 291 w 305"/>
                <a:gd name="T45" fmla="*/ 209 h 303"/>
                <a:gd name="T46" fmla="*/ 209 w 305"/>
                <a:gd name="T47" fmla="*/ 290 h 303"/>
                <a:gd name="T48" fmla="*/ 206 w 305"/>
                <a:gd name="T49" fmla="*/ 299 h 303"/>
                <a:gd name="T50" fmla="*/ 197 w 305"/>
                <a:gd name="T51" fmla="*/ 303 h 303"/>
                <a:gd name="T52" fmla="*/ 104 w 305"/>
                <a:gd name="T53" fmla="*/ 302 h 303"/>
                <a:gd name="T54" fmla="*/ 96 w 305"/>
                <a:gd name="T55" fmla="*/ 296 h 303"/>
                <a:gd name="T56" fmla="*/ 95 w 305"/>
                <a:gd name="T57" fmla="*/ 209 h 303"/>
                <a:gd name="T58" fmla="*/ 8 w 305"/>
                <a:gd name="T59" fmla="*/ 207 h 303"/>
                <a:gd name="T60" fmla="*/ 2 w 305"/>
                <a:gd name="T61" fmla="*/ 200 h 303"/>
                <a:gd name="T62" fmla="*/ 0 w 305"/>
                <a:gd name="T63" fmla="*/ 106 h 303"/>
                <a:gd name="T64" fmla="*/ 5 w 305"/>
                <a:gd name="T65" fmla="*/ 97 h 303"/>
                <a:gd name="T66" fmla="*/ 14 w 305"/>
                <a:gd name="T67" fmla="*/ 94 h 303"/>
                <a:gd name="T68" fmla="*/ 95 w 305"/>
                <a:gd name="T69" fmla="*/ 12 h 303"/>
                <a:gd name="T70" fmla="*/ 99 w 305"/>
                <a:gd name="T71" fmla="*/ 3 h 303"/>
                <a:gd name="T72" fmla="*/ 108 w 305"/>
                <a:gd name="T7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5" h="303">
                  <a:moveTo>
                    <a:pt x="122" y="25"/>
                  </a:moveTo>
                  <a:lnTo>
                    <a:pt x="122" y="106"/>
                  </a:lnTo>
                  <a:lnTo>
                    <a:pt x="120" y="112"/>
                  </a:lnTo>
                  <a:lnTo>
                    <a:pt x="117" y="116"/>
                  </a:lnTo>
                  <a:lnTo>
                    <a:pt x="113" y="119"/>
                  </a:lnTo>
                  <a:lnTo>
                    <a:pt x="108" y="120"/>
                  </a:lnTo>
                  <a:lnTo>
                    <a:pt x="26" y="120"/>
                  </a:lnTo>
                  <a:lnTo>
                    <a:pt x="26" y="183"/>
                  </a:lnTo>
                  <a:lnTo>
                    <a:pt x="108" y="183"/>
                  </a:lnTo>
                  <a:lnTo>
                    <a:pt x="113" y="183"/>
                  </a:lnTo>
                  <a:lnTo>
                    <a:pt x="117" y="186"/>
                  </a:lnTo>
                  <a:lnTo>
                    <a:pt x="120" y="191"/>
                  </a:lnTo>
                  <a:lnTo>
                    <a:pt x="122" y="195"/>
                  </a:lnTo>
                  <a:lnTo>
                    <a:pt x="122" y="278"/>
                  </a:lnTo>
                  <a:lnTo>
                    <a:pt x="183" y="278"/>
                  </a:lnTo>
                  <a:lnTo>
                    <a:pt x="183" y="195"/>
                  </a:lnTo>
                  <a:lnTo>
                    <a:pt x="185" y="191"/>
                  </a:lnTo>
                  <a:lnTo>
                    <a:pt x="188" y="186"/>
                  </a:lnTo>
                  <a:lnTo>
                    <a:pt x="191" y="183"/>
                  </a:lnTo>
                  <a:lnTo>
                    <a:pt x="197" y="183"/>
                  </a:lnTo>
                  <a:lnTo>
                    <a:pt x="278" y="183"/>
                  </a:lnTo>
                  <a:lnTo>
                    <a:pt x="278" y="120"/>
                  </a:lnTo>
                  <a:lnTo>
                    <a:pt x="197" y="120"/>
                  </a:lnTo>
                  <a:lnTo>
                    <a:pt x="191" y="119"/>
                  </a:lnTo>
                  <a:lnTo>
                    <a:pt x="188" y="116"/>
                  </a:lnTo>
                  <a:lnTo>
                    <a:pt x="185" y="112"/>
                  </a:lnTo>
                  <a:lnTo>
                    <a:pt x="183" y="106"/>
                  </a:lnTo>
                  <a:lnTo>
                    <a:pt x="183" y="25"/>
                  </a:lnTo>
                  <a:lnTo>
                    <a:pt x="122" y="25"/>
                  </a:lnTo>
                  <a:close/>
                  <a:moveTo>
                    <a:pt x="108" y="0"/>
                  </a:moveTo>
                  <a:lnTo>
                    <a:pt x="197" y="0"/>
                  </a:lnTo>
                  <a:lnTo>
                    <a:pt x="201" y="0"/>
                  </a:lnTo>
                  <a:lnTo>
                    <a:pt x="206" y="3"/>
                  </a:lnTo>
                  <a:lnTo>
                    <a:pt x="209" y="7"/>
                  </a:lnTo>
                  <a:lnTo>
                    <a:pt x="209" y="12"/>
                  </a:lnTo>
                  <a:lnTo>
                    <a:pt x="209" y="94"/>
                  </a:lnTo>
                  <a:lnTo>
                    <a:pt x="291" y="94"/>
                  </a:lnTo>
                  <a:lnTo>
                    <a:pt x="296" y="94"/>
                  </a:lnTo>
                  <a:lnTo>
                    <a:pt x="300" y="97"/>
                  </a:lnTo>
                  <a:lnTo>
                    <a:pt x="303" y="102"/>
                  </a:lnTo>
                  <a:lnTo>
                    <a:pt x="305" y="106"/>
                  </a:lnTo>
                  <a:lnTo>
                    <a:pt x="305" y="195"/>
                  </a:lnTo>
                  <a:lnTo>
                    <a:pt x="303" y="200"/>
                  </a:lnTo>
                  <a:lnTo>
                    <a:pt x="300" y="204"/>
                  </a:lnTo>
                  <a:lnTo>
                    <a:pt x="296" y="207"/>
                  </a:lnTo>
                  <a:lnTo>
                    <a:pt x="291" y="209"/>
                  </a:lnTo>
                  <a:lnTo>
                    <a:pt x="209" y="209"/>
                  </a:lnTo>
                  <a:lnTo>
                    <a:pt x="209" y="290"/>
                  </a:lnTo>
                  <a:lnTo>
                    <a:pt x="209" y="296"/>
                  </a:lnTo>
                  <a:lnTo>
                    <a:pt x="206" y="299"/>
                  </a:lnTo>
                  <a:lnTo>
                    <a:pt x="201" y="302"/>
                  </a:lnTo>
                  <a:lnTo>
                    <a:pt x="197" y="303"/>
                  </a:lnTo>
                  <a:lnTo>
                    <a:pt x="108" y="303"/>
                  </a:lnTo>
                  <a:lnTo>
                    <a:pt x="104" y="302"/>
                  </a:lnTo>
                  <a:lnTo>
                    <a:pt x="99" y="299"/>
                  </a:lnTo>
                  <a:lnTo>
                    <a:pt x="96" y="296"/>
                  </a:lnTo>
                  <a:lnTo>
                    <a:pt x="95" y="290"/>
                  </a:lnTo>
                  <a:lnTo>
                    <a:pt x="95" y="209"/>
                  </a:lnTo>
                  <a:lnTo>
                    <a:pt x="14" y="209"/>
                  </a:lnTo>
                  <a:lnTo>
                    <a:pt x="8" y="207"/>
                  </a:lnTo>
                  <a:lnTo>
                    <a:pt x="5" y="204"/>
                  </a:lnTo>
                  <a:lnTo>
                    <a:pt x="2" y="200"/>
                  </a:lnTo>
                  <a:lnTo>
                    <a:pt x="0" y="195"/>
                  </a:lnTo>
                  <a:lnTo>
                    <a:pt x="0" y="106"/>
                  </a:lnTo>
                  <a:lnTo>
                    <a:pt x="2" y="102"/>
                  </a:lnTo>
                  <a:lnTo>
                    <a:pt x="5" y="97"/>
                  </a:lnTo>
                  <a:lnTo>
                    <a:pt x="8" y="94"/>
                  </a:lnTo>
                  <a:lnTo>
                    <a:pt x="14" y="94"/>
                  </a:lnTo>
                  <a:lnTo>
                    <a:pt x="95" y="94"/>
                  </a:lnTo>
                  <a:lnTo>
                    <a:pt x="95" y="12"/>
                  </a:lnTo>
                  <a:lnTo>
                    <a:pt x="96" y="7"/>
                  </a:lnTo>
                  <a:lnTo>
                    <a:pt x="99" y="3"/>
                  </a:lnTo>
                  <a:lnTo>
                    <a:pt x="104" y="0"/>
                  </a:lnTo>
                  <a:lnTo>
                    <a:pt x="108" y="0"/>
                  </a:lnTo>
                  <a:close/>
                </a:path>
              </a:pathLst>
            </a:custGeom>
            <a:solidFill>
              <a:srgbClr val="05589C"/>
            </a:solidFill>
            <a:ln w="0">
              <a:noFill/>
              <a:prstDash val="solid"/>
              <a:round/>
              <a:headEnd/>
              <a:tailEnd/>
            </a:ln>
          </p:spPr>
          <p:txBody>
            <a:bodyPr vert="horz" wrap="square" lIns="91440" tIns="45720" rIns="91440" bIns="45720" numCol="1" anchor="t" anchorCtr="0" compatLnSpc="1">
              <a:prstTxWarp prst="textNoShape">
                <a:avLst/>
              </a:prstTxWarp>
            </a:bodyPr>
            <a:lstStyle/>
            <a:p>
              <a:pPr algn="r"/>
              <a:endParaRPr lang="pt-BR" dirty="0">
                <a:solidFill>
                  <a:prstClr val="black"/>
                </a:solidFill>
              </a:endParaRPr>
            </a:p>
          </p:txBody>
        </p:sp>
      </p:grpSp>
      <p:grpSp>
        <p:nvGrpSpPr>
          <p:cNvPr id="239" name="Agrupar 663">
            <a:extLst>
              <a:ext uri="{FF2B5EF4-FFF2-40B4-BE49-F238E27FC236}">
                <a16:creationId xmlns="" xmlns:a16="http://schemas.microsoft.com/office/drawing/2014/main" id="{B3F267E6-4AAC-4EBD-A8F0-36152EF10D79}"/>
              </a:ext>
            </a:extLst>
          </p:cNvPr>
          <p:cNvGrpSpPr/>
          <p:nvPr/>
        </p:nvGrpSpPr>
        <p:grpSpPr>
          <a:xfrm>
            <a:off x="8362498" y="2388423"/>
            <a:ext cx="340482" cy="572400"/>
            <a:chOff x="1733926" y="3156019"/>
            <a:chExt cx="340482" cy="572400"/>
          </a:xfrm>
        </p:grpSpPr>
        <p:pic>
          <p:nvPicPr>
            <p:cNvPr id="240" name="Picture 422" descr="A picture containing thing, object&#10;&#10;Description generated with very high confidence">
              <a:extLst>
                <a:ext uri="{FF2B5EF4-FFF2-40B4-BE49-F238E27FC236}">
                  <a16:creationId xmlns="" xmlns:a16="http://schemas.microsoft.com/office/drawing/2014/main" id="{B03A9B0E-01BF-4E8F-AA0E-0C64207B821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1733926" y="3156019"/>
              <a:ext cx="340482" cy="572400"/>
            </a:xfrm>
            <a:prstGeom prst="rect">
              <a:avLst/>
            </a:prstGeom>
          </p:spPr>
        </p:pic>
        <p:sp>
          <p:nvSpPr>
            <p:cNvPr id="252" name="Freeform 7710">
              <a:extLst>
                <a:ext uri="{FF2B5EF4-FFF2-40B4-BE49-F238E27FC236}">
                  <a16:creationId xmlns="" xmlns:a16="http://schemas.microsoft.com/office/drawing/2014/main" id="{DF37831F-92EC-4AAA-B713-38FB61BC9C9B}"/>
                </a:ext>
              </a:extLst>
            </p:cNvPr>
            <p:cNvSpPr>
              <a:spLocks noEditPoints="1"/>
            </p:cNvSpPr>
            <p:nvPr/>
          </p:nvSpPr>
          <p:spPr bwMode="auto">
            <a:xfrm>
              <a:off x="1836619" y="3254122"/>
              <a:ext cx="140053" cy="139135"/>
            </a:xfrm>
            <a:custGeom>
              <a:avLst/>
              <a:gdLst>
                <a:gd name="T0" fmla="*/ 122 w 305"/>
                <a:gd name="T1" fmla="*/ 106 h 303"/>
                <a:gd name="T2" fmla="*/ 117 w 305"/>
                <a:gd name="T3" fmla="*/ 116 h 303"/>
                <a:gd name="T4" fmla="*/ 108 w 305"/>
                <a:gd name="T5" fmla="*/ 120 h 303"/>
                <a:gd name="T6" fmla="*/ 26 w 305"/>
                <a:gd name="T7" fmla="*/ 183 h 303"/>
                <a:gd name="T8" fmla="*/ 113 w 305"/>
                <a:gd name="T9" fmla="*/ 183 h 303"/>
                <a:gd name="T10" fmla="*/ 120 w 305"/>
                <a:gd name="T11" fmla="*/ 191 h 303"/>
                <a:gd name="T12" fmla="*/ 122 w 305"/>
                <a:gd name="T13" fmla="*/ 278 h 303"/>
                <a:gd name="T14" fmla="*/ 183 w 305"/>
                <a:gd name="T15" fmla="*/ 195 h 303"/>
                <a:gd name="T16" fmla="*/ 188 w 305"/>
                <a:gd name="T17" fmla="*/ 186 h 303"/>
                <a:gd name="T18" fmla="*/ 197 w 305"/>
                <a:gd name="T19" fmla="*/ 183 h 303"/>
                <a:gd name="T20" fmla="*/ 278 w 305"/>
                <a:gd name="T21" fmla="*/ 120 h 303"/>
                <a:gd name="T22" fmla="*/ 191 w 305"/>
                <a:gd name="T23" fmla="*/ 119 h 303"/>
                <a:gd name="T24" fmla="*/ 185 w 305"/>
                <a:gd name="T25" fmla="*/ 112 h 303"/>
                <a:gd name="T26" fmla="*/ 183 w 305"/>
                <a:gd name="T27" fmla="*/ 25 h 303"/>
                <a:gd name="T28" fmla="*/ 108 w 305"/>
                <a:gd name="T29" fmla="*/ 0 h 303"/>
                <a:gd name="T30" fmla="*/ 201 w 305"/>
                <a:gd name="T31" fmla="*/ 0 h 303"/>
                <a:gd name="T32" fmla="*/ 209 w 305"/>
                <a:gd name="T33" fmla="*/ 7 h 303"/>
                <a:gd name="T34" fmla="*/ 209 w 305"/>
                <a:gd name="T35" fmla="*/ 94 h 303"/>
                <a:gd name="T36" fmla="*/ 296 w 305"/>
                <a:gd name="T37" fmla="*/ 94 h 303"/>
                <a:gd name="T38" fmla="*/ 303 w 305"/>
                <a:gd name="T39" fmla="*/ 102 h 303"/>
                <a:gd name="T40" fmla="*/ 305 w 305"/>
                <a:gd name="T41" fmla="*/ 195 h 303"/>
                <a:gd name="T42" fmla="*/ 300 w 305"/>
                <a:gd name="T43" fmla="*/ 204 h 303"/>
                <a:gd name="T44" fmla="*/ 291 w 305"/>
                <a:gd name="T45" fmla="*/ 209 h 303"/>
                <a:gd name="T46" fmla="*/ 209 w 305"/>
                <a:gd name="T47" fmla="*/ 290 h 303"/>
                <a:gd name="T48" fmla="*/ 206 w 305"/>
                <a:gd name="T49" fmla="*/ 299 h 303"/>
                <a:gd name="T50" fmla="*/ 197 w 305"/>
                <a:gd name="T51" fmla="*/ 303 h 303"/>
                <a:gd name="T52" fmla="*/ 104 w 305"/>
                <a:gd name="T53" fmla="*/ 302 h 303"/>
                <a:gd name="T54" fmla="*/ 96 w 305"/>
                <a:gd name="T55" fmla="*/ 296 h 303"/>
                <a:gd name="T56" fmla="*/ 95 w 305"/>
                <a:gd name="T57" fmla="*/ 209 h 303"/>
                <a:gd name="T58" fmla="*/ 8 w 305"/>
                <a:gd name="T59" fmla="*/ 207 h 303"/>
                <a:gd name="T60" fmla="*/ 2 w 305"/>
                <a:gd name="T61" fmla="*/ 200 h 303"/>
                <a:gd name="T62" fmla="*/ 0 w 305"/>
                <a:gd name="T63" fmla="*/ 106 h 303"/>
                <a:gd name="T64" fmla="*/ 5 w 305"/>
                <a:gd name="T65" fmla="*/ 97 h 303"/>
                <a:gd name="T66" fmla="*/ 14 w 305"/>
                <a:gd name="T67" fmla="*/ 94 h 303"/>
                <a:gd name="T68" fmla="*/ 95 w 305"/>
                <a:gd name="T69" fmla="*/ 12 h 303"/>
                <a:gd name="T70" fmla="*/ 99 w 305"/>
                <a:gd name="T71" fmla="*/ 3 h 303"/>
                <a:gd name="T72" fmla="*/ 108 w 305"/>
                <a:gd name="T7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5" h="303">
                  <a:moveTo>
                    <a:pt x="122" y="25"/>
                  </a:moveTo>
                  <a:lnTo>
                    <a:pt x="122" y="106"/>
                  </a:lnTo>
                  <a:lnTo>
                    <a:pt x="120" y="112"/>
                  </a:lnTo>
                  <a:lnTo>
                    <a:pt x="117" y="116"/>
                  </a:lnTo>
                  <a:lnTo>
                    <a:pt x="113" y="119"/>
                  </a:lnTo>
                  <a:lnTo>
                    <a:pt x="108" y="120"/>
                  </a:lnTo>
                  <a:lnTo>
                    <a:pt x="26" y="120"/>
                  </a:lnTo>
                  <a:lnTo>
                    <a:pt x="26" y="183"/>
                  </a:lnTo>
                  <a:lnTo>
                    <a:pt x="108" y="183"/>
                  </a:lnTo>
                  <a:lnTo>
                    <a:pt x="113" y="183"/>
                  </a:lnTo>
                  <a:lnTo>
                    <a:pt x="117" y="186"/>
                  </a:lnTo>
                  <a:lnTo>
                    <a:pt x="120" y="191"/>
                  </a:lnTo>
                  <a:lnTo>
                    <a:pt x="122" y="195"/>
                  </a:lnTo>
                  <a:lnTo>
                    <a:pt x="122" y="278"/>
                  </a:lnTo>
                  <a:lnTo>
                    <a:pt x="183" y="278"/>
                  </a:lnTo>
                  <a:lnTo>
                    <a:pt x="183" y="195"/>
                  </a:lnTo>
                  <a:lnTo>
                    <a:pt x="185" y="191"/>
                  </a:lnTo>
                  <a:lnTo>
                    <a:pt x="188" y="186"/>
                  </a:lnTo>
                  <a:lnTo>
                    <a:pt x="191" y="183"/>
                  </a:lnTo>
                  <a:lnTo>
                    <a:pt x="197" y="183"/>
                  </a:lnTo>
                  <a:lnTo>
                    <a:pt x="278" y="183"/>
                  </a:lnTo>
                  <a:lnTo>
                    <a:pt x="278" y="120"/>
                  </a:lnTo>
                  <a:lnTo>
                    <a:pt x="197" y="120"/>
                  </a:lnTo>
                  <a:lnTo>
                    <a:pt x="191" y="119"/>
                  </a:lnTo>
                  <a:lnTo>
                    <a:pt x="188" y="116"/>
                  </a:lnTo>
                  <a:lnTo>
                    <a:pt x="185" y="112"/>
                  </a:lnTo>
                  <a:lnTo>
                    <a:pt x="183" y="106"/>
                  </a:lnTo>
                  <a:lnTo>
                    <a:pt x="183" y="25"/>
                  </a:lnTo>
                  <a:lnTo>
                    <a:pt x="122" y="25"/>
                  </a:lnTo>
                  <a:close/>
                  <a:moveTo>
                    <a:pt x="108" y="0"/>
                  </a:moveTo>
                  <a:lnTo>
                    <a:pt x="197" y="0"/>
                  </a:lnTo>
                  <a:lnTo>
                    <a:pt x="201" y="0"/>
                  </a:lnTo>
                  <a:lnTo>
                    <a:pt x="206" y="3"/>
                  </a:lnTo>
                  <a:lnTo>
                    <a:pt x="209" y="7"/>
                  </a:lnTo>
                  <a:lnTo>
                    <a:pt x="209" y="12"/>
                  </a:lnTo>
                  <a:lnTo>
                    <a:pt x="209" y="94"/>
                  </a:lnTo>
                  <a:lnTo>
                    <a:pt x="291" y="94"/>
                  </a:lnTo>
                  <a:lnTo>
                    <a:pt x="296" y="94"/>
                  </a:lnTo>
                  <a:lnTo>
                    <a:pt x="300" y="97"/>
                  </a:lnTo>
                  <a:lnTo>
                    <a:pt x="303" y="102"/>
                  </a:lnTo>
                  <a:lnTo>
                    <a:pt x="305" y="106"/>
                  </a:lnTo>
                  <a:lnTo>
                    <a:pt x="305" y="195"/>
                  </a:lnTo>
                  <a:lnTo>
                    <a:pt x="303" y="200"/>
                  </a:lnTo>
                  <a:lnTo>
                    <a:pt x="300" y="204"/>
                  </a:lnTo>
                  <a:lnTo>
                    <a:pt x="296" y="207"/>
                  </a:lnTo>
                  <a:lnTo>
                    <a:pt x="291" y="209"/>
                  </a:lnTo>
                  <a:lnTo>
                    <a:pt x="209" y="209"/>
                  </a:lnTo>
                  <a:lnTo>
                    <a:pt x="209" y="290"/>
                  </a:lnTo>
                  <a:lnTo>
                    <a:pt x="209" y="296"/>
                  </a:lnTo>
                  <a:lnTo>
                    <a:pt x="206" y="299"/>
                  </a:lnTo>
                  <a:lnTo>
                    <a:pt x="201" y="302"/>
                  </a:lnTo>
                  <a:lnTo>
                    <a:pt x="197" y="303"/>
                  </a:lnTo>
                  <a:lnTo>
                    <a:pt x="108" y="303"/>
                  </a:lnTo>
                  <a:lnTo>
                    <a:pt x="104" y="302"/>
                  </a:lnTo>
                  <a:lnTo>
                    <a:pt x="99" y="299"/>
                  </a:lnTo>
                  <a:lnTo>
                    <a:pt x="96" y="296"/>
                  </a:lnTo>
                  <a:lnTo>
                    <a:pt x="95" y="290"/>
                  </a:lnTo>
                  <a:lnTo>
                    <a:pt x="95" y="209"/>
                  </a:lnTo>
                  <a:lnTo>
                    <a:pt x="14" y="209"/>
                  </a:lnTo>
                  <a:lnTo>
                    <a:pt x="8" y="207"/>
                  </a:lnTo>
                  <a:lnTo>
                    <a:pt x="5" y="204"/>
                  </a:lnTo>
                  <a:lnTo>
                    <a:pt x="2" y="200"/>
                  </a:lnTo>
                  <a:lnTo>
                    <a:pt x="0" y="195"/>
                  </a:lnTo>
                  <a:lnTo>
                    <a:pt x="0" y="106"/>
                  </a:lnTo>
                  <a:lnTo>
                    <a:pt x="2" y="102"/>
                  </a:lnTo>
                  <a:lnTo>
                    <a:pt x="5" y="97"/>
                  </a:lnTo>
                  <a:lnTo>
                    <a:pt x="8" y="94"/>
                  </a:lnTo>
                  <a:lnTo>
                    <a:pt x="14" y="94"/>
                  </a:lnTo>
                  <a:lnTo>
                    <a:pt x="95" y="94"/>
                  </a:lnTo>
                  <a:lnTo>
                    <a:pt x="95" y="12"/>
                  </a:lnTo>
                  <a:lnTo>
                    <a:pt x="96" y="7"/>
                  </a:lnTo>
                  <a:lnTo>
                    <a:pt x="99" y="3"/>
                  </a:lnTo>
                  <a:lnTo>
                    <a:pt x="104" y="0"/>
                  </a:lnTo>
                  <a:lnTo>
                    <a:pt x="108" y="0"/>
                  </a:lnTo>
                  <a:close/>
                </a:path>
              </a:pathLst>
            </a:custGeom>
            <a:solidFill>
              <a:srgbClr val="05589C"/>
            </a:solidFill>
            <a:ln w="0">
              <a:noFill/>
              <a:prstDash val="solid"/>
              <a:round/>
              <a:headEnd/>
              <a:tailEnd/>
            </a:ln>
          </p:spPr>
          <p:txBody>
            <a:bodyPr vert="horz" wrap="square" lIns="91440" tIns="45720" rIns="91440" bIns="45720" numCol="1" anchor="t" anchorCtr="0" compatLnSpc="1">
              <a:prstTxWarp prst="textNoShape">
                <a:avLst/>
              </a:prstTxWarp>
            </a:bodyPr>
            <a:lstStyle/>
            <a:p>
              <a:pPr algn="r"/>
              <a:endParaRPr lang="pt-BR" dirty="0">
                <a:solidFill>
                  <a:prstClr val="black"/>
                </a:solidFill>
              </a:endParaRPr>
            </a:p>
          </p:txBody>
        </p:sp>
      </p:grpSp>
      <p:grpSp>
        <p:nvGrpSpPr>
          <p:cNvPr id="253" name="Group 472">
            <a:extLst>
              <a:ext uri="{FF2B5EF4-FFF2-40B4-BE49-F238E27FC236}">
                <a16:creationId xmlns="" xmlns:a16="http://schemas.microsoft.com/office/drawing/2014/main" id="{87777470-3950-41D9-A9B8-6D889AF01877}"/>
              </a:ext>
            </a:extLst>
          </p:cNvPr>
          <p:cNvGrpSpPr/>
          <p:nvPr/>
        </p:nvGrpSpPr>
        <p:grpSpPr>
          <a:xfrm flipH="1" flipV="1">
            <a:off x="5730367" y="1816894"/>
            <a:ext cx="2663715" cy="780772"/>
            <a:chOff x="8233209" y="2164301"/>
            <a:chExt cx="2663715" cy="780772"/>
          </a:xfrm>
        </p:grpSpPr>
        <p:cxnSp>
          <p:nvCxnSpPr>
            <p:cNvPr id="254" name="Straight Connector 473">
              <a:extLst>
                <a:ext uri="{FF2B5EF4-FFF2-40B4-BE49-F238E27FC236}">
                  <a16:creationId xmlns="" xmlns:a16="http://schemas.microsoft.com/office/drawing/2014/main" id="{97985707-DEE4-4DF8-897F-07EFE50C99A4}"/>
                </a:ext>
              </a:extLst>
            </p:cNvPr>
            <p:cNvCxnSpPr>
              <a:cxnSpLocks/>
            </p:cNvCxnSpPr>
            <p:nvPr/>
          </p:nvCxnSpPr>
          <p:spPr>
            <a:xfrm flipV="1">
              <a:off x="9020067" y="2945073"/>
              <a:ext cx="1876857"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cxnSp>
          <p:nvCxnSpPr>
            <p:cNvPr id="255" name="Straight Connector 474">
              <a:extLst>
                <a:ext uri="{FF2B5EF4-FFF2-40B4-BE49-F238E27FC236}">
                  <a16:creationId xmlns="" xmlns:a16="http://schemas.microsoft.com/office/drawing/2014/main" id="{E39AA6CD-5D35-4077-AB5B-6EAD25B7637C}"/>
                </a:ext>
              </a:extLst>
            </p:cNvPr>
            <p:cNvCxnSpPr>
              <a:cxnSpLocks/>
            </p:cNvCxnSpPr>
            <p:nvPr/>
          </p:nvCxnSpPr>
          <p:spPr>
            <a:xfrm>
              <a:off x="8233209" y="2164301"/>
              <a:ext cx="795449" cy="774670"/>
            </a:xfrm>
            <a:prstGeom prst="line">
              <a:avLst/>
            </a:prstGeom>
            <a:ln w="3175">
              <a:solidFill>
                <a:srgbClr val="F26926"/>
              </a:solidFill>
            </a:ln>
          </p:spPr>
          <p:style>
            <a:lnRef idx="1">
              <a:schemeClr val="accent1"/>
            </a:lnRef>
            <a:fillRef idx="0">
              <a:schemeClr val="accent1"/>
            </a:fillRef>
            <a:effectRef idx="0">
              <a:schemeClr val="accent1"/>
            </a:effectRef>
            <a:fontRef idx="minor">
              <a:schemeClr val="tx1"/>
            </a:fontRef>
          </p:style>
        </p:cxnSp>
      </p:grpSp>
      <p:sp>
        <p:nvSpPr>
          <p:cNvPr id="262" name="TextBox 50">
            <a:extLst>
              <a:ext uri="{FF2B5EF4-FFF2-40B4-BE49-F238E27FC236}">
                <a16:creationId xmlns="" xmlns:a16="http://schemas.microsoft.com/office/drawing/2014/main" id="{BF03A8E3-117D-43D1-B761-05C8FEB60D75}"/>
              </a:ext>
            </a:extLst>
          </p:cNvPr>
          <p:cNvSpPr txBox="1"/>
          <p:nvPr/>
        </p:nvSpPr>
        <p:spPr>
          <a:xfrm>
            <a:off x="5693344" y="1438139"/>
            <a:ext cx="2051017" cy="380104"/>
          </a:xfrm>
          <a:prstGeom prst="rect">
            <a:avLst/>
          </a:prstGeom>
          <a:noFill/>
          <a:ln>
            <a:noFill/>
          </a:ln>
        </p:spPr>
        <p:txBody>
          <a:bodyPr wrap="square" rtlCol="0">
            <a:spAutoFit/>
          </a:bodyPr>
          <a:lstStyle/>
          <a:p>
            <a:pPr marL="0" marR="0" lvl="0" indent="0" defTabSz="914400" rtl="0" eaLnBrk="1" fontAlgn="auto" latinLnBrk="0" hangingPunct="1">
              <a:lnSpc>
                <a:spcPct val="85000"/>
              </a:lnSpc>
              <a:spcBef>
                <a:spcPts val="0"/>
              </a:spcBef>
              <a:spcAft>
                <a:spcPts val="0"/>
              </a:spcAft>
              <a:buClrTx/>
              <a:buSzTx/>
              <a:buFontTx/>
              <a:buNone/>
              <a:tabLst/>
              <a:defRPr/>
            </a:pPr>
            <a:r>
              <a:rPr kumimoji="0" lang="pt-PT" sz="11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Massachussets General Hospital, Boston</a:t>
            </a:r>
            <a:endParaRPr kumimoji="0" lang="pt-PT" sz="11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269" name="Group 472">
            <a:extLst>
              <a:ext uri="{FF2B5EF4-FFF2-40B4-BE49-F238E27FC236}">
                <a16:creationId xmlns="" xmlns:a16="http://schemas.microsoft.com/office/drawing/2014/main" id="{35DA1E74-838F-44C7-A7CD-ED33A6061372}"/>
              </a:ext>
            </a:extLst>
          </p:cNvPr>
          <p:cNvGrpSpPr/>
          <p:nvPr/>
        </p:nvGrpSpPr>
        <p:grpSpPr>
          <a:xfrm flipH="1" flipV="1">
            <a:off x="898623" y="3399790"/>
            <a:ext cx="2357565" cy="580904"/>
            <a:chOff x="10122184" y="1620725"/>
            <a:chExt cx="2357565" cy="580904"/>
          </a:xfrm>
        </p:grpSpPr>
        <p:cxnSp>
          <p:nvCxnSpPr>
            <p:cNvPr id="270" name="Straight Connector 473">
              <a:extLst>
                <a:ext uri="{FF2B5EF4-FFF2-40B4-BE49-F238E27FC236}">
                  <a16:creationId xmlns="" xmlns:a16="http://schemas.microsoft.com/office/drawing/2014/main" id="{4C656762-C057-4CC4-8A40-4005B3DA16ED}"/>
                </a:ext>
              </a:extLst>
            </p:cNvPr>
            <p:cNvCxnSpPr>
              <a:cxnSpLocks/>
            </p:cNvCxnSpPr>
            <p:nvPr/>
          </p:nvCxnSpPr>
          <p:spPr>
            <a:xfrm flipV="1">
              <a:off x="10631815" y="1620725"/>
              <a:ext cx="1847934"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cxnSp>
          <p:nvCxnSpPr>
            <p:cNvPr id="271" name="Straight Connector 474">
              <a:extLst>
                <a:ext uri="{FF2B5EF4-FFF2-40B4-BE49-F238E27FC236}">
                  <a16:creationId xmlns="" xmlns:a16="http://schemas.microsoft.com/office/drawing/2014/main" id="{ED9B712B-E094-4A82-99A5-E15A88E588ED}"/>
                </a:ext>
              </a:extLst>
            </p:cNvPr>
            <p:cNvCxnSpPr>
              <a:cxnSpLocks/>
            </p:cNvCxnSpPr>
            <p:nvPr/>
          </p:nvCxnSpPr>
          <p:spPr>
            <a:xfrm flipV="1">
              <a:off x="10122184" y="1620801"/>
              <a:ext cx="518585" cy="580828"/>
            </a:xfrm>
            <a:prstGeom prst="line">
              <a:avLst/>
            </a:prstGeom>
            <a:ln w="3175">
              <a:solidFill>
                <a:srgbClr val="F26926"/>
              </a:solidFill>
            </a:ln>
          </p:spPr>
          <p:style>
            <a:lnRef idx="1">
              <a:schemeClr val="accent1"/>
            </a:lnRef>
            <a:fillRef idx="0">
              <a:schemeClr val="accent1"/>
            </a:fillRef>
            <a:effectRef idx="0">
              <a:schemeClr val="accent1"/>
            </a:effectRef>
            <a:fontRef idx="minor">
              <a:schemeClr val="tx1"/>
            </a:fontRef>
          </p:style>
        </p:cxnSp>
      </p:grpSp>
      <p:sp>
        <p:nvSpPr>
          <p:cNvPr id="278" name="TextBox 50">
            <a:extLst>
              <a:ext uri="{FF2B5EF4-FFF2-40B4-BE49-F238E27FC236}">
                <a16:creationId xmlns="" xmlns:a16="http://schemas.microsoft.com/office/drawing/2014/main" id="{9EA0AA85-8385-47A4-96F6-68C6146C1992}"/>
              </a:ext>
            </a:extLst>
          </p:cNvPr>
          <p:cNvSpPr txBox="1"/>
          <p:nvPr/>
        </p:nvSpPr>
        <p:spPr>
          <a:xfrm>
            <a:off x="829147" y="3605280"/>
            <a:ext cx="1945731" cy="380104"/>
          </a:xfrm>
          <a:prstGeom prst="rect">
            <a:avLst/>
          </a:prstGeom>
          <a:noFill/>
          <a:ln>
            <a:noFill/>
          </a:ln>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pt-PT" sz="1100" dirty="0">
                <a:solidFill>
                  <a:srgbClr val="404041"/>
                </a:solidFill>
                <a:latin typeface="Verdana" panose="020B0604030504040204" pitchFamily="34" charset="0"/>
                <a:ea typeface="Verdana" panose="020B0604030504040204" pitchFamily="34" charset="0"/>
                <a:cs typeface="Verdana" panose="020B0604030504040204" pitchFamily="34" charset="0"/>
              </a:rPr>
              <a:t>UCSF Medical </a:t>
            </a:r>
            <a:r>
              <a:rPr lang="pt-PT" sz="1100" dirty="0" err="1">
                <a:solidFill>
                  <a:srgbClr val="404041"/>
                </a:solidFill>
                <a:latin typeface="Verdana" panose="020B0604030504040204" pitchFamily="34" charset="0"/>
                <a:ea typeface="Verdana" panose="020B0604030504040204" pitchFamily="34" charset="0"/>
                <a:cs typeface="Verdana" panose="020B0604030504040204" pitchFamily="34" charset="0"/>
              </a:rPr>
              <a:t>Center</a:t>
            </a:r>
            <a:r>
              <a:rPr lang="pt-PT" sz="1100" dirty="0">
                <a:solidFill>
                  <a:srgbClr val="404041"/>
                </a:solidFill>
                <a:latin typeface="Verdana" panose="020B0604030504040204" pitchFamily="34" charset="0"/>
                <a:ea typeface="Verdana" panose="020B0604030504040204" pitchFamily="34" charset="0"/>
                <a:cs typeface="Verdana" panose="020B0604030504040204" pitchFamily="34" charset="0"/>
              </a:rPr>
              <a:t>, San Francisco</a:t>
            </a:r>
            <a:endParaRPr kumimoji="0" lang="pt-PT" sz="11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279" name="Agrupar 654">
            <a:extLst>
              <a:ext uri="{FF2B5EF4-FFF2-40B4-BE49-F238E27FC236}">
                <a16:creationId xmlns="" xmlns:a16="http://schemas.microsoft.com/office/drawing/2014/main" id="{3E0DD5C7-0368-41CF-8588-FE0FB9A7C2D2}"/>
              </a:ext>
            </a:extLst>
          </p:cNvPr>
          <p:cNvGrpSpPr/>
          <p:nvPr/>
        </p:nvGrpSpPr>
        <p:grpSpPr>
          <a:xfrm>
            <a:off x="7059666" y="2578782"/>
            <a:ext cx="340482" cy="572400"/>
            <a:chOff x="1733926" y="3156019"/>
            <a:chExt cx="340482" cy="572400"/>
          </a:xfrm>
        </p:grpSpPr>
        <p:pic>
          <p:nvPicPr>
            <p:cNvPr id="280" name="Picture 422" descr="A picture containing thing, object&#10;&#10;Description generated with very high confidence">
              <a:extLst>
                <a:ext uri="{FF2B5EF4-FFF2-40B4-BE49-F238E27FC236}">
                  <a16:creationId xmlns="" xmlns:a16="http://schemas.microsoft.com/office/drawing/2014/main" id="{B993623D-7010-4DC9-A6CE-E74C2838E3B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1733926" y="3156019"/>
              <a:ext cx="340482" cy="572400"/>
            </a:xfrm>
            <a:prstGeom prst="rect">
              <a:avLst/>
            </a:prstGeom>
          </p:spPr>
        </p:pic>
        <p:sp>
          <p:nvSpPr>
            <p:cNvPr id="281" name="Freeform 7710">
              <a:extLst>
                <a:ext uri="{FF2B5EF4-FFF2-40B4-BE49-F238E27FC236}">
                  <a16:creationId xmlns="" xmlns:a16="http://schemas.microsoft.com/office/drawing/2014/main" id="{1EE9C17C-B9D8-469B-A72F-144020009982}"/>
                </a:ext>
              </a:extLst>
            </p:cNvPr>
            <p:cNvSpPr>
              <a:spLocks noEditPoints="1"/>
            </p:cNvSpPr>
            <p:nvPr/>
          </p:nvSpPr>
          <p:spPr bwMode="auto">
            <a:xfrm>
              <a:off x="1836619" y="3254122"/>
              <a:ext cx="140053" cy="139135"/>
            </a:xfrm>
            <a:custGeom>
              <a:avLst/>
              <a:gdLst>
                <a:gd name="T0" fmla="*/ 122 w 305"/>
                <a:gd name="T1" fmla="*/ 106 h 303"/>
                <a:gd name="T2" fmla="*/ 117 w 305"/>
                <a:gd name="T3" fmla="*/ 116 h 303"/>
                <a:gd name="T4" fmla="*/ 108 w 305"/>
                <a:gd name="T5" fmla="*/ 120 h 303"/>
                <a:gd name="T6" fmla="*/ 26 w 305"/>
                <a:gd name="T7" fmla="*/ 183 h 303"/>
                <a:gd name="T8" fmla="*/ 113 w 305"/>
                <a:gd name="T9" fmla="*/ 183 h 303"/>
                <a:gd name="T10" fmla="*/ 120 w 305"/>
                <a:gd name="T11" fmla="*/ 191 h 303"/>
                <a:gd name="T12" fmla="*/ 122 w 305"/>
                <a:gd name="T13" fmla="*/ 278 h 303"/>
                <a:gd name="T14" fmla="*/ 183 w 305"/>
                <a:gd name="T15" fmla="*/ 195 h 303"/>
                <a:gd name="T16" fmla="*/ 188 w 305"/>
                <a:gd name="T17" fmla="*/ 186 h 303"/>
                <a:gd name="T18" fmla="*/ 197 w 305"/>
                <a:gd name="T19" fmla="*/ 183 h 303"/>
                <a:gd name="T20" fmla="*/ 278 w 305"/>
                <a:gd name="T21" fmla="*/ 120 h 303"/>
                <a:gd name="T22" fmla="*/ 191 w 305"/>
                <a:gd name="T23" fmla="*/ 119 h 303"/>
                <a:gd name="T24" fmla="*/ 185 w 305"/>
                <a:gd name="T25" fmla="*/ 112 h 303"/>
                <a:gd name="T26" fmla="*/ 183 w 305"/>
                <a:gd name="T27" fmla="*/ 25 h 303"/>
                <a:gd name="T28" fmla="*/ 108 w 305"/>
                <a:gd name="T29" fmla="*/ 0 h 303"/>
                <a:gd name="T30" fmla="*/ 201 w 305"/>
                <a:gd name="T31" fmla="*/ 0 h 303"/>
                <a:gd name="T32" fmla="*/ 209 w 305"/>
                <a:gd name="T33" fmla="*/ 7 h 303"/>
                <a:gd name="T34" fmla="*/ 209 w 305"/>
                <a:gd name="T35" fmla="*/ 94 h 303"/>
                <a:gd name="T36" fmla="*/ 296 w 305"/>
                <a:gd name="T37" fmla="*/ 94 h 303"/>
                <a:gd name="T38" fmla="*/ 303 w 305"/>
                <a:gd name="T39" fmla="*/ 102 h 303"/>
                <a:gd name="T40" fmla="*/ 305 w 305"/>
                <a:gd name="T41" fmla="*/ 195 h 303"/>
                <a:gd name="T42" fmla="*/ 300 w 305"/>
                <a:gd name="T43" fmla="*/ 204 h 303"/>
                <a:gd name="T44" fmla="*/ 291 w 305"/>
                <a:gd name="T45" fmla="*/ 209 h 303"/>
                <a:gd name="T46" fmla="*/ 209 w 305"/>
                <a:gd name="T47" fmla="*/ 290 h 303"/>
                <a:gd name="T48" fmla="*/ 206 w 305"/>
                <a:gd name="T49" fmla="*/ 299 h 303"/>
                <a:gd name="T50" fmla="*/ 197 w 305"/>
                <a:gd name="T51" fmla="*/ 303 h 303"/>
                <a:gd name="T52" fmla="*/ 104 w 305"/>
                <a:gd name="T53" fmla="*/ 302 h 303"/>
                <a:gd name="T54" fmla="*/ 96 w 305"/>
                <a:gd name="T55" fmla="*/ 296 h 303"/>
                <a:gd name="T56" fmla="*/ 95 w 305"/>
                <a:gd name="T57" fmla="*/ 209 h 303"/>
                <a:gd name="T58" fmla="*/ 8 w 305"/>
                <a:gd name="T59" fmla="*/ 207 h 303"/>
                <a:gd name="T60" fmla="*/ 2 w 305"/>
                <a:gd name="T61" fmla="*/ 200 h 303"/>
                <a:gd name="T62" fmla="*/ 0 w 305"/>
                <a:gd name="T63" fmla="*/ 106 h 303"/>
                <a:gd name="T64" fmla="*/ 5 w 305"/>
                <a:gd name="T65" fmla="*/ 97 h 303"/>
                <a:gd name="T66" fmla="*/ 14 w 305"/>
                <a:gd name="T67" fmla="*/ 94 h 303"/>
                <a:gd name="T68" fmla="*/ 95 w 305"/>
                <a:gd name="T69" fmla="*/ 12 h 303"/>
                <a:gd name="T70" fmla="*/ 99 w 305"/>
                <a:gd name="T71" fmla="*/ 3 h 303"/>
                <a:gd name="T72" fmla="*/ 108 w 305"/>
                <a:gd name="T7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5" h="303">
                  <a:moveTo>
                    <a:pt x="122" y="25"/>
                  </a:moveTo>
                  <a:lnTo>
                    <a:pt x="122" y="106"/>
                  </a:lnTo>
                  <a:lnTo>
                    <a:pt x="120" y="112"/>
                  </a:lnTo>
                  <a:lnTo>
                    <a:pt x="117" y="116"/>
                  </a:lnTo>
                  <a:lnTo>
                    <a:pt x="113" y="119"/>
                  </a:lnTo>
                  <a:lnTo>
                    <a:pt x="108" y="120"/>
                  </a:lnTo>
                  <a:lnTo>
                    <a:pt x="26" y="120"/>
                  </a:lnTo>
                  <a:lnTo>
                    <a:pt x="26" y="183"/>
                  </a:lnTo>
                  <a:lnTo>
                    <a:pt x="108" y="183"/>
                  </a:lnTo>
                  <a:lnTo>
                    <a:pt x="113" y="183"/>
                  </a:lnTo>
                  <a:lnTo>
                    <a:pt x="117" y="186"/>
                  </a:lnTo>
                  <a:lnTo>
                    <a:pt x="120" y="191"/>
                  </a:lnTo>
                  <a:lnTo>
                    <a:pt x="122" y="195"/>
                  </a:lnTo>
                  <a:lnTo>
                    <a:pt x="122" y="278"/>
                  </a:lnTo>
                  <a:lnTo>
                    <a:pt x="183" y="278"/>
                  </a:lnTo>
                  <a:lnTo>
                    <a:pt x="183" y="195"/>
                  </a:lnTo>
                  <a:lnTo>
                    <a:pt x="185" y="191"/>
                  </a:lnTo>
                  <a:lnTo>
                    <a:pt x="188" y="186"/>
                  </a:lnTo>
                  <a:lnTo>
                    <a:pt x="191" y="183"/>
                  </a:lnTo>
                  <a:lnTo>
                    <a:pt x="197" y="183"/>
                  </a:lnTo>
                  <a:lnTo>
                    <a:pt x="278" y="183"/>
                  </a:lnTo>
                  <a:lnTo>
                    <a:pt x="278" y="120"/>
                  </a:lnTo>
                  <a:lnTo>
                    <a:pt x="197" y="120"/>
                  </a:lnTo>
                  <a:lnTo>
                    <a:pt x="191" y="119"/>
                  </a:lnTo>
                  <a:lnTo>
                    <a:pt x="188" y="116"/>
                  </a:lnTo>
                  <a:lnTo>
                    <a:pt x="185" y="112"/>
                  </a:lnTo>
                  <a:lnTo>
                    <a:pt x="183" y="106"/>
                  </a:lnTo>
                  <a:lnTo>
                    <a:pt x="183" y="25"/>
                  </a:lnTo>
                  <a:lnTo>
                    <a:pt x="122" y="25"/>
                  </a:lnTo>
                  <a:close/>
                  <a:moveTo>
                    <a:pt x="108" y="0"/>
                  </a:moveTo>
                  <a:lnTo>
                    <a:pt x="197" y="0"/>
                  </a:lnTo>
                  <a:lnTo>
                    <a:pt x="201" y="0"/>
                  </a:lnTo>
                  <a:lnTo>
                    <a:pt x="206" y="3"/>
                  </a:lnTo>
                  <a:lnTo>
                    <a:pt x="209" y="7"/>
                  </a:lnTo>
                  <a:lnTo>
                    <a:pt x="209" y="12"/>
                  </a:lnTo>
                  <a:lnTo>
                    <a:pt x="209" y="94"/>
                  </a:lnTo>
                  <a:lnTo>
                    <a:pt x="291" y="94"/>
                  </a:lnTo>
                  <a:lnTo>
                    <a:pt x="296" y="94"/>
                  </a:lnTo>
                  <a:lnTo>
                    <a:pt x="300" y="97"/>
                  </a:lnTo>
                  <a:lnTo>
                    <a:pt x="303" y="102"/>
                  </a:lnTo>
                  <a:lnTo>
                    <a:pt x="305" y="106"/>
                  </a:lnTo>
                  <a:lnTo>
                    <a:pt x="305" y="195"/>
                  </a:lnTo>
                  <a:lnTo>
                    <a:pt x="303" y="200"/>
                  </a:lnTo>
                  <a:lnTo>
                    <a:pt x="300" y="204"/>
                  </a:lnTo>
                  <a:lnTo>
                    <a:pt x="296" y="207"/>
                  </a:lnTo>
                  <a:lnTo>
                    <a:pt x="291" y="209"/>
                  </a:lnTo>
                  <a:lnTo>
                    <a:pt x="209" y="209"/>
                  </a:lnTo>
                  <a:lnTo>
                    <a:pt x="209" y="290"/>
                  </a:lnTo>
                  <a:lnTo>
                    <a:pt x="209" y="296"/>
                  </a:lnTo>
                  <a:lnTo>
                    <a:pt x="206" y="299"/>
                  </a:lnTo>
                  <a:lnTo>
                    <a:pt x="201" y="302"/>
                  </a:lnTo>
                  <a:lnTo>
                    <a:pt x="197" y="303"/>
                  </a:lnTo>
                  <a:lnTo>
                    <a:pt x="108" y="303"/>
                  </a:lnTo>
                  <a:lnTo>
                    <a:pt x="104" y="302"/>
                  </a:lnTo>
                  <a:lnTo>
                    <a:pt x="99" y="299"/>
                  </a:lnTo>
                  <a:lnTo>
                    <a:pt x="96" y="296"/>
                  </a:lnTo>
                  <a:lnTo>
                    <a:pt x="95" y="290"/>
                  </a:lnTo>
                  <a:lnTo>
                    <a:pt x="95" y="209"/>
                  </a:lnTo>
                  <a:lnTo>
                    <a:pt x="14" y="209"/>
                  </a:lnTo>
                  <a:lnTo>
                    <a:pt x="8" y="207"/>
                  </a:lnTo>
                  <a:lnTo>
                    <a:pt x="5" y="204"/>
                  </a:lnTo>
                  <a:lnTo>
                    <a:pt x="2" y="200"/>
                  </a:lnTo>
                  <a:lnTo>
                    <a:pt x="0" y="195"/>
                  </a:lnTo>
                  <a:lnTo>
                    <a:pt x="0" y="106"/>
                  </a:lnTo>
                  <a:lnTo>
                    <a:pt x="2" y="102"/>
                  </a:lnTo>
                  <a:lnTo>
                    <a:pt x="5" y="97"/>
                  </a:lnTo>
                  <a:lnTo>
                    <a:pt x="8" y="94"/>
                  </a:lnTo>
                  <a:lnTo>
                    <a:pt x="14" y="94"/>
                  </a:lnTo>
                  <a:lnTo>
                    <a:pt x="95" y="94"/>
                  </a:lnTo>
                  <a:lnTo>
                    <a:pt x="95" y="12"/>
                  </a:lnTo>
                  <a:lnTo>
                    <a:pt x="96" y="7"/>
                  </a:lnTo>
                  <a:lnTo>
                    <a:pt x="99" y="3"/>
                  </a:lnTo>
                  <a:lnTo>
                    <a:pt x="104" y="0"/>
                  </a:lnTo>
                  <a:lnTo>
                    <a:pt x="108" y="0"/>
                  </a:lnTo>
                  <a:close/>
                </a:path>
              </a:pathLst>
            </a:custGeom>
            <a:solidFill>
              <a:srgbClr val="05589C"/>
            </a:solidFill>
            <a:ln w="0">
              <a:noFill/>
              <a:prstDash val="solid"/>
              <a:round/>
              <a:headEnd/>
              <a:tailEnd/>
            </a:ln>
          </p:spPr>
          <p:txBody>
            <a:bodyPr vert="horz" wrap="square" lIns="91440" tIns="45720" rIns="91440" bIns="45720" numCol="1" anchor="t" anchorCtr="0" compatLnSpc="1">
              <a:prstTxWarp prst="textNoShape">
                <a:avLst/>
              </a:prstTxWarp>
            </a:bodyPr>
            <a:lstStyle/>
            <a:p>
              <a:pPr algn="r"/>
              <a:endParaRPr lang="pt-BR" dirty="0">
                <a:solidFill>
                  <a:prstClr val="black"/>
                </a:solidFill>
              </a:endParaRPr>
            </a:p>
          </p:txBody>
        </p:sp>
      </p:grpSp>
      <p:grpSp>
        <p:nvGrpSpPr>
          <p:cNvPr id="285" name="Group 472">
            <a:extLst>
              <a:ext uri="{FF2B5EF4-FFF2-40B4-BE49-F238E27FC236}">
                <a16:creationId xmlns="" xmlns:a16="http://schemas.microsoft.com/office/drawing/2014/main" id="{AA2F5AA2-F104-4038-ADCD-7ED805202F59}"/>
              </a:ext>
            </a:extLst>
          </p:cNvPr>
          <p:cNvGrpSpPr/>
          <p:nvPr/>
        </p:nvGrpSpPr>
        <p:grpSpPr>
          <a:xfrm flipH="1" flipV="1">
            <a:off x="4227183" y="2257860"/>
            <a:ext cx="2864809" cy="453916"/>
            <a:chOff x="8233210" y="2164301"/>
            <a:chExt cx="2864809" cy="453916"/>
          </a:xfrm>
        </p:grpSpPr>
        <p:cxnSp>
          <p:nvCxnSpPr>
            <p:cNvPr id="286" name="Straight Connector 473">
              <a:extLst>
                <a:ext uri="{FF2B5EF4-FFF2-40B4-BE49-F238E27FC236}">
                  <a16:creationId xmlns="" xmlns:a16="http://schemas.microsoft.com/office/drawing/2014/main" id="{8058596D-8581-43C1-B8A8-F6B2CE56259C}"/>
                </a:ext>
              </a:extLst>
            </p:cNvPr>
            <p:cNvCxnSpPr>
              <a:cxnSpLocks/>
            </p:cNvCxnSpPr>
            <p:nvPr/>
          </p:nvCxnSpPr>
          <p:spPr>
            <a:xfrm flipV="1">
              <a:off x="8698682" y="2618092"/>
              <a:ext cx="2399337"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cxnSp>
          <p:nvCxnSpPr>
            <p:cNvPr id="287" name="Straight Connector 474">
              <a:extLst>
                <a:ext uri="{FF2B5EF4-FFF2-40B4-BE49-F238E27FC236}">
                  <a16:creationId xmlns="" xmlns:a16="http://schemas.microsoft.com/office/drawing/2014/main" id="{2B715979-111E-4B8F-9D6F-67C9ED3F9352}"/>
                </a:ext>
              </a:extLst>
            </p:cNvPr>
            <p:cNvCxnSpPr>
              <a:cxnSpLocks/>
            </p:cNvCxnSpPr>
            <p:nvPr/>
          </p:nvCxnSpPr>
          <p:spPr>
            <a:xfrm>
              <a:off x="8233210" y="2164301"/>
              <a:ext cx="466091" cy="453916"/>
            </a:xfrm>
            <a:prstGeom prst="line">
              <a:avLst/>
            </a:prstGeom>
            <a:ln w="3175">
              <a:solidFill>
                <a:srgbClr val="F26926"/>
              </a:solidFill>
            </a:ln>
          </p:spPr>
          <p:style>
            <a:lnRef idx="1">
              <a:schemeClr val="accent1"/>
            </a:lnRef>
            <a:fillRef idx="0">
              <a:schemeClr val="accent1"/>
            </a:fillRef>
            <a:effectRef idx="0">
              <a:schemeClr val="accent1"/>
            </a:effectRef>
            <a:fontRef idx="minor">
              <a:schemeClr val="tx1"/>
            </a:fontRef>
          </p:style>
        </p:cxnSp>
      </p:grpSp>
      <p:sp>
        <p:nvSpPr>
          <p:cNvPr id="288" name="TextBox 50">
            <a:extLst>
              <a:ext uri="{FF2B5EF4-FFF2-40B4-BE49-F238E27FC236}">
                <a16:creationId xmlns="" xmlns:a16="http://schemas.microsoft.com/office/drawing/2014/main" id="{24C0D5B2-8390-4537-9E72-80683E21EB32}"/>
              </a:ext>
            </a:extLst>
          </p:cNvPr>
          <p:cNvSpPr txBox="1"/>
          <p:nvPr/>
        </p:nvSpPr>
        <p:spPr>
          <a:xfrm>
            <a:off x="4184732" y="1874065"/>
            <a:ext cx="2669941" cy="380104"/>
          </a:xfrm>
          <a:prstGeom prst="rect">
            <a:avLst/>
          </a:prstGeom>
          <a:noFill/>
          <a:ln>
            <a:noFill/>
          </a:ln>
        </p:spPr>
        <p:txBody>
          <a:bodyPr wrap="square" rtlCol="0">
            <a:spAutoFit/>
          </a:bodyPr>
          <a:lstStyle/>
          <a:p>
            <a:pPr marL="0" marR="0" lvl="0" indent="0" defTabSz="914400" rtl="0" eaLnBrk="1" fontAlgn="auto" latinLnBrk="0" hangingPunct="1">
              <a:lnSpc>
                <a:spcPct val="85000"/>
              </a:lnSpc>
              <a:spcBef>
                <a:spcPts val="0"/>
              </a:spcBef>
              <a:spcAft>
                <a:spcPts val="0"/>
              </a:spcAft>
              <a:buClrTx/>
              <a:buSzTx/>
              <a:buFontTx/>
              <a:buNone/>
              <a:tabLst/>
              <a:defRPr/>
            </a:pPr>
            <a:r>
              <a:rPr kumimoji="0" lang="pt-PT" sz="11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University</a:t>
            </a:r>
            <a:r>
              <a:rPr kumimoji="0" lang="pt-PT" sz="11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pt-PT" sz="11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of</a:t>
            </a:r>
            <a:r>
              <a:rPr kumimoji="0" lang="pt-PT" sz="11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Michigan </a:t>
            </a:r>
            <a:r>
              <a:rPr kumimoji="0" lang="pt-PT" sz="11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Hospitals</a:t>
            </a:r>
            <a:r>
              <a:rPr kumimoji="0" lang="pt-PT" sz="11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pt-PT" sz="11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and</a:t>
            </a:r>
            <a:r>
              <a:rPr kumimoji="0" lang="pt-PT" sz="11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pt-PT" sz="11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Health</a:t>
            </a:r>
            <a:r>
              <a:rPr kumimoji="0" lang="pt-PT" sz="11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pt-PT" sz="11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Centers</a:t>
            </a:r>
            <a:r>
              <a:rPr kumimoji="0" lang="pt-PT" sz="11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pt-PT" sz="11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Ann</a:t>
            </a:r>
            <a:r>
              <a:rPr kumimoji="0" lang="pt-PT" sz="11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pt-PT" sz="1100" b="0" i="0" u="none" strike="noStrike" kern="1200" cap="none" spc="0" normalizeH="0" baseline="0" noProof="0" dirty="0" err="1">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Harbor</a:t>
            </a:r>
            <a:endParaRPr kumimoji="0" lang="pt-PT" sz="11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295" name="Group 472">
            <a:extLst>
              <a:ext uri="{FF2B5EF4-FFF2-40B4-BE49-F238E27FC236}">
                <a16:creationId xmlns="" xmlns:a16="http://schemas.microsoft.com/office/drawing/2014/main" id="{030C17CE-2A6F-4987-9DFA-C563F5E53B0A}"/>
              </a:ext>
            </a:extLst>
          </p:cNvPr>
          <p:cNvGrpSpPr/>
          <p:nvPr/>
        </p:nvGrpSpPr>
        <p:grpSpPr>
          <a:xfrm flipH="1" flipV="1">
            <a:off x="875577" y="4376054"/>
            <a:ext cx="2832351" cy="589590"/>
            <a:chOff x="9645502" y="1620725"/>
            <a:chExt cx="2832351" cy="589590"/>
          </a:xfrm>
        </p:grpSpPr>
        <p:cxnSp>
          <p:nvCxnSpPr>
            <p:cNvPr id="296" name="Straight Connector 473">
              <a:extLst>
                <a:ext uri="{FF2B5EF4-FFF2-40B4-BE49-F238E27FC236}">
                  <a16:creationId xmlns="" xmlns:a16="http://schemas.microsoft.com/office/drawing/2014/main" id="{2C8559D5-8E5C-4B10-9163-B0CF1218C74B}"/>
                </a:ext>
              </a:extLst>
            </p:cNvPr>
            <p:cNvCxnSpPr>
              <a:cxnSpLocks/>
            </p:cNvCxnSpPr>
            <p:nvPr/>
          </p:nvCxnSpPr>
          <p:spPr>
            <a:xfrm flipV="1">
              <a:off x="10246189" y="1620725"/>
              <a:ext cx="2231664"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cxnSp>
          <p:nvCxnSpPr>
            <p:cNvPr id="297" name="Straight Connector 474">
              <a:extLst>
                <a:ext uri="{FF2B5EF4-FFF2-40B4-BE49-F238E27FC236}">
                  <a16:creationId xmlns="" xmlns:a16="http://schemas.microsoft.com/office/drawing/2014/main" id="{7A4C0ECC-F80B-4250-B307-A8654170658C}"/>
                </a:ext>
              </a:extLst>
            </p:cNvPr>
            <p:cNvCxnSpPr>
              <a:cxnSpLocks/>
            </p:cNvCxnSpPr>
            <p:nvPr/>
          </p:nvCxnSpPr>
          <p:spPr>
            <a:xfrm flipV="1">
              <a:off x="9645502" y="1620725"/>
              <a:ext cx="600587" cy="589590"/>
            </a:xfrm>
            <a:prstGeom prst="line">
              <a:avLst/>
            </a:prstGeom>
            <a:ln w="3175">
              <a:solidFill>
                <a:srgbClr val="F26926"/>
              </a:solidFill>
            </a:ln>
          </p:spPr>
          <p:style>
            <a:lnRef idx="1">
              <a:schemeClr val="accent1"/>
            </a:lnRef>
            <a:fillRef idx="0">
              <a:schemeClr val="accent1"/>
            </a:fillRef>
            <a:effectRef idx="0">
              <a:schemeClr val="accent1"/>
            </a:effectRef>
            <a:fontRef idx="minor">
              <a:schemeClr val="tx1"/>
            </a:fontRef>
          </p:style>
        </p:cxnSp>
      </p:grpSp>
      <p:sp>
        <p:nvSpPr>
          <p:cNvPr id="301" name="TextBox 50">
            <a:extLst>
              <a:ext uri="{FF2B5EF4-FFF2-40B4-BE49-F238E27FC236}">
                <a16:creationId xmlns="" xmlns:a16="http://schemas.microsoft.com/office/drawing/2014/main" id="{6A437893-1C39-4893-831C-5B734413869A}"/>
              </a:ext>
            </a:extLst>
          </p:cNvPr>
          <p:cNvSpPr txBox="1"/>
          <p:nvPr/>
        </p:nvSpPr>
        <p:spPr>
          <a:xfrm>
            <a:off x="829147" y="4581357"/>
            <a:ext cx="2213630" cy="380104"/>
          </a:xfrm>
          <a:prstGeom prst="rect">
            <a:avLst/>
          </a:prstGeom>
          <a:noFill/>
          <a:ln>
            <a:noFill/>
          </a:ln>
        </p:spPr>
        <p:txBody>
          <a:bodyPr wrap="square" rtlCol="0">
            <a:spAutoFit/>
          </a:bodyPr>
          <a:lstStyle/>
          <a:p>
            <a:pPr lvl="0">
              <a:lnSpc>
                <a:spcPct val="85000"/>
              </a:lnSpc>
              <a:defRPr/>
            </a:pPr>
            <a:r>
              <a:rPr lang="en-US" sz="1100" dirty="0">
                <a:solidFill>
                  <a:srgbClr val="404041"/>
                </a:solidFill>
                <a:latin typeface="Verdana" panose="020B0604030504040204" pitchFamily="34" charset="0"/>
                <a:ea typeface="Verdana" panose="020B0604030504040204" pitchFamily="34" charset="0"/>
                <a:cs typeface="Verdana" panose="020B0604030504040204" pitchFamily="34" charset="0"/>
              </a:rPr>
              <a:t>Ronald Raegan UCLA Medical Center, Los Angeles</a:t>
            </a:r>
          </a:p>
        </p:txBody>
      </p:sp>
      <p:grpSp>
        <p:nvGrpSpPr>
          <p:cNvPr id="304" name="Group 472">
            <a:extLst>
              <a:ext uri="{FF2B5EF4-FFF2-40B4-BE49-F238E27FC236}">
                <a16:creationId xmlns="" xmlns:a16="http://schemas.microsoft.com/office/drawing/2014/main" id="{C31070B3-B5D8-41E3-A37A-82F66FC24943}"/>
              </a:ext>
            </a:extLst>
          </p:cNvPr>
          <p:cNvGrpSpPr/>
          <p:nvPr/>
        </p:nvGrpSpPr>
        <p:grpSpPr>
          <a:xfrm flipH="1" flipV="1">
            <a:off x="875578" y="4417442"/>
            <a:ext cx="3019542" cy="1030372"/>
            <a:chOff x="9458310" y="1614362"/>
            <a:chExt cx="3019542" cy="1030372"/>
          </a:xfrm>
        </p:grpSpPr>
        <p:cxnSp>
          <p:nvCxnSpPr>
            <p:cNvPr id="305" name="Straight Connector 473">
              <a:extLst>
                <a:ext uri="{FF2B5EF4-FFF2-40B4-BE49-F238E27FC236}">
                  <a16:creationId xmlns="" xmlns:a16="http://schemas.microsoft.com/office/drawing/2014/main" id="{72F433FD-5DBE-4087-A1A1-E81E8E9E48A5}"/>
                </a:ext>
              </a:extLst>
            </p:cNvPr>
            <p:cNvCxnSpPr>
              <a:cxnSpLocks/>
            </p:cNvCxnSpPr>
            <p:nvPr/>
          </p:nvCxnSpPr>
          <p:spPr>
            <a:xfrm flipV="1">
              <a:off x="10490440" y="1620725"/>
              <a:ext cx="1987412"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cxnSp>
          <p:nvCxnSpPr>
            <p:cNvPr id="306" name="Straight Connector 474">
              <a:extLst>
                <a:ext uri="{FF2B5EF4-FFF2-40B4-BE49-F238E27FC236}">
                  <a16:creationId xmlns="" xmlns:a16="http://schemas.microsoft.com/office/drawing/2014/main" id="{77CD4607-487C-497E-AC1E-0DC053F3DE59}"/>
                </a:ext>
              </a:extLst>
            </p:cNvPr>
            <p:cNvCxnSpPr>
              <a:cxnSpLocks/>
            </p:cNvCxnSpPr>
            <p:nvPr/>
          </p:nvCxnSpPr>
          <p:spPr>
            <a:xfrm flipV="1">
              <a:off x="9458310" y="1614362"/>
              <a:ext cx="1029870" cy="1030372"/>
            </a:xfrm>
            <a:prstGeom prst="line">
              <a:avLst/>
            </a:prstGeom>
            <a:ln w="3175">
              <a:solidFill>
                <a:srgbClr val="F26926"/>
              </a:solidFill>
            </a:ln>
          </p:spPr>
          <p:style>
            <a:lnRef idx="1">
              <a:schemeClr val="accent1"/>
            </a:lnRef>
            <a:fillRef idx="0">
              <a:schemeClr val="accent1"/>
            </a:fillRef>
            <a:effectRef idx="0">
              <a:schemeClr val="accent1"/>
            </a:effectRef>
            <a:fontRef idx="minor">
              <a:schemeClr val="tx1"/>
            </a:fontRef>
          </p:style>
        </p:cxnSp>
      </p:grpSp>
      <p:sp>
        <p:nvSpPr>
          <p:cNvPr id="307" name="TextBox 50">
            <a:extLst>
              <a:ext uri="{FF2B5EF4-FFF2-40B4-BE49-F238E27FC236}">
                <a16:creationId xmlns="" xmlns:a16="http://schemas.microsoft.com/office/drawing/2014/main" id="{3BE1BC20-950B-440F-8AD6-C230EBFF78DC}"/>
              </a:ext>
            </a:extLst>
          </p:cNvPr>
          <p:cNvSpPr txBox="1"/>
          <p:nvPr/>
        </p:nvSpPr>
        <p:spPr>
          <a:xfrm>
            <a:off x="829147" y="5064816"/>
            <a:ext cx="2036606" cy="380104"/>
          </a:xfrm>
          <a:prstGeom prst="rect">
            <a:avLst/>
          </a:prstGeom>
          <a:noFill/>
          <a:ln>
            <a:noFill/>
          </a:ln>
        </p:spPr>
        <p:txBody>
          <a:bodyPr wrap="square" rtlCol="0">
            <a:spAutoFit/>
          </a:bodyPr>
          <a:lstStyle/>
          <a:p>
            <a:pPr lvl="0">
              <a:lnSpc>
                <a:spcPct val="85000"/>
              </a:lnSpc>
              <a:defRPr/>
            </a:pPr>
            <a:r>
              <a:rPr lang="en-US" sz="1100" dirty="0">
                <a:solidFill>
                  <a:srgbClr val="404041"/>
                </a:solidFill>
                <a:latin typeface="Verdana" panose="020B0604030504040204" pitchFamily="34" charset="0"/>
                <a:ea typeface="Verdana" panose="020B0604030504040204" pitchFamily="34" charset="0"/>
                <a:cs typeface="Verdana" panose="020B0604030504040204" pitchFamily="34" charset="0"/>
              </a:rPr>
              <a:t>Cedars-Sinai Medical Center, Los Angeles</a:t>
            </a:r>
          </a:p>
        </p:txBody>
      </p:sp>
      <p:grpSp>
        <p:nvGrpSpPr>
          <p:cNvPr id="317" name="Group 472">
            <a:extLst>
              <a:ext uri="{FF2B5EF4-FFF2-40B4-BE49-F238E27FC236}">
                <a16:creationId xmlns="" xmlns:a16="http://schemas.microsoft.com/office/drawing/2014/main" id="{3FC6745F-FDC2-4931-A02F-146D7ECD7120}"/>
              </a:ext>
            </a:extLst>
          </p:cNvPr>
          <p:cNvGrpSpPr/>
          <p:nvPr/>
        </p:nvGrpSpPr>
        <p:grpSpPr>
          <a:xfrm flipV="1">
            <a:off x="6769246" y="3487314"/>
            <a:ext cx="4775054" cy="1821287"/>
            <a:chOff x="7278340" y="2123095"/>
            <a:chExt cx="4775054" cy="1821287"/>
          </a:xfrm>
        </p:grpSpPr>
        <p:cxnSp>
          <p:nvCxnSpPr>
            <p:cNvPr id="318" name="Straight Connector 473">
              <a:extLst>
                <a:ext uri="{FF2B5EF4-FFF2-40B4-BE49-F238E27FC236}">
                  <a16:creationId xmlns="" xmlns:a16="http://schemas.microsoft.com/office/drawing/2014/main" id="{3F921720-E111-4094-8593-16426E49ADED}"/>
                </a:ext>
              </a:extLst>
            </p:cNvPr>
            <p:cNvCxnSpPr>
              <a:cxnSpLocks/>
            </p:cNvCxnSpPr>
            <p:nvPr/>
          </p:nvCxnSpPr>
          <p:spPr>
            <a:xfrm>
              <a:off x="8865694" y="2123095"/>
              <a:ext cx="3187700" cy="1"/>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cxnSp>
          <p:nvCxnSpPr>
            <p:cNvPr id="319" name="Straight Connector 474">
              <a:extLst>
                <a:ext uri="{FF2B5EF4-FFF2-40B4-BE49-F238E27FC236}">
                  <a16:creationId xmlns="" xmlns:a16="http://schemas.microsoft.com/office/drawing/2014/main" id="{0E5342F7-97FB-4BD1-B952-9F2188BA075B}"/>
                </a:ext>
              </a:extLst>
            </p:cNvPr>
            <p:cNvCxnSpPr>
              <a:cxnSpLocks/>
            </p:cNvCxnSpPr>
            <p:nvPr/>
          </p:nvCxnSpPr>
          <p:spPr>
            <a:xfrm flipV="1">
              <a:off x="7278340" y="2123096"/>
              <a:ext cx="1593252" cy="1821286"/>
            </a:xfrm>
            <a:prstGeom prst="line">
              <a:avLst/>
            </a:prstGeom>
            <a:ln w="3175">
              <a:solidFill>
                <a:srgbClr val="F26926"/>
              </a:solidFill>
            </a:ln>
          </p:spPr>
          <p:style>
            <a:lnRef idx="1">
              <a:schemeClr val="accent1"/>
            </a:lnRef>
            <a:fillRef idx="0">
              <a:schemeClr val="accent1"/>
            </a:fillRef>
            <a:effectRef idx="0">
              <a:schemeClr val="accent1"/>
            </a:effectRef>
            <a:fontRef idx="minor">
              <a:schemeClr val="tx1"/>
            </a:fontRef>
          </p:style>
        </p:cxnSp>
      </p:grpSp>
      <p:sp>
        <p:nvSpPr>
          <p:cNvPr id="324" name="TextBox 50">
            <a:extLst>
              <a:ext uri="{FF2B5EF4-FFF2-40B4-BE49-F238E27FC236}">
                <a16:creationId xmlns="" xmlns:a16="http://schemas.microsoft.com/office/drawing/2014/main" id="{E095E48A-EDD8-4CA3-AA1E-C4FA821250C1}"/>
              </a:ext>
            </a:extLst>
          </p:cNvPr>
          <p:cNvSpPr txBox="1"/>
          <p:nvPr/>
        </p:nvSpPr>
        <p:spPr>
          <a:xfrm>
            <a:off x="9033075" y="5073366"/>
            <a:ext cx="2571750" cy="236219"/>
          </a:xfrm>
          <a:prstGeom prst="rect">
            <a:avLst/>
          </a:prstGeom>
          <a:noFill/>
          <a:ln>
            <a:noFill/>
          </a:ln>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lang="pt-PT" sz="1100" dirty="0" err="1">
                <a:solidFill>
                  <a:srgbClr val="404041"/>
                </a:solidFill>
                <a:latin typeface="Verdana" panose="020B0604030504040204" pitchFamily="34" charset="0"/>
                <a:ea typeface="Verdana" panose="020B0604030504040204" pitchFamily="34" charset="0"/>
                <a:cs typeface="Verdana" panose="020B0604030504040204" pitchFamily="34" charset="0"/>
              </a:rPr>
              <a:t>Barnes-Jewish</a:t>
            </a:r>
            <a:r>
              <a:rPr lang="pt-PT" sz="1100" dirty="0">
                <a:solidFill>
                  <a:srgbClr val="404041"/>
                </a:solidFill>
                <a:latin typeface="Verdana" panose="020B0604030504040204" pitchFamily="34" charset="0"/>
                <a:ea typeface="Verdana" panose="020B0604030504040204" pitchFamily="34" charset="0"/>
                <a:cs typeface="Verdana" panose="020B0604030504040204" pitchFamily="34" charset="0"/>
              </a:rPr>
              <a:t> Hospital, St. Louis</a:t>
            </a:r>
            <a:endParaRPr kumimoji="0" lang="pt-PT" sz="11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327" name="Agrupar 657">
            <a:extLst>
              <a:ext uri="{FF2B5EF4-FFF2-40B4-BE49-F238E27FC236}">
                <a16:creationId xmlns="" xmlns:a16="http://schemas.microsoft.com/office/drawing/2014/main" id="{10043E09-D29D-4ED4-9DC2-39E82FBBB1C3}"/>
              </a:ext>
            </a:extLst>
          </p:cNvPr>
          <p:cNvGrpSpPr/>
          <p:nvPr/>
        </p:nvGrpSpPr>
        <p:grpSpPr>
          <a:xfrm>
            <a:off x="7779224" y="2746615"/>
            <a:ext cx="340482" cy="572400"/>
            <a:chOff x="1733926" y="3156019"/>
            <a:chExt cx="340482" cy="572400"/>
          </a:xfrm>
        </p:grpSpPr>
        <p:pic>
          <p:nvPicPr>
            <p:cNvPr id="328" name="Picture 422" descr="A picture containing thing, object&#10;&#10;Description generated with very high confidence">
              <a:extLst>
                <a:ext uri="{FF2B5EF4-FFF2-40B4-BE49-F238E27FC236}">
                  <a16:creationId xmlns="" xmlns:a16="http://schemas.microsoft.com/office/drawing/2014/main" id="{13144616-57A4-4BE0-9D52-9481009FACED}"/>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1733926" y="3156019"/>
              <a:ext cx="340482" cy="572400"/>
            </a:xfrm>
            <a:prstGeom prst="rect">
              <a:avLst/>
            </a:prstGeom>
          </p:spPr>
        </p:pic>
        <p:sp>
          <p:nvSpPr>
            <p:cNvPr id="329" name="Freeform 7710">
              <a:extLst>
                <a:ext uri="{FF2B5EF4-FFF2-40B4-BE49-F238E27FC236}">
                  <a16:creationId xmlns="" xmlns:a16="http://schemas.microsoft.com/office/drawing/2014/main" id="{3B64AC7C-E285-4886-9E9F-1658F647008C}"/>
                </a:ext>
              </a:extLst>
            </p:cNvPr>
            <p:cNvSpPr>
              <a:spLocks noEditPoints="1"/>
            </p:cNvSpPr>
            <p:nvPr/>
          </p:nvSpPr>
          <p:spPr bwMode="auto">
            <a:xfrm>
              <a:off x="1836619" y="3254122"/>
              <a:ext cx="140053" cy="139135"/>
            </a:xfrm>
            <a:custGeom>
              <a:avLst/>
              <a:gdLst>
                <a:gd name="T0" fmla="*/ 122 w 305"/>
                <a:gd name="T1" fmla="*/ 106 h 303"/>
                <a:gd name="T2" fmla="*/ 117 w 305"/>
                <a:gd name="T3" fmla="*/ 116 h 303"/>
                <a:gd name="T4" fmla="*/ 108 w 305"/>
                <a:gd name="T5" fmla="*/ 120 h 303"/>
                <a:gd name="T6" fmla="*/ 26 w 305"/>
                <a:gd name="T7" fmla="*/ 183 h 303"/>
                <a:gd name="T8" fmla="*/ 113 w 305"/>
                <a:gd name="T9" fmla="*/ 183 h 303"/>
                <a:gd name="T10" fmla="*/ 120 w 305"/>
                <a:gd name="T11" fmla="*/ 191 h 303"/>
                <a:gd name="T12" fmla="*/ 122 w 305"/>
                <a:gd name="T13" fmla="*/ 278 h 303"/>
                <a:gd name="T14" fmla="*/ 183 w 305"/>
                <a:gd name="T15" fmla="*/ 195 h 303"/>
                <a:gd name="T16" fmla="*/ 188 w 305"/>
                <a:gd name="T17" fmla="*/ 186 h 303"/>
                <a:gd name="T18" fmla="*/ 197 w 305"/>
                <a:gd name="T19" fmla="*/ 183 h 303"/>
                <a:gd name="T20" fmla="*/ 278 w 305"/>
                <a:gd name="T21" fmla="*/ 120 h 303"/>
                <a:gd name="T22" fmla="*/ 191 w 305"/>
                <a:gd name="T23" fmla="*/ 119 h 303"/>
                <a:gd name="T24" fmla="*/ 185 w 305"/>
                <a:gd name="T25" fmla="*/ 112 h 303"/>
                <a:gd name="T26" fmla="*/ 183 w 305"/>
                <a:gd name="T27" fmla="*/ 25 h 303"/>
                <a:gd name="T28" fmla="*/ 108 w 305"/>
                <a:gd name="T29" fmla="*/ 0 h 303"/>
                <a:gd name="T30" fmla="*/ 201 w 305"/>
                <a:gd name="T31" fmla="*/ 0 h 303"/>
                <a:gd name="T32" fmla="*/ 209 w 305"/>
                <a:gd name="T33" fmla="*/ 7 h 303"/>
                <a:gd name="T34" fmla="*/ 209 w 305"/>
                <a:gd name="T35" fmla="*/ 94 h 303"/>
                <a:gd name="T36" fmla="*/ 296 w 305"/>
                <a:gd name="T37" fmla="*/ 94 h 303"/>
                <a:gd name="T38" fmla="*/ 303 w 305"/>
                <a:gd name="T39" fmla="*/ 102 h 303"/>
                <a:gd name="T40" fmla="*/ 305 w 305"/>
                <a:gd name="T41" fmla="*/ 195 h 303"/>
                <a:gd name="T42" fmla="*/ 300 w 305"/>
                <a:gd name="T43" fmla="*/ 204 h 303"/>
                <a:gd name="T44" fmla="*/ 291 w 305"/>
                <a:gd name="T45" fmla="*/ 209 h 303"/>
                <a:gd name="T46" fmla="*/ 209 w 305"/>
                <a:gd name="T47" fmla="*/ 290 h 303"/>
                <a:gd name="T48" fmla="*/ 206 w 305"/>
                <a:gd name="T49" fmla="*/ 299 h 303"/>
                <a:gd name="T50" fmla="*/ 197 w 305"/>
                <a:gd name="T51" fmla="*/ 303 h 303"/>
                <a:gd name="T52" fmla="*/ 104 w 305"/>
                <a:gd name="T53" fmla="*/ 302 h 303"/>
                <a:gd name="T54" fmla="*/ 96 w 305"/>
                <a:gd name="T55" fmla="*/ 296 h 303"/>
                <a:gd name="T56" fmla="*/ 95 w 305"/>
                <a:gd name="T57" fmla="*/ 209 h 303"/>
                <a:gd name="T58" fmla="*/ 8 w 305"/>
                <a:gd name="T59" fmla="*/ 207 h 303"/>
                <a:gd name="T60" fmla="*/ 2 w 305"/>
                <a:gd name="T61" fmla="*/ 200 h 303"/>
                <a:gd name="T62" fmla="*/ 0 w 305"/>
                <a:gd name="T63" fmla="*/ 106 h 303"/>
                <a:gd name="T64" fmla="*/ 5 w 305"/>
                <a:gd name="T65" fmla="*/ 97 h 303"/>
                <a:gd name="T66" fmla="*/ 14 w 305"/>
                <a:gd name="T67" fmla="*/ 94 h 303"/>
                <a:gd name="T68" fmla="*/ 95 w 305"/>
                <a:gd name="T69" fmla="*/ 12 h 303"/>
                <a:gd name="T70" fmla="*/ 99 w 305"/>
                <a:gd name="T71" fmla="*/ 3 h 303"/>
                <a:gd name="T72" fmla="*/ 108 w 305"/>
                <a:gd name="T7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5" h="303">
                  <a:moveTo>
                    <a:pt x="122" y="25"/>
                  </a:moveTo>
                  <a:lnTo>
                    <a:pt x="122" y="106"/>
                  </a:lnTo>
                  <a:lnTo>
                    <a:pt x="120" y="112"/>
                  </a:lnTo>
                  <a:lnTo>
                    <a:pt x="117" y="116"/>
                  </a:lnTo>
                  <a:lnTo>
                    <a:pt x="113" y="119"/>
                  </a:lnTo>
                  <a:lnTo>
                    <a:pt x="108" y="120"/>
                  </a:lnTo>
                  <a:lnTo>
                    <a:pt x="26" y="120"/>
                  </a:lnTo>
                  <a:lnTo>
                    <a:pt x="26" y="183"/>
                  </a:lnTo>
                  <a:lnTo>
                    <a:pt x="108" y="183"/>
                  </a:lnTo>
                  <a:lnTo>
                    <a:pt x="113" y="183"/>
                  </a:lnTo>
                  <a:lnTo>
                    <a:pt x="117" y="186"/>
                  </a:lnTo>
                  <a:lnTo>
                    <a:pt x="120" y="191"/>
                  </a:lnTo>
                  <a:lnTo>
                    <a:pt x="122" y="195"/>
                  </a:lnTo>
                  <a:lnTo>
                    <a:pt x="122" y="278"/>
                  </a:lnTo>
                  <a:lnTo>
                    <a:pt x="183" y="278"/>
                  </a:lnTo>
                  <a:lnTo>
                    <a:pt x="183" y="195"/>
                  </a:lnTo>
                  <a:lnTo>
                    <a:pt x="185" y="191"/>
                  </a:lnTo>
                  <a:lnTo>
                    <a:pt x="188" y="186"/>
                  </a:lnTo>
                  <a:lnTo>
                    <a:pt x="191" y="183"/>
                  </a:lnTo>
                  <a:lnTo>
                    <a:pt x="197" y="183"/>
                  </a:lnTo>
                  <a:lnTo>
                    <a:pt x="278" y="183"/>
                  </a:lnTo>
                  <a:lnTo>
                    <a:pt x="278" y="120"/>
                  </a:lnTo>
                  <a:lnTo>
                    <a:pt x="197" y="120"/>
                  </a:lnTo>
                  <a:lnTo>
                    <a:pt x="191" y="119"/>
                  </a:lnTo>
                  <a:lnTo>
                    <a:pt x="188" y="116"/>
                  </a:lnTo>
                  <a:lnTo>
                    <a:pt x="185" y="112"/>
                  </a:lnTo>
                  <a:lnTo>
                    <a:pt x="183" y="106"/>
                  </a:lnTo>
                  <a:lnTo>
                    <a:pt x="183" y="25"/>
                  </a:lnTo>
                  <a:lnTo>
                    <a:pt x="122" y="25"/>
                  </a:lnTo>
                  <a:close/>
                  <a:moveTo>
                    <a:pt x="108" y="0"/>
                  </a:moveTo>
                  <a:lnTo>
                    <a:pt x="197" y="0"/>
                  </a:lnTo>
                  <a:lnTo>
                    <a:pt x="201" y="0"/>
                  </a:lnTo>
                  <a:lnTo>
                    <a:pt x="206" y="3"/>
                  </a:lnTo>
                  <a:lnTo>
                    <a:pt x="209" y="7"/>
                  </a:lnTo>
                  <a:lnTo>
                    <a:pt x="209" y="12"/>
                  </a:lnTo>
                  <a:lnTo>
                    <a:pt x="209" y="94"/>
                  </a:lnTo>
                  <a:lnTo>
                    <a:pt x="291" y="94"/>
                  </a:lnTo>
                  <a:lnTo>
                    <a:pt x="296" y="94"/>
                  </a:lnTo>
                  <a:lnTo>
                    <a:pt x="300" y="97"/>
                  </a:lnTo>
                  <a:lnTo>
                    <a:pt x="303" y="102"/>
                  </a:lnTo>
                  <a:lnTo>
                    <a:pt x="305" y="106"/>
                  </a:lnTo>
                  <a:lnTo>
                    <a:pt x="305" y="195"/>
                  </a:lnTo>
                  <a:lnTo>
                    <a:pt x="303" y="200"/>
                  </a:lnTo>
                  <a:lnTo>
                    <a:pt x="300" y="204"/>
                  </a:lnTo>
                  <a:lnTo>
                    <a:pt x="296" y="207"/>
                  </a:lnTo>
                  <a:lnTo>
                    <a:pt x="291" y="209"/>
                  </a:lnTo>
                  <a:lnTo>
                    <a:pt x="209" y="209"/>
                  </a:lnTo>
                  <a:lnTo>
                    <a:pt x="209" y="290"/>
                  </a:lnTo>
                  <a:lnTo>
                    <a:pt x="209" y="296"/>
                  </a:lnTo>
                  <a:lnTo>
                    <a:pt x="206" y="299"/>
                  </a:lnTo>
                  <a:lnTo>
                    <a:pt x="201" y="302"/>
                  </a:lnTo>
                  <a:lnTo>
                    <a:pt x="197" y="303"/>
                  </a:lnTo>
                  <a:lnTo>
                    <a:pt x="108" y="303"/>
                  </a:lnTo>
                  <a:lnTo>
                    <a:pt x="104" y="302"/>
                  </a:lnTo>
                  <a:lnTo>
                    <a:pt x="99" y="299"/>
                  </a:lnTo>
                  <a:lnTo>
                    <a:pt x="96" y="296"/>
                  </a:lnTo>
                  <a:lnTo>
                    <a:pt x="95" y="290"/>
                  </a:lnTo>
                  <a:lnTo>
                    <a:pt x="95" y="209"/>
                  </a:lnTo>
                  <a:lnTo>
                    <a:pt x="14" y="209"/>
                  </a:lnTo>
                  <a:lnTo>
                    <a:pt x="8" y="207"/>
                  </a:lnTo>
                  <a:lnTo>
                    <a:pt x="5" y="204"/>
                  </a:lnTo>
                  <a:lnTo>
                    <a:pt x="2" y="200"/>
                  </a:lnTo>
                  <a:lnTo>
                    <a:pt x="0" y="195"/>
                  </a:lnTo>
                  <a:lnTo>
                    <a:pt x="0" y="106"/>
                  </a:lnTo>
                  <a:lnTo>
                    <a:pt x="2" y="102"/>
                  </a:lnTo>
                  <a:lnTo>
                    <a:pt x="5" y="97"/>
                  </a:lnTo>
                  <a:lnTo>
                    <a:pt x="8" y="94"/>
                  </a:lnTo>
                  <a:lnTo>
                    <a:pt x="14" y="94"/>
                  </a:lnTo>
                  <a:lnTo>
                    <a:pt x="95" y="94"/>
                  </a:lnTo>
                  <a:lnTo>
                    <a:pt x="95" y="12"/>
                  </a:lnTo>
                  <a:lnTo>
                    <a:pt x="96" y="7"/>
                  </a:lnTo>
                  <a:lnTo>
                    <a:pt x="99" y="3"/>
                  </a:lnTo>
                  <a:lnTo>
                    <a:pt x="104" y="0"/>
                  </a:lnTo>
                  <a:lnTo>
                    <a:pt x="108" y="0"/>
                  </a:lnTo>
                  <a:close/>
                </a:path>
              </a:pathLst>
            </a:custGeom>
            <a:solidFill>
              <a:srgbClr val="05589C"/>
            </a:solidFill>
            <a:ln w="0">
              <a:noFill/>
              <a:prstDash val="solid"/>
              <a:round/>
              <a:headEnd/>
              <a:tailEnd/>
            </a:ln>
          </p:spPr>
          <p:txBody>
            <a:bodyPr vert="horz" wrap="square" lIns="91440" tIns="45720" rIns="91440" bIns="45720" numCol="1" anchor="t" anchorCtr="0" compatLnSpc="1">
              <a:prstTxWarp prst="textNoShape">
                <a:avLst/>
              </a:prstTxWarp>
            </a:bodyPr>
            <a:lstStyle/>
            <a:p>
              <a:pPr algn="r"/>
              <a:endParaRPr lang="pt-BR" dirty="0">
                <a:solidFill>
                  <a:prstClr val="black"/>
                </a:solidFill>
              </a:endParaRPr>
            </a:p>
          </p:txBody>
        </p:sp>
      </p:grpSp>
      <p:grpSp>
        <p:nvGrpSpPr>
          <p:cNvPr id="664" name="Agrupar 663">
            <a:extLst>
              <a:ext uri="{FF2B5EF4-FFF2-40B4-BE49-F238E27FC236}">
                <a16:creationId xmlns="" xmlns:a16="http://schemas.microsoft.com/office/drawing/2014/main" id="{0B5C94AB-73C0-485D-A30D-E00FD827B6AB}"/>
              </a:ext>
            </a:extLst>
          </p:cNvPr>
          <p:cNvGrpSpPr/>
          <p:nvPr/>
        </p:nvGrpSpPr>
        <p:grpSpPr>
          <a:xfrm>
            <a:off x="7879751" y="3140598"/>
            <a:ext cx="340482" cy="572400"/>
            <a:chOff x="1733926" y="3156019"/>
            <a:chExt cx="340482" cy="572400"/>
          </a:xfrm>
        </p:grpSpPr>
        <p:pic>
          <p:nvPicPr>
            <p:cNvPr id="665" name="Picture 422" descr="A picture containing thing, object&#10;&#10;Description generated with very high confidence">
              <a:extLst>
                <a:ext uri="{FF2B5EF4-FFF2-40B4-BE49-F238E27FC236}">
                  <a16:creationId xmlns="" xmlns:a16="http://schemas.microsoft.com/office/drawing/2014/main" id="{D949CDBB-8510-4689-ACDB-078F195B7F9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1733926" y="3156019"/>
              <a:ext cx="340482" cy="572400"/>
            </a:xfrm>
            <a:prstGeom prst="rect">
              <a:avLst/>
            </a:prstGeom>
          </p:spPr>
        </p:pic>
        <p:sp>
          <p:nvSpPr>
            <p:cNvPr id="666" name="Freeform 7710">
              <a:extLst>
                <a:ext uri="{FF2B5EF4-FFF2-40B4-BE49-F238E27FC236}">
                  <a16:creationId xmlns="" xmlns:a16="http://schemas.microsoft.com/office/drawing/2014/main" id="{E6664359-7BA1-4581-81D1-4C9583EAD3A2}"/>
                </a:ext>
              </a:extLst>
            </p:cNvPr>
            <p:cNvSpPr>
              <a:spLocks noEditPoints="1"/>
            </p:cNvSpPr>
            <p:nvPr/>
          </p:nvSpPr>
          <p:spPr bwMode="auto">
            <a:xfrm>
              <a:off x="1836619" y="3254122"/>
              <a:ext cx="140053" cy="139135"/>
            </a:xfrm>
            <a:custGeom>
              <a:avLst/>
              <a:gdLst>
                <a:gd name="T0" fmla="*/ 122 w 305"/>
                <a:gd name="T1" fmla="*/ 106 h 303"/>
                <a:gd name="T2" fmla="*/ 117 w 305"/>
                <a:gd name="T3" fmla="*/ 116 h 303"/>
                <a:gd name="T4" fmla="*/ 108 w 305"/>
                <a:gd name="T5" fmla="*/ 120 h 303"/>
                <a:gd name="T6" fmla="*/ 26 w 305"/>
                <a:gd name="T7" fmla="*/ 183 h 303"/>
                <a:gd name="T8" fmla="*/ 113 w 305"/>
                <a:gd name="T9" fmla="*/ 183 h 303"/>
                <a:gd name="T10" fmla="*/ 120 w 305"/>
                <a:gd name="T11" fmla="*/ 191 h 303"/>
                <a:gd name="T12" fmla="*/ 122 w 305"/>
                <a:gd name="T13" fmla="*/ 278 h 303"/>
                <a:gd name="T14" fmla="*/ 183 w 305"/>
                <a:gd name="T15" fmla="*/ 195 h 303"/>
                <a:gd name="T16" fmla="*/ 188 w 305"/>
                <a:gd name="T17" fmla="*/ 186 h 303"/>
                <a:gd name="T18" fmla="*/ 197 w 305"/>
                <a:gd name="T19" fmla="*/ 183 h 303"/>
                <a:gd name="T20" fmla="*/ 278 w 305"/>
                <a:gd name="T21" fmla="*/ 120 h 303"/>
                <a:gd name="T22" fmla="*/ 191 w 305"/>
                <a:gd name="T23" fmla="*/ 119 h 303"/>
                <a:gd name="T24" fmla="*/ 185 w 305"/>
                <a:gd name="T25" fmla="*/ 112 h 303"/>
                <a:gd name="T26" fmla="*/ 183 w 305"/>
                <a:gd name="T27" fmla="*/ 25 h 303"/>
                <a:gd name="T28" fmla="*/ 108 w 305"/>
                <a:gd name="T29" fmla="*/ 0 h 303"/>
                <a:gd name="T30" fmla="*/ 201 w 305"/>
                <a:gd name="T31" fmla="*/ 0 h 303"/>
                <a:gd name="T32" fmla="*/ 209 w 305"/>
                <a:gd name="T33" fmla="*/ 7 h 303"/>
                <a:gd name="T34" fmla="*/ 209 w 305"/>
                <a:gd name="T35" fmla="*/ 94 h 303"/>
                <a:gd name="T36" fmla="*/ 296 w 305"/>
                <a:gd name="T37" fmla="*/ 94 h 303"/>
                <a:gd name="T38" fmla="*/ 303 w 305"/>
                <a:gd name="T39" fmla="*/ 102 h 303"/>
                <a:gd name="T40" fmla="*/ 305 w 305"/>
                <a:gd name="T41" fmla="*/ 195 h 303"/>
                <a:gd name="T42" fmla="*/ 300 w 305"/>
                <a:gd name="T43" fmla="*/ 204 h 303"/>
                <a:gd name="T44" fmla="*/ 291 w 305"/>
                <a:gd name="T45" fmla="*/ 209 h 303"/>
                <a:gd name="T46" fmla="*/ 209 w 305"/>
                <a:gd name="T47" fmla="*/ 290 h 303"/>
                <a:gd name="T48" fmla="*/ 206 w 305"/>
                <a:gd name="T49" fmla="*/ 299 h 303"/>
                <a:gd name="T50" fmla="*/ 197 w 305"/>
                <a:gd name="T51" fmla="*/ 303 h 303"/>
                <a:gd name="T52" fmla="*/ 104 w 305"/>
                <a:gd name="T53" fmla="*/ 302 h 303"/>
                <a:gd name="T54" fmla="*/ 96 w 305"/>
                <a:gd name="T55" fmla="*/ 296 h 303"/>
                <a:gd name="T56" fmla="*/ 95 w 305"/>
                <a:gd name="T57" fmla="*/ 209 h 303"/>
                <a:gd name="T58" fmla="*/ 8 w 305"/>
                <a:gd name="T59" fmla="*/ 207 h 303"/>
                <a:gd name="T60" fmla="*/ 2 w 305"/>
                <a:gd name="T61" fmla="*/ 200 h 303"/>
                <a:gd name="T62" fmla="*/ 0 w 305"/>
                <a:gd name="T63" fmla="*/ 106 h 303"/>
                <a:gd name="T64" fmla="*/ 5 w 305"/>
                <a:gd name="T65" fmla="*/ 97 h 303"/>
                <a:gd name="T66" fmla="*/ 14 w 305"/>
                <a:gd name="T67" fmla="*/ 94 h 303"/>
                <a:gd name="T68" fmla="*/ 95 w 305"/>
                <a:gd name="T69" fmla="*/ 12 h 303"/>
                <a:gd name="T70" fmla="*/ 99 w 305"/>
                <a:gd name="T71" fmla="*/ 3 h 303"/>
                <a:gd name="T72" fmla="*/ 108 w 305"/>
                <a:gd name="T7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5" h="303">
                  <a:moveTo>
                    <a:pt x="122" y="25"/>
                  </a:moveTo>
                  <a:lnTo>
                    <a:pt x="122" y="106"/>
                  </a:lnTo>
                  <a:lnTo>
                    <a:pt x="120" y="112"/>
                  </a:lnTo>
                  <a:lnTo>
                    <a:pt x="117" y="116"/>
                  </a:lnTo>
                  <a:lnTo>
                    <a:pt x="113" y="119"/>
                  </a:lnTo>
                  <a:lnTo>
                    <a:pt x="108" y="120"/>
                  </a:lnTo>
                  <a:lnTo>
                    <a:pt x="26" y="120"/>
                  </a:lnTo>
                  <a:lnTo>
                    <a:pt x="26" y="183"/>
                  </a:lnTo>
                  <a:lnTo>
                    <a:pt x="108" y="183"/>
                  </a:lnTo>
                  <a:lnTo>
                    <a:pt x="113" y="183"/>
                  </a:lnTo>
                  <a:lnTo>
                    <a:pt x="117" y="186"/>
                  </a:lnTo>
                  <a:lnTo>
                    <a:pt x="120" y="191"/>
                  </a:lnTo>
                  <a:lnTo>
                    <a:pt x="122" y="195"/>
                  </a:lnTo>
                  <a:lnTo>
                    <a:pt x="122" y="278"/>
                  </a:lnTo>
                  <a:lnTo>
                    <a:pt x="183" y="278"/>
                  </a:lnTo>
                  <a:lnTo>
                    <a:pt x="183" y="195"/>
                  </a:lnTo>
                  <a:lnTo>
                    <a:pt x="185" y="191"/>
                  </a:lnTo>
                  <a:lnTo>
                    <a:pt x="188" y="186"/>
                  </a:lnTo>
                  <a:lnTo>
                    <a:pt x="191" y="183"/>
                  </a:lnTo>
                  <a:lnTo>
                    <a:pt x="197" y="183"/>
                  </a:lnTo>
                  <a:lnTo>
                    <a:pt x="278" y="183"/>
                  </a:lnTo>
                  <a:lnTo>
                    <a:pt x="278" y="120"/>
                  </a:lnTo>
                  <a:lnTo>
                    <a:pt x="197" y="120"/>
                  </a:lnTo>
                  <a:lnTo>
                    <a:pt x="191" y="119"/>
                  </a:lnTo>
                  <a:lnTo>
                    <a:pt x="188" y="116"/>
                  </a:lnTo>
                  <a:lnTo>
                    <a:pt x="185" y="112"/>
                  </a:lnTo>
                  <a:lnTo>
                    <a:pt x="183" y="106"/>
                  </a:lnTo>
                  <a:lnTo>
                    <a:pt x="183" y="25"/>
                  </a:lnTo>
                  <a:lnTo>
                    <a:pt x="122" y="25"/>
                  </a:lnTo>
                  <a:close/>
                  <a:moveTo>
                    <a:pt x="108" y="0"/>
                  </a:moveTo>
                  <a:lnTo>
                    <a:pt x="197" y="0"/>
                  </a:lnTo>
                  <a:lnTo>
                    <a:pt x="201" y="0"/>
                  </a:lnTo>
                  <a:lnTo>
                    <a:pt x="206" y="3"/>
                  </a:lnTo>
                  <a:lnTo>
                    <a:pt x="209" y="7"/>
                  </a:lnTo>
                  <a:lnTo>
                    <a:pt x="209" y="12"/>
                  </a:lnTo>
                  <a:lnTo>
                    <a:pt x="209" y="94"/>
                  </a:lnTo>
                  <a:lnTo>
                    <a:pt x="291" y="94"/>
                  </a:lnTo>
                  <a:lnTo>
                    <a:pt x="296" y="94"/>
                  </a:lnTo>
                  <a:lnTo>
                    <a:pt x="300" y="97"/>
                  </a:lnTo>
                  <a:lnTo>
                    <a:pt x="303" y="102"/>
                  </a:lnTo>
                  <a:lnTo>
                    <a:pt x="305" y="106"/>
                  </a:lnTo>
                  <a:lnTo>
                    <a:pt x="305" y="195"/>
                  </a:lnTo>
                  <a:lnTo>
                    <a:pt x="303" y="200"/>
                  </a:lnTo>
                  <a:lnTo>
                    <a:pt x="300" y="204"/>
                  </a:lnTo>
                  <a:lnTo>
                    <a:pt x="296" y="207"/>
                  </a:lnTo>
                  <a:lnTo>
                    <a:pt x="291" y="209"/>
                  </a:lnTo>
                  <a:lnTo>
                    <a:pt x="209" y="209"/>
                  </a:lnTo>
                  <a:lnTo>
                    <a:pt x="209" y="290"/>
                  </a:lnTo>
                  <a:lnTo>
                    <a:pt x="209" y="296"/>
                  </a:lnTo>
                  <a:lnTo>
                    <a:pt x="206" y="299"/>
                  </a:lnTo>
                  <a:lnTo>
                    <a:pt x="201" y="302"/>
                  </a:lnTo>
                  <a:lnTo>
                    <a:pt x="197" y="303"/>
                  </a:lnTo>
                  <a:lnTo>
                    <a:pt x="108" y="303"/>
                  </a:lnTo>
                  <a:lnTo>
                    <a:pt x="104" y="302"/>
                  </a:lnTo>
                  <a:lnTo>
                    <a:pt x="99" y="299"/>
                  </a:lnTo>
                  <a:lnTo>
                    <a:pt x="96" y="296"/>
                  </a:lnTo>
                  <a:lnTo>
                    <a:pt x="95" y="290"/>
                  </a:lnTo>
                  <a:lnTo>
                    <a:pt x="95" y="209"/>
                  </a:lnTo>
                  <a:lnTo>
                    <a:pt x="14" y="209"/>
                  </a:lnTo>
                  <a:lnTo>
                    <a:pt x="8" y="207"/>
                  </a:lnTo>
                  <a:lnTo>
                    <a:pt x="5" y="204"/>
                  </a:lnTo>
                  <a:lnTo>
                    <a:pt x="2" y="200"/>
                  </a:lnTo>
                  <a:lnTo>
                    <a:pt x="0" y="195"/>
                  </a:lnTo>
                  <a:lnTo>
                    <a:pt x="0" y="106"/>
                  </a:lnTo>
                  <a:lnTo>
                    <a:pt x="2" y="102"/>
                  </a:lnTo>
                  <a:lnTo>
                    <a:pt x="5" y="97"/>
                  </a:lnTo>
                  <a:lnTo>
                    <a:pt x="8" y="94"/>
                  </a:lnTo>
                  <a:lnTo>
                    <a:pt x="14" y="94"/>
                  </a:lnTo>
                  <a:lnTo>
                    <a:pt x="95" y="94"/>
                  </a:lnTo>
                  <a:lnTo>
                    <a:pt x="95" y="12"/>
                  </a:lnTo>
                  <a:lnTo>
                    <a:pt x="96" y="7"/>
                  </a:lnTo>
                  <a:lnTo>
                    <a:pt x="99" y="3"/>
                  </a:lnTo>
                  <a:lnTo>
                    <a:pt x="104" y="0"/>
                  </a:lnTo>
                  <a:lnTo>
                    <a:pt x="108" y="0"/>
                  </a:lnTo>
                  <a:close/>
                </a:path>
              </a:pathLst>
            </a:custGeom>
            <a:solidFill>
              <a:srgbClr val="05589C"/>
            </a:solidFill>
            <a:ln w="0">
              <a:noFill/>
              <a:prstDash val="solid"/>
              <a:round/>
              <a:headEnd/>
              <a:tailEnd/>
            </a:ln>
          </p:spPr>
          <p:txBody>
            <a:bodyPr vert="horz" wrap="square" lIns="91440" tIns="45720" rIns="91440" bIns="45720" numCol="1" anchor="t" anchorCtr="0" compatLnSpc="1">
              <a:prstTxWarp prst="textNoShape">
                <a:avLst/>
              </a:prstTxWarp>
            </a:bodyPr>
            <a:lstStyle/>
            <a:p>
              <a:pPr algn="r"/>
              <a:endParaRPr lang="pt-BR" dirty="0">
                <a:solidFill>
                  <a:prstClr val="black"/>
                </a:solidFill>
              </a:endParaRPr>
            </a:p>
          </p:txBody>
        </p:sp>
      </p:grpSp>
      <p:grpSp>
        <p:nvGrpSpPr>
          <p:cNvPr id="332" name="Group 472">
            <a:extLst>
              <a:ext uri="{FF2B5EF4-FFF2-40B4-BE49-F238E27FC236}">
                <a16:creationId xmlns="" xmlns:a16="http://schemas.microsoft.com/office/drawing/2014/main" id="{E0F33539-E63A-4FDA-A637-B39A441F0D05}"/>
              </a:ext>
            </a:extLst>
          </p:cNvPr>
          <p:cNvGrpSpPr/>
          <p:nvPr/>
        </p:nvGrpSpPr>
        <p:grpSpPr>
          <a:xfrm>
            <a:off x="7542472" y="1916744"/>
            <a:ext cx="3992051" cy="1154388"/>
            <a:chOff x="7608159" y="2251971"/>
            <a:chExt cx="3992051" cy="1154388"/>
          </a:xfrm>
        </p:grpSpPr>
        <p:cxnSp>
          <p:nvCxnSpPr>
            <p:cNvPr id="333" name="Straight Connector 473">
              <a:extLst>
                <a:ext uri="{FF2B5EF4-FFF2-40B4-BE49-F238E27FC236}">
                  <a16:creationId xmlns="" xmlns:a16="http://schemas.microsoft.com/office/drawing/2014/main" id="{7526CB59-8605-49F5-A6FF-BE424AAB3428}"/>
                </a:ext>
              </a:extLst>
            </p:cNvPr>
            <p:cNvCxnSpPr>
              <a:cxnSpLocks/>
            </p:cNvCxnSpPr>
            <p:nvPr/>
          </p:nvCxnSpPr>
          <p:spPr>
            <a:xfrm>
              <a:off x="8331664" y="2251971"/>
              <a:ext cx="3268546"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cxnSp>
          <p:nvCxnSpPr>
            <p:cNvPr id="334" name="Straight Connector 474">
              <a:extLst>
                <a:ext uri="{FF2B5EF4-FFF2-40B4-BE49-F238E27FC236}">
                  <a16:creationId xmlns="" xmlns:a16="http://schemas.microsoft.com/office/drawing/2014/main" id="{B428266C-C8B1-4525-AA0D-866D749B8846}"/>
                </a:ext>
              </a:extLst>
            </p:cNvPr>
            <p:cNvCxnSpPr>
              <a:cxnSpLocks/>
            </p:cNvCxnSpPr>
            <p:nvPr/>
          </p:nvCxnSpPr>
          <p:spPr>
            <a:xfrm flipV="1">
              <a:off x="7608159" y="2251971"/>
              <a:ext cx="732987" cy="1154388"/>
            </a:xfrm>
            <a:prstGeom prst="line">
              <a:avLst/>
            </a:prstGeom>
            <a:ln w="3175">
              <a:solidFill>
                <a:srgbClr val="F26926"/>
              </a:solidFill>
            </a:ln>
          </p:spPr>
          <p:style>
            <a:lnRef idx="1">
              <a:schemeClr val="accent1"/>
            </a:lnRef>
            <a:fillRef idx="0">
              <a:schemeClr val="accent1"/>
            </a:fillRef>
            <a:effectRef idx="0">
              <a:schemeClr val="accent1"/>
            </a:effectRef>
            <a:fontRef idx="minor">
              <a:schemeClr val="tx1"/>
            </a:fontRef>
          </p:style>
        </p:cxnSp>
      </p:grpSp>
      <p:grpSp>
        <p:nvGrpSpPr>
          <p:cNvPr id="658" name="Agrupar 657">
            <a:extLst>
              <a:ext uri="{FF2B5EF4-FFF2-40B4-BE49-F238E27FC236}">
                <a16:creationId xmlns="" xmlns:a16="http://schemas.microsoft.com/office/drawing/2014/main" id="{1B82122C-2B23-4407-B828-B40358BE9880}"/>
              </a:ext>
            </a:extLst>
          </p:cNvPr>
          <p:cNvGrpSpPr/>
          <p:nvPr/>
        </p:nvGrpSpPr>
        <p:grpSpPr>
          <a:xfrm>
            <a:off x="7403879" y="2810728"/>
            <a:ext cx="340482" cy="572400"/>
            <a:chOff x="1733926" y="3156019"/>
            <a:chExt cx="340482" cy="572400"/>
          </a:xfrm>
        </p:grpSpPr>
        <p:pic>
          <p:nvPicPr>
            <p:cNvPr id="659" name="Picture 422" descr="A picture containing thing, object&#10;&#10;Description generated with very high confidence">
              <a:extLst>
                <a:ext uri="{FF2B5EF4-FFF2-40B4-BE49-F238E27FC236}">
                  <a16:creationId xmlns="" xmlns:a16="http://schemas.microsoft.com/office/drawing/2014/main" id="{462DE3D7-53C3-4686-A095-368B89BCBBB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1733926" y="3156019"/>
              <a:ext cx="340482" cy="572400"/>
            </a:xfrm>
            <a:prstGeom prst="rect">
              <a:avLst/>
            </a:prstGeom>
          </p:spPr>
        </p:pic>
        <p:sp>
          <p:nvSpPr>
            <p:cNvPr id="660" name="Freeform 7710">
              <a:extLst>
                <a:ext uri="{FF2B5EF4-FFF2-40B4-BE49-F238E27FC236}">
                  <a16:creationId xmlns="" xmlns:a16="http://schemas.microsoft.com/office/drawing/2014/main" id="{268F8369-4254-4335-A37D-37711770DE4B}"/>
                </a:ext>
              </a:extLst>
            </p:cNvPr>
            <p:cNvSpPr>
              <a:spLocks noEditPoints="1"/>
            </p:cNvSpPr>
            <p:nvPr/>
          </p:nvSpPr>
          <p:spPr bwMode="auto">
            <a:xfrm>
              <a:off x="1836619" y="3254122"/>
              <a:ext cx="140053" cy="139135"/>
            </a:xfrm>
            <a:custGeom>
              <a:avLst/>
              <a:gdLst>
                <a:gd name="T0" fmla="*/ 122 w 305"/>
                <a:gd name="T1" fmla="*/ 106 h 303"/>
                <a:gd name="T2" fmla="*/ 117 w 305"/>
                <a:gd name="T3" fmla="*/ 116 h 303"/>
                <a:gd name="T4" fmla="*/ 108 w 305"/>
                <a:gd name="T5" fmla="*/ 120 h 303"/>
                <a:gd name="T6" fmla="*/ 26 w 305"/>
                <a:gd name="T7" fmla="*/ 183 h 303"/>
                <a:gd name="T8" fmla="*/ 113 w 305"/>
                <a:gd name="T9" fmla="*/ 183 h 303"/>
                <a:gd name="T10" fmla="*/ 120 w 305"/>
                <a:gd name="T11" fmla="*/ 191 h 303"/>
                <a:gd name="T12" fmla="*/ 122 w 305"/>
                <a:gd name="T13" fmla="*/ 278 h 303"/>
                <a:gd name="T14" fmla="*/ 183 w 305"/>
                <a:gd name="T15" fmla="*/ 195 h 303"/>
                <a:gd name="T16" fmla="*/ 188 w 305"/>
                <a:gd name="T17" fmla="*/ 186 h 303"/>
                <a:gd name="T18" fmla="*/ 197 w 305"/>
                <a:gd name="T19" fmla="*/ 183 h 303"/>
                <a:gd name="T20" fmla="*/ 278 w 305"/>
                <a:gd name="T21" fmla="*/ 120 h 303"/>
                <a:gd name="T22" fmla="*/ 191 w 305"/>
                <a:gd name="T23" fmla="*/ 119 h 303"/>
                <a:gd name="T24" fmla="*/ 185 w 305"/>
                <a:gd name="T25" fmla="*/ 112 h 303"/>
                <a:gd name="T26" fmla="*/ 183 w 305"/>
                <a:gd name="T27" fmla="*/ 25 h 303"/>
                <a:gd name="T28" fmla="*/ 108 w 305"/>
                <a:gd name="T29" fmla="*/ 0 h 303"/>
                <a:gd name="T30" fmla="*/ 201 w 305"/>
                <a:gd name="T31" fmla="*/ 0 h 303"/>
                <a:gd name="T32" fmla="*/ 209 w 305"/>
                <a:gd name="T33" fmla="*/ 7 h 303"/>
                <a:gd name="T34" fmla="*/ 209 w 305"/>
                <a:gd name="T35" fmla="*/ 94 h 303"/>
                <a:gd name="T36" fmla="*/ 296 w 305"/>
                <a:gd name="T37" fmla="*/ 94 h 303"/>
                <a:gd name="T38" fmla="*/ 303 w 305"/>
                <a:gd name="T39" fmla="*/ 102 h 303"/>
                <a:gd name="T40" fmla="*/ 305 w 305"/>
                <a:gd name="T41" fmla="*/ 195 h 303"/>
                <a:gd name="T42" fmla="*/ 300 w 305"/>
                <a:gd name="T43" fmla="*/ 204 h 303"/>
                <a:gd name="T44" fmla="*/ 291 w 305"/>
                <a:gd name="T45" fmla="*/ 209 h 303"/>
                <a:gd name="T46" fmla="*/ 209 w 305"/>
                <a:gd name="T47" fmla="*/ 290 h 303"/>
                <a:gd name="T48" fmla="*/ 206 w 305"/>
                <a:gd name="T49" fmla="*/ 299 h 303"/>
                <a:gd name="T50" fmla="*/ 197 w 305"/>
                <a:gd name="T51" fmla="*/ 303 h 303"/>
                <a:gd name="T52" fmla="*/ 104 w 305"/>
                <a:gd name="T53" fmla="*/ 302 h 303"/>
                <a:gd name="T54" fmla="*/ 96 w 305"/>
                <a:gd name="T55" fmla="*/ 296 h 303"/>
                <a:gd name="T56" fmla="*/ 95 w 305"/>
                <a:gd name="T57" fmla="*/ 209 h 303"/>
                <a:gd name="T58" fmla="*/ 8 w 305"/>
                <a:gd name="T59" fmla="*/ 207 h 303"/>
                <a:gd name="T60" fmla="*/ 2 w 305"/>
                <a:gd name="T61" fmla="*/ 200 h 303"/>
                <a:gd name="T62" fmla="*/ 0 w 305"/>
                <a:gd name="T63" fmla="*/ 106 h 303"/>
                <a:gd name="T64" fmla="*/ 5 w 305"/>
                <a:gd name="T65" fmla="*/ 97 h 303"/>
                <a:gd name="T66" fmla="*/ 14 w 305"/>
                <a:gd name="T67" fmla="*/ 94 h 303"/>
                <a:gd name="T68" fmla="*/ 95 w 305"/>
                <a:gd name="T69" fmla="*/ 12 h 303"/>
                <a:gd name="T70" fmla="*/ 99 w 305"/>
                <a:gd name="T71" fmla="*/ 3 h 303"/>
                <a:gd name="T72" fmla="*/ 108 w 305"/>
                <a:gd name="T7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5" h="303">
                  <a:moveTo>
                    <a:pt x="122" y="25"/>
                  </a:moveTo>
                  <a:lnTo>
                    <a:pt x="122" y="106"/>
                  </a:lnTo>
                  <a:lnTo>
                    <a:pt x="120" y="112"/>
                  </a:lnTo>
                  <a:lnTo>
                    <a:pt x="117" y="116"/>
                  </a:lnTo>
                  <a:lnTo>
                    <a:pt x="113" y="119"/>
                  </a:lnTo>
                  <a:lnTo>
                    <a:pt x="108" y="120"/>
                  </a:lnTo>
                  <a:lnTo>
                    <a:pt x="26" y="120"/>
                  </a:lnTo>
                  <a:lnTo>
                    <a:pt x="26" y="183"/>
                  </a:lnTo>
                  <a:lnTo>
                    <a:pt x="108" y="183"/>
                  </a:lnTo>
                  <a:lnTo>
                    <a:pt x="113" y="183"/>
                  </a:lnTo>
                  <a:lnTo>
                    <a:pt x="117" y="186"/>
                  </a:lnTo>
                  <a:lnTo>
                    <a:pt x="120" y="191"/>
                  </a:lnTo>
                  <a:lnTo>
                    <a:pt x="122" y="195"/>
                  </a:lnTo>
                  <a:lnTo>
                    <a:pt x="122" y="278"/>
                  </a:lnTo>
                  <a:lnTo>
                    <a:pt x="183" y="278"/>
                  </a:lnTo>
                  <a:lnTo>
                    <a:pt x="183" y="195"/>
                  </a:lnTo>
                  <a:lnTo>
                    <a:pt x="185" y="191"/>
                  </a:lnTo>
                  <a:lnTo>
                    <a:pt x="188" y="186"/>
                  </a:lnTo>
                  <a:lnTo>
                    <a:pt x="191" y="183"/>
                  </a:lnTo>
                  <a:lnTo>
                    <a:pt x="197" y="183"/>
                  </a:lnTo>
                  <a:lnTo>
                    <a:pt x="278" y="183"/>
                  </a:lnTo>
                  <a:lnTo>
                    <a:pt x="278" y="120"/>
                  </a:lnTo>
                  <a:lnTo>
                    <a:pt x="197" y="120"/>
                  </a:lnTo>
                  <a:lnTo>
                    <a:pt x="191" y="119"/>
                  </a:lnTo>
                  <a:lnTo>
                    <a:pt x="188" y="116"/>
                  </a:lnTo>
                  <a:lnTo>
                    <a:pt x="185" y="112"/>
                  </a:lnTo>
                  <a:lnTo>
                    <a:pt x="183" y="106"/>
                  </a:lnTo>
                  <a:lnTo>
                    <a:pt x="183" y="25"/>
                  </a:lnTo>
                  <a:lnTo>
                    <a:pt x="122" y="25"/>
                  </a:lnTo>
                  <a:close/>
                  <a:moveTo>
                    <a:pt x="108" y="0"/>
                  </a:moveTo>
                  <a:lnTo>
                    <a:pt x="197" y="0"/>
                  </a:lnTo>
                  <a:lnTo>
                    <a:pt x="201" y="0"/>
                  </a:lnTo>
                  <a:lnTo>
                    <a:pt x="206" y="3"/>
                  </a:lnTo>
                  <a:lnTo>
                    <a:pt x="209" y="7"/>
                  </a:lnTo>
                  <a:lnTo>
                    <a:pt x="209" y="12"/>
                  </a:lnTo>
                  <a:lnTo>
                    <a:pt x="209" y="94"/>
                  </a:lnTo>
                  <a:lnTo>
                    <a:pt x="291" y="94"/>
                  </a:lnTo>
                  <a:lnTo>
                    <a:pt x="296" y="94"/>
                  </a:lnTo>
                  <a:lnTo>
                    <a:pt x="300" y="97"/>
                  </a:lnTo>
                  <a:lnTo>
                    <a:pt x="303" y="102"/>
                  </a:lnTo>
                  <a:lnTo>
                    <a:pt x="305" y="106"/>
                  </a:lnTo>
                  <a:lnTo>
                    <a:pt x="305" y="195"/>
                  </a:lnTo>
                  <a:lnTo>
                    <a:pt x="303" y="200"/>
                  </a:lnTo>
                  <a:lnTo>
                    <a:pt x="300" y="204"/>
                  </a:lnTo>
                  <a:lnTo>
                    <a:pt x="296" y="207"/>
                  </a:lnTo>
                  <a:lnTo>
                    <a:pt x="291" y="209"/>
                  </a:lnTo>
                  <a:lnTo>
                    <a:pt x="209" y="209"/>
                  </a:lnTo>
                  <a:lnTo>
                    <a:pt x="209" y="290"/>
                  </a:lnTo>
                  <a:lnTo>
                    <a:pt x="209" y="296"/>
                  </a:lnTo>
                  <a:lnTo>
                    <a:pt x="206" y="299"/>
                  </a:lnTo>
                  <a:lnTo>
                    <a:pt x="201" y="302"/>
                  </a:lnTo>
                  <a:lnTo>
                    <a:pt x="197" y="303"/>
                  </a:lnTo>
                  <a:lnTo>
                    <a:pt x="108" y="303"/>
                  </a:lnTo>
                  <a:lnTo>
                    <a:pt x="104" y="302"/>
                  </a:lnTo>
                  <a:lnTo>
                    <a:pt x="99" y="299"/>
                  </a:lnTo>
                  <a:lnTo>
                    <a:pt x="96" y="296"/>
                  </a:lnTo>
                  <a:lnTo>
                    <a:pt x="95" y="290"/>
                  </a:lnTo>
                  <a:lnTo>
                    <a:pt x="95" y="209"/>
                  </a:lnTo>
                  <a:lnTo>
                    <a:pt x="14" y="209"/>
                  </a:lnTo>
                  <a:lnTo>
                    <a:pt x="8" y="207"/>
                  </a:lnTo>
                  <a:lnTo>
                    <a:pt x="5" y="204"/>
                  </a:lnTo>
                  <a:lnTo>
                    <a:pt x="2" y="200"/>
                  </a:lnTo>
                  <a:lnTo>
                    <a:pt x="0" y="195"/>
                  </a:lnTo>
                  <a:lnTo>
                    <a:pt x="0" y="106"/>
                  </a:lnTo>
                  <a:lnTo>
                    <a:pt x="2" y="102"/>
                  </a:lnTo>
                  <a:lnTo>
                    <a:pt x="5" y="97"/>
                  </a:lnTo>
                  <a:lnTo>
                    <a:pt x="8" y="94"/>
                  </a:lnTo>
                  <a:lnTo>
                    <a:pt x="14" y="94"/>
                  </a:lnTo>
                  <a:lnTo>
                    <a:pt x="95" y="94"/>
                  </a:lnTo>
                  <a:lnTo>
                    <a:pt x="95" y="12"/>
                  </a:lnTo>
                  <a:lnTo>
                    <a:pt x="96" y="7"/>
                  </a:lnTo>
                  <a:lnTo>
                    <a:pt x="99" y="3"/>
                  </a:lnTo>
                  <a:lnTo>
                    <a:pt x="104" y="0"/>
                  </a:lnTo>
                  <a:lnTo>
                    <a:pt x="108" y="0"/>
                  </a:lnTo>
                  <a:close/>
                </a:path>
              </a:pathLst>
            </a:custGeom>
            <a:solidFill>
              <a:srgbClr val="05589C"/>
            </a:solidFill>
            <a:ln w="0">
              <a:noFill/>
              <a:prstDash val="solid"/>
              <a:round/>
              <a:headEnd/>
              <a:tailEnd/>
            </a:ln>
          </p:spPr>
          <p:txBody>
            <a:bodyPr vert="horz" wrap="square" lIns="91440" tIns="45720" rIns="91440" bIns="45720" numCol="1" anchor="t" anchorCtr="0" compatLnSpc="1">
              <a:prstTxWarp prst="textNoShape">
                <a:avLst/>
              </a:prstTxWarp>
            </a:bodyPr>
            <a:lstStyle/>
            <a:p>
              <a:pPr algn="r"/>
              <a:endParaRPr lang="pt-BR" dirty="0">
                <a:solidFill>
                  <a:prstClr val="black"/>
                </a:solidFill>
              </a:endParaRPr>
            </a:p>
          </p:txBody>
        </p:sp>
      </p:grpSp>
      <p:sp>
        <p:nvSpPr>
          <p:cNvPr id="337" name="TextBox 50">
            <a:extLst>
              <a:ext uri="{FF2B5EF4-FFF2-40B4-BE49-F238E27FC236}">
                <a16:creationId xmlns="" xmlns:a16="http://schemas.microsoft.com/office/drawing/2014/main" id="{7FFC5085-189D-41EC-9EEF-C868AB80A869}"/>
              </a:ext>
            </a:extLst>
          </p:cNvPr>
          <p:cNvSpPr txBox="1"/>
          <p:nvPr/>
        </p:nvSpPr>
        <p:spPr>
          <a:xfrm>
            <a:off x="9438568" y="1196364"/>
            <a:ext cx="2166257" cy="380104"/>
          </a:xfrm>
          <a:prstGeom prst="rect">
            <a:avLst/>
          </a:prstGeom>
          <a:noFill/>
          <a:ln>
            <a:noFill/>
          </a:ln>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lang="pt-PT" sz="1100" dirty="0">
                <a:solidFill>
                  <a:srgbClr val="404041"/>
                </a:solidFill>
                <a:latin typeface="Verdana" panose="020B0604030504040204" pitchFamily="34" charset="0"/>
                <a:ea typeface="Verdana" panose="020B0604030504040204" pitchFamily="34" charset="0"/>
                <a:cs typeface="Verdana" panose="020B0604030504040204" pitchFamily="34" charset="0"/>
              </a:rPr>
              <a:t>UPMC </a:t>
            </a:r>
            <a:r>
              <a:rPr lang="pt-PT" sz="1100" dirty="0" err="1">
                <a:solidFill>
                  <a:srgbClr val="404041"/>
                </a:solidFill>
                <a:latin typeface="Verdana" panose="020B0604030504040204" pitchFamily="34" charset="0"/>
                <a:ea typeface="Verdana" panose="020B0604030504040204" pitchFamily="34" charset="0"/>
                <a:cs typeface="Verdana" panose="020B0604030504040204" pitchFamily="34" charset="0"/>
              </a:rPr>
              <a:t>Presbyterian</a:t>
            </a:r>
            <a:r>
              <a:rPr lang="pt-PT" sz="1100" dirty="0">
                <a:solidFill>
                  <a:srgbClr val="404041"/>
                </a:solidFill>
                <a:latin typeface="Verdana" panose="020B0604030504040204" pitchFamily="34" charset="0"/>
                <a:ea typeface="Verdana" panose="020B0604030504040204" pitchFamily="34" charset="0"/>
                <a:cs typeface="Verdana" panose="020B0604030504040204" pitchFamily="34" charset="0"/>
              </a:rPr>
              <a:t> </a:t>
            </a:r>
            <a:r>
              <a:rPr lang="pt-PT" sz="1100" dirty="0" err="1">
                <a:solidFill>
                  <a:srgbClr val="404041"/>
                </a:solidFill>
                <a:latin typeface="Verdana" panose="020B0604030504040204" pitchFamily="34" charset="0"/>
                <a:ea typeface="Verdana" panose="020B0604030504040204" pitchFamily="34" charset="0"/>
                <a:cs typeface="Verdana" panose="020B0604030504040204" pitchFamily="34" charset="0"/>
              </a:rPr>
              <a:t>Shadyside</a:t>
            </a:r>
            <a:r>
              <a:rPr lang="pt-PT" sz="1100" dirty="0">
                <a:solidFill>
                  <a:srgbClr val="404041"/>
                </a:solidFill>
                <a:latin typeface="Verdana" panose="020B0604030504040204" pitchFamily="34" charset="0"/>
                <a:ea typeface="Verdana" panose="020B0604030504040204" pitchFamily="34" charset="0"/>
                <a:cs typeface="Verdana" panose="020B0604030504040204" pitchFamily="34" charset="0"/>
              </a:rPr>
              <a:t>, Pittsburgh</a:t>
            </a:r>
            <a:endParaRPr kumimoji="0" lang="pt-PT" sz="11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44" name="TextBox 50">
            <a:extLst>
              <a:ext uri="{FF2B5EF4-FFF2-40B4-BE49-F238E27FC236}">
                <a16:creationId xmlns="" xmlns:a16="http://schemas.microsoft.com/office/drawing/2014/main" id="{8EA2CE00-8E84-4392-9DA2-D9B0D20A549A}"/>
              </a:ext>
            </a:extLst>
          </p:cNvPr>
          <p:cNvSpPr txBox="1"/>
          <p:nvPr/>
        </p:nvSpPr>
        <p:spPr>
          <a:xfrm>
            <a:off x="829147" y="2514600"/>
            <a:ext cx="1945731" cy="380104"/>
          </a:xfrm>
          <a:prstGeom prst="rect">
            <a:avLst/>
          </a:prstGeom>
          <a:noFill/>
          <a:ln>
            <a:noFill/>
          </a:ln>
        </p:spPr>
        <p:txBody>
          <a:bodyPr wrap="square" rtlCol="0">
            <a:spAutoFit/>
          </a:bodyPr>
          <a:lstStyle>
            <a:defPPr>
              <a:defRPr lang="en-US"/>
            </a:defPPr>
            <a:lvl1pPr lvl="0">
              <a:lnSpc>
                <a:spcPct val="85000"/>
              </a:lnSpc>
              <a:defRPr sz="1100">
                <a:solidFill>
                  <a:srgbClr val="40404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University of Colorado Hospital, Aurora</a:t>
            </a:r>
          </a:p>
        </p:txBody>
      </p:sp>
      <p:grpSp>
        <p:nvGrpSpPr>
          <p:cNvPr id="349" name="Group 472">
            <a:extLst>
              <a:ext uri="{FF2B5EF4-FFF2-40B4-BE49-F238E27FC236}">
                <a16:creationId xmlns="" xmlns:a16="http://schemas.microsoft.com/office/drawing/2014/main" id="{693BA12E-0579-46BF-A13E-95BB6663BC76}"/>
              </a:ext>
            </a:extLst>
          </p:cNvPr>
          <p:cNvGrpSpPr/>
          <p:nvPr/>
        </p:nvGrpSpPr>
        <p:grpSpPr>
          <a:xfrm flipH="1" flipV="1">
            <a:off x="876117" y="4475092"/>
            <a:ext cx="3456555" cy="1457981"/>
            <a:chOff x="9021297" y="1615763"/>
            <a:chExt cx="3456555" cy="1457981"/>
          </a:xfrm>
        </p:grpSpPr>
        <p:cxnSp>
          <p:nvCxnSpPr>
            <p:cNvPr id="350" name="Straight Connector 473">
              <a:extLst>
                <a:ext uri="{FF2B5EF4-FFF2-40B4-BE49-F238E27FC236}">
                  <a16:creationId xmlns="" xmlns:a16="http://schemas.microsoft.com/office/drawing/2014/main" id="{4543CAB2-C3B9-43AA-8E55-A5D8C94605EF}"/>
                </a:ext>
              </a:extLst>
            </p:cNvPr>
            <p:cNvCxnSpPr>
              <a:cxnSpLocks/>
            </p:cNvCxnSpPr>
            <p:nvPr/>
          </p:nvCxnSpPr>
          <p:spPr>
            <a:xfrm flipV="1">
              <a:off x="10490440" y="1620725"/>
              <a:ext cx="1987412"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cxnSp>
          <p:nvCxnSpPr>
            <p:cNvPr id="351" name="Straight Connector 474">
              <a:extLst>
                <a:ext uri="{FF2B5EF4-FFF2-40B4-BE49-F238E27FC236}">
                  <a16:creationId xmlns="" xmlns:a16="http://schemas.microsoft.com/office/drawing/2014/main" id="{D0411ED6-1BEB-42D0-833F-BC59E6C7CF20}"/>
                </a:ext>
              </a:extLst>
            </p:cNvPr>
            <p:cNvCxnSpPr>
              <a:cxnSpLocks/>
            </p:cNvCxnSpPr>
            <p:nvPr/>
          </p:nvCxnSpPr>
          <p:spPr>
            <a:xfrm flipV="1">
              <a:off x="9021297" y="1615763"/>
              <a:ext cx="1485182" cy="1457981"/>
            </a:xfrm>
            <a:prstGeom prst="line">
              <a:avLst/>
            </a:prstGeom>
            <a:ln w="3175">
              <a:solidFill>
                <a:srgbClr val="F26926"/>
              </a:solidFill>
            </a:ln>
          </p:spPr>
          <p:style>
            <a:lnRef idx="1">
              <a:schemeClr val="accent1"/>
            </a:lnRef>
            <a:fillRef idx="0">
              <a:schemeClr val="accent1"/>
            </a:fillRef>
            <a:effectRef idx="0">
              <a:schemeClr val="accent1"/>
            </a:effectRef>
            <a:fontRef idx="minor">
              <a:schemeClr val="tx1"/>
            </a:fontRef>
          </p:style>
        </p:cxnSp>
      </p:grpSp>
      <p:grpSp>
        <p:nvGrpSpPr>
          <p:cNvPr id="338" name="Agrupar 648">
            <a:extLst>
              <a:ext uri="{FF2B5EF4-FFF2-40B4-BE49-F238E27FC236}">
                <a16:creationId xmlns="" xmlns:a16="http://schemas.microsoft.com/office/drawing/2014/main" id="{F036EE07-9E28-4177-AA79-0560BEE78FA4}"/>
              </a:ext>
            </a:extLst>
          </p:cNvPr>
          <p:cNvGrpSpPr/>
          <p:nvPr/>
        </p:nvGrpSpPr>
        <p:grpSpPr>
          <a:xfrm>
            <a:off x="4144291" y="4008547"/>
            <a:ext cx="340482" cy="572400"/>
            <a:chOff x="1733926" y="3156019"/>
            <a:chExt cx="340482" cy="572400"/>
          </a:xfrm>
        </p:grpSpPr>
        <p:pic>
          <p:nvPicPr>
            <p:cNvPr id="339" name="Picture 422" descr="A picture containing thing, object&#10;&#10;Description generated with very high confidence">
              <a:extLst>
                <a:ext uri="{FF2B5EF4-FFF2-40B4-BE49-F238E27FC236}">
                  <a16:creationId xmlns="" xmlns:a16="http://schemas.microsoft.com/office/drawing/2014/main" id="{FD426F59-7CEE-4CA2-8E68-C66601936C5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1733926" y="3156019"/>
              <a:ext cx="340482" cy="572400"/>
            </a:xfrm>
            <a:prstGeom prst="rect">
              <a:avLst/>
            </a:prstGeom>
          </p:spPr>
        </p:pic>
        <p:sp>
          <p:nvSpPr>
            <p:cNvPr id="340" name="Freeform 7710">
              <a:extLst>
                <a:ext uri="{FF2B5EF4-FFF2-40B4-BE49-F238E27FC236}">
                  <a16:creationId xmlns="" xmlns:a16="http://schemas.microsoft.com/office/drawing/2014/main" id="{D09D1162-0C6C-4C77-9618-430AEE623DBC}"/>
                </a:ext>
              </a:extLst>
            </p:cNvPr>
            <p:cNvSpPr>
              <a:spLocks noEditPoints="1"/>
            </p:cNvSpPr>
            <p:nvPr/>
          </p:nvSpPr>
          <p:spPr bwMode="auto">
            <a:xfrm>
              <a:off x="1836619" y="3254122"/>
              <a:ext cx="140053" cy="139135"/>
            </a:xfrm>
            <a:custGeom>
              <a:avLst/>
              <a:gdLst>
                <a:gd name="T0" fmla="*/ 122 w 305"/>
                <a:gd name="T1" fmla="*/ 106 h 303"/>
                <a:gd name="T2" fmla="*/ 117 w 305"/>
                <a:gd name="T3" fmla="*/ 116 h 303"/>
                <a:gd name="T4" fmla="*/ 108 w 305"/>
                <a:gd name="T5" fmla="*/ 120 h 303"/>
                <a:gd name="T6" fmla="*/ 26 w 305"/>
                <a:gd name="T7" fmla="*/ 183 h 303"/>
                <a:gd name="T8" fmla="*/ 113 w 305"/>
                <a:gd name="T9" fmla="*/ 183 h 303"/>
                <a:gd name="T10" fmla="*/ 120 w 305"/>
                <a:gd name="T11" fmla="*/ 191 h 303"/>
                <a:gd name="T12" fmla="*/ 122 w 305"/>
                <a:gd name="T13" fmla="*/ 278 h 303"/>
                <a:gd name="T14" fmla="*/ 183 w 305"/>
                <a:gd name="T15" fmla="*/ 195 h 303"/>
                <a:gd name="T16" fmla="*/ 188 w 305"/>
                <a:gd name="T17" fmla="*/ 186 h 303"/>
                <a:gd name="T18" fmla="*/ 197 w 305"/>
                <a:gd name="T19" fmla="*/ 183 h 303"/>
                <a:gd name="T20" fmla="*/ 278 w 305"/>
                <a:gd name="T21" fmla="*/ 120 h 303"/>
                <a:gd name="T22" fmla="*/ 191 w 305"/>
                <a:gd name="T23" fmla="*/ 119 h 303"/>
                <a:gd name="T24" fmla="*/ 185 w 305"/>
                <a:gd name="T25" fmla="*/ 112 h 303"/>
                <a:gd name="T26" fmla="*/ 183 w 305"/>
                <a:gd name="T27" fmla="*/ 25 h 303"/>
                <a:gd name="T28" fmla="*/ 108 w 305"/>
                <a:gd name="T29" fmla="*/ 0 h 303"/>
                <a:gd name="T30" fmla="*/ 201 w 305"/>
                <a:gd name="T31" fmla="*/ 0 h 303"/>
                <a:gd name="T32" fmla="*/ 209 w 305"/>
                <a:gd name="T33" fmla="*/ 7 h 303"/>
                <a:gd name="T34" fmla="*/ 209 w 305"/>
                <a:gd name="T35" fmla="*/ 94 h 303"/>
                <a:gd name="T36" fmla="*/ 296 w 305"/>
                <a:gd name="T37" fmla="*/ 94 h 303"/>
                <a:gd name="T38" fmla="*/ 303 w 305"/>
                <a:gd name="T39" fmla="*/ 102 h 303"/>
                <a:gd name="T40" fmla="*/ 305 w 305"/>
                <a:gd name="T41" fmla="*/ 195 h 303"/>
                <a:gd name="T42" fmla="*/ 300 w 305"/>
                <a:gd name="T43" fmla="*/ 204 h 303"/>
                <a:gd name="T44" fmla="*/ 291 w 305"/>
                <a:gd name="T45" fmla="*/ 209 h 303"/>
                <a:gd name="T46" fmla="*/ 209 w 305"/>
                <a:gd name="T47" fmla="*/ 290 h 303"/>
                <a:gd name="T48" fmla="*/ 206 w 305"/>
                <a:gd name="T49" fmla="*/ 299 h 303"/>
                <a:gd name="T50" fmla="*/ 197 w 305"/>
                <a:gd name="T51" fmla="*/ 303 h 303"/>
                <a:gd name="T52" fmla="*/ 104 w 305"/>
                <a:gd name="T53" fmla="*/ 302 h 303"/>
                <a:gd name="T54" fmla="*/ 96 w 305"/>
                <a:gd name="T55" fmla="*/ 296 h 303"/>
                <a:gd name="T56" fmla="*/ 95 w 305"/>
                <a:gd name="T57" fmla="*/ 209 h 303"/>
                <a:gd name="T58" fmla="*/ 8 w 305"/>
                <a:gd name="T59" fmla="*/ 207 h 303"/>
                <a:gd name="T60" fmla="*/ 2 w 305"/>
                <a:gd name="T61" fmla="*/ 200 h 303"/>
                <a:gd name="T62" fmla="*/ 0 w 305"/>
                <a:gd name="T63" fmla="*/ 106 h 303"/>
                <a:gd name="T64" fmla="*/ 5 w 305"/>
                <a:gd name="T65" fmla="*/ 97 h 303"/>
                <a:gd name="T66" fmla="*/ 14 w 305"/>
                <a:gd name="T67" fmla="*/ 94 h 303"/>
                <a:gd name="T68" fmla="*/ 95 w 305"/>
                <a:gd name="T69" fmla="*/ 12 h 303"/>
                <a:gd name="T70" fmla="*/ 99 w 305"/>
                <a:gd name="T71" fmla="*/ 3 h 303"/>
                <a:gd name="T72" fmla="*/ 108 w 305"/>
                <a:gd name="T7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5" h="303">
                  <a:moveTo>
                    <a:pt x="122" y="25"/>
                  </a:moveTo>
                  <a:lnTo>
                    <a:pt x="122" y="106"/>
                  </a:lnTo>
                  <a:lnTo>
                    <a:pt x="120" y="112"/>
                  </a:lnTo>
                  <a:lnTo>
                    <a:pt x="117" y="116"/>
                  </a:lnTo>
                  <a:lnTo>
                    <a:pt x="113" y="119"/>
                  </a:lnTo>
                  <a:lnTo>
                    <a:pt x="108" y="120"/>
                  </a:lnTo>
                  <a:lnTo>
                    <a:pt x="26" y="120"/>
                  </a:lnTo>
                  <a:lnTo>
                    <a:pt x="26" y="183"/>
                  </a:lnTo>
                  <a:lnTo>
                    <a:pt x="108" y="183"/>
                  </a:lnTo>
                  <a:lnTo>
                    <a:pt x="113" y="183"/>
                  </a:lnTo>
                  <a:lnTo>
                    <a:pt x="117" y="186"/>
                  </a:lnTo>
                  <a:lnTo>
                    <a:pt x="120" y="191"/>
                  </a:lnTo>
                  <a:lnTo>
                    <a:pt x="122" y="195"/>
                  </a:lnTo>
                  <a:lnTo>
                    <a:pt x="122" y="278"/>
                  </a:lnTo>
                  <a:lnTo>
                    <a:pt x="183" y="278"/>
                  </a:lnTo>
                  <a:lnTo>
                    <a:pt x="183" y="195"/>
                  </a:lnTo>
                  <a:lnTo>
                    <a:pt x="185" y="191"/>
                  </a:lnTo>
                  <a:lnTo>
                    <a:pt x="188" y="186"/>
                  </a:lnTo>
                  <a:lnTo>
                    <a:pt x="191" y="183"/>
                  </a:lnTo>
                  <a:lnTo>
                    <a:pt x="197" y="183"/>
                  </a:lnTo>
                  <a:lnTo>
                    <a:pt x="278" y="183"/>
                  </a:lnTo>
                  <a:lnTo>
                    <a:pt x="278" y="120"/>
                  </a:lnTo>
                  <a:lnTo>
                    <a:pt x="197" y="120"/>
                  </a:lnTo>
                  <a:lnTo>
                    <a:pt x="191" y="119"/>
                  </a:lnTo>
                  <a:lnTo>
                    <a:pt x="188" y="116"/>
                  </a:lnTo>
                  <a:lnTo>
                    <a:pt x="185" y="112"/>
                  </a:lnTo>
                  <a:lnTo>
                    <a:pt x="183" y="106"/>
                  </a:lnTo>
                  <a:lnTo>
                    <a:pt x="183" y="25"/>
                  </a:lnTo>
                  <a:lnTo>
                    <a:pt x="122" y="25"/>
                  </a:lnTo>
                  <a:close/>
                  <a:moveTo>
                    <a:pt x="108" y="0"/>
                  </a:moveTo>
                  <a:lnTo>
                    <a:pt x="197" y="0"/>
                  </a:lnTo>
                  <a:lnTo>
                    <a:pt x="201" y="0"/>
                  </a:lnTo>
                  <a:lnTo>
                    <a:pt x="206" y="3"/>
                  </a:lnTo>
                  <a:lnTo>
                    <a:pt x="209" y="7"/>
                  </a:lnTo>
                  <a:lnTo>
                    <a:pt x="209" y="12"/>
                  </a:lnTo>
                  <a:lnTo>
                    <a:pt x="209" y="94"/>
                  </a:lnTo>
                  <a:lnTo>
                    <a:pt x="291" y="94"/>
                  </a:lnTo>
                  <a:lnTo>
                    <a:pt x="296" y="94"/>
                  </a:lnTo>
                  <a:lnTo>
                    <a:pt x="300" y="97"/>
                  </a:lnTo>
                  <a:lnTo>
                    <a:pt x="303" y="102"/>
                  </a:lnTo>
                  <a:lnTo>
                    <a:pt x="305" y="106"/>
                  </a:lnTo>
                  <a:lnTo>
                    <a:pt x="305" y="195"/>
                  </a:lnTo>
                  <a:lnTo>
                    <a:pt x="303" y="200"/>
                  </a:lnTo>
                  <a:lnTo>
                    <a:pt x="300" y="204"/>
                  </a:lnTo>
                  <a:lnTo>
                    <a:pt x="296" y="207"/>
                  </a:lnTo>
                  <a:lnTo>
                    <a:pt x="291" y="209"/>
                  </a:lnTo>
                  <a:lnTo>
                    <a:pt x="209" y="209"/>
                  </a:lnTo>
                  <a:lnTo>
                    <a:pt x="209" y="290"/>
                  </a:lnTo>
                  <a:lnTo>
                    <a:pt x="209" y="296"/>
                  </a:lnTo>
                  <a:lnTo>
                    <a:pt x="206" y="299"/>
                  </a:lnTo>
                  <a:lnTo>
                    <a:pt x="201" y="302"/>
                  </a:lnTo>
                  <a:lnTo>
                    <a:pt x="197" y="303"/>
                  </a:lnTo>
                  <a:lnTo>
                    <a:pt x="108" y="303"/>
                  </a:lnTo>
                  <a:lnTo>
                    <a:pt x="104" y="302"/>
                  </a:lnTo>
                  <a:lnTo>
                    <a:pt x="99" y="299"/>
                  </a:lnTo>
                  <a:lnTo>
                    <a:pt x="96" y="296"/>
                  </a:lnTo>
                  <a:lnTo>
                    <a:pt x="95" y="290"/>
                  </a:lnTo>
                  <a:lnTo>
                    <a:pt x="95" y="209"/>
                  </a:lnTo>
                  <a:lnTo>
                    <a:pt x="14" y="209"/>
                  </a:lnTo>
                  <a:lnTo>
                    <a:pt x="8" y="207"/>
                  </a:lnTo>
                  <a:lnTo>
                    <a:pt x="5" y="204"/>
                  </a:lnTo>
                  <a:lnTo>
                    <a:pt x="2" y="200"/>
                  </a:lnTo>
                  <a:lnTo>
                    <a:pt x="0" y="195"/>
                  </a:lnTo>
                  <a:lnTo>
                    <a:pt x="0" y="106"/>
                  </a:lnTo>
                  <a:lnTo>
                    <a:pt x="2" y="102"/>
                  </a:lnTo>
                  <a:lnTo>
                    <a:pt x="5" y="97"/>
                  </a:lnTo>
                  <a:lnTo>
                    <a:pt x="8" y="94"/>
                  </a:lnTo>
                  <a:lnTo>
                    <a:pt x="14" y="94"/>
                  </a:lnTo>
                  <a:lnTo>
                    <a:pt x="95" y="94"/>
                  </a:lnTo>
                  <a:lnTo>
                    <a:pt x="95" y="12"/>
                  </a:lnTo>
                  <a:lnTo>
                    <a:pt x="96" y="7"/>
                  </a:lnTo>
                  <a:lnTo>
                    <a:pt x="99" y="3"/>
                  </a:lnTo>
                  <a:lnTo>
                    <a:pt x="104" y="0"/>
                  </a:lnTo>
                  <a:lnTo>
                    <a:pt x="108" y="0"/>
                  </a:lnTo>
                  <a:close/>
                </a:path>
              </a:pathLst>
            </a:custGeom>
            <a:solidFill>
              <a:srgbClr val="05589C"/>
            </a:solidFill>
            <a:ln w="0">
              <a:noFill/>
              <a:prstDash val="solid"/>
              <a:round/>
              <a:headEnd/>
              <a:tailEnd/>
            </a:ln>
          </p:spPr>
          <p:txBody>
            <a:bodyPr vert="horz" wrap="square" lIns="91440" tIns="45720" rIns="91440" bIns="45720" numCol="1" anchor="t" anchorCtr="0" compatLnSpc="1">
              <a:prstTxWarp prst="textNoShape">
                <a:avLst/>
              </a:prstTxWarp>
            </a:bodyPr>
            <a:lstStyle/>
            <a:p>
              <a:pPr algn="r"/>
              <a:endParaRPr lang="pt-BR" dirty="0">
                <a:solidFill>
                  <a:prstClr val="black"/>
                </a:solidFill>
              </a:endParaRPr>
            </a:p>
          </p:txBody>
        </p:sp>
      </p:grpSp>
      <p:grpSp>
        <p:nvGrpSpPr>
          <p:cNvPr id="358" name="Group 472">
            <a:extLst>
              <a:ext uri="{FF2B5EF4-FFF2-40B4-BE49-F238E27FC236}">
                <a16:creationId xmlns="" xmlns:a16="http://schemas.microsoft.com/office/drawing/2014/main" id="{26930F87-7758-43FD-A71E-E3042C08DD94}"/>
              </a:ext>
            </a:extLst>
          </p:cNvPr>
          <p:cNvGrpSpPr/>
          <p:nvPr/>
        </p:nvGrpSpPr>
        <p:grpSpPr>
          <a:xfrm flipV="1">
            <a:off x="6967642" y="4205167"/>
            <a:ext cx="4576658" cy="1634695"/>
            <a:chOff x="7399667" y="2163172"/>
            <a:chExt cx="4576658" cy="1634695"/>
          </a:xfrm>
        </p:grpSpPr>
        <p:cxnSp>
          <p:nvCxnSpPr>
            <p:cNvPr id="359" name="Straight Connector 473">
              <a:extLst>
                <a:ext uri="{FF2B5EF4-FFF2-40B4-BE49-F238E27FC236}">
                  <a16:creationId xmlns="" xmlns:a16="http://schemas.microsoft.com/office/drawing/2014/main" id="{C7BAC004-CD77-4C6C-BD50-D43829E04EB2}"/>
                </a:ext>
              </a:extLst>
            </p:cNvPr>
            <p:cNvCxnSpPr>
              <a:cxnSpLocks/>
            </p:cNvCxnSpPr>
            <p:nvPr/>
          </p:nvCxnSpPr>
          <p:spPr>
            <a:xfrm flipV="1">
              <a:off x="8771535" y="2163172"/>
              <a:ext cx="3204790" cy="0"/>
            </a:xfrm>
            <a:prstGeom prst="line">
              <a:avLst/>
            </a:prstGeom>
            <a:ln w="3175">
              <a:solidFill>
                <a:srgbClr val="F26926"/>
              </a:solidFill>
              <a:round/>
              <a:tailEnd type="oval" w="sm" len="sm"/>
            </a:ln>
          </p:spPr>
          <p:style>
            <a:lnRef idx="1">
              <a:schemeClr val="accent1"/>
            </a:lnRef>
            <a:fillRef idx="0">
              <a:schemeClr val="accent1"/>
            </a:fillRef>
            <a:effectRef idx="0">
              <a:schemeClr val="accent1"/>
            </a:effectRef>
            <a:fontRef idx="minor">
              <a:schemeClr val="tx1"/>
            </a:fontRef>
          </p:style>
        </p:cxnSp>
        <p:cxnSp>
          <p:nvCxnSpPr>
            <p:cNvPr id="360" name="Straight Connector 474">
              <a:extLst>
                <a:ext uri="{FF2B5EF4-FFF2-40B4-BE49-F238E27FC236}">
                  <a16:creationId xmlns="" xmlns:a16="http://schemas.microsoft.com/office/drawing/2014/main" id="{B097D025-D6D9-495A-9E9C-F6C8CBFA9D2D}"/>
                </a:ext>
              </a:extLst>
            </p:cNvPr>
            <p:cNvCxnSpPr>
              <a:cxnSpLocks/>
            </p:cNvCxnSpPr>
            <p:nvPr/>
          </p:nvCxnSpPr>
          <p:spPr>
            <a:xfrm flipV="1">
              <a:off x="7399667" y="2163846"/>
              <a:ext cx="1373359" cy="1634021"/>
            </a:xfrm>
            <a:prstGeom prst="line">
              <a:avLst/>
            </a:prstGeom>
            <a:ln w="3175">
              <a:solidFill>
                <a:srgbClr val="F26926"/>
              </a:solidFill>
            </a:ln>
          </p:spPr>
          <p:style>
            <a:lnRef idx="1">
              <a:schemeClr val="accent1"/>
            </a:lnRef>
            <a:fillRef idx="0">
              <a:schemeClr val="accent1"/>
            </a:fillRef>
            <a:effectRef idx="0">
              <a:schemeClr val="accent1"/>
            </a:effectRef>
            <a:fontRef idx="minor">
              <a:schemeClr val="tx1"/>
            </a:fontRef>
          </p:style>
        </p:cxnSp>
      </p:grpSp>
      <p:sp>
        <p:nvSpPr>
          <p:cNvPr id="361" name="TextBox 50">
            <a:extLst>
              <a:ext uri="{FF2B5EF4-FFF2-40B4-BE49-F238E27FC236}">
                <a16:creationId xmlns="" xmlns:a16="http://schemas.microsoft.com/office/drawing/2014/main" id="{53191054-66BE-421C-95A4-EE87DF9F7C93}"/>
              </a:ext>
            </a:extLst>
          </p:cNvPr>
          <p:cNvSpPr txBox="1"/>
          <p:nvPr/>
        </p:nvSpPr>
        <p:spPr>
          <a:xfrm>
            <a:off x="9047049" y="5456089"/>
            <a:ext cx="2557776" cy="380104"/>
          </a:xfrm>
          <a:prstGeom prst="rect">
            <a:avLst/>
          </a:prstGeom>
          <a:noFill/>
          <a:ln>
            <a:noFill/>
          </a:ln>
        </p:spPr>
        <p:txBody>
          <a:bodyPr wrap="square" rtlCol="0">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lang="pt-PT" sz="1100" dirty="0">
                <a:solidFill>
                  <a:srgbClr val="404041"/>
                </a:solidFill>
                <a:latin typeface="Verdana" panose="020B0604030504040204" pitchFamily="34" charset="0"/>
                <a:ea typeface="Verdana" panose="020B0604030504040204" pitchFamily="34" charset="0"/>
                <a:cs typeface="Verdana" panose="020B0604030504040204" pitchFamily="34" charset="0"/>
              </a:rPr>
              <a:t>Thomas Jefferson </a:t>
            </a:r>
            <a:r>
              <a:rPr lang="pt-PT" sz="1100" dirty="0" err="1">
                <a:solidFill>
                  <a:srgbClr val="404041"/>
                </a:solidFill>
                <a:latin typeface="Verdana" panose="020B0604030504040204" pitchFamily="34" charset="0"/>
                <a:ea typeface="Verdana" panose="020B0604030504040204" pitchFamily="34" charset="0"/>
                <a:cs typeface="Verdana" panose="020B0604030504040204" pitchFamily="34" charset="0"/>
              </a:rPr>
              <a:t>University</a:t>
            </a:r>
            <a:r>
              <a:rPr lang="pt-PT" sz="1100" dirty="0">
                <a:solidFill>
                  <a:srgbClr val="404041"/>
                </a:solidFill>
                <a:latin typeface="Verdana" panose="020B0604030504040204" pitchFamily="34" charset="0"/>
                <a:ea typeface="Verdana" panose="020B0604030504040204" pitchFamily="34" charset="0"/>
                <a:cs typeface="Verdana" panose="020B0604030504040204" pitchFamily="34" charset="0"/>
              </a:rPr>
              <a:t> </a:t>
            </a:r>
            <a:r>
              <a:rPr lang="pt-PT" sz="1100" dirty="0" err="1">
                <a:solidFill>
                  <a:srgbClr val="404041"/>
                </a:solidFill>
                <a:latin typeface="Verdana" panose="020B0604030504040204" pitchFamily="34" charset="0"/>
                <a:ea typeface="Verdana" panose="020B0604030504040204" pitchFamily="34" charset="0"/>
                <a:cs typeface="Verdana" panose="020B0604030504040204" pitchFamily="34" charset="0"/>
              </a:rPr>
              <a:t>Hospitals</a:t>
            </a:r>
            <a:r>
              <a:rPr lang="pt-PT" sz="1100" dirty="0">
                <a:solidFill>
                  <a:srgbClr val="404041"/>
                </a:solidFill>
                <a:latin typeface="Verdana" panose="020B0604030504040204" pitchFamily="34" charset="0"/>
                <a:ea typeface="Verdana" panose="020B0604030504040204" pitchFamily="34" charset="0"/>
                <a:cs typeface="Verdana" panose="020B0604030504040204" pitchFamily="34" charset="0"/>
              </a:rPr>
              <a:t>, Philadelphia</a:t>
            </a:r>
            <a:endParaRPr kumimoji="0" lang="pt-PT" sz="11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346" name="Agrupar 651">
            <a:extLst>
              <a:ext uri="{FF2B5EF4-FFF2-40B4-BE49-F238E27FC236}">
                <a16:creationId xmlns="" xmlns:a16="http://schemas.microsoft.com/office/drawing/2014/main" id="{61AC5AE7-4FCD-4CA2-81AA-2A1B4C24D3E5}"/>
              </a:ext>
            </a:extLst>
          </p:cNvPr>
          <p:cNvGrpSpPr/>
          <p:nvPr/>
        </p:nvGrpSpPr>
        <p:grpSpPr>
          <a:xfrm>
            <a:off x="6745462" y="3969417"/>
            <a:ext cx="340482" cy="572400"/>
            <a:chOff x="1733926" y="3156019"/>
            <a:chExt cx="340482" cy="572400"/>
          </a:xfrm>
        </p:grpSpPr>
        <p:pic>
          <p:nvPicPr>
            <p:cNvPr id="347" name="Picture 422" descr="A picture containing thing, object&#10;&#10;Description generated with very high confidence">
              <a:extLst>
                <a:ext uri="{FF2B5EF4-FFF2-40B4-BE49-F238E27FC236}">
                  <a16:creationId xmlns="" xmlns:a16="http://schemas.microsoft.com/office/drawing/2014/main" id="{730F2519-D74F-4507-81B7-B432902A94D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1733926" y="3156019"/>
              <a:ext cx="340482" cy="572400"/>
            </a:xfrm>
            <a:prstGeom prst="rect">
              <a:avLst/>
            </a:prstGeom>
          </p:spPr>
        </p:pic>
        <p:sp>
          <p:nvSpPr>
            <p:cNvPr id="348" name="Freeform 7710">
              <a:extLst>
                <a:ext uri="{FF2B5EF4-FFF2-40B4-BE49-F238E27FC236}">
                  <a16:creationId xmlns="" xmlns:a16="http://schemas.microsoft.com/office/drawing/2014/main" id="{C5240689-5422-4ED5-A531-3F051F302051}"/>
                </a:ext>
              </a:extLst>
            </p:cNvPr>
            <p:cNvSpPr>
              <a:spLocks noEditPoints="1"/>
            </p:cNvSpPr>
            <p:nvPr/>
          </p:nvSpPr>
          <p:spPr bwMode="auto">
            <a:xfrm>
              <a:off x="1836619" y="3254122"/>
              <a:ext cx="140053" cy="139135"/>
            </a:xfrm>
            <a:custGeom>
              <a:avLst/>
              <a:gdLst>
                <a:gd name="T0" fmla="*/ 122 w 305"/>
                <a:gd name="T1" fmla="*/ 106 h 303"/>
                <a:gd name="T2" fmla="*/ 117 w 305"/>
                <a:gd name="T3" fmla="*/ 116 h 303"/>
                <a:gd name="T4" fmla="*/ 108 w 305"/>
                <a:gd name="T5" fmla="*/ 120 h 303"/>
                <a:gd name="T6" fmla="*/ 26 w 305"/>
                <a:gd name="T7" fmla="*/ 183 h 303"/>
                <a:gd name="T8" fmla="*/ 113 w 305"/>
                <a:gd name="T9" fmla="*/ 183 h 303"/>
                <a:gd name="T10" fmla="*/ 120 w 305"/>
                <a:gd name="T11" fmla="*/ 191 h 303"/>
                <a:gd name="T12" fmla="*/ 122 w 305"/>
                <a:gd name="T13" fmla="*/ 278 h 303"/>
                <a:gd name="T14" fmla="*/ 183 w 305"/>
                <a:gd name="T15" fmla="*/ 195 h 303"/>
                <a:gd name="T16" fmla="*/ 188 w 305"/>
                <a:gd name="T17" fmla="*/ 186 h 303"/>
                <a:gd name="T18" fmla="*/ 197 w 305"/>
                <a:gd name="T19" fmla="*/ 183 h 303"/>
                <a:gd name="T20" fmla="*/ 278 w 305"/>
                <a:gd name="T21" fmla="*/ 120 h 303"/>
                <a:gd name="T22" fmla="*/ 191 w 305"/>
                <a:gd name="T23" fmla="*/ 119 h 303"/>
                <a:gd name="T24" fmla="*/ 185 w 305"/>
                <a:gd name="T25" fmla="*/ 112 h 303"/>
                <a:gd name="T26" fmla="*/ 183 w 305"/>
                <a:gd name="T27" fmla="*/ 25 h 303"/>
                <a:gd name="T28" fmla="*/ 108 w 305"/>
                <a:gd name="T29" fmla="*/ 0 h 303"/>
                <a:gd name="T30" fmla="*/ 201 w 305"/>
                <a:gd name="T31" fmla="*/ 0 h 303"/>
                <a:gd name="T32" fmla="*/ 209 w 305"/>
                <a:gd name="T33" fmla="*/ 7 h 303"/>
                <a:gd name="T34" fmla="*/ 209 w 305"/>
                <a:gd name="T35" fmla="*/ 94 h 303"/>
                <a:gd name="T36" fmla="*/ 296 w 305"/>
                <a:gd name="T37" fmla="*/ 94 h 303"/>
                <a:gd name="T38" fmla="*/ 303 w 305"/>
                <a:gd name="T39" fmla="*/ 102 h 303"/>
                <a:gd name="T40" fmla="*/ 305 w 305"/>
                <a:gd name="T41" fmla="*/ 195 h 303"/>
                <a:gd name="T42" fmla="*/ 300 w 305"/>
                <a:gd name="T43" fmla="*/ 204 h 303"/>
                <a:gd name="T44" fmla="*/ 291 w 305"/>
                <a:gd name="T45" fmla="*/ 209 h 303"/>
                <a:gd name="T46" fmla="*/ 209 w 305"/>
                <a:gd name="T47" fmla="*/ 290 h 303"/>
                <a:gd name="T48" fmla="*/ 206 w 305"/>
                <a:gd name="T49" fmla="*/ 299 h 303"/>
                <a:gd name="T50" fmla="*/ 197 w 305"/>
                <a:gd name="T51" fmla="*/ 303 h 303"/>
                <a:gd name="T52" fmla="*/ 104 w 305"/>
                <a:gd name="T53" fmla="*/ 302 h 303"/>
                <a:gd name="T54" fmla="*/ 96 w 305"/>
                <a:gd name="T55" fmla="*/ 296 h 303"/>
                <a:gd name="T56" fmla="*/ 95 w 305"/>
                <a:gd name="T57" fmla="*/ 209 h 303"/>
                <a:gd name="T58" fmla="*/ 8 w 305"/>
                <a:gd name="T59" fmla="*/ 207 h 303"/>
                <a:gd name="T60" fmla="*/ 2 w 305"/>
                <a:gd name="T61" fmla="*/ 200 h 303"/>
                <a:gd name="T62" fmla="*/ 0 w 305"/>
                <a:gd name="T63" fmla="*/ 106 h 303"/>
                <a:gd name="T64" fmla="*/ 5 w 305"/>
                <a:gd name="T65" fmla="*/ 97 h 303"/>
                <a:gd name="T66" fmla="*/ 14 w 305"/>
                <a:gd name="T67" fmla="*/ 94 h 303"/>
                <a:gd name="T68" fmla="*/ 95 w 305"/>
                <a:gd name="T69" fmla="*/ 12 h 303"/>
                <a:gd name="T70" fmla="*/ 99 w 305"/>
                <a:gd name="T71" fmla="*/ 3 h 303"/>
                <a:gd name="T72" fmla="*/ 108 w 305"/>
                <a:gd name="T7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5" h="303">
                  <a:moveTo>
                    <a:pt x="122" y="25"/>
                  </a:moveTo>
                  <a:lnTo>
                    <a:pt x="122" y="106"/>
                  </a:lnTo>
                  <a:lnTo>
                    <a:pt x="120" y="112"/>
                  </a:lnTo>
                  <a:lnTo>
                    <a:pt x="117" y="116"/>
                  </a:lnTo>
                  <a:lnTo>
                    <a:pt x="113" y="119"/>
                  </a:lnTo>
                  <a:lnTo>
                    <a:pt x="108" y="120"/>
                  </a:lnTo>
                  <a:lnTo>
                    <a:pt x="26" y="120"/>
                  </a:lnTo>
                  <a:lnTo>
                    <a:pt x="26" y="183"/>
                  </a:lnTo>
                  <a:lnTo>
                    <a:pt x="108" y="183"/>
                  </a:lnTo>
                  <a:lnTo>
                    <a:pt x="113" y="183"/>
                  </a:lnTo>
                  <a:lnTo>
                    <a:pt x="117" y="186"/>
                  </a:lnTo>
                  <a:lnTo>
                    <a:pt x="120" y="191"/>
                  </a:lnTo>
                  <a:lnTo>
                    <a:pt x="122" y="195"/>
                  </a:lnTo>
                  <a:lnTo>
                    <a:pt x="122" y="278"/>
                  </a:lnTo>
                  <a:lnTo>
                    <a:pt x="183" y="278"/>
                  </a:lnTo>
                  <a:lnTo>
                    <a:pt x="183" y="195"/>
                  </a:lnTo>
                  <a:lnTo>
                    <a:pt x="185" y="191"/>
                  </a:lnTo>
                  <a:lnTo>
                    <a:pt x="188" y="186"/>
                  </a:lnTo>
                  <a:lnTo>
                    <a:pt x="191" y="183"/>
                  </a:lnTo>
                  <a:lnTo>
                    <a:pt x="197" y="183"/>
                  </a:lnTo>
                  <a:lnTo>
                    <a:pt x="278" y="183"/>
                  </a:lnTo>
                  <a:lnTo>
                    <a:pt x="278" y="120"/>
                  </a:lnTo>
                  <a:lnTo>
                    <a:pt x="197" y="120"/>
                  </a:lnTo>
                  <a:lnTo>
                    <a:pt x="191" y="119"/>
                  </a:lnTo>
                  <a:lnTo>
                    <a:pt x="188" y="116"/>
                  </a:lnTo>
                  <a:lnTo>
                    <a:pt x="185" y="112"/>
                  </a:lnTo>
                  <a:lnTo>
                    <a:pt x="183" y="106"/>
                  </a:lnTo>
                  <a:lnTo>
                    <a:pt x="183" y="25"/>
                  </a:lnTo>
                  <a:lnTo>
                    <a:pt x="122" y="25"/>
                  </a:lnTo>
                  <a:close/>
                  <a:moveTo>
                    <a:pt x="108" y="0"/>
                  </a:moveTo>
                  <a:lnTo>
                    <a:pt x="197" y="0"/>
                  </a:lnTo>
                  <a:lnTo>
                    <a:pt x="201" y="0"/>
                  </a:lnTo>
                  <a:lnTo>
                    <a:pt x="206" y="3"/>
                  </a:lnTo>
                  <a:lnTo>
                    <a:pt x="209" y="7"/>
                  </a:lnTo>
                  <a:lnTo>
                    <a:pt x="209" y="12"/>
                  </a:lnTo>
                  <a:lnTo>
                    <a:pt x="209" y="94"/>
                  </a:lnTo>
                  <a:lnTo>
                    <a:pt x="291" y="94"/>
                  </a:lnTo>
                  <a:lnTo>
                    <a:pt x="296" y="94"/>
                  </a:lnTo>
                  <a:lnTo>
                    <a:pt x="300" y="97"/>
                  </a:lnTo>
                  <a:lnTo>
                    <a:pt x="303" y="102"/>
                  </a:lnTo>
                  <a:lnTo>
                    <a:pt x="305" y="106"/>
                  </a:lnTo>
                  <a:lnTo>
                    <a:pt x="305" y="195"/>
                  </a:lnTo>
                  <a:lnTo>
                    <a:pt x="303" y="200"/>
                  </a:lnTo>
                  <a:lnTo>
                    <a:pt x="300" y="204"/>
                  </a:lnTo>
                  <a:lnTo>
                    <a:pt x="296" y="207"/>
                  </a:lnTo>
                  <a:lnTo>
                    <a:pt x="291" y="209"/>
                  </a:lnTo>
                  <a:lnTo>
                    <a:pt x="209" y="209"/>
                  </a:lnTo>
                  <a:lnTo>
                    <a:pt x="209" y="290"/>
                  </a:lnTo>
                  <a:lnTo>
                    <a:pt x="209" y="296"/>
                  </a:lnTo>
                  <a:lnTo>
                    <a:pt x="206" y="299"/>
                  </a:lnTo>
                  <a:lnTo>
                    <a:pt x="201" y="302"/>
                  </a:lnTo>
                  <a:lnTo>
                    <a:pt x="197" y="303"/>
                  </a:lnTo>
                  <a:lnTo>
                    <a:pt x="108" y="303"/>
                  </a:lnTo>
                  <a:lnTo>
                    <a:pt x="104" y="302"/>
                  </a:lnTo>
                  <a:lnTo>
                    <a:pt x="99" y="299"/>
                  </a:lnTo>
                  <a:lnTo>
                    <a:pt x="96" y="296"/>
                  </a:lnTo>
                  <a:lnTo>
                    <a:pt x="95" y="290"/>
                  </a:lnTo>
                  <a:lnTo>
                    <a:pt x="95" y="209"/>
                  </a:lnTo>
                  <a:lnTo>
                    <a:pt x="14" y="209"/>
                  </a:lnTo>
                  <a:lnTo>
                    <a:pt x="8" y="207"/>
                  </a:lnTo>
                  <a:lnTo>
                    <a:pt x="5" y="204"/>
                  </a:lnTo>
                  <a:lnTo>
                    <a:pt x="2" y="200"/>
                  </a:lnTo>
                  <a:lnTo>
                    <a:pt x="0" y="195"/>
                  </a:lnTo>
                  <a:lnTo>
                    <a:pt x="0" y="106"/>
                  </a:lnTo>
                  <a:lnTo>
                    <a:pt x="2" y="102"/>
                  </a:lnTo>
                  <a:lnTo>
                    <a:pt x="5" y="97"/>
                  </a:lnTo>
                  <a:lnTo>
                    <a:pt x="8" y="94"/>
                  </a:lnTo>
                  <a:lnTo>
                    <a:pt x="14" y="94"/>
                  </a:lnTo>
                  <a:lnTo>
                    <a:pt x="95" y="94"/>
                  </a:lnTo>
                  <a:lnTo>
                    <a:pt x="95" y="12"/>
                  </a:lnTo>
                  <a:lnTo>
                    <a:pt x="96" y="7"/>
                  </a:lnTo>
                  <a:lnTo>
                    <a:pt x="99" y="3"/>
                  </a:lnTo>
                  <a:lnTo>
                    <a:pt x="104" y="0"/>
                  </a:lnTo>
                  <a:lnTo>
                    <a:pt x="108" y="0"/>
                  </a:lnTo>
                  <a:close/>
                </a:path>
              </a:pathLst>
            </a:custGeom>
            <a:solidFill>
              <a:srgbClr val="05589C"/>
            </a:solidFill>
            <a:ln w="0">
              <a:noFill/>
              <a:prstDash val="solid"/>
              <a:round/>
              <a:headEnd/>
              <a:tailEnd/>
            </a:ln>
          </p:spPr>
          <p:txBody>
            <a:bodyPr vert="horz" wrap="square" lIns="91440" tIns="45720" rIns="91440" bIns="45720" numCol="1" anchor="t" anchorCtr="0" compatLnSpc="1">
              <a:prstTxWarp prst="textNoShape">
                <a:avLst/>
              </a:prstTxWarp>
            </a:bodyPr>
            <a:lstStyle/>
            <a:p>
              <a:pPr algn="r"/>
              <a:endParaRPr lang="pt-BR" dirty="0">
                <a:solidFill>
                  <a:prstClr val="black"/>
                </a:solidFill>
              </a:endParaRPr>
            </a:p>
          </p:txBody>
        </p:sp>
      </p:grpSp>
      <p:grpSp>
        <p:nvGrpSpPr>
          <p:cNvPr id="289" name="Agrupar 15">
            <a:extLst>
              <a:ext uri="{FF2B5EF4-FFF2-40B4-BE49-F238E27FC236}">
                <a16:creationId xmlns="" xmlns:a16="http://schemas.microsoft.com/office/drawing/2014/main" id="{4F037A4A-EA3E-451C-B245-33287B959FAF}"/>
              </a:ext>
            </a:extLst>
          </p:cNvPr>
          <p:cNvGrpSpPr/>
          <p:nvPr/>
        </p:nvGrpSpPr>
        <p:grpSpPr>
          <a:xfrm>
            <a:off x="3558986" y="3867161"/>
            <a:ext cx="340482" cy="572400"/>
            <a:chOff x="1733926" y="3156019"/>
            <a:chExt cx="340482" cy="572400"/>
          </a:xfrm>
        </p:grpSpPr>
        <p:pic>
          <p:nvPicPr>
            <p:cNvPr id="290" name="Picture 422" descr="A picture containing thing, object&#10;&#10;Description generated with very high confidence">
              <a:extLst>
                <a:ext uri="{FF2B5EF4-FFF2-40B4-BE49-F238E27FC236}">
                  <a16:creationId xmlns="" xmlns:a16="http://schemas.microsoft.com/office/drawing/2014/main" id="{56A65312-4A88-4BEB-99F0-367979188A0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1733926" y="3156019"/>
              <a:ext cx="340482" cy="572400"/>
            </a:xfrm>
            <a:prstGeom prst="rect">
              <a:avLst/>
            </a:prstGeom>
          </p:spPr>
        </p:pic>
        <p:sp>
          <p:nvSpPr>
            <p:cNvPr id="294" name="Freeform 7710">
              <a:extLst>
                <a:ext uri="{FF2B5EF4-FFF2-40B4-BE49-F238E27FC236}">
                  <a16:creationId xmlns="" xmlns:a16="http://schemas.microsoft.com/office/drawing/2014/main" id="{A9E3BE75-4B86-4550-8829-10AD03203221}"/>
                </a:ext>
              </a:extLst>
            </p:cNvPr>
            <p:cNvSpPr>
              <a:spLocks noEditPoints="1"/>
            </p:cNvSpPr>
            <p:nvPr/>
          </p:nvSpPr>
          <p:spPr bwMode="auto">
            <a:xfrm>
              <a:off x="1836619" y="3254122"/>
              <a:ext cx="140053" cy="139135"/>
            </a:xfrm>
            <a:custGeom>
              <a:avLst/>
              <a:gdLst>
                <a:gd name="T0" fmla="*/ 122 w 305"/>
                <a:gd name="T1" fmla="*/ 106 h 303"/>
                <a:gd name="T2" fmla="*/ 117 w 305"/>
                <a:gd name="T3" fmla="*/ 116 h 303"/>
                <a:gd name="T4" fmla="*/ 108 w 305"/>
                <a:gd name="T5" fmla="*/ 120 h 303"/>
                <a:gd name="T6" fmla="*/ 26 w 305"/>
                <a:gd name="T7" fmla="*/ 183 h 303"/>
                <a:gd name="T8" fmla="*/ 113 w 305"/>
                <a:gd name="T9" fmla="*/ 183 h 303"/>
                <a:gd name="T10" fmla="*/ 120 w 305"/>
                <a:gd name="T11" fmla="*/ 191 h 303"/>
                <a:gd name="T12" fmla="*/ 122 w 305"/>
                <a:gd name="T13" fmla="*/ 278 h 303"/>
                <a:gd name="T14" fmla="*/ 183 w 305"/>
                <a:gd name="T15" fmla="*/ 195 h 303"/>
                <a:gd name="T16" fmla="*/ 188 w 305"/>
                <a:gd name="T17" fmla="*/ 186 h 303"/>
                <a:gd name="T18" fmla="*/ 197 w 305"/>
                <a:gd name="T19" fmla="*/ 183 h 303"/>
                <a:gd name="T20" fmla="*/ 278 w 305"/>
                <a:gd name="T21" fmla="*/ 120 h 303"/>
                <a:gd name="T22" fmla="*/ 191 w 305"/>
                <a:gd name="T23" fmla="*/ 119 h 303"/>
                <a:gd name="T24" fmla="*/ 185 w 305"/>
                <a:gd name="T25" fmla="*/ 112 h 303"/>
                <a:gd name="T26" fmla="*/ 183 w 305"/>
                <a:gd name="T27" fmla="*/ 25 h 303"/>
                <a:gd name="T28" fmla="*/ 108 w 305"/>
                <a:gd name="T29" fmla="*/ 0 h 303"/>
                <a:gd name="T30" fmla="*/ 201 w 305"/>
                <a:gd name="T31" fmla="*/ 0 h 303"/>
                <a:gd name="T32" fmla="*/ 209 w 305"/>
                <a:gd name="T33" fmla="*/ 7 h 303"/>
                <a:gd name="T34" fmla="*/ 209 w 305"/>
                <a:gd name="T35" fmla="*/ 94 h 303"/>
                <a:gd name="T36" fmla="*/ 296 w 305"/>
                <a:gd name="T37" fmla="*/ 94 h 303"/>
                <a:gd name="T38" fmla="*/ 303 w 305"/>
                <a:gd name="T39" fmla="*/ 102 h 303"/>
                <a:gd name="T40" fmla="*/ 305 w 305"/>
                <a:gd name="T41" fmla="*/ 195 h 303"/>
                <a:gd name="T42" fmla="*/ 300 w 305"/>
                <a:gd name="T43" fmla="*/ 204 h 303"/>
                <a:gd name="T44" fmla="*/ 291 w 305"/>
                <a:gd name="T45" fmla="*/ 209 h 303"/>
                <a:gd name="T46" fmla="*/ 209 w 305"/>
                <a:gd name="T47" fmla="*/ 290 h 303"/>
                <a:gd name="T48" fmla="*/ 206 w 305"/>
                <a:gd name="T49" fmla="*/ 299 h 303"/>
                <a:gd name="T50" fmla="*/ 197 w 305"/>
                <a:gd name="T51" fmla="*/ 303 h 303"/>
                <a:gd name="T52" fmla="*/ 104 w 305"/>
                <a:gd name="T53" fmla="*/ 302 h 303"/>
                <a:gd name="T54" fmla="*/ 96 w 305"/>
                <a:gd name="T55" fmla="*/ 296 h 303"/>
                <a:gd name="T56" fmla="*/ 95 w 305"/>
                <a:gd name="T57" fmla="*/ 209 h 303"/>
                <a:gd name="T58" fmla="*/ 8 w 305"/>
                <a:gd name="T59" fmla="*/ 207 h 303"/>
                <a:gd name="T60" fmla="*/ 2 w 305"/>
                <a:gd name="T61" fmla="*/ 200 h 303"/>
                <a:gd name="T62" fmla="*/ 0 w 305"/>
                <a:gd name="T63" fmla="*/ 106 h 303"/>
                <a:gd name="T64" fmla="*/ 5 w 305"/>
                <a:gd name="T65" fmla="*/ 97 h 303"/>
                <a:gd name="T66" fmla="*/ 14 w 305"/>
                <a:gd name="T67" fmla="*/ 94 h 303"/>
                <a:gd name="T68" fmla="*/ 95 w 305"/>
                <a:gd name="T69" fmla="*/ 12 h 303"/>
                <a:gd name="T70" fmla="*/ 99 w 305"/>
                <a:gd name="T71" fmla="*/ 3 h 303"/>
                <a:gd name="T72" fmla="*/ 108 w 305"/>
                <a:gd name="T7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5" h="303">
                  <a:moveTo>
                    <a:pt x="122" y="25"/>
                  </a:moveTo>
                  <a:lnTo>
                    <a:pt x="122" y="106"/>
                  </a:lnTo>
                  <a:lnTo>
                    <a:pt x="120" y="112"/>
                  </a:lnTo>
                  <a:lnTo>
                    <a:pt x="117" y="116"/>
                  </a:lnTo>
                  <a:lnTo>
                    <a:pt x="113" y="119"/>
                  </a:lnTo>
                  <a:lnTo>
                    <a:pt x="108" y="120"/>
                  </a:lnTo>
                  <a:lnTo>
                    <a:pt x="26" y="120"/>
                  </a:lnTo>
                  <a:lnTo>
                    <a:pt x="26" y="183"/>
                  </a:lnTo>
                  <a:lnTo>
                    <a:pt x="108" y="183"/>
                  </a:lnTo>
                  <a:lnTo>
                    <a:pt x="113" y="183"/>
                  </a:lnTo>
                  <a:lnTo>
                    <a:pt x="117" y="186"/>
                  </a:lnTo>
                  <a:lnTo>
                    <a:pt x="120" y="191"/>
                  </a:lnTo>
                  <a:lnTo>
                    <a:pt x="122" y="195"/>
                  </a:lnTo>
                  <a:lnTo>
                    <a:pt x="122" y="278"/>
                  </a:lnTo>
                  <a:lnTo>
                    <a:pt x="183" y="278"/>
                  </a:lnTo>
                  <a:lnTo>
                    <a:pt x="183" y="195"/>
                  </a:lnTo>
                  <a:lnTo>
                    <a:pt x="185" y="191"/>
                  </a:lnTo>
                  <a:lnTo>
                    <a:pt x="188" y="186"/>
                  </a:lnTo>
                  <a:lnTo>
                    <a:pt x="191" y="183"/>
                  </a:lnTo>
                  <a:lnTo>
                    <a:pt x="197" y="183"/>
                  </a:lnTo>
                  <a:lnTo>
                    <a:pt x="278" y="183"/>
                  </a:lnTo>
                  <a:lnTo>
                    <a:pt x="278" y="120"/>
                  </a:lnTo>
                  <a:lnTo>
                    <a:pt x="197" y="120"/>
                  </a:lnTo>
                  <a:lnTo>
                    <a:pt x="191" y="119"/>
                  </a:lnTo>
                  <a:lnTo>
                    <a:pt x="188" y="116"/>
                  </a:lnTo>
                  <a:lnTo>
                    <a:pt x="185" y="112"/>
                  </a:lnTo>
                  <a:lnTo>
                    <a:pt x="183" y="106"/>
                  </a:lnTo>
                  <a:lnTo>
                    <a:pt x="183" y="25"/>
                  </a:lnTo>
                  <a:lnTo>
                    <a:pt x="122" y="25"/>
                  </a:lnTo>
                  <a:close/>
                  <a:moveTo>
                    <a:pt x="108" y="0"/>
                  </a:moveTo>
                  <a:lnTo>
                    <a:pt x="197" y="0"/>
                  </a:lnTo>
                  <a:lnTo>
                    <a:pt x="201" y="0"/>
                  </a:lnTo>
                  <a:lnTo>
                    <a:pt x="206" y="3"/>
                  </a:lnTo>
                  <a:lnTo>
                    <a:pt x="209" y="7"/>
                  </a:lnTo>
                  <a:lnTo>
                    <a:pt x="209" y="12"/>
                  </a:lnTo>
                  <a:lnTo>
                    <a:pt x="209" y="94"/>
                  </a:lnTo>
                  <a:lnTo>
                    <a:pt x="291" y="94"/>
                  </a:lnTo>
                  <a:lnTo>
                    <a:pt x="296" y="94"/>
                  </a:lnTo>
                  <a:lnTo>
                    <a:pt x="300" y="97"/>
                  </a:lnTo>
                  <a:lnTo>
                    <a:pt x="303" y="102"/>
                  </a:lnTo>
                  <a:lnTo>
                    <a:pt x="305" y="106"/>
                  </a:lnTo>
                  <a:lnTo>
                    <a:pt x="305" y="195"/>
                  </a:lnTo>
                  <a:lnTo>
                    <a:pt x="303" y="200"/>
                  </a:lnTo>
                  <a:lnTo>
                    <a:pt x="300" y="204"/>
                  </a:lnTo>
                  <a:lnTo>
                    <a:pt x="296" y="207"/>
                  </a:lnTo>
                  <a:lnTo>
                    <a:pt x="291" y="209"/>
                  </a:lnTo>
                  <a:lnTo>
                    <a:pt x="209" y="209"/>
                  </a:lnTo>
                  <a:lnTo>
                    <a:pt x="209" y="290"/>
                  </a:lnTo>
                  <a:lnTo>
                    <a:pt x="209" y="296"/>
                  </a:lnTo>
                  <a:lnTo>
                    <a:pt x="206" y="299"/>
                  </a:lnTo>
                  <a:lnTo>
                    <a:pt x="201" y="302"/>
                  </a:lnTo>
                  <a:lnTo>
                    <a:pt x="197" y="303"/>
                  </a:lnTo>
                  <a:lnTo>
                    <a:pt x="108" y="303"/>
                  </a:lnTo>
                  <a:lnTo>
                    <a:pt x="104" y="302"/>
                  </a:lnTo>
                  <a:lnTo>
                    <a:pt x="99" y="299"/>
                  </a:lnTo>
                  <a:lnTo>
                    <a:pt x="96" y="296"/>
                  </a:lnTo>
                  <a:lnTo>
                    <a:pt x="95" y="290"/>
                  </a:lnTo>
                  <a:lnTo>
                    <a:pt x="95" y="209"/>
                  </a:lnTo>
                  <a:lnTo>
                    <a:pt x="14" y="209"/>
                  </a:lnTo>
                  <a:lnTo>
                    <a:pt x="8" y="207"/>
                  </a:lnTo>
                  <a:lnTo>
                    <a:pt x="5" y="204"/>
                  </a:lnTo>
                  <a:lnTo>
                    <a:pt x="2" y="200"/>
                  </a:lnTo>
                  <a:lnTo>
                    <a:pt x="0" y="195"/>
                  </a:lnTo>
                  <a:lnTo>
                    <a:pt x="0" y="106"/>
                  </a:lnTo>
                  <a:lnTo>
                    <a:pt x="2" y="102"/>
                  </a:lnTo>
                  <a:lnTo>
                    <a:pt x="5" y="97"/>
                  </a:lnTo>
                  <a:lnTo>
                    <a:pt x="8" y="94"/>
                  </a:lnTo>
                  <a:lnTo>
                    <a:pt x="14" y="94"/>
                  </a:lnTo>
                  <a:lnTo>
                    <a:pt x="95" y="94"/>
                  </a:lnTo>
                  <a:lnTo>
                    <a:pt x="95" y="12"/>
                  </a:lnTo>
                  <a:lnTo>
                    <a:pt x="96" y="7"/>
                  </a:lnTo>
                  <a:lnTo>
                    <a:pt x="99" y="3"/>
                  </a:lnTo>
                  <a:lnTo>
                    <a:pt x="104" y="0"/>
                  </a:lnTo>
                  <a:lnTo>
                    <a:pt x="108" y="0"/>
                  </a:lnTo>
                  <a:close/>
                </a:path>
              </a:pathLst>
            </a:custGeom>
            <a:solidFill>
              <a:srgbClr val="05589C"/>
            </a:solidFill>
            <a:ln w="0">
              <a:noFill/>
              <a:prstDash val="solid"/>
              <a:round/>
              <a:headEnd/>
              <a:tailEnd/>
            </a:ln>
          </p:spPr>
          <p:txBody>
            <a:bodyPr vert="horz" wrap="square" lIns="91440" tIns="45720" rIns="91440" bIns="45720" numCol="1" anchor="t" anchorCtr="0" compatLnSpc="1">
              <a:prstTxWarp prst="textNoShape">
                <a:avLst/>
              </a:prstTxWarp>
            </a:bodyPr>
            <a:lstStyle/>
            <a:p>
              <a:pPr algn="r"/>
              <a:endParaRPr lang="pt-BR" dirty="0">
                <a:solidFill>
                  <a:prstClr val="black"/>
                </a:solidFill>
              </a:endParaRPr>
            </a:p>
          </p:txBody>
        </p:sp>
      </p:grpSp>
      <p:grpSp>
        <p:nvGrpSpPr>
          <p:cNvPr id="308" name="Agrupar 15">
            <a:extLst>
              <a:ext uri="{FF2B5EF4-FFF2-40B4-BE49-F238E27FC236}">
                <a16:creationId xmlns="" xmlns:a16="http://schemas.microsoft.com/office/drawing/2014/main" id="{1CD02865-3A52-433C-ADCA-226377D545F5}"/>
              </a:ext>
            </a:extLst>
          </p:cNvPr>
          <p:cNvGrpSpPr/>
          <p:nvPr/>
        </p:nvGrpSpPr>
        <p:grpSpPr>
          <a:xfrm>
            <a:off x="3701584" y="3937179"/>
            <a:ext cx="340482" cy="572400"/>
            <a:chOff x="1733926" y="3156019"/>
            <a:chExt cx="340482" cy="572400"/>
          </a:xfrm>
        </p:grpSpPr>
        <p:pic>
          <p:nvPicPr>
            <p:cNvPr id="309" name="Picture 422" descr="A picture containing thing, object&#10;&#10;Description generated with very high confidence">
              <a:extLst>
                <a:ext uri="{FF2B5EF4-FFF2-40B4-BE49-F238E27FC236}">
                  <a16:creationId xmlns="" xmlns:a16="http://schemas.microsoft.com/office/drawing/2014/main" id="{14B8C46D-2356-4AB3-A5BE-D449DD07823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1733926" y="3156019"/>
              <a:ext cx="340482" cy="572400"/>
            </a:xfrm>
            <a:prstGeom prst="rect">
              <a:avLst/>
            </a:prstGeom>
          </p:spPr>
        </p:pic>
        <p:sp>
          <p:nvSpPr>
            <p:cNvPr id="310" name="Freeform 7710">
              <a:extLst>
                <a:ext uri="{FF2B5EF4-FFF2-40B4-BE49-F238E27FC236}">
                  <a16:creationId xmlns="" xmlns:a16="http://schemas.microsoft.com/office/drawing/2014/main" id="{0435B943-06A0-464B-8129-612273AA6A88}"/>
                </a:ext>
              </a:extLst>
            </p:cNvPr>
            <p:cNvSpPr>
              <a:spLocks noEditPoints="1"/>
            </p:cNvSpPr>
            <p:nvPr/>
          </p:nvSpPr>
          <p:spPr bwMode="auto">
            <a:xfrm>
              <a:off x="1836619" y="3254122"/>
              <a:ext cx="140053" cy="139135"/>
            </a:xfrm>
            <a:custGeom>
              <a:avLst/>
              <a:gdLst>
                <a:gd name="T0" fmla="*/ 122 w 305"/>
                <a:gd name="T1" fmla="*/ 106 h 303"/>
                <a:gd name="T2" fmla="*/ 117 w 305"/>
                <a:gd name="T3" fmla="*/ 116 h 303"/>
                <a:gd name="T4" fmla="*/ 108 w 305"/>
                <a:gd name="T5" fmla="*/ 120 h 303"/>
                <a:gd name="T6" fmla="*/ 26 w 305"/>
                <a:gd name="T7" fmla="*/ 183 h 303"/>
                <a:gd name="T8" fmla="*/ 113 w 305"/>
                <a:gd name="T9" fmla="*/ 183 h 303"/>
                <a:gd name="T10" fmla="*/ 120 w 305"/>
                <a:gd name="T11" fmla="*/ 191 h 303"/>
                <a:gd name="T12" fmla="*/ 122 w 305"/>
                <a:gd name="T13" fmla="*/ 278 h 303"/>
                <a:gd name="T14" fmla="*/ 183 w 305"/>
                <a:gd name="T15" fmla="*/ 195 h 303"/>
                <a:gd name="T16" fmla="*/ 188 w 305"/>
                <a:gd name="T17" fmla="*/ 186 h 303"/>
                <a:gd name="T18" fmla="*/ 197 w 305"/>
                <a:gd name="T19" fmla="*/ 183 h 303"/>
                <a:gd name="T20" fmla="*/ 278 w 305"/>
                <a:gd name="T21" fmla="*/ 120 h 303"/>
                <a:gd name="T22" fmla="*/ 191 w 305"/>
                <a:gd name="T23" fmla="*/ 119 h 303"/>
                <a:gd name="T24" fmla="*/ 185 w 305"/>
                <a:gd name="T25" fmla="*/ 112 h 303"/>
                <a:gd name="T26" fmla="*/ 183 w 305"/>
                <a:gd name="T27" fmla="*/ 25 h 303"/>
                <a:gd name="T28" fmla="*/ 108 w 305"/>
                <a:gd name="T29" fmla="*/ 0 h 303"/>
                <a:gd name="T30" fmla="*/ 201 w 305"/>
                <a:gd name="T31" fmla="*/ 0 h 303"/>
                <a:gd name="T32" fmla="*/ 209 w 305"/>
                <a:gd name="T33" fmla="*/ 7 h 303"/>
                <a:gd name="T34" fmla="*/ 209 w 305"/>
                <a:gd name="T35" fmla="*/ 94 h 303"/>
                <a:gd name="T36" fmla="*/ 296 w 305"/>
                <a:gd name="T37" fmla="*/ 94 h 303"/>
                <a:gd name="T38" fmla="*/ 303 w 305"/>
                <a:gd name="T39" fmla="*/ 102 h 303"/>
                <a:gd name="T40" fmla="*/ 305 w 305"/>
                <a:gd name="T41" fmla="*/ 195 h 303"/>
                <a:gd name="T42" fmla="*/ 300 w 305"/>
                <a:gd name="T43" fmla="*/ 204 h 303"/>
                <a:gd name="T44" fmla="*/ 291 w 305"/>
                <a:gd name="T45" fmla="*/ 209 h 303"/>
                <a:gd name="T46" fmla="*/ 209 w 305"/>
                <a:gd name="T47" fmla="*/ 290 h 303"/>
                <a:gd name="T48" fmla="*/ 206 w 305"/>
                <a:gd name="T49" fmla="*/ 299 h 303"/>
                <a:gd name="T50" fmla="*/ 197 w 305"/>
                <a:gd name="T51" fmla="*/ 303 h 303"/>
                <a:gd name="T52" fmla="*/ 104 w 305"/>
                <a:gd name="T53" fmla="*/ 302 h 303"/>
                <a:gd name="T54" fmla="*/ 96 w 305"/>
                <a:gd name="T55" fmla="*/ 296 h 303"/>
                <a:gd name="T56" fmla="*/ 95 w 305"/>
                <a:gd name="T57" fmla="*/ 209 h 303"/>
                <a:gd name="T58" fmla="*/ 8 w 305"/>
                <a:gd name="T59" fmla="*/ 207 h 303"/>
                <a:gd name="T60" fmla="*/ 2 w 305"/>
                <a:gd name="T61" fmla="*/ 200 h 303"/>
                <a:gd name="T62" fmla="*/ 0 w 305"/>
                <a:gd name="T63" fmla="*/ 106 h 303"/>
                <a:gd name="T64" fmla="*/ 5 w 305"/>
                <a:gd name="T65" fmla="*/ 97 h 303"/>
                <a:gd name="T66" fmla="*/ 14 w 305"/>
                <a:gd name="T67" fmla="*/ 94 h 303"/>
                <a:gd name="T68" fmla="*/ 95 w 305"/>
                <a:gd name="T69" fmla="*/ 12 h 303"/>
                <a:gd name="T70" fmla="*/ 99 w 305"/>
                <a:gd name="T71" fmla="*/ 3 h 303"/>
                <a:gd name="T72" fmla="*/ 108 w 305"/>
                <a:gd name="T7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5" h="303">
                  <a:moveTo>
                    <a:pt x="122" y="25"/>
                  </a:moveTo>
                  <a:lnTo>
                    <a:pt x="122" y="106"/>
                  </a:lnTo>
                  <a:lnTo>
                    <a:pt x="120" y="112"/>
                  </a:lnTo>
                  <a:lnTo>
                    <a:pt x="117" y="116"/>
                  </a:lnTo>
                  <a:lnTo>
                    <a:pt x="113" y="119"/>
                  </a:lnTo>
                  <a:lnTo>
                    <a:pt x="108" y="120"/>
                  </a:lnTo>
                  <a:lnTo>
                    <a:pt x="26" y="120"/>
                  </a:lnTo>
                  <a:lnTo>
                    <a:pt x="26" y="183"/>
                  </a:lnTo>
                  <a:lnTo>
                    <a:pt x="108" y="183"/>
                  </a:lnTo>
                  <a:lnTo>
                    <a:pt x="113" y="183"/>
                  </a:lnTo>
                  <a:lnTo>
                    <a:pt x="117" y="186"/>
                  </a:lnTo>
                  <a:lnTo>
                    <a:pt x="120" y="191"/>
                  </a:lnTo>
                  <a:lnTo>
                    <a:pt x="122" y="195"/>
                  </a:lnTo>
                  <a:lnTo>
                    <a:pt x="122" y="278"/>
                  </a:lnTo>
                  <a:lnTo>
                    <a:pt x="183" y="278"/>
                  </a:lnTo>
                  <a:lnTo>
                    <a:pt x="183" y="195"/>
                  </a:lnTo>
                  <a:lnTo>
                    <a:pt x="185" y="191"/>
                  </a:lnTo>
                  <a:lnTo>
                    <a:pt x="188" y="186"/>
                  </a:lnTo>
                  <a:lnTo>
                    <a:pt x="191" y="183"/>
                  </a:lnTo>
                  <a:lnTo>
                    <a:pt x="197" y="183"/>
                  </a:lnTo>
                  <a:lnTo>
                    <a:pt x="278" y="183"/>
                  </a:lnTo>
                  <a:lnTo>
                    <a:pt x="278" y="120"/>
                  </a:lnTo>
                  <a:lnTo>
                    <a:pt x="197" y="120"/>
                  </a:lnTo>
                  <a:lnTo>
                    <a:pt x="191" y="119"/>
                  </a:lnTo>
                  <a:lnTo>
                    <a:pt x="188" y="116"/>
                  </a:lnTo>
                  <a:lnTo>
                    <a:pt x="185" y="112"/>
                  </a:lnTo>
                  <a:lnTo>
                    <a:pt x="183" y="106"/>
                  </a:lnTo>
                  <a:lnTo>
                    <a:pt x="183" y="25"/>
                  </a:lnTo>
                  <a:lnTo>
                    <a:pt x="122" y="25"/>
                  </a:lnTo>
                  <a:close/>
                  <a:moveTo>
                    <a:pt x="108" y="0"/>
                  </a:moveTo>
                  <a:lnTo>
                    <a:pt x="197" y="0"/>
                  </a:lnTo>
                  <a:lnTo>
                    <a:pt x="201" y="0"/>
                  </a:lnTo>
                  <a:lnTo>
                    <a:pt x="206" y="3"/>
                  </a:lnTo>
                  <a:lnTo>
                    <a:pt x="209" y="7"/>
                  </a:lnTo>
                  <a:lnTo>
                    <a:pt x="209" y="12"/>
                  </a:lnTo>
                  <a:lnTo>
                    <a:pt x="209" y="94"/>
                  </a:lnTo>
                  <a:lnTo>
                    <a:pt x="291" y="94"/>
                  </a:lnTo>
                  <a:lnTo>
                    <a:pt x="296" y="94"/>
                  </a:lnTo>
                  <a:lnTo>
                    <a:pt x="300" y="97"/>
                  </a:lnTo>
                  <a:lnTo>
                    <a:pt x="303" y="102"/>
                  </a:lnTo>
                  <a:lnTo>
                    <a:pt x="305" y="106"/>
                  </a:lnTo>
                  <a:lnTo>
                    <a:pt x="305" y="195"/>
                  </a:lnTo>
                  <a:lnTo>
                    <a:pt x="303" y="200"/>
                  </a:lnTo>
                  <a:lnTo>
                    <a:pt x="300" y="204"/>
                  </a:lnTo>
                  <a:lnTo>
                    <a:pt x="296" y="207"/>
                  </a:lnTo>
                  <a:lnTo>
                    <a:pt x="291" y="209"/>
                  </a:lnTo>
                  <a:lnTo>
                    <a:pt x="209" y="209"/>
                  </a:lnTo>
                  <a:lnTo>
                    <a:pt x="209" y="290"/>
                  </a:lnTo>
                  <a:lnTo>
                    <a:pt x="209" y="296"/>
                  </a:lnTo>
                  <a:lnTo>
                    <a:pt x="206" y="299"/>
                  </a:lnTo>
                  <a:lnTo>
                    <a:pt x="201" y="302"/>
                  </a:lnTo>
                  <a:lnTo>
                    <a:pt x="197" y="303"/>
                  </a:lnTo>
                  <a:lnTo>
                    <a:pt x="108" y="303"/>
                  </a:lnTo>
                  <a:lnTo>
                    <a:pt x="104" y="302"/>
                  </a:lnTo>
                  <a:lnTo>
                    <a:pt x="99" y="299"/>
                  </a:lnTo>
                  <a:lnTo>
                    <a:pt x="96" y="296"/>
                  </a:lnTo>
                  <a:lnTo>
                    <a:pt x="95" y="290"/>
                  </a:lnTo>
                  <a:lnTo>
                    <a:pt x="95" y="209"/>
                  </a:lnTo>
                  <a:lnTo>
                    <a:pt x="14" y="209"/>
                  </a:lnTo>
                  <a:lnTo>
                    <a:pt x="8" y="207"/>
                  </a:lnTo>
                  <a:lnTo>
                    <a:pt x="5" y="204"/>
                  </a:lnTo>
                  <a:lnTo>
                    <a:pt x="2" y="200"/>
                  </a:lnTo>
                  <a:lnTo>
                    <a:pt x="0" y="195"/>
                  </a:lnTo>
                  <a:lnTo>
                    <a:pt x="0" y="106"/>
                  </a:lnTo>
                  <a:lnTo>
                    <a:pt x="2" y="102"/>
                  </a:lnTo>
                  <a:lnTo>
                    <a:pt x="5" y="97"/>
                  </a:lnTo>
                  <a:lnTo>
                    <a:pt x="8" y="94"/>
                  </a:lnTo>
                  <a:lnTo>
                    <a:pt x="14" y="94"/>
                  </a:lnTo>
                  <a:lnTo>
                    <a:pt x="95" y="94"/>
                  </a:lnTo>
                  <a:lnTo>
                    <a:pt x="95" y="12"/>
                  </a:lnTo>
                  <a:lnTo>
                    <a:pt x="96" y="7"/>
                  </a:lnTo>
                  <a:lnTo>
                    <a:pt x="99" y="3"/>
                  </a:lnTo>
                  <a:lnTo>
                    <a:pt x="104" y="0"/>
                  </a:lnTo>
                  <a:lnTo>
                    <a:pt x="108" y="0"/>
                  </a:lnTo>
                  <a:close/>
                </a:path>
              </a:pathLst>
            </a:custGeom>
            <a:solidFill>
              <a:srgbClr val="05589C"/>
            </a:solidFill>
            <a:ln w="0">
              <a:noFill/>
              <a:prstDash val="solid"/>
              <a:round/>
              <a:headEnd/>
              <a:tailEnd/>
            </a:ln>
          </p:spPr>
          <p:txBody>
            <a:bodyPr vert="horz" wrap="square" lIns="91440" tIns="45720" rIns="91440" bIns="45720" numCol="1" anchor="t" anchorCtr="0" compatLnSpc="1">
              <a:prstTxWarp prst="textNoShape">
                <a:avLst/>
              </a:prstTxWarp>
            </a:bodyPr>
            <a:lstStyle/>
            <a:p>
              <a:pPr algn="r"/>
              <a:endParaRPr lang="pt-BR" dirty="0">
                <a:solidFill>
                  <a:prstClr val="black"/>
                </a:solidFill>
              </a:endParaRPr>
            </a:p>
          </p:txBody>
        </p:sp>
      </p:grpSp>
      <p:grpSp>
        <p:nvGrpSpPr>
          <p:cNvPr id="314" name="Agrupar 651">
            <a:extLst>
              <a:ext uri="{FF2B5EF4-FFF2-40B4-BE49-F238E27FC236}">
                <a16:creationId xmlns="" xmlns:a16="http://schemas.microsoft.com/office/drawing/2014/main" id="{CC890B47-1D29-41D8-925F-E207EFC99C5E}"/>
              </a:ext>
            </a:extLst>
          </p:cNvPr>
          <p:cNvGrpSpPr/>
          <p:nvPr/>
        </p:nvGrpSpPr>
        <p:grpSpPr>
          <a:xfrm>
            <a:off x="6545320" y="3248551"/>
            <a:ext cx="340482" cy="572400"/>
            <a:chOff x="1733926" y="3156019"/>
            <a:chExt cx="340482" cy="572400"/>
          </a:xfrm>
        </p:grpSpPr>
        <p:pic>
          <p:nvPicPr>
            <p:cNvPr id="315" name="Picture 422" descr="A picture containing thing, object&#10;&#10;Description generated with very high confidence">
              <a:extLst>
                <a:ext uri="{FF2B5EF4-FFF2-40B4-BE49-F238E27FC236}">
                  <a16:creationId xmlns="" xmlns:a16="http://schemas.microsoft.com/office/drawing/2014/main" id="{DCB7468B-70E2-4ADF-81F2-C14BA5CB006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1733926" y="3156019"/>
              <a:ext cx="340482" cy="572400"/>
            </a:xfrm>
            <a:prstGeom prst="rect">
              <a:avLst/>
            </a:prstGeom>
          </p:spPr>
        </p:pic>
        <p:sp>
          <p:nvSpPr>
            <p:cNvPr id="316" name="Freeform 7710">
              <a:extLst>
                <a:ext uri="{FF2B5EF4-FFF2-40B4-BE49-F238E27FC236}">
                  <a16:creationId xmlns="" xmlns:a16="http://schemas.microsoft.com/office/drawing/2014/main" id="{68D6F031-EB7D-4F86-B677-F47114EC3F1D}"/>
                </a:ext>
              </a:extLst>
            </p:cNvPr>
            <p:cNvSpPr>
              <a:spLocks noEditPoints="1"/>
            </p:cNvSpPr>
            <p:nvPr/>
          </p:nvSpPr>
          <p:spPr bwMode="auto">
            <a:xfrm>
              <a:off x="1836619" y="3254122"/>
              <a:ext cx="140053" cy="139135"/>
            </a:xfrm>
            <a:custGeom>
              <a:avLst/>
              <a:gdLst>
                <a:gd name="T0" fmla="*/ 122 w 305"/>
                <a:gd name="T1" fmla="*/ 106 h 303"/>
                <a:gd name="T2" fmla="*/ 117 w 305"/>
                <a:gd name="T3" fmla="*/ 116 h 303"/>
                <a:gd name="T4" fmla="*/ 108 w 305"/>
                <a:gd name="T5" fmla="*/ 120 h 303"/>
                <a:gd name="T6" fmla="*/ 26 w 305"/>
                <a:gd name="T7" fmla="*/ 183 h 303"/>
                <a:gd name="T8" fmla="*/ 113 w 305"/>
                <a:gd name="T9" fmla="*/ 183 h 303"/>
                <a:gd name="T10" fmla="*/ 120 w 305"/>
                <a:gd name="T11" fmla="*/ 191 h 303"/>
                <a:gd name="T12" fmla="*/ 122 w 305"/>
                <a:gd name="T13" fmla="*/ 278 h 303"/>
                <a:gd name="T14" fmla="*/ 183 w 305"/>
                <a:gd name="T15" fmla="*/ 195 h 303"/>
                <a:gd name="T16" fmla="*/ 188 w 305"/>
                <a:gd name="T17" fmla="*/ 186 h 303"/>
                <a:gd name="T18" fmla="*/ 197 w 305"/>
                <a:gd name="T19" fmla="*/ 183 h 303"/>
                <a:gd name="T20" fmla="*/ 278 w 305"/>
                <a:gd name="T21" fmla="*/ 120 h 303"/>
                <a:gd name="T22" fmla="*/ 191 w 305"/>
                <a:gd name="T23" fmla="*/ 119 h 303"/>
                <a:gd name="T24" fmla="*/ 185 w 305"/>
                <a:gd name="T25" fmla="*/ 112 h 303"/>
                <a:gd name="T26" fmla="*/ 183 w 305"/>
                <a:gd name="T27" fmla="*/ 25 h 303"/>
                <a:gd name="T28" fmla="*/ 108 w 305"/>
                <a:gd name="T29" fmla="*/ 0 h 303"/>
                <a:gd name="T30" fmla="*/ 201 w 305"/>
                <a:gd name="T31" fmla="*/ 0 h 303"/>
                <a:gd name="T32" fmla="*/ 209 w 305"/>
                <a:gd name="T33" fmla="*/ 7 h 303"/>
                <a:gd name="T34" fmla="*/ 209 w 305"/>
                <a:gd name="T35" fmla="*/ 94 h 303"/>
                <a:gd name="T36" fmla="*/ 296 w 305"/>
                <a:gd name="T37" fmla="*/ 94 h 303"/>
                <a:gd name="T38" fmla="*/ 303 w 305"/>
                <a:gd name="T39" fmla="*/ 102 h 303"/>
                <a:gd name="T40" fmla="*/ 305 w 305"/>
                <a:gd name="T41" fmla="*/ 195 h 303"/>
                <a:gd name="T42" fmla="*/ 300 w 305"/>
                <a:gd name="T43" fmla="*/ 204 h 303"/>
                <a:gd name="T44" fmla="*/ 291 w 305"/>
                <a:gd name="T45" fmla="*/ 209 h 303"/>
                <a:gd name="T46" fmla="*/ 209 w 305"/>
                <a:gd name="T47" fmla="*/ 290 h 303"/>
                <a:gd name="T48" fmla="*/ 206 w 305"/>
                <a:gd name="T49" fmla="*/ 299 h 303"/>
                <a:gd name="T50" fmla="*/ 197 w 305"/>
                <a:gd name="T51" fmla="*/ 303 h 303"/>
                <a:gd name="T52" fmla="*/ 104 w 305"/>
                <a:gd name="T53" fmla="*/ 302 h 303"/>
                <a:gd name="T54" fmla="*/ 96 w 305"/>
                <a:gd name="T55" fmla="*/ 296 h 303"/>
                <a:gd name="T56" fmla="*/ 95 w 305"/>
                <a:gd name="T57" fmla="*/ 209 h 303"/>
                <a:gd name="T58" fmla="*/ 8 w 305"/>
                <a:gd name="T59" fmla="*/ 207 h 303"/>
                <a:gd name="T60" fmla="*/ 2 w 305"/>
                <a:gd name="T61" fmla="*/ 200 h 303"/>
                <a:gd name="T62" fmla="*/ 0 w 305"/>
                <a:gd name="T63" fmla="*/ 106 h 303"/>
                <a:gd name="T64" fmla="*/ 5 w 305"/>
                <a:gd name="T65" fmla="*/ 97 h 303"/>
                <a:gd name="T66" fmla="*/ 14 w 305"/>
                <a:gd name="T67" fmla="*/ 94 h 303"/>
                <a:gd name="T68" fmla="*/ 95 w 305"/>
                <a:gd name="T69" fmla="*/ 12 h 303"/>
                <a:gd name="T70" fmla="*/ 99 w 305"/>
                <a:gd name="T71" fmla="*/ 3 h 303"/>
                <a:gd name="T72" fmla="*/ 108 w 305"/>
                <a:gd name="T7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5" h="303">
                  <a:moveTo>
                    <a:pt x="122" y="25"/>
                  </a:moveTo>
                  <a:lnTo>
                    <a:pt x="122" y="106"/>
                  </a:lnTo>
                  <a:lnTo>
                    <a:pt x="120" y="112"/>
                  </a:lnTo>
                  <a:lnTo>
                    <a:pt x="117" y="116"/>
                  </a:lnTo>
                  <a:lnTo>
                    <a:pt x="113" y="119"/>
                  </a:lnTo>
                  <a:lnTo>
                    <a:pt x="108" y="120"/>
                  </a:lnTo>
                  <a:lnTo>
                    <a:pt x="26" y="120"/>
                  </a:lnTo>
                  <a:lnTo>
                    <a:pt x="26" y="183"/>
                  </a:lnTo>
                  <a:lnTo>
                    <a:pt x="108" y="183"/>
                  </a:lnTo>
                  <a:lnTo>
                    <a:pt x="113" y="183"/>
                  </a:lnTo>
                  <a:lnTo>
                    <a:pt x="117" y="186"/>
                  </a:lnTo>
                  <a:lnTo>
                    <a:pt x="120" y="191"/>
                  </a:lnTo>
                  <a:lnTo>
                    <a:pt x="122" y="195"/>
                  </a:lnTo>
                  <a:lnTo>
                    <a:pt x="122" y="278"/>
                  </a:lnTo>
                  <a:lnTo>
                    <a:pt x="183" y="278"/>
                  </a:lnTo>
                  <a:lnTo>
                    <a:pt x="183" y="195"/>
                  </a:lnTo>
                  <a:lnTo>
                    <a:pt x="185" y="191"/>
                  </a:lnTo>
                  <a:lnTo>
                    <a:pt x="188" y="186"/>
                  </a:lnTo>
                  <a:lnTo>
                    <a:pt x="191" y="183"/>
                  </a:lnTo>
                  <a:lnTo>
                    <a:pt x="197" y="183"/>
                  </a:lnTo>
                  <a:lnTo>
                    <a:pt x="278" y="183"/>
                  </a:lnTo>
                  <a:lnTo>
                    <a:pt x="278" y="120"/>
                  </a:lnTo>
                  <a:lnTo>
                    <a:pt x="197" y="120"/>
                  </a:lnTo>
                  <a:lnTo>
                    <a:pt x="191" y="119"/>
                  </a:lnTo>
                  <a:lnTo>
                    <a:pt x="188" y="116"/>
                  </a:lnTo>
                  <a:lnTo>
                    <a:pt x="185" y="112"/>
                  </a:lnTo>
                  <a:lnTo>
                    <a:pt x="183" y="106"/>
                  </a:lnTo>
                  <a:lnTo>
                    <a:pt x="183" y="25"/>
                  </a:lnTo>
                  <a:lnTo>
                    <a:pt x="122" y="25"/>
                  </a:lnTo>
                  <a:close/>
                  <a:moveTo>
                    <a:pt x="108" y="0"/>
                  </a:moveTo>
                  <a:lnTo>
                    <a:pt x="197" y="0"/>
                  </a:lnTo>
                  <a:lnTo>
                    <a:pt x="201" y="0"/>
                  </a:lnTo>
                  <a:lnTo>
                    <a:pt x="206" y="3"/>
                  </a:lnTo>
                  <a:lnTo>
                    <a:pt x="209" y="7"/>
                  </a:lnTo>
                  <a:lnTo>
                    <a:pt x="209" y="12"/>
                  </a:lnTo>
                  <a:lnTo>
                    <a:pt x="209" y="94"/>
                  </a:lnTo>
                  <a:lnTo>
                    <a:pt x="291" y="94"/>
                  </a:lnTo>
                  <a:lnTo>
                    <a:pt x="296" y="94"/>
                  </a:lnTo>
                  <a:lnTo>
                    <a:pt x="300" y="97"/>
                  </a:lnTo>
                  <a:lnTo>
                    <a:pt x="303" y="102"/>
                  </a:lnTo>
                  <a:lnTo>
                    <a:pt x="305" y="106"/>
                  </a:lnTo>
                  <a:lnTo>
                    <a:pt x="305" y="195"/>
                  </a:lnTo>
                  <a:lnTo>
                    <a:pt x="303" y="200"/>
                  </a:lnTo>
                  <a:lnTo>
                    <a:pt x="300" y="204"/>
                  </a:lnTo>
                  <a:lnTo>
                    <a:pt x="296" y="207"/>
                  </a:lnTo>
                  <a:lnTo>
                    <a:pt x="291" y="209"/>
                  </a:lnTo>
                  <a:lnTo>
                    <a:pt x="209" y="209"/>
                  </a:lnTo>
                  <a:lnTo>
                    <a:pt x="209" y="290"/>
                  </a:lnTo>
                  <a:lnTo>
                    <a:pt x="209" y="296"/>
                  </a:lnTo>
                  <a:lnTo>
                    <a:pt x="206" y="299"/>
                  </a:lnTo>
                  <a:lnTo>
                    <a:pt x="201" y="302"/>
                  </a:lnTo>
                  <a:lnTo>
                    <a:pt x="197" y="303"/>
                  </a:lnTo>
                  <a:lnTo>
                    <a:pt x="108" y="303"/>
                  </a:lnTo>
                  <a:lnTo>
                    <a:pt x="104" y="302"/>
                  </a:lnTo>
                  <a:lnTo>
                    <a:pt x="99" y="299"/>
                  </a:lnTo>
                  <a:lnTo>
                    <a:pt x="96" y="296"/>
                  </a:lnTo>
                  <a:lnTo>
                    <a:pt x="95" y="290"/>
                  </a:lnTo>
                  <a:lnTo>
                    <a:pt x="95" y="209"/>
                  </a:lnTo>
                  <a:lnTo>
                    <a:pt x="14" y="209"/>
                  </a:lnTo>
                  <a:lnTo>
                    <a:pt x="8" y="207"/>
                  </a:lnTo>
                  <a:lnTo>
                    <a:pt x="5" y="204"/>
                  </a:lnTo>
                  <a:lnTo>
                    <a:pt x="2" y="200"/>
                  </a:lnTo>
                  <a:lnTo>
                    <a:pt x="0" y="195"/>
                  </a:lnTo>
                  <a:lnTo>
                    <a:pt x="0" y="106"/>
                  </a:lnTo>
                  <a:lnTo>
                    <a:pt x="2" y="102"/>
                  </a:lnTo>
                  <a:lnTo>
                    <a:pt x="5" y="97"/>
                  </a:lnTo>
                  <a:lnTo>
                    <a:pt x="8" y="94"/>
                  </a:lnTo>
                  <a:lnTo>
                    <a:pt x="14" y="94"/>
                  </a:lnTo>
                  <a:lnTo>
                    <a:pt x="95" y="94"/>
                  </a:lnTo>
                  <a:lnTo>
                    <a:pt x="95" y="12"/>
                  </a:lnTo>
                  <a:lnTo>
                    <a:pt x="96" y="7"/>
                  </a:lnTo>
                  <a:lnTo>
                    <a:pt x="99" y="3"/>
                  </a:lnTo>
                  <a:lnTo>
                    <a:pt x="104" y="0"/>
                  </a:lnTo>
                  <a:lnTo>
                    <a:pt x="108" y="0"/>
                  </a:lnTo>
                  <a:close/>
                </a:path>
              </a:pathLst>
            </a:custGeom>
            <a:solidFill>
              <a:srgbClr val="05589C"/>
            </a:solidFill>
            <a:ln w="0">
              <a:noFill/>
              <a:prstDash val="solid"/>
              <a:round/>
              <a:headEnd/>
              <a:tailEnd/>
            </a:ln>
          </p:spPr>
          <p:txBody>
            <a:bodyPr vert="horz" wrap="square" lIns="91440" tIns="45720" rIns="91440" bIns="45720" numCol="1" anchor="t" anchorCtr="0" compatLnSpc="1">
              <a:prstTxWarp prst="textNoShape">
                <a:avLst/>
              </a:prstTxWarp>
            </a:bodyPr>
            <a:lstStyle/>
            <a:p>
              <a:pPr algn="r"/>
              <a:endParaRPr lang="pt-BR" dirty="0">
                <a:solidFill>
                  <a:prstClr val="black"/>
                </a:solidFill>
              </a:endParaRPr>
            </a:p>
          </p:txBody>
        </p:sp>
      </p:grpSp>
      <p:grpSp>
        <p:nvGrpSpPr>
          <p:cNvPr id="263" name="Agrupar 15">
            <a:extLst>
              <a:ext uri="{FF2B5EF4-FFF2-40B4-BE49-F238E27FC236}">
                <a16:creationId xmlns="" xmlns:a16="http://schemas.microsoft.com/office/drawing/2014/main" id="{D62AD695-3A26-4737-94A2-98FEC07E5F51}"/>
              </a:ext>
            </a:extLst>
          </p:cNvPr>
          <p:cNvGrpSpPr/>
          <p:nvPr/>
        </p:nvGrpSpPr>
        <p:grpSpPr>
          <a:xfrm>
            <a:off x="3107241" y="3053349"/>
            <a:ext cx="340482" cy="572400"/>
            <a:chOff x="1733926" y="3156019"/>
            <a:chExt cx="340482" cy="572400"/>
          </a:xfrm>
        </p:grpSpPr>
        <p:pic>
          <p:nvPicPr>
            <p:cNvPr id="264" name="Picture 422" descr="A picture containing thing, object&#10;&#10;Description generated with very high confidence">
              <a:extLst>
                <a:ext uri="{FF2B5EF4-FFF2-40B4-BE49-F238E27FC236}">
                  <a16:creationId xmlns="" xmlns:a16="http://schemas.microsoft.com/office/drawing/2014/main" id="{674EFF7D-AF38-4C79-BD70-E30FE771A14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1733926" y="3156019"/>
              <a:ext cx="340482" cy="572400"/>
            </a:xfrm>
            <a:prstGeom prst="rect">
              <a:avLst/>
            </a:prstGeom>
          </p:spPr>
        </p:pic>
        <p:sp>
          <p:nvSpPr>
            <p:cNvPr id="265" name="Freeform 7710">
              <a:extLst>
                <a:ext uri="{FF2B5EF4-FFF2-40B4-BE49-F238E27FC236}">
                  <a16:creationId xmlns="" xmlns:a16="http://schemas.microsoft.com/office/drawing/2014/main" id="{1A3D8898-C59D-488A-9D0D-88BA997858A3}"/>
                </a:ext>
              </a:extLst>
            </p:cNvPr>
            <p:cNvSpPr>
              <a:spLocks noEditPoints="1"/>
            </p:cNvSpPr>
            <p:nvPr/>
          </p:nvSpPr>
          <p:spPr bwMode="auto">
            <a:xfrm>
              <a:off x="1836619" y="3254122"/>
              <a:ext cx="140053" cy="139135"/>
            </a:xfrm>
            <a:custGeom>
              <a:avLst/>
              <a:gdLst>
                <a:gd name="T0" fmla="*/ 122 w 305"/>
                <a:gd name="T1" fmla="*/ 106 h 303"/>
                <a:gd name="T2" fmla="*/ 117 w 305"/>
                <a:gd name="T3" fmla="*/ 116 h 303"/>
                <a:gd name="T4" fmla="*/ 108 w 305"/>
                <a:gd name="T5" fmla="*/ 120 h 303"/>
                <a:gd name="T6" fmla="*/ 26 w 305"/>
                <a:gd name="T7" fmla="*/ 183 h 303"/>
                <a:gd name="T8" fmla="*/ 113 w 305"/>
                <a:gd name="T9" fmla="*/ 183 h 303"/>
                <a:gd name="T10" fmla="*/ 120 w 305"/>
                <a:gd name="T11" fmla="*/ 191 h 303"/>
                <a:gd name="T12" fmla="*/ 122 w 305"/>
                <a:gd name="T13" fmla="*/ 278 h 303"/>
                <a:gd name="T14" fmla="*/ 183 w 305"/>
                <a:gd name="T15" fmla="*/ 195 h 303"/>
                <a:gd name="T16" fmla="*/ 188 w 305"/>
                <a:gd name="T17" fmla="*/ 186 h 303"/>
                <a:gd name="T18" fmla="*/ 197 w 305"/>
                <a:gd name="T19" fmla="*/ 183 h 303"/>
                <a:gd name="T20" fmla="*/ 278 w 305"/>
                <a:gd name="T21" fmla="*/ 120 h 303"/>
                <a:gd name="T22" fmla="*/ 191 w 305"/>
                <a:gd name="T23" fmla="*/ 119 h 303"/>
                <a:gd name="T24" fmla="*/ 185 w 305"/>
                <a:gd name="T25" fmla="*/ 112 h 303"/>
                <a:gd name="T26" fmla="*/ 183 w 305"/>
                <a:gd name="T27" fmla="*/ 25 h 303"/>
                <a:gd name="T28" fmla="*/ 108 w 305"/>
                <a:gd name="T29" fmla="*/ 0 h 303"/>
                <a:gd name="T30" fmla="*/ 201 w 305"/>
                <a:gd name="T31" fmla="*/ 0 h 303"/>
                <a:gd name="T32" fmla="*/ 209 w 305"/>
                <a:gd name="T33" fmla="*/ 7 h 303"/>
                <a:gd name="T34" fmla="*/ 209 w 305"/>
                <a:gd name="T35" fmla="*/ 94 h 303"/>
                <a:gd name="T36" fmla="*/ 296 w 305"/>
                <a:gd name="T37" fmla="*/ 94 h 303"/>
                <a:gd name="T38" fmla="*/ 303 w 305"/>
                <a:gd name="T39" fmla="*/ 102 h 303"/>
                <a:gd name="T40" fmla="*/ 305 w 305"/>
                <a:gd name="T41" fmla="*/ 195 h 303"/>
                <a:gd name="T42" fmla="*/ 300 w 305"/>
                <a:gd name="T43" fmla="*/ 204 h 303"/>
                <a:gd name="T44" fmla="*/ 291 w 305"/>
                <a:gd name="T45" fmla="*/ 209 h 303"/>
                <a:gd name="T46" fmla="*/ 209 w 305"/>
                <a:gd name="T47" fmla="*/ 290 h 303"/>
                <a:gd name="T48" fmla="*/ 206 w 305"/>
                <a:gd name="T49" fmla="*/ 299 h 303"/>
                <a:gd name="T50" fmla="*/ 197 w 305"/>
                <a:gd name="T51" fmla="*/ 303 h 303"/>
                <a:gd name="T52" fmla="*/ 104 w 305"/>
                <a:gd name="T53" fmla="*/ 302 h 303"/>
                <a:gd name="T54" fmla="*/ 96 w 305"/>
                <a:gd name="T55" fmla="*/ 296 h 303"/>
                <a:gd name="T56" fmla="*/ 95 w 305"/>
                <a:gd name="T57" fmla="*/ 209 h 303"/>
                <a:gd name="T58" fmla="*/ 8 w 305"/>
                <a:gd name="T59" fmla="*/ 207 h 303"/>
                <a:gd name="T60" fmla="*/ 2 w 305"/>
                <a:gd name="T61" fmla="*/ 200 h 303"/>
                <a:gd name="T62" fmla="*/ 0 w 305"/>
                <a:gd name="T63" fmla="*/ 106 h 303"/>
                <a:gd name="T64" fmla="*/ 5 w 305"/>
                <a:gd name="T65" fmla="*/ 97 h 303"/>
                <a:gd name="T66" fmla="*/ 14 w 305"/>
                <a:gd name="T67" fmla="*/ 94 h 303"/>
                <a:gd name="T68" fmla="*/ 95 w 305"/>
                <a:gd name="T69" fmla="*/ 12 h 303"/>
                <a:gd name="T70" fmla="*/ 99 w 305"/>
                <a:gd name="T71" fmla="*/ 3 h 303"/>
                <a:gd name="T72" fmla="*/ 108 w 305"/>
                <a:gd name="T7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5" h="303">
                  <a:moveTo>
                    <a:pt x="122" y="25"/>
                  </a:moveTo>
                  <a:lnTo>
                    <a:pt x="122" y="106"/>
                  </a:lnTo>
                  <a:lnTo>
                    <a:pt x="120" y="112"/>
                  </a:lnTo>
                  <a:lnTo>
                    <a:pt x="117" y="116"/>
                  </a:lnTo>
                  <a:lnTo>
                    <a:pt x="113" y="119"/>
                  </a:lnTo>
                  <a:lnTo>
                    <a:pt x="108" y="120"/>
                  </a:lnTo>
                  <a:lnTo>
                    <a:pt x="26" y="120"/>
                  </a:lnTo>
                  <a:lnTo>
                    <a:pt x="26" y="183"/>
                  </a:lnTo>
                  <a:lnTo>
                    <a:pt x="108" y="183"/>
                  </a:lnTo>
                  <a:lnTo>
                    <a:pt x="113" y="183"/>
                  </a:lnTo>
                  <a:lnTo>
                    <a:pt x="117" y="186"/>
                  </a:lnTo>
                  <a:lnTo>
                    <a:pt x="120" y="191"/>
                  </a:lnTo>
                  <a:lnTo>
                    <a:pt x="122" y="195"/>
                  </a:lnTo>
                  <a:lnTo>
                    <a:pt x="122" y="278"/>
                  </a:lnTo>
                  <a:lnTo>
                    <a:pt x="183" y="278"/>
                  </a:lnTo>
                  <a:lnTo>
                    <a:pt x="183" y="195"/>
                  </a:lnTo>
                  <a:lnTo>
                    <a:pt x="185" y="191"/>
                  </a:lnTo>
                  <a:lnTo>
                    <a:pt x="188" y="186"/>
                  </a:lnTo>
                  <a:lnTo>
                    <a:pt x="191" y="183"/>
                  </a:lnTo>
                  <a:lnTo>
                    <a:pt x="197" y="183"/>
                  </a:lnTo>
                  <a:lnTo>
                    <a:pt x="278" y="183"/>
                  </a:lnTo>
                  <a:lnTo>
                    <a:pt x="278" y="120"/>
                  </a:lnTo>
                  <a:lnTo>
                    <a:pt x="197" y="120"/>
                  </a:lnTo>
                  <a:lnTo>
                    <a:pt x="191" y="119"/>
                  </a:lnTo>
                  <a:lnTo>
                    <a:pt x="188" y="116"/>
                  </a:lnTo>
                  <a:lnTo>
                    <a:pt x="185" y="112"/>
                  </a:lnTo>
                  <a:lnTo>
                    <a:pt x="183" y="106"/>
                  </a:lnTo>
                  <a:lnTo>
                    <a:pt x="183" y="25"/>
                  </a:lnTo>
                  <a:lnTo>
                    <a:pt x="122" y="25"/>
                  </a:lnTo>
                  <a:close/>
                  <a:moveTo>
                    <a:pt x="108" y="0"/>
                  </a:moveTo>
                  <a:lnTo>
                    <a:pt x="197" y="0"/>
                  </a:lnTo>
                  <a:lnTo>
                    <a:pt x="201" y="0"/>
                  </a:lnTo>
                  <a:lnTo>
                    <a:pt x="206" y="3"/>
                  </a:lnTo>
                  <a:lnTo>
                    <a:pt x="209" y="7"/>
                  </a:lnTo>
                  <a:lnTo>
                    <a:pt x="209" y="12"/>
                  </a:lnTo>
                  <a:lnTo>
                    <a:pt x="209" y="94"/>
                  </a:lnTo>
                  <a:lnTo>
                    <a:pt x="291" y="94"/>
                  </a:lnTo>
                  <a:lnTo>
                    <a:pt x="296" y="94"/>
                  </a:lnTo>
                  <a:lnTo>
                    <a:pt x="300" y="97"/>
                  </a:lnTo>
                  <a:lnTo>
                    <a:pt x="303" y="102"/>
                  </a:lnTo>
                  <a:lnTo>
                    <a:pt x="305" y="106"/>
                  </a:lnTo>
                  <a:lnTo>
                    <a:pt x="305" y="195"/>
                  </a:lnTo>
                  <a:lnTo>
                    <a:pt x="303" y="200"/>
                  </a:lnTo>
                  <a:lnTo>
                    <a:pt x="300" y="204"/>
                  </a:lnTo>
                  <a:lnTo>
                    <a:pt x="296" y="207"/>
                  </a:lnTo>
                  <a:lnTo>
                    <a:pt x="291" y="209"/>
                  </a:lnTo>
                  <a:lnTo>
                    <a:pt x="209" y="209"/>
                  </a:lnTo>
                  <a:lnTo>
                    <a:pt x="209" y="290"/>
                  </a:lnTo>
                  <a:lnTo>
                    <a:pt x="209" y="296"/>
                  </a:lnTo>
                  <a:lnTo>
                    <a:pt x="206" y="299"/>
                  </a:lnTo>
                  <a:lnTo>
                    <a:pt x="201" y="302"/>
                  </a:lnTo>
                  <a:lnTo>
                    <a:pt x="197" y="303"/>
                  </a:lnTo>
                  <a:lnTo>
                    <a:pt x="108" y="303"/>
                  </a:lnTo>
                  <a:lnTo>
                    <a:pt x="104" y="302"/>
                  </a:lnTo>
                  <a:lnTo>
                    <a:pt x="99" y="299"/>
                  </a:lnTo>
                  <a:lnTo>
                    <a:pt x="96" y="296"/>
                  </a:lnTo>
                  <a:lnTo>
                    <a:pt x="95" y="290"/>
                  </a:lnTo>
                  <a:lnTo>
                    <a:pt x="95" y="209"/>
                  </a:lnTo>
                  <a:lnTo>
                    <a:pt x="14" y="209"/>
                  </a:lnTo>
                  <a:lnTo>
                    <a:pt x="8" y="207"/>
                  </a:lnTo>
                  <a:lnTo>
                    <a:pt x="5" y="204"/>
                  </a:lnTo>
                  <a:lnTo>
                    <a:pt x="2" y="200"/>
                  </a:lnTo>
                  <a:lnTo>
                    <a:pt x="0" y="195"/>
                  </a:lnTo>
                  <a:lnTo>
                    <a:pt x="0" y="106"/>
                  </a:lnTo>
                  <a:lnTo>
                    <a:pt x="2" y="102"/>
                  </a:lnTo>
                  <a:lnTo>
                    <a:pt x="5" y="97"/>
                  </a:lnTo>
                  <a:lnTo>
                    <a:pt x="8" y="94"/>
                  </a:lnTo>
                  <a:lnTo>
                    <a:pt x="14" y="94"/>
                  </a:lnTo>
                  <a:lnTo>
                    <a:pt x="95" y="94"/>
                  </a:lnTo>
                  <a:lnTo>
                    <a:pt x="95" y="12"/>
                  </a:lnTo>
                  <a:lnTo>
                    <a:pt x="96" y="7"/>
                  </a:lnTo>
                  <a:lnTo>
                    <a:pt x="99" y="3"/>
                  </a:lnTo>
                  <a:lnTo>
                    <a:pt x="104" y="0"/>
                  </a:lnTo>
                  <a:lnTo>
                    <a:pt x="108" y="0"/>
                  </a:lnTo>
                  <a:close/>
                </a:path>
              </a:pathLst>
            </a:custGeom>
            <a:solidFill>
              <a:srgbClr val="05589C"/>
            </a:solidFill>
            <a:ln w="0">
              <a:noFill/>
              <a:prstDash val="solid"/>
              <a:round/>
              <a:headEnd/>
              <a:tailEnd/>
            </a:ln>
          </p:spPr>
          <p:txBody>
            <a:bodyPr vert="horz" wrap="square" lIns="91440" tIns="45720" rIns="91440" bIns="45720" numCol="1" anchor="t" anchorCtr="0" compatLnSpc="1">
              <a:prstTxWarp prst="textNoShape">
                <a:avLst/>
              </a:prstTxWarp>
            </a:bodyPr>
            <a:lstStyle/>
            <a:p>
              <a:pPr algn="r"/>
              <a:endParaRPr lang="pt-BR" dirty="0">
                <a:solidFill>
                  <a:prstClr val="black"/>
                </a:solidFill>
              </a:endParaRPr>
            </a:p>
          </p:txBody>
        </p:sp>
      </p:grpSp>
      <p:grpSp>
        <p:nvGrpSpPr>
          <p:cNvPr id="16" name="Agrupar 15">
            <a:extLst>
              <a:ext uri="{FF2B5EF4-FFF2-40B4-BE49-F238E27FC236}">
                <a16:creationId xmlns="" xmlns:a16="http://schemas.microsoft.com/office/drawing/2014/main" id="{E8789D33-3699-46B3-B862-B6DC4F67761E}"/>
              </a:ext>
            </a:extLst>
          </p:cNvPr>
          <p:cNvGrpSpPr/>
          <p:nvPr/>
        </p:nvGrpSpPr>
        <p:grpSpPr>
          <a:xfrm>
            <a:off x="3260275" y="3341079"/>
            <a:ext cx="340482" cy="572400"/>
            <a:chOff x="1733926" y="3156019"/>
            <a:chExt cx="340482" cy="572400"/>
          </a:xfrm>
        </p:grpSpPr>
        <p:pic>
          <p:nvPicPr>
            <p:cNvPr id="549" name="Picture 422" descr="A picture containing thing, object&#10;&#10;Description generated with very high confidence">
              <a:extLst>
                <a:ext uri="{FF2B5EF4-FFF2-40B4-BE49-F238E27FC236}">
                  <a16:creationId xmlns="" xmlns:a16="http://schemas.microsoft.com/office/drawing/2014/main" id="{058F8B47-094D-4735-A96D-DBAF704F749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1733926" y="3156019"/>
              <a:ext cx="340482" cy="572400"/>
            </a:xfrm>
            <a:prstGeom prst="rect">
              <a:avLst/>
            </a:prstGeom>
          </p:spPr>
        </p:pic>
        <p:sp>
          <p:nvSpPr>
            <p:cNvPr id="648" name="Freeform 7710">
              <a:extLst>
                <a:ext uri="{FF2B5EF4-FFF2-40B4-BE49-F238E27FC236}">
                  <a16:creationId xmlns="" xmlns:a16="http://schemas.microsoft.com/office/drawing/2014/main" id="{FE2F8E22-7969-4F4C-B09F-A9677458E9A2}"/>
                </a:ext>
              </a:extLst>
            </p:cNvPr>
            <p:cNvSpPr>
              <a:spLocks noEditPoints="1"/>
            </p:cNvSpPr>
            <p:nvPr/>
          </p:nvSpPr>
          <p:spPr bwMode="auto">
            <a:xfrm>
              <a:off x="1836619" y="3254122"/>
              <a:ext cx="140053" cy="139135"/>
            </a:xfrm>
            <a:custGeom>
              <a:avLst/>
              <a:gdLst>
                <a:gd name="T0" fmla="*/ 122 w 305"/>
                <a:gd name="T1" fmla="*/ 106 h 303"/>
                <a:gd name="T2" fmla="*/ 117 w 305"/>
                <a:gd name="T3" fmla="*/ 116 h 303"/>
                <a:gd name="T4" fmla="*/ 108 w 305"/>
                <a:gd name="T5" fmla="*/ 120 h 303"/>
                <a:gd name="T6" fmla="*/ 26 w 305"/>
                <a:gd name="T7" fmla="*/ 183 h 303"/>
                <a:gd name="T8" fmla="*/ 113 w 305"/>
                <a:gd name="T9" fmla="*/ 183 h 303"/>
                <a:gd name="T10" fmla="*/ 120 w 305"/>
                <a:gd name="T11" fmla="*/ 191 h 303"/>
                <a:gd name="T12" fmla="*/ 122 w 305"/>
                <a:gd name="T13" fmla="*/ 278 h 303"/>
                <a:gd name="T14" fmla="*/ 183 w 305"/>
                <a:gd name="T15" fmla="*/ 195 h 303"/>
                <a:gd name="T16" fmla="*/ 188 w 305"/>
                <a:gd name="T17" fmla="*/ 186 h 303"/>
                <a:gd name="T18" fmla="*/ 197 w 305"/>
                <a:gd name="T19" fmla="*/ 183 h 303"/>
                <a:gd name="T20" fmla="*/ 278 w 305"/>
                <a:gd name="T21" fmla="*/ 120 h 303"/>
                <a:gd name="T22" fmla="*/ 191 w 305"/>
                <a:gd name="T23" fmla="*/ 119 h 303"/>
                <a:gd name="T24" fmla="*/ 185 w 305"/>
                <a:gd name="T25" fmla="*/ 112 h 303"/>
                <a:gd name="T26" fmla="*/ 183 w 305"/>
                <a:gd name="T27" fmla="*/ 25 h 303"/>
                <a:gd name="T28" fmla="*/ 108 w 305"/>
                <a:gd name="T29" fmla="*/ 0 h 303"/>
                <a:gd name="T30" fmla="*/ 201 w 305"/>
                <a:gd name="T31" fmla="*/ 0 h 303"/>
                <a:gd name="T32" fmla="*/ 209 w 305"/>
                <a:gd name="T33" fmla="*/ 7 h 303"/>
                <a:gd name="T34" fmla="*/ 209 w 305"/>
                <a:gd name="T35" fmla="*/ 94 h 303"/>
                <a:gd name="T36" fmla="*/ 296 w 305"/>
                <a:gd name="T37" fmla="*/ 94 h 303"/>
                <a:gd name="T38" fmla="*/ 303 w 305"/>
                <a:gd name="T39" fmla="*/ 102 h 303"/>
                <a:gd name="T40" fmla="*/ 305 w 305"/>
                <a:gd name="T41" fmla="*/ 195 h 303"/>
                <a:gd name="T42" fmla="*/ 300 w 305"/>
                <a:gd name="T43" fmla="*/ 204 h 303"/>
                <a:gd name="T44" fmla="*/ 291 w 305"/>
                <a:gd name="T45" fmla="*/ 209 h 303"/>
                <a:gd name="T46" fmla="*/ 209 w 305"/>
                <a:gd name="T47" fmla="*/ 290 h 303"/>
                <a:gd name="T48" fmla="*/ 206 w 305"/>
                <a:gd name="T49" fmla="*/ 299 h 303"/>
                <a:gd name="T50" fmla="*/ 197 w 305"/>
                <a:gd name="T51" fmla="*/ 303 h 303"/>
                <a:gd name="T52" fmla="*/ 104 w 305"/>
                <a:gd name="T53" fmla="*/ 302 h 303"/>
                <a:gd name="T54" fmla="*/ 96 w 305"/>
                <a:gd name="T55" fmla="*/ 296 h 303"/>
                <a:gd name="T56" fmla="*/ 95 w 305"/>
                <a:gd name="T57" fmla="*/ 209 h 303"/>
                <a:gd name="T58" fmla="*/ 8 w 305"/>
                <a:gd name="T59" fmla="*/ 207 h 303"/>
                <a:gd name="T60" fmla="*/ 2 w 305"/>
                <a:gd name="T61" fmla="*/ 200 h 303"/>
                <a:gd name="T62" fmla="*/ 0 w 305"/>
                <a:gd name="T63" fmla="*/ 106 h 303"/>
                <a:gd name="T64" fmla="*/ 5 w 305"/>
                <a:gd name="T65" fmla="*/ 97 h 303"/>
                <a:gd name="T66" fmla="*/ 14 w 305"/>
                <a:gd name="T67" fmla="*/ 94 h 303"/>
                <a:gd name="T68" fmla="*/ 95 w 305"/>
                <a:gd name="T69" fmla="*/ 12 h 303"/>
                <a:gd name="T70" fmla="*/ 99 w 305"/>
                <a:gd name="T71" fmla="*/ 3 h 303"/>
                <a:gd name="T72" fmla="*/ 108 w 305"/>
                <a:gd name="T7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5" h="303">
                  <a:moveTo>
                    <a:pt x="122" y="25"/>
                  </a:moveTo>
                  <a:lnTo>
                    <a:pt x="122" y="106"/>
                  </a:lnTo>
                  <a:lnTo>
                    <a:pt x="120" y="112"/>
                  </a:lnTo>
                  <a:lnTo>
                    <a:pt x="117" y="116"/>
                  </a:lnTo>
                  <a:lnTo>
                    <a:pt x="113" y="119"/>
                  </a:lnTo>
                  <a:lnTo>
                    <a:pt x="108" y="120"/>
                  </a:lnTo>
                  <a:lnTo>
                    <a:pt x="26" y="120"/>
                  </a:lnTo>
                  <a:lnTo>
                    <a:pt x="26" y="183"/>
                  </a:lnTo>
                  <a:lnTo>
                    <a:pt x="108" y="183"/>
                  </a:lnTo>
                  <a:lnTo>
                    <a:pt x="113" y="183"/>
                  </a:lnTo>
                  <a:lnTo>
                    <a:pt x="117" y="186"/>
                  </a:lnTo>
                  <a:lnTo>
                    <a:pt x="120" y="191"/>
                  </a:lnTo>
                  <a:lnTo>
                    <a:pt x="122" y="195"/>
                  </a:lnTo>
                  <a:lnTo>
                    <a:pt x="122" y="278"/>
                  </a:lnTo>
                  <a:lnTo>
                    <a:pt x="183" y="278"/>
                  </a:lnTo>
                  <a:lnTo>
                    <a:pt x="183" y="195"/>
                  </a:lnTo>
                  <a:lnTo>
                    <a:pt x="185" y="191"/>
                  </a:lnTo>
                  <a:lnTo>
                    <a:pt x="188" y="186"/>
                  </a:lnTo>
                  <a:lnTo>
                    <a:pt x="191" y="183"/>
                  </a:lnTo>
                  <a:lnTo>
                    <a:pt x="197" y="183"/>
                  </a:lnTo>
                  <a:lnTo>
                    <a:pt x="278" y="183"/>
                  </a:lnTo>
                  <a:lnTo>
                    <a:pt x="278" y="120"/>
                  </a:lnTo>
                  <a:lnTo>
                    <a:pt x="197" y="120"/>
                  </a:lnTo>
                  <a:lnTo>
                    <a:pt x="191" y="119"/>
                  </a:lnTo>
                  <a:lnTo>
                    <a:pt x="188" y="116"/>
                  </a:lnTo>
                  <a:lnTo>
                    <a:pt x="185" y="112"/>
                  </a:lnTo>
                  <a:lnTo>
                    <a:pt x="183" y="106"/>
                  </a:lnTo>
                  <a:lnTo>
                    <a:pt x="183" y="25"/>
                  </a:lnTo>
                  <a:lnTo>
                    <a:pt x="122" y="25"/>
                  </a:lnTo>
                  <a:close/>
                  <a:moveTo>
                    <a:pt x="108" y="0"/>
                  </a:moveTo>
                  <a:lnTo>
                    <a:pt x="197" y="0"/>
                  </a:lnTo>
                  <a:lnTo>
                    <a:pt x="201" y="0"/>
                  </a:lnTo>
                  <a:lnTo>
                    <a:pt x="206" y="3"/>
                  </a:lnTo>
                  <a:lnTo>
                    <a:pt x="209" y="7"/>
                  </a:lnTo>
                  <a:lnTo>
                    <a:pt x="209" y="12"/>
                  </a:lnTo>
                  <a:lnTo>
                    <a:pt x="209" y="94"/>
                  </a:lnTo>
                  <a:lnTo>
                    <a:pt x="291" y="94"/>
                  </a:lnTo>
                  <a:lnTo>
                    <a:pt x="296" y="94"/>
                  </a:lnTo>
                  <a:lnTo>
                    <a:pt x="300" y="97"/>
                  </a:lnTo>
                  <a:lnTo>
                    <a:pt x="303" y="102"/>
                  </a:lnTo>
                  <a:lnTo>
                    <a:pt x="305" y="106"/>
                  </a:lnTo>
                  <a:lnTo>
                    <a:pt x="305" y="195"/>
                  </a:lnTo>
                  <a:lnTo>
                    <a:pt x="303" y="200"/>
                  </a:lnTo>
                  <a:lnTo>
                    <a:pt x="300" y="204"/>
                  </a:lnTo>
                  <a:lnTo>
                    <a:pt x="296" y="207"/>
                  </a:lnTo>
                  <a:lnTo>
                    <a:pt x="291" y="209"/>
                  </a:lnTo>
                  <a:lnTo>
                    <a:pt x="209" y="209"/>
                  </a:lnTo>
                  <a:lnTo>
                    <a:pt x="209" y="290"/>
                  </a:lnTo>
                  <a:lnTo>
                    <a:pt x="209" y="296"/>
                  </a:lnTo>
                  <a:lnTo>
                    <a:pt x="206" y="299"/>
                  </a:lnTo>
                  <a:lnTo>
                    <a:pt x="201" y="302"/>
                  </a:lnTo>
                  <a:lnTo>
                    <a:pt x="197" y="303"/>
                  </a:lnTo>
                  <a:lnTo>
                    <a:pt x="108" y="303"/>
                  </a:lnTo>
                  <a:lnTo>
                    <a:pt x="104" y="302"/>
                  </a:lnTo>
                  <a:lnTo>
                    <a:pt x="99" y="299"/>
                  </a:lnTo>
                  <a:lnTo>
                    <a:pt x="96" y="296"/>
                  </a:lnTo>
                  <a:lnTo>
                    <a:pt x="95" y="290"/>
                  </a:lnTo>
                  <a:lnTo>
                    <a:pt x="95" y="209"/>
                  </a:lnTo>
                  <a:lnTo>
                    <a:pt x="14" y="209"/>
                  </a:lnTo>
                  <a:lnTo>
                    <a:pt x="8" y="207"/>
                  </a:lnTo>
                  <a:lnTo>
                    <a:pt x="5" y="204"/>
                  </a:lnTo>
                  <a:lnTo>
                    <a:pt x="2" y="200"/>
                  </a:lnTo>
                  <a:lnTo>
                    <a:pt x="0" y="195"/>
                  </a:lnTo>
                  <a:lnTo>
                    <a:pt x="0" y="106"/>
                  </a:lnTo>
                  <a:lnTo>
                    <a:pt x="2" y="102"/>
                  </a:lnTo>
                  <a:lnTo>
                    <a:pt x="5" y="97"/>
                  </a:lnTo>
                  <a:lnTo>
                    <a:pt x="8" y="94"/>
                  </a:lnTo>
                  <a:lnTo>
                    <a:pt x="14" y="94"/>
                  </a:lnTo>
                  <a:lnTo>
                    <a:pt x="95" y="94"/>
                  </a:lnTo>
                  <a:lnTo>
                    <a:pt x="95" y="12"/>
                  </a:lnTo>
                  <a:lnTo>
                    <a:pt x="96" y="7"/>
                  </a:lnTo>
                  <a:lnTo>
                    <a:pt x="99" y="3"/>
                  </a:lnTo>
                  <a:lnTo>
                    <a:pt x="104" y="0"/>
                  </a:lnTo>
                  <a:lnTo>
                    <a:pt x="108" y="0"/>
                  </a:lnTo>
                  <a:close/>
                </a:path>
              </a:pathLst>
            </a:custGeom>
            <a:solidFill>
              <a:srgbClr val="05589C"/>
            </a:solidFill>
            <a:ln w="0">
              <a:noFill/>
              <a:prstDash val="solid"/>
              <a:round/>
              <a:headEnd/>
              <a:tailEnd/>
            </a:ln>
          </p:spPr>
          <p:txBody>
            <a:bodyPr vert="horz" wrap="square" lIns="91440" tIns="45720" rIns="91440" bIns="45720" numCol="1" anchor="t" anchorCtr="0" compatLnSpc="1">
              <a:prstTxWarp prst="textNoShape">
                <a:avLst/>
              </a:prstTxWarp>
            </a:bodyPr>
            <a:lstStyle/>
            <a:p>
              <a:pPr algn="r"/>
              <a:endParaRPr lang="pt-BR" dirty="0">
                <a:solidFill>
                  <a:prstClr val="black"/>
                </a:solidFill>
              </a:endParaRPr>
            </a:p>
          </p:txBody>
        </p:sp>
      </p:grpSp>
      <p:grpSp>
        <p:nvGrpSpPr>
          <p:cNvPr id="667" name="Agrupar 666">
            <a:extLst>
              <a:ext uri="{FF2B5EF4-FFF2-40B4-BE49-F238E27FC236}">
                <a16:creationId xmlns="" xmlns:a16="http://schemas.microsoft.com/office/drawing/2014/main" id="{90DAFB73-34B0-4CFA-B856-28C6A002AB2E}"/>
              </a:ext>
            </a:extLst>
          </p:cNvPr>
          <p:cNvGrpSpPr/>
          <p:nvPr/>
        </p:nvGrpSpPr>
        <p:grpSpPr>
          <a:xfrm>
            <a:off x="7999591" y="3491249"/>
            <a:ext cx="340482" cy="572400"/>
            <a:chOff x="1733926" y="3156019"/>
            <a:chExt cx="340482" cy="572400"/>
          </a:xfrm>
        </p:grpSpPr>
        <p:pic>
          <p:nvPicPr>
            <p:cNvPr id="668" name="Picture 422" descr="A picture containing thing, object&#10;&#10;Description generated with very high confidence">
              <a:extLst>
                <a:ext uri="{FF2B5EF4-FFF2-40B4-BE49-F238E27FC236}">
                  <a16:creationId xmlns="" xmlns:a16="http://schemas.microsoft.com/office/drawing/2014/main" id="{7A968E0A-0E81-4B5C-973D-1D67EC60D48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1733926" y="3156019"/>
              <a:ext cx="340482" cy="572400"/>
            </a:xfrm>
            <a:prstGeom prst="rect">
              <a:avLst/>
            </a:prstGeom>
          </p:spPr>
        </p:pic>
        <p:sp>
          <p:nvSpPr>
            <p:cNvPr id="669" name="Freeform 7710">
              <a:extLst>
                <a:ext uri="{FF2B5EF4-FFF2-40B4-BE49-F238E27FC236}">
                  <a16:creationId xmlns="" xmlns:a16="http://schemas.microsoft.com/office/drawing/2014/main" id="{6769E547-7921-4069-AAAF-10F08C5CC89F}"/>
                </a:ext>
              </a:extLst>
            </p:cNvPr>
            <p:cNvSpPr>
              <a:spLocks noEditPoints="1"/>
            </p:cNvSpPr>
            <p:nvPr/>
          </p:nvSpPr>
          <p:spPr bwMode="auto">
            <a:xfrm>
              <a:off x="1836619" y="3254122"/>
              <a:ext cx="140053" cy="139135"/>
            </a:xfrm>
            <a:custGeom>
              <a:avLst/>
              <a:gdLst>
                <a:gd name="T0" fmla="*/ 122 w 305"/>
                <a:gd name="T1" fmla="*/ 106 h 303"/>
                <a:gd name="T2" fmla="*/ 117 w 305"/>
                <a:gd name="T3" fmla="*/ 116 h 303"/>
                <a:gd name="T4" fmla="*/ 108 w 305"/>
                <a:gd name="T5" fmla="*/ 120 h 303"/>
                <a:gd name="T6" fmla="*/ 26 w 305"/>
                <a:gd name="T7" fmla="*/ 183 h 303"/>
                <a:gd name="T8" fmla="*/ 113 w 305"/>
                <a:gd name="T9" fmla="*/ 183 h 303"/>
                <a:gd name="T10" fmla="*/ 120 w 305"/>
                <a:gd name="T11" fmla="*/ 191 h 303"/>
                <a:gd name="T12" fmla="*/ 122 w 305"/>
                <a:gd name="T13" fmla="*/ 278 h 303"/>
                <a:gd name="T14" fmla="*/ 183 w 305"/>
                <a:gd name="T15" fmla="*/ 195 h 303"/>
                <a:gd name="T16" fmla="*/ 188 w 305"/>
                <a:gd name="T17" fmla="*/ 186 h 303"/>
                <a:gd name="T18" fmla="*/ 197 w 305"/>
                <a:gd name="T19" fmla="*/ 183 h 303"/>
                <a:gd name="T20" fmla="*/ 278 w 305"/>
                <a:gd name="T21" fmla="*/ 120 h 303"/>
                <a:gd name="T22" fmla="*/ 191 w 305"/>
                <a:gd name="T23" fmla="*/ 119 h 303"/>
                <a:gd name="T24" fmla="*/ 185 w 305"/>
                <a:gd name="T25" fmla="*/ 112 h 303"/>
                <a:gd name="T26" fmla="*/ 183 w 305"/>
                <a:gd name="T27" fmla="*/ 25 h 303"/>
                <a:gd name="T28" fmla="*/ 108 w 305"/>
                <a:gd name="T29" fmla="*/ 0 h 303"/>
                <a:gd name="T30" fmla="*/ 201 w 305"/>
                <a:gd name="T31" fmla="*/ 0 h 303"/>
                <a:gd name="T32" fmla="*/ 209 w 305"/>
                <a:gd name="T33" fmla="*/ 7 h 303"/>
                <a:gd name="T34" fmla="*/ 209 w 305"/>
                <a:gd name="T35" fmla="*/ 94 h 303"/>
                <a:gd name="T36" fmla="*/ 296 w 305"/>
                <a:gd name="T37" fmla="*/ 94 h 303"/>
                <a:gd name="T38" fmla="*/ 303 w 305"/>
                <a:gd name="T39" fmla="*/ 102 h 303"/>
                <a:gd name="T40" fmla="*/ 305 w 305"/>
                <a:gd name="T41" fmla="*/ 195 h 303"/>
                <a:gd name="T42" fmla="*/ 300 w 305"/>
                <a:gd name="T43" fmla="*/ 204 h 303"/>
                <a:gd name="T44" fmla="*/ 291 w 305"/>
                <a:gd name="T45" fmla="*/ 209 h 303"/>
                <a:gd name="T46" fmla="*/ 209 w 305"/>
                <a:gd name="T47" fmla="*/ 290 h 303"/>
                <a:gd name="T48" fmla="*/ 206 w 305"/>
                <a:gd name="T49" fmla="*/ 299 h 303"/>
                <a:gd name="T50" fmla="*/ 197 w 305"/>
                <a:gd name="T51" fmla="*/ 303 h 303"/>
                <a:gd name="T52" fmla="*/ 104 w 305"/>
                <a:gd name="T53" fmla="*/ 302 h 303"/>
                <a:gd name="T54" fmla="*/ 96 w 305"/>
                <a:gd name="T55" fmla="*/ 296 h 303"/>
                <a:gd name="T56" fmla="*/ 95 w 305"/>
                <a:gd name="T57" fmla="*/ 209 h 303"/>
                <a:gd name="T58" fmla="*/ 8 w 305"/>
                <a:gd name="T59" fmla="*/ 207 h 303"/>
                <a:gd name="T60" fmla="*/ 2 w 305"/>
                <a:gd name="T61" fmla="*/ 200 h 303"/>
                <a:gd name="T62" fmla="*/ 0 w 305"/>
                <a:gd name="T63" fmla="*/ 106 h 303"/>
                <a:gd name="T64" fmla="*/ 5 w 305"/>
                <a:gd name="T65" fmla="*/ 97 h 303"/>
                <a:gd name="T66" fmla="*/ 14 w 305"/>
                <a:gd name="T67" fmla="*/ 94 h 303"/>
                <a:gd name="T68" fmla="*/ 95 w 305"/>
                <a:gd name="T69" fmla="*/ 12 h 303"/>
                <a:gd name="T70" fmla="*/ 99 w 305"/>
                <a:gd name="T71" fmla="*/ 3 h 303"/>
                <a:gd name="T72" fmla="*/ 108 w 305"/>
                <a:gd name="T7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5" h="303">
                  <a:moveTo>
                    <a:pt x="122" y="25"/>
                  </a:moveTo>
                  <a:lnTo>
                    <a:pt x="122" y="106"/>
                  </a:lnTo>
                  <a:lnTo>
                    <a:pt x="120" y="112"/>
                  </a:lnTo>
                  <a:lnTo>
                    <a:pt x="117" y="116"/>
                  </a:lnTo>
                  <a:lnTo>
                    <a:pt x="113" y="119"/>
                  </a:lnTo>
                  <a:lnTo>
                    <a:pt x="108" y="120"/>
                  </a:lnTo>
                  <a:lnTo>
                    <a:pt x="26" y="120"/>
                  </a:lnTo>
                  <a:lnTo>
                    <a:pt x="26" y="183"/>
                  </a:lnTo>
                  <a:lnTo>
                    <a:pt x="108" y="183"/>
                  </a:lnTo>
                  <a:lnTo>
                    <a:pt x="113" y="183"/>
                  </a:lnTo>
                  <a:lnTo>
                    <a:pt x="117" y="186"/>
                  </a:lnTo>
                  <a:lnTo>
                    <a:pt x="120" y="191"/>
                  </a:lnTo>
                  <a:lnTo>
                    <a:pt x="122" y="195"/>
                  </a:lnTo>
                  <a:lnTo>
                    <a:pt x="122" y="278"/>
                  </a:lnTo>
                  <a:lnTo>
                    <a:pt x="183" y="278"/>
                  </a:lnTo>
                  <a:lnTo>
                    <a:pt x="183" y="195"/>
                  </a:lnTo>
                  <a:lnTo>
                    <a:pt x="185" y="191"/>
                  </a:lnTo>
                  <a:lnTo>
                    <a:pt x="188" y="186"/>
                  </a:lnTo>
                  <a:lnTo>
                    <a:pt x="191" y="183"/>
                  </a:lnTo>
                  <a:lnTo>
                    <a:pt x="197" y="183"/>
                  </a:lnTo>
                  <a:lnTo>
                    <a:pt x="278" y="183"/>
                  </a:lnTo>
                  <a:lnTo>
                    <a:pt x="278" y="120"/>
                  </a:lnTo>
                  <a:lnTo>
                    <a:pt x="197" y="120"/>
                  </a:lnTo>
                  <a:lnTo>
                    <a:pt x="191" y="119"/>
                  </a:lnTo>
                  <a:lnTo>
                    <a:pt x="188" y="116"/>
                  </a:lnTo>
                  <a:lnTo>
                    <a:pt x="185" y="112"/>
                  </a:lnTo>
                  <a:lnTo>
                    <a:pt x="183" y="106"/>
                  </a:lnTo>
                  <a:lnTo>
                    <a:pt x="183" y="25"/>
                  </a:lnTo>
                  <a:lnTo>
                    <a:pt x="122" y="25"/>
                  </a:lnTo>
                  <a:close/>
                  <a:moveTo>
                    <a:pt x="108" y="0"/>
                  </a:moveTo>
                  <a:lnTo>
                    <a:pt x="197" y="0"/>
                  </a:lnTo>
                  <a:lnTo>
                    <a:pt x="201" y="0"/>
                  </a:lnTo>
                  <a:lnTo>
                    <a:pt x="206" y="3"/>
                  </a:lnTo>
                  <a:lnTo>
                    <a:pt x="209" y="7"/>
                  </a:lnTo>
                  <a:lnTo>
                    <a:pt x="209" y="12"/>
                  </a:lnTo>
                  <a:lnTo>
                    <a:pt x="209" y="94"/>
                  </a:lnTo>
                  <a:lnTo>
                    <a:pt x="291" y="94"/>
                  </a:lnTo>
                  <a:lnTo>
                    <a:pt x="296" y="94"/>
                  </a:lnTo>
                  <a:lnTo>
                    <a:pt x="300" y="97"/>
                  </a:lnTo>
                  <a:lnTo>
                    <a:pt x="303" y="102"/>
                  </a:lnTo>
                  <a:lnTo>
                    <a:pt x="305" y="106"/>
                  </a:lnTo>
                  <a:lnTo>
                    <a:pt x="305" y="195"/>
                  </a:lnTo>
                  <a:lnTo>
                    <a:pt x="303" y="200"/>
                  </a:lnTo>
                  <a:lnTo>
                    <a:pt x="300" y="204"/>
                  </a:lnTo>
                  <a:lnTo>
                    <a:pt x="296" y="207"/>
                  </a:lnTo>
                  <a:lnTo>
                    <a:pt x="291" y="209"/>
                  </a:lnTo>
                  <a:lnTo>
                    <a:pt x="209" y="209"/>
                  </a:lnTo>
                  <a:lnTo>
                    <a:pt x="209" y="290"/>
                  </a:lnTo>
                  <a:lnTo>
                    <a:pt x="209" y="296"/>
                  </a:lnTo>
                  <a:lnTo>
                    <a:pt x="206" y="299"/>
                  </a:lnTo>
                  <a:lnTo>
                    <a:pt x="201" y="302"/>
                  </a:lnTo>
                  <a:lnTo>
                    <a:pt x="197" y="303"/>
                  </a:lnTo>
                  <a:lnTo>
                    <a:pt x="108" y="303"/>
                  </a:lnTo>
                  <a:lnTo>
                    <a:pt x="104" y="302"/>
                  </a:lnTo>
                  <a:lnTo>
                    <a:pt x="99" y="299"/>
                  </a:lnTo>
                  <a:lnTo>
                    <a:pt x="96" y="296"/>
                  </a:lnTo>
                  <a:lnTo>
                    <a:pt x="95" y="290"/>
                  </a:lnTo>
                  <a:lnTo>
                    <a:pt x="95" y="209"/>
                  </a:lnTo>
                  <a:lnTo>
                    <a:pt x="14" y="209"/>
                  </a:lnTo>
                  <a:lnTo>
                    <a:pt x="8" y="207"/>
                  </a:lnTo>
                  <a:lnTo>
                    <a:pt x="5" y="204"/>
                  </a:lnTo>
                  <a:lnTo>
                    <a:pt x="2" y="200"/>
                  </a:lnTo>
                  <a:lnTo>
                    <a:pt x="0" y="195"/>
                  </a:lnTo>
                  <a:lnTo>
                    <a:pt x="0" y="106"/>
                  </a:lnTo>
                  <a:lnTo>
                    <a:pt x="2" y="102"/>
                  </a:lnTo>
                  <a:lnTo>
                    <a:pt x="5" y="97"/>
                  </a:lnTo>
                  <a:lnTo>
                    <a:pt x="8" y="94"/>
                  </a:lnTo>
                  <a:lnTo>
                    <a:pt x="14" y="94"/>
                  </a:lnTo>
                  <a:lnTo>
                    <a:pt x="95" y="94"/>
                  </a:lnTo>
                  <a:lnTo>
                    <a:pt x="95" y="12"/>
                  </a:lnTo>
                  <a:lnTo>
                    <a:pt x="96" y="7"/>
                  </a:lnTo>
                  <a:lnTo>
                    <a:pt x="99" y="3"/>
                  </a:lnTo>
                  <a:lnTo>
                    <a:pt x="104" y="0"/>
                  </a:lnTo>
                  <a:lnTo>
                    <a:pt x="108" y="0"/>
                  </a:lnTo>
                  <a:close/>
                </a:path>
              </a:pathLst>
            </a:custGeom>
            <a:solidFill>
              <a:srgbClr val="05589C"/>
            </a:solidFill>
            <a:ln w="0">
              <a:noFill/>
              <a:prstDash val="solid"/>
              <a:round/>
              <a:headEnd/>
              <a:tailEnd/>
            </a:ln>
          </p:spPr>
          <p:txBody>
            <a:bodyPr vert="horz" wrap="square" lIns="91440" tIns="45720" rIns="91440" bIns="45720" numCol="1" anchor="t" anchorCtr="0" compatLnSpc="1">
              <a:prstTxWarp prst="textNoShape">
                <a:avLst/>
              </a:prstTxWarp>
            </a:bodyPr>
            <a:lstStyle/>
            <a:p>
              <a:pPr algn="r"/>
              <a:endParaRPr lang="pt-BR" dirty="0">
                <a:solidFill>
                  <a:prstClr val="black"/>
                </a:solidFill>
              </a:endParaRPr>
            </a:p>
          </p:txBody>
        </p:sp>
      </p:grpSp>
      <p:grpSp>
        <p:nvGrpSpPr>
          <p:cNvPr id="673" name="Agrupar 672">
            <a:extLst>
              <a:ext uri="{FF2B5EF4-FFF2-40B4-BE49-F238E27FC236}">
                <a16:creationId xmlns="" xmlns:a16="http://schemas.microsoft.com/office/drawing/2014/main" id="{DAE4A6FA-BD43-4FFF-B515-8D5BCBFD7272}"/>
              </a:ext>
            </a:extLst>
          </p:cNvPr>
          <p:cNvGrpSpPr/>
          <p:nvPr/>
        </p:nvGrpSpPr>
        <p:grpSpPr>
          <a:xfrm>
            <a:off x="8279724" y="2748173"/>
            <a:ext cx="340482" cy="572400"/>
            <a:chOff x="1733926" y="3156019"/>
            <a:chExt cx="340482" cy="572400"/>
          </a:xfrm>
        </p:grpSpPr>
        <p:pic>
          <p:nvPicPr>
            <p:cNvPr id="674" name="Picture 422" descr="A picture containing thing, object&#10;&#10;Description generated with very high confidence">
              <a:extLst>
                <a:ext uri="{FF2B5EF4-FFF2-40B4-BE49-F238E27FC236}">
                  <a16:creationId xmlns="" xmlns:a16="http://schemas.microsoft.com/office/drawing/2014/main" id="{A11DD019-7441-48F1-8E7C-08DAE182D91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1733926" y="3156019"/>
              <a:ext cx="340482" cy="572400"/>
            </a:xfrm>
            <a:prstGeom prst="rect">
              <a:avLst/>
            </a:prstGeom>
          </p:spPr>
        </p:pic>
        <p:sp>
          <p:nvSpPr>
            <p:cNvPr id="675" name="Freeform 7710">
              <a:extLst>
                <a:ext uri="{FF2B5EF4-FFF2-40B4-BE49-F238E27FC236}">
                  <a16:creationId xmlns="" xmlns:a16="http://schemas.microsoft.com/office/drawing/2014/main" id="{CB938C6D-5879-4A86-B482-17812EA535DA}"/>
                </a:ext>
              </a:extLst>
            </p:cNvPr>
            <p:cNvSpPr>
              <a:spLocks noEditPoints="1"/>
            </p:cNvSpPr>
            <p:nvPr/>
          </p:nvSpPr>
          <p:spPr bwMode="auto">
            <a:xfrm>
              <a:off x="1836619" y="3254122"/>
              <a:ext cx="140053" cy="139135"/>
            </a:xfrm>
            <a:custGeom>
              <a:avLst/>
              <a:gdLst>
                <a:gd name="T0" fmla="*/ 122 w 305"/>
                <a:gd name="T1" fmla="*/ 106 h 303"/>
                <a:gd name="T2" fmla="*/ 117 w 305"/>
                <a:gd name="T3" fmla="*/ 116 h 303"/>
                <a:gd name="T4" fmla="*/ 108 w 305"/>
                <a:gd name="T5" fmla="*/ 120 h 303"/>
                <a:gd name="T6" fmla="*/ 26 w 305"/>
                <a:gd name="T7" fmla="*/ 183 h 303"/>
                <a:gd name="T8" fmla="*/ 113 w 305"/>
                <a:gd name="T9" fmla="*/ 183 h 303"/>
                <a:gd name="T10" fmla="*/ 120 w 305"/>
                <a:gd name="T11" fmla="*/ 191 h 303"/>
                <a:gd name="T12" fmla="*/ 122 w 305"/>
                <a:gd name="T13" fmla="*/ 278 h 303"/>
                <a:gd name="T14" fmla="*/ 183 w 305"/>
                <a:gd name="T15" fmla="*/ 195 h 303"/>
                <a:gd name="T16" fmla="*/ 188 w 305"/>
                <a:gd name="T17" fmla="*/ 186 h 303"/>
                <a:gd name="T18" fmla="*/ 197 w 305"/>
                <a:gd name="T19" fmla="*/ 183 h 303"/>
                <a:gd name="T20" fmla="*/ 278 w 305"/>
                <a:gd name="T21" fmla="*/ 120 h 303"/>
                <a:gd name="T22" fmla="*/ 191 w 305"/>
                <a:gd name="T23" fmla="*/ 119 h 303"/>
                <a:gd name="T24" fmla="*/ 185 w 305"/>
                <a:gd name="T25" fmla="*/ 112 h 303"/>
                <a:gd name="T26" fmla="*/ 183 w 305"/>
                <a:gd name="T27" fmla="*/ 25 h 303"/>
                <a:gd name="T28" fmla="*/ 108 w 305"/>
                <a:gd name="T29" fmla="*/ 0 h 303"/>
                <a:gd name="T30" fmla="*/ 201 w 305"/>
                <a:gd name="T31" fmla="*/ 0 h 303"/>
                <a:gd name="T32" fmla="*/ 209 w 305"/>
                <a:gd name="T33" fmla="*/ 7 h 303"/>
                <a:gd name="T34" fmla="*/ 209 w 305"/>
                <a:gd name="T35" fmla="*/ 94 h 303"/>
                <a:gd name="T36" fmla="*/ 296 w 305"/>
                <a:gd name="T37" fmla="*/ 94 h 303"/>
                <a:gd name="T38" fmla="*/ 303 w 305"/>
                <a:gd name="T39" fmla="*/ 102 h 303"/>
                <a:gd name="T40" fmla="*/ 305 w 305"/>
                <a:gd name="T41" fmla="*/ 195 h 303"/>
                <a:gd name="T42" fmla="*/ 300 w 305"/>
                <a:gd name="T43" fmla="*/ 204 h 303"/>
                <a:gd name="T44" fmla="*/ 291 w 305"/>
                <a:gd name="T45" fmla="*/ 209 h 303"/>
                <a:gd name="T46" fmla="*/ 209 w 305"/>
                <a:gd name="T47" fmla="*/ 290 h 303"/>
                <a:gd name="T48" fmla="*/ 206 w 305"/>
                <a:gd name="T49" fmla="*/ 299 h 303"/>
                <a:gd name="T50" fmla="*/ 197 w 305"/>
                <a:gd name="T51" fmla="*/ 303 h 303"/>
                <a:gd name="T52" fmla="*/ 104 w 305"/>
                <a:gd name="T53" fmla="*/ 302 h 303"/>
                <a:gd name="T54" fmla="*/ 96 w 305"/>
                <a:gd name="T55" fmla="*/ 296 h 303"/>
                <a:gd name="T56" fmla="*/ 95 w 305"/>
                <a:gd name="T57" fmla="*/ 209 h 303"/>
                <a:gd name="T58" fmla="*/ 8 w 305"/>
                <a:gd name="T59" fmla="*/ 207 h 303"/>
                <a:gd name="T60" fmla="*/ 2 w 305"/>
                <a:gd name="T61" fmla="*/ 200 h 303"/>
                <a:gd name="T62" fmla="*/ 0 w 305"/>
                <a:gd name="T63" fmla="*/ 106 h 303"/>
                <a:gd name="T64" fmla="*/ 5 w 305"/>
                <a:gd name="T65" fmla="*/ 97 h 303"/>
                <a:gd name="T66" fmla="*/ 14 w 305"/>
                <a:gd name="T67" fmla="*/ 94 h 303"/>
                <a:gd name="T68" fmla="*/ 95 w 305"/>
                <a:gd name="T69" fmla="*/ 12 h 303"/>
                <a:gd name="T70" fmla="*/ 99 w 305"/>
                <a:gd name="T71" fmla="*/ 3 h 303"/>
                <a:gd name="T72" fmla="*/ 108 w 305"/>
                <a:gd name="T7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5" h="303">
                  <a:moveTo>
                    <a:pt x="122" y="25"/>
                  </a:moveTo>
                  <a:lnTo>
                    <a:pt x="122" y="106"/>
                  </a:lnTo>
                  <a:lnTo>
                    <a:pt x="120" y="112"/>
                  </a:lnTo>
                  <a:lnTo>
                    <a:pt x="117" y="116"/>
                  </a:lnTo>
                  <a:lnTo>
                    <a:pt x="113" y="119"/>
                  </a:lnTo>
                  <a:lnTo>
                    <a:pt x="108" y="120"/>
                  </a:lnTo>
                  <a:lnTo>
                    <a:pt x="26" y="120"/>
                  </a:lnTo>
                  <a:lnTo>
                    <a:pt x="26" y="183"/>
                  </a:lnTo>
                  <a:lnTo>
                    <a:pt x="108" y="183"/>
                  </a:lnTo>
                  <a:lnTo>
                    <a:pt x="113" y="183"/>
                  </a:lnTo>
                  <a:lnTo>
                    <a:pt x="117" y="186"/>
                  </a:lnTo>
                  <a:lnTo>
                    <a:pt x="120" y="191"/>
                  </a:lnTo>
                  <a:lnTo>
                    <a:pt x="122" y="195"/>
                  </a:lnTo>
                  <a:lnTo>
                    <a:pt x="122" y="278"/>
                  </a:lnTo>
                  <a:lnTo>
                    <a:pt x="183" y="278"/>
                  </a:lnTo>
                  <a:lnTo>
                    <a:pt x="183" y="195"/>
                  </a:lnTo>
                  <a:lnTo>
                    <a:pt x="185" y="191"/>
                  </a:lnTo>
                  <a:lnTo>
                    <a:pt x="188" y="186"/>
                  </a:lnTo>
                  <a:lnTo>
                    <a:pt x="191" y="183"/>
                  </a:lnTo>
                  <a:lnTo>
                    <a:pt x="197" y="183"/>
                  </a:lnTo>
                  <a:lnTo>
                    <a:pt x="278" y="183"/>
                  </a:lnTo>
                  <a:lnTo>
                    <a:pt x="278" y="120"/>
                  </a:lnTo>
                  <a:lnTo>
                    <a:pt x="197" y="120"/>
                  </a:lnTo>
                  <a:lnTo>
                    <a:pt x="191" y="119"/>
                  </a:lnTo>
                  <a:lnTo>
                    <a:pt x="188" y="116"/>
                  </a:lnTo>
                  <a:lnTo>
                    <a:pt x="185" y="112"/>
                  </a:lnTo>
                  <a:lnTo>
                    <a:pt x="183" y="106"/>
                  </a:lnTo>
                  <a:lnTo>
                    <a:pt x="183" y="25"/>
                  </a:lnTo>
                  <a:lnTo>
                    <a:pt x="122" y="25"/>
                  </a:lnTo>
                  <a:close/>
                  <a:moveTo>
                    <a:pt x="108" y="0"/>
                  </a:moveTo>
                  <a:lnTo>
                    <a:pt x="197" y="0"/>
                  </a:lnTo>
                  <a:lnTo>
                    <a:pt x="201" y="0"/>
                  </a:lnTo>
                  <a:lnTo>
                    <a:pt x="206" y="3"/>
                  </a:lnTo>
                  <a:lnTo>
                    <a:pt x="209" y="7"/>
                  </a:lnTo>
                  <a:lnTo>
                    <a:pt x="209" y="12"/>
                  </a:lnTo>
                  <a:lnTo>
                    <a:pt x="209" y="94"/>
                  </a:lnTo>
                  <a:lnTo>
                    <a:pt x="291" y="94"/>
                  </a:lnTo>
                  <a:lnTo>
                    <a:pt x="296" y="94"/>
                  </a:lnTo>
                  <a:lnTo>
                    <a:pt x="300" y="97"/>
                  </a:lnTo>
                  <a:lnTo>
                    <a:pt x="303" y="102"/>
                  </a:lnTo>
                  <a:lnTo>
                    <a:pt x="305" y="106"/>
                  </a:lnTo>
                  <a:lnTo>
                    <a:pt x="305" y="195"/>
                  </a:lnTo>
                  <a:lnTo>
                    <a:pt x="303" y="200"/>
                  </a:lnTo>
                  <a:lnTo>
                    <a:pt x="300" y="204"/>
                  </a:lnTo>
                  <a:lnTo>
                    <a:pt x="296" y="207"/>
                  </a:lnTo>
                  <a:lnTo>
                    <a:pt x="291" y="209"/>
                  </a:lnTo>
                  <a:lnTo>
                    <a:pt x="209" y="209"/>
                  </a:lnTo>
                  <a:lnTo>
                    <a:pt x="209" y="290"/>
                  </a:lnTo>
                  <a:lnTo>
                    <a:pt x="209" y="296"/>
                  </a:lnTo>
                  <a:lnTo>
                    <a:pt x="206" y="299"/>
                  </a:lnTo>
                  <a:lnTo>
                    <a:pt x="201" y="302"/>
                  </a:lnTo>
                  <a:lnTo>
                    <a:pt x="197" y="303"/>
                  </a:lnTo>
                  <a:lnTo>
                    <a:pt x="108" y="303"/>
                  </a:lnTo>
                  <a:lnTo>
                    <a:pt x="104" y="302"/>
                  </a:lnTo>
                  <a:lnTo>
                    <a:pt x="99" y="299"/>
                  </a:lnTo>
                  <a:lnTo>
                    <a:pt x="96" y="296"/>
                  </a:lnTo>
                  <a:lnTo>
                    <a:pt x="95" y="290"/>
                  </a:lnTo>
                  <a:lnTo>
                    <a:pt x="95" y="209"/>
                  </a:lnTo>
                  <a:lnTo>
                    <a:pt x="14" y="209"/>
                  </a:lnTo>
                  <a:lnTo>
                    <a:pt x="8" y="207"/>
                  </a:lnTo>
                  <a:lnTo>
                    <a:pt x="5" y="204"/>
                  </a:lnTo>
                  <a:lnTo>
                    <a:pt x="2" y="200"/>
                  </a:lnTo>
                  <a:lnTo>
                    <a:pt x="0" y="195"/>
                  </a:lnTo>
                  <a:lnTo>
                    <a:pt x="0" y="106"/>
                  </a:lnTo>
                  <a:lnTo>
                    <a:pt x="2" y="102"/>
                  </a:lnTo>
                  <a:lnTo>
                    <a:pt x="5" y="97"/>
                  </a:lnTo>
                  <a:lnTo>
                    <a:pt x="8" y="94"/>
                  </a:lnTo>
                  <a:lnTo>
                    <a:pt x="14" y="94"/>
                  </a:lnTo>
                  <a:lnTo>
                    <a:pt x="95" y="94"/>
                  </a:lnTo>
                  <a:lnTo>
                    <a:pt x="95" y="12"/>
                  </a:lnTo>
                  <a:lnTo>
                    <a:pt x="96" y="7"/>
                  </a:lnTo>
                  <a:lnTo>
                    <a:pt x="99" y="3"/>
                  </a:lnTo>
                  <a:lnTo>
                    <a:pt x="104" y="0"/>
                  </a:lnTo>
                  <a:lnTo>
                    <a:pt x="108" y="0"/>
                  </a:lnTo>
                  <a:close/>
                </a:path>
              </a:pathLst>
            </a:custGeom>
            <a:solidFill>
              <a:srgbClr val="05589C"/>
            </a:solidFill>
            <a:ln w="0">
              <a:noFill/>
              <a:prstDash val="solid"/>
              <a:round/>
              <a:headEnd/>
              <a:tailEnd/>
            </a:ln>
          </p:spPr>
          <p:txBody>
            <a:bodyPr vert="horz" wrap="square" lIns="91440" tIns="45720" rIns="91440" bIns="45720" numCol="1" anchor="t" anchorCtr="0" compatLnSpc="1">
              <a:prstTxWarp prst="textNoShape">
                <a:avLst/>
              </a:prstTxWarp>
            </a:bodyPr>
            <a:lstStyle/>
            <a:p>
              <a:pPr algn="r"/>
              <a:endParaRPr lang="pt-BR" dirty="0">
                <a:solidFill>
                  <a:prstClr val="black"/>
                </a:solidFill>
              </a:endParaRPr>
            </a:p>
          </p:txBody>
        </p:sp>
      </p:grpSp>
      <p:grpSp>
        <p:nvGrpSpPr>
          <p:cNvPr id="676" name="Agrupar 675">
            <a:extLst>
              <a:ext uri="{FF2B5EF4-FFF2-40B4-BE49-F238E27FC236}">
                <a16:creationId xmlns="" xmlns:a16="http://schemas.microsoft.com/office/drawing/2014/main" id="{52C56488-21AB-45DA-9E85-6CAA3F82B774}"/>
              </a:ext>
            </a:extLst>
          </p:cNvPr>
          <p:cNvGrpSpPr/>
          <p:nvPr/>
        </p:nvGrpSpPr>
        <p:grpSpPr>
          <a:xfrm>
            <a:off x="8147487" y="2848803"/>
            <a:ext cx="340482" cy="572400"/>
            <a:chOff x="1733926" y="3156019"/>
            <a:chExt cx="340482" cy="572400"/>
          </a:xfrm>
        </p:grpSpPr>
        <p:pic>
          <p:nvPicPr>
            <p:cNvPr id="677" name="Picture 422" descr="A picture containing thing, object&#10;&#10;Description generated with very high confidence">
              <a:extLst>
                <a:ext uri="{FF2B5EF4-FFF2-40B4-BE49-F238E27FC236}">
                  <a16:creationId xmlns="" xmlns:a16="http://schemas.microsoft.com/office/drawing/2014/main" id="{A724F6D6-8733-4B08-A659-3A572F88083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750" t="49158" r="66065" b="11246"/>
            <a:stretch/>
          </p:blipFill>
          <p:spPr>
            <a:xfrm>
              <a:off x="1733926" y="3156019"/>
              <a:ext cx="340482" cy="572400"/>
            </a:xfrm>
            <a:prstGeom prst="rect">
              <a:avLst/>
            </a:prstGeom>
          </p:spPr>
        </p:pic>
        <p:sp>
          <p:nvSpPr>
            <p:cNvPr id="678" name="Freeform 7710">
              <a:extLst>
                <a:ext uri="{FF2B5EF4-FFF2-40B4-BE49-F238E27FC236}">
                  <a16:creationId xmlns="" xmlns:a16="http://schemas.microsoft.com/office/drawing/2014/main" id="{2DB66D45-ED49-4E07-9260-BCB33CA0F0B0}"/>
                </a:ext>
              </a:extLst>
            </p:cNvPr>
            <p:cNvSpPr>
              <a:spLocks noEditPoints="1"/>
            </p:cNvSpPr>
            <p:nvPr/>
          </p:nvSpPr>
          <p:spPr bwMode="auto">
            <a:xfrm>
              <a:off x="1836619" y="3254122"/>
              <a:ext cx="140053" cy="139135"/>
            </a:xfrm>
            <a:custGeom>
              <a:avLst/>
              <a:gdLst>
                <a:gd name="T0" fmla="*/ 122 w 305"/>
                <a:gd name="T1" fmla="*/ 106 h 303"/>
                <a:gd name="T2" fmla="*/ 117 w 305"/>
                <a:gd name="T3" fmla="*/ 116 h 303"/>
                <a:gd name="T4" fmla="*/ 108 w 305"/>
                <a:gd name="T5" fmla="*/ 120 h 303"/>
                <a:gd name="T6" fmla="*/ 26 w 305"/>
                <a:gd name="T7" fmla="*/ 183 h 303"/>
                <a:gd name="T8" fmla="*/ 113 w 305"/>
                <a:gd name="T9" fmla="*/ 183 h 303"/>
                <a:gd name="T10" fmla="*/ 120 w 305"/>
                <a:gd name="T11" fmla="*/ 191 h 303"/>
                <a:gd name="T12" fmla="*/ 122 w 305"/>
                <a:gd name="T13" fmla="*/ 278 h 303"/>
                <a:gd name="T14" fmla="*/ 183 w 305"/>
                <a:gd name="T15" fmla="*/ 195 h 303"/>
                <a:gd name="T16" fmla="*/ 188 w 305"/>
                <a:gd name="T17" fmla="*/ 186 h 303"/>
                <a:gd name="T18" fmla="*/ 197 w 305"/>
                <a:gd name="T19" fmla="*/ 183 h 303"/>
                <a:gd name="T20" fmla="*/ 278 w 305"/>
                <a:gd name="T21" fmla="*/ 120 h 303"/>
                <a:gd name="T22" fmla="*/ 191 w 305"/>
                <a:gd name="T23" fmla="*/ 119 h 303"/>
                <a:gd name="T24" fmla="*/ 185 w 305"/>
                <a:gd name="T25" fmla="*/ 112 h 303"/>
                <a:gd name="T26" fmla="*/ 183 w 305"/>
                <a:gd name="T27" fmla="*/ 25 h 303"/>
                <a:gd name="T28" fmla="*/ 108 w 305"/>
                <a:gd name="T29" fmla="*/ 0 h 303"/>
                <a:gd name="T30" fmla="*/ 201 w 305"/>
                <a:gd name="T31" fmla="*/ 0 h 303"/>
                <a:gd name="T32" fmla="*/ 209 w 305"/>
                <a:gd name="T33" fmla="*/ 7 h 303"/>
                <a:gd name="T34" fmla="*/ 209 w 305"/>
                <a:gd name="T35" fmla="*/ 94 h 303"/>
                <a:gd name="T36" fmla="*/ 296 w 305"/>
                <a:gd name="T37" fmla="*/ 94 h 303"/>
                <a:gd name="T38" fmla="*/ 303 w 305"/>
                <a:gd name="T39" fmla="*/ 102 h 303"/>
                <a:gd name="T40" fmla="*/ 305 w 305"/>
                <a:gd name="T41" fmla="*/ 195 h 303"/>
                <a:gd name="T42" fmla="*/ 300 w 305"/>
                <a:gd name="T43" fmla="*/ 204 h 303"/>
                <a:gd name="T44" fmla="*/ 291 w 305"/>
                <a:gd name="T45" fmla="*/ 209 h 303"/>
                <a:gd name="T46" fmla="*/ 209 w 305"/>
                <a:gd name="T47" fmla="*/ 290 h 303"/>
                <a:gd name="T48" fmla="*/ 206 w 305"/>
                <a:gd name="T49" fmla="*/ 299 h 303"/>
                <a:gd name="T50" fmla="*/ 197 w 305"/>
                <a:gd name="T51" fmla="*/ 303 h 303"/>
                <a:gd name="T52" fmla="*/ 104 w 305"/>
                <a:gd name="T53" fmla="*/ 302 h 303"/>
                <a:gd name="T54" fmla="*/ 96 w 305"/>
                <a:gd name="T55" fmla="*/ 296 h 303"/>
                <a:gd name="T56" fmla="*/ 95 w 305"/>
                <a:gd name="T57" fmla="*/ 209 h 303"/>
                <a:gd name="T58" fmla="*/ 8 w 305"/>
                <a:gd name="T59" fmla="*/ 207 h 303"/>
                <a:gd name="T60" fmla="*/ 2 w 305"/>
                <a:gd name="T61" fmla="*/ 200 h 303"/>
                <a:gd name="T62" fmla="*/ 0 w 305"/>
                <a:gd name="T63" fmla="*/ 106 h 303"/>
                <a:gd name="T64" fmla="*/ 5 w 305"/>
                <a:gd name="T65" fmla="*/ 97 h 303"/>
                <a:gd name="T66" fmla="*/ 14 w 305"/>
                <a:gd name="T67" fmla="*/ 94 h 303"/>
                <a:gd name="T68" fmla="*/ 95 w 305"/>
                <a:gd name="T69" fmla="*/ 12 h 303"/>
                <a:gd name="T70" fmla="*/ 99 w 305"/>
                <a:gd name="T71" fmla="*/ 3 h 303"/>
                <a:gd name="T72" fmla="*/ 108 w 305"/>
                <a:gd name="T73"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5" h="303">
                  <a:moveTo>
                    <a:pt x="122" y="25"/>
                  </a:moveTo>
                  <a:lnTo>
                    <a:pt x="122" y="106"/>
                  </a:lnTo>
                  <a:lnTo>
                    <a:pt x="120" y="112"/>
                  </a:lnTo>
                  <a:lnTo>
                    <a:pt x="117" y="116"/>
                  </a:lnTo>
                  <a:lnTo>
                    <a:pt x="113" y="119"/>
                  </a:lnTo>
                  <a:lnTo>
                    <a:pt x="108" y="120"/>
                  </a:lnTo>
                  <a:lnTo>
                    <a:pt x="26" y="120"/>
                  </a:lnTo>
                  <a:lnTo>
                    <a:pt x="26" y="183"/>
                  </a:lnTo>
                  <a:lnTo>
                    <a:pt x="108" y="183"/>
                  </a:lnTo>
                  <a:lnTo>
                    <a:pt x="113" y="183"/>
                  </a:lnTo>
                  <a:lnTo>
                    <a:pt x="117" y="186"/>
                  </a:lnTo>
                  <a:lnTo>
                    <a:pt x="120" y="191"/>
                  </a:lnTo>
                  <a:lnTo>
                    <a:pt x="122" y="195"/>
                  </a:lnTo>
                  <a:lnTo>
                    <a:pt x="122" y="278"/>
                  </a:lnTo>
                  <a:lnTo>
                    <a:pt x="183" y="278"/>
                  </a:lnTo>
                  <a:lnTo>
                    <a:pt x="183" y="195"/>
                  </a:lnTo>
                  <a:lnTo>
                    <a:pt x="185" y="191"/>
                  </a:lnTo>
                  <a:lnTo>
                    <a:pt x="188" y="186"/>
                  </a:lnTo>
                  <a:lnTo>
                    <a:pt x="191" y="183"/>
                  </a:lnTo>
                  <a:lnTo>
                    <a:pt x="197" y="183"/>
                  </a:lnTo>
                  <a:lnTo>
                    <a:pt x="278" y="183"/>
                  </a:lnTo>
                  <a:lnTo>
                    <a:pt x="278" y="120"/>
                  </a:lnTo>
                  <a:lnTo>
                    <a:pt x="197" y="120"/>
                  </a:lnTo>
                  <a:lnTo>
                    <a:pt x="191" y="119"/>
                  </a:lnTo>
                  <a:lnTo>
                    <a:pt x="188" y="116"/>
                  </a:lnTo>
                  <a:lnTo>
                    <a:pt x="185" y="112"/>
                  </a:lnTo>
                  <a:lnTo>
                    <a:pt x="183" y="106"/>
                  </a:lnTo>
                  <a:lnTo>
                    <a:pt x="183" y="25"/>
                  </a:lnTo>
                  <a:lnTo>
                    <a:pt x="122" y="25"/>
                  </a:lnTo>
                  <a:close/>
                  <a:moveTo>
                    <a:pt x="108" y="0"/>
                  </a:moveTo>
                  <a:lnTo>
                    <a:pt x="197" y="0"/>
                  </a:lnTo>
                  <a:lnTo>
                    <a:pt x="201" y="0"/>
                  </a:lnTo>
                  <a:lnTo>
                    <a:pt x="206" y="3"/>
                  </a:lnTo>
                  <a:lnTo>
                    <a:pt x="209" y="7"/>
                  </a:lnTo>
                  <a:lnTo>
                    <a:pt x="209" y="12"/>
                  </a:lnTo>
                  <a:lnTo>
                    <a:pt x="209" y="94"/>
                  </a:lnTo>
                  <a:lnTo>
                    <a:pt x="291" y="94"/>
                  </a:lnTo>
                  <a:lnTo>
                    <a:pt x="296" y="94"/>
                  </a:lnTo>
                  <a:lnTo>
                    <a:pt x="300" y="97"/>
                  </a:lnTo>
                  <a:lnTo>
                    <a:pt x="303" y="102"/>
                  </a:lnTo>
                  <a:lnTo>
                    <a:pt x="305" y="106"/>
                  </a:lnTo>
                  <a:lnTo>
                    <a:pt x="305" y="195"/>
                  </a:lnTo>
                  <a:lnTo>
                    <a:pt x="303" y="200"/>
                  </a:lnTo>
                  <a:lnTo>
                    <a:pt x="300" y="204"/>
                  </a:lnTo>
                  <a:lnTo>
                    <a:pt x="296" y="207"/>
                  </a:lnTo>
                  <a:lnTo>
                    <a:pt x="291" y="209"/>
                  </a:lnTo>
                  <a:lnTo>
                    <a:pt x="209" y="209"/>
                  </a:lnTo>
                  <a:lnTo>
                    <a:pt x="209" y="290"/>
                  </a:lnTo>
                  <a:lnTo>
                    <a:pt x="209" y="296"/>
                  </a:lnTo>
                  <a:lnTo>
                    <a:pt x="206" y="299"/>
                  </a:lnTo>
                  <a:lnTo>
                    <a:pt x="201" y="302"/>
                  </a:lnTo>
                  <a:lnTo>
                    <a:pt x="197" y="303"/>
                  </a:lnTo>
                  <a:lnTo>
                    <a:pt x="108" y="303"/>
                  </a:lnTo>
                  <a:lnTo>
                    <a:pt x="104" y="302"/>
                  </a:lnTo>
                  <a:lnTo>
                    <a:pt x="99" y="299"/>
                  </a:lnTo>
                  <a:lnTo>
                    <a:pt x="96" y="296"/>
                  </a:lnTo>
                  <a:lnTo>
                    <a:pt x="95" y="290"/>
                  </a:lnTo>
                  <a:lnTo>
                    <a:pt x="95" y="209"/>
                  </a:lnTo>
                  <a:lnTo>
                    <a:pt x="14" y="209"/>
                  </a:lnTo>
                  <a:lnTo>
                    <a:pt x="8" y="207"/>
                  </a:lnTo>
                  <a:lnTo>
                    <a:pt x="5" y="204"/>
                  </a:lnTo>
                  <a:lnTo>
                    <a:pt x="2" y="200"/>
                  </a:lnTo>
                  <a:lnTo>
                    <a:pt x="0" y="195"/>
                  </a:lnTo>
                  <a:lnTo>
                    <a:pt x="0" y="106"/>
                  </a:lnTo>
                  <a:lnTo>
                    <a:pt x="2" y="102"/>
                  </a:lnTo>
                  <a:lnTo>
                    <a:pt x="5" y="97"/>
                  </a:lnTo>
                  <a:lnTo>
                    <a:pt x="8" y="94"/>
                  </a:lnTo>
                  <a:lnTo>
                    <a:pt x="14" y="94"/>
                  </a:lnTo>
                  <a:lnTo>
                    <a:pt x="95" y="94"/>
                  </a:lnTo>
                  <a:lnTo>
                    <a:pt x="95" y="12"/>
                  </a:lnTo>
                  <a:lnTo>
                    <a:pt x="96" y="7"/>
                  </a:lnTo>
                  <a:lnTo>
                    <a:pt x="99" y="3"/>
                  </a:lnTo>
                  <a:lnTo>
                    <a:pt x="104" y="0"/>
                  </a:lnTo>
                  <a:lnTo>
                    <a:pt x="108" y="0"/>
                  </a:lnTo>
                  <a:close/>
                </a:path>
              </a:pathLst>
            </a:custGeom>
            <a:solidFill>
              <a:srgbClr val="05589C"/>
            </a:solidFill>
            <a:ln w="0">
              <a:noFill/>
              <a:prstDash val="solid"/>
              <a:round/>
              <a:headEnd/>
              <a:tailEnd/>
            </a:ln>
          </p:spPr>
          <p:txBody>
            <a:bodyPr vert="horz" wrap="square" lIns="91440" tIns="45720" rIns="91440" bIns="45720" numCol="1" anchor="t" anchorCtr="0" compatLnSpc="1">
              <a:prstTxWarp prst="textNoShape">
                <a:avLst/>
              </a:prstTxWarp>
            </a:bodyPr>
            <a:lstStyle/>
            <a:p>
              <a:pPr algn="r"/>
              <a:endParaRPr lang="pt-BR" dirty="0">
                <a:solidFill>
                  <a:prstClr val="black"/>
                </a:solidFill>
              </a:endParaRPr>
            </a:p>
          </p:txBody>
        </p:sp>
      </p:grpSp>
      <p:pic>
        <p:nvPicPr>
          <p:cNvPr id="298" name="Picture 297"/>
          <p:cNvPicPr>
            <a:picLocks noChangeAspect="1"/>
          </p:cNvPicPr>
          <p:nvPr/>
        </p:nvPicPr>
        <p:blipFill>
          <a:blip r:embed="rId10"/>
          <a:stretch>
            <a:fillRect/>
          </a:stretch>
        </p:blipFill>
        <p:spPr>
          <a:xfrm>
            <a:off x="76200" y="6629400"/>
            <a:ext cx="4619050" cy="195171"/>
          </a:xfrm>
          <a:prstGeom prst="rect">
            <a:avLst/>
          </a:prstGeom>
        </p:spPr>
      </p:pic>
    </p:spTree>
    <p:extLst>
      <p:ext uri="{BB962C8B-B14F-4D97-AF65-F5344CB8AC3E}">
        <p14:creationId xmlns:p14="http://schemas.microsoft.com/office/powerpoint/2010/main" val="396920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afterEffect">
                                  <p:stCondLst>
                                    <p:cond delay="0"/>
                                  </p:stCondLst>
                                  <p:childTnLst>
                                    <p:set>
                                      <p:cBhvr>
                                        <p:cTn id="6" dur="1" fill="hold">
                                          <p:stCondLst>
                                            <p:cond delay="0"/>
                                          </p:stCondLst>
                                        </p:cTn>
                                        <p:tgtEl>
                                          <p:spTgt spid="58"/>
                                        </p:tgtEl>
                                        <p:attrNameLst>
                                          <p:attrName>style.visibility</p:attrName>
                                        </p:attrNameLst>
                                      </p:cBhvr>
                                      <p:to>
                                        <p:strVal val="visible"/>
                                      </p:to>
                                    </p:set>
                                    <p:anim calcmode="lin" valueType="num">
                                      <p:cBhvr additive="base">
                                        <p:cTn id="7" dur="750" fill="hold"/>
                                        <p:tgtEl>
                                          <p:spTgt spid="58"/>
                                        </p:tgtEl>
                                        <p:attrNameLst>
                                          <p:attrName>ppt_x</p:attrName>
                                        </p:attrNameLst>
                                      </p:cBhvr>
                                      <p:tavLst>
                                        <p:tav tm="0">
                                          <p:val>
                                            <p:strVal val="#ppt_x"/>
                                          </p:val>
                                        </p:tav>
                                        <p:tav tm="100000">
                                          <p:val>
                                            <p:strVal val="#ppt_x"/>
                                          </p:val>
                                        </p:tav>
                                      </p:tavLst>
                                    </p:anim>
                                    <p:anim calcmode="lin" valueType="num">
                                      <p:cBhvr additive="base">
                                        <p:cTn id="8" dur="750" fill="hold"/>
                                        <p:tgtEl>
                                          <p:spTgt spid="58"/>
                                        </p:tgtEl>
                                        <p:attrNameLst>
                                          <p:attrName>ppt_y</p:attrName>
                                        </p:attrNameLst>
                                      </p:cBhvr>
                                      <p:tavLst>
                                        <p:tav tm="0">
                                          <p:val>
                                            <p:strVal val="0-#ppt_h/2"/>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57"/>
                                        </p:tgtEl>
                                        <p:attrNameLst>
                                          <p:attrName>style.visibility</p:attrName>
                                        </p:attrNameLst>
                                      </p:cBhvr>
                                      <p:to>
                                        <p:strVal val="visible"/>
                                      </p:to>
                                    </p:set>
                                    <p:animEffect transition="in" filter="fade">
                                      <p:cBhvr>
                                        <p:cTn id="11" dur="500"/>
                                        <p:tgtEl>
                                          <p:spTgt spid="57"/>
                                        </p:tgtEl>
                                      </p:cBhvr>
                                    </p:animEffect>
                                  </p:childTnLst>
                                </p:cTn>
                              </p:par>
                              <p:par>
                                <p:cTn id="12" presetID="10" presetClass="entr" presetSubtype="0" fill="hold" grpId="0" nodeType="withEffect">
                                  <p:stCondLst>
                                    <p:cond delay="1000"/>
                                  </p:stCondLst>
                                  <p:childTnLst>
                                    <p:set>
                                      <p:cBhvr>
                                        <p:cTn id="13" dur="1" fill="hold">
                                          <p:stCondLst>
                                            <p:cond delay="0"/>
                                          </p:stCondLst>
                                        </p:cTn>
                                        <p:tgtEl>
                                          <p:spTgt spid="115"/>
                                        </p:tgtEl>
                                        <p:attrNameLst>
                                          <p:attrName>style.visibility</p:attrName>
                                        </p:attrNameLst>
                                      </p:cBhvr>
                                      <p:to>
                                        <p:strVal val="visible"/>
                                      </p:to>
                                    </p:set>
                                    <p:animEffect transition="in" filter="fade">
                                      <p:cBhvr>
                                        <p:cTn id="14" dur="500"/>
                                        <p:tgtEl>
                                          <p:spTgt spid="115"/>
                                        </p:tgtEl>
                                      </p:cBhvr>
                                    </p:animEffect>
                                  </p:childTnLst>
                                </p:cTn>
                              </p:par>
                              <p:par>
                                <p:cTn id="15" presetID="12" presetClass="entr" presetSubtype="8" fill="hold" nodeType="withEffect">
                                  <p:stCondLst>
                                    <p:cond delay="1000"/>
                                  </p:stCondLst>
                                  <p:childTnLst>
                                    <p:set>
                                      <p:cBhvr>
                                        <p:cTn id="16" dur="1" fill="hold">
                                          <p:stCondLst>
                                            <p:cond delay="0"/>
                                          </p:stCondLst>
                                        </p:cTn>
                                        <p:tgtEl>
                                          <p:spTgt spid="466"/>
                                        </p:tgtEl>
                                        <p:attrNameLst>
                                          <p:attrName>style.visibility</p:attrName>
                                        </p:attrNameLst>
                                      </p:cBhvr>
                                      <p:to>
                                        <p:strVal val="visible"/>
                                      </p:to>
                                    </p:set>
                                    <p:anim calcmode="lin" valueType="num">
                                      <p:cBhvr additive="base">
                                        <p:cTn id="17" dur="500"/>
                                        <p:tgtEl>
                                          <p:spTgt spid="466"/>
                                        </p:tgtEl>
                                        <p:attrNameLst>
                                          <p:attrName>ppt_x</p:attrName>
                                        </p:attrNameLst>
                                      </p:cBhvr>
                                      <p:tavLst>
                                        <p:tav tm="0">
                                          <p:val>
                                            <p:strVal val="#ppt_x-#ppt_w*1.125000"/>
                                          </p:val>
                                        </p:tav>
                                        <p:tav tm="100000">
                                          <p:val>
                                            <p:strVal val="#ppt_x"/>
                                          </p:val>
                                        </p:tav>
                                      </p:tavLst>
                                    </p:anim>
                                    <p:animEffect transition="in" filter="wipe(right)">
                                      <p:cBhvr>
                                        <p:cTn id="18" dur="500"/>
                                        <p:tgtEl>
                                          <p:spTgt spid="466"/>
                                        </p:tgtEl>
                                      </p:cBhvr>
                                    </p:animEffect>
                                  </p:childTnLst>
                                </p:cTn>
                              </p:par>
                              <p:par>
                                <p:cTn id="19" presetID="47" presetClass="entr" presetSubtype="0" fill="hold" nodeType="withEffect">
                                  <p:stCondLst>
                                    <p:cond delay="500"/>
                                  </p:stCondLst>
                                  <p:childTnLst>
                                    <p:set>
                                      <p:cBhvr>
                                        <p:cTn id="20" dur="1" fill="hold">
                                          <p:stCondLst>
                                            <p:cond delay="0"/>
                                          </p:stCondLst>
                                        </p:cTn>
                                        <p:tgtEl>
                                          <p:spTgt spid="395"/>
                                        </p:tgtEl>
                                        <p:attrNameLst>
                                          <p:attrName>style.visibility</p:attrName>
                                        </p:attrNameLst>
                                      </p:cBhvr>
                                      <p:to>
                                        <p:strVal val="visible"/>
                                      </p:to>
                                    </p:set>
                                    <p:animEffect transition="in" filter="fade">
                                      <p:cBhvr>
                                        <p:cTn id="21" dur="500"/>
                                        <p:tgtEl>
                                          <p:spTgt spid="395"/>
                                        </p:tgtEl>
                                      </p:cBhvr>
                                    </p:animEffect>
                                    <p:anim calcmode="lin" valueType="num">
                                      <p:cBhvr>
                                        <p:cTn id="22" dur="500" fill="hold"/>
                                        <p:tgtEl>
                                          <p:spTgt spid="395"/>
                                        </p:tgtEl>
                                        <p:attrNameLst>
                                          <p:attrName>ppt_x</p:attrName>
                                        </p:attrNameLst>
                                      </p:cBhvr>
                                      <p:tavLst>
                                        <p:tav tm="0">
                                          <p:val>
                                            <p:strVal val="#ppt_x"/>
                                          </p:val>
                                        </p:tav>
                                        <p:tav tm="100000">
                                          <p:val>
                                            <p:strVal val="#ppt_x"/>
                                          </p:val>
                                        </p:tav>
                                      </p:tavLst>
                                    </p:anim>
                                    <p:anim calcmode="lin" valueType="num">
                                      <p:cBhvr>
                                        <p:cTn id="23" dur="500" fill="hold"/>
                                        <p:tgtEl>
                                          <p:spTgt spid="395"/>
                                        </p:tgtEl>
                                        <p:attrNameLst>
                                          <p:attrName>ppt_y</p:attrName>
                                        </p:attrNameLst>
                                      </p:cBhvr>
                                      <p:tavLst>
                                        <p:tav tm="0">
                                          <p:val>
                                            <p:strVal val="#ppt_y-.1"/>
                                          </p:val>
                                        </p:tav>
                                        <p:tav tm="100000">
                                          <p:val>
                                            <p:strVal val="#ppt_y"/>
                                          </p:val>
                                        </p:tav>
                                      </p:tavLst>
                                    </p:anim>
                                  </p:childTnLst>
                                </p:cTn>
                              </p:par>
                              <p:par>
                                <p:cTn id="24" presetID="47" presetClass="entr" presetSubtype="0" fill="hold" nodeType="withEffect">
                                  <p:stCondLst>
                                    <p:cond delay="500"/>
                                  </p:stCondLst>
                                  <p:childTnLst>
                                    <p:set>
                                      <p:cBhvr>
                                        <p:cTn id="25" dur="1" fill="hold">
                                          <p:stCondLst>
                                            <p:cond delay="0"/>
                                          </p:stCondLst>
                                        </p:cTn>
                                        <p:tgtEl>
                                          <p:spTgt spid="422"/>
                                        </p:tgtEl>
                                        <p:attrNameLst>
                                          <p:attrName>style.visibility</p:attrName>
                                        </p:attrNameLst>
                                      </p:cBhvr>
                                      <p:to>
                                        <p:strVal val="visible"/>
                                      </p:to>
                                    </p:set>
                                    <p:animEffect transition="in" filter="fade">
                                      <p:cBhvr>
                                        <p:cTn id="26" dur="500"/>
                                        <p:tgtEl>
                                          <p:spTgt spid="422"/>
                                        </p:tgtEl>
                                      </p:cBhvr>
                                    </p:animEffect>
                                    <p:anim calcmode="lin" valueType="num">
                                      <p:cBhvr>
                                        <p:cTn id="27" dur="500" fill="hold"/>
                                        <p:tgtEl>
                                          <p:spTgt spid="422"/>
                                        </p:tgtEl>
                                        <p:attrNameLst>
                                          <p:attrName>ppt_x</p:attrName>
                                        </p:attrNameLst>
                                      </p:cBhvr>
                                      <p:tavLst>
                                        <p:tav tm="0">
                                          <p:val>
                                            <p:strVal val="#ppt_x"/>
                                          </p:val>
                                        </p:tav>
                                        <p:tav tm="100000">
                                          <p:val>
                                            <p:strVal val="#ppt_x"/>
                                          </p:val>
                                        </p:tav>
                                      </p:tavLst>
                                    </p:anim>
                                    <p:anim calcmode="lin" valueType="num">
                                      <p:cBhvr>
                                        <p:cTn id="28" dur="500" fill="hold"/>
                                        <p:tgtEl>
                                          <p:spTgt spid="422"/>
                                        </p:tgtEl>
                                        <p:attrNameLst>
                                          <p:attrName>ppt_y</p:attrName>
                                        </p:attrNameLst>
                                      </p:cBhvr>
                                      <p:tavLst>
                                        <p:tav tm="0">
                                          <p:val>
                                            <p:strVal val="#ppt_y-.1"/>
                                          </p:val>
                                        </p:tav>
                                        <p:tav tm="100000">
                                          <p:val>
                                            <p:strVal val="#ppt_y"/>
                                          </p:val>
                                        </p:tav>
                                      </p:tavLst>
                                    </p:anim>
                                  </p:childTnLst>
                                </p:cTn>
                              </p:par>
                              <p:par>
                                <p:cTn id="29" presetID="10" presetClass="entr" presetSubtype="0" fill="hold" nodeType="withEffect">
                                  <p:stCondLst>
                                    <p:cond delay="50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par>
                                <p:cTn id="32" presetID="47" presetClass="entr" presetSubtype="0" fill="hold" nodeType="withEffect">
                                  <p:stCondLst>
                                    <p:cond delay="500"/>
                                  </p:stCondLst>
                                  <p:childTnLst>
                                    <p:set>
                                      <p:cBhvr>
                                        <p:cTn id="33" dur="1" fill="hold">
                                          <p:stCondLst>
                                            <p:cond delay="0"/>
                                          </p:stCondLst>
                                        </p:cTn>
                                        <p:tgtEl>
                                          <p:spTgt spid="447"/>
                                        </p:tgtEl>
                                        <p:attrNameLst>
                                          <p:attrName>style.visibility</p:attrName>
                                        </p:attrNameLst>
                                      </p:cBhvr>
                                      <p:to>
                                        <p:strVal val="visible"/>
                                      </p:to>
                                    </p:set>
                                    <p:animEffect transition="in" filter="fade">
                                      <p:cBhvr>
                                        <p:cTn id="34" dur="500"/>
                                        <p:tgtEl>
                                          <p:spTgt spid="447"/>
                                        </p:tgtEl>
                                      </p:cBhvr>
                                    </p:animEffect>
                                    <p:anim calcmode="lin" valueType="num">
                                      <p:cBhvr>
                                        <p:cTn id="35" dur="500" fill="hold"/>
                                        <p:tgtEl>
                                          <p:spTgt spid="447"/>
                                        </p:tgtEl>
                                        <p:attrNameLst>
                                          <p:attrName>ppt_x</p:attrName>
                                        </p:attrNameLst>
                                      </p:cBhvr>
                                      <p:tavLst>
                                        <p:tav tm="0">
                                          <p:val>
                                            <p:strVal val="#ppt_x"/>
                                          </p:val>
                                        </p:tav>
                                        <p:tav tm="100000">
                                          <p:val>
                                            <p:strVal val="#ppt_x"/>
                                          </p:val>
                                        </p:tav>
                                      </p:tavLst>
                                    </p:anim>
                                    <p:anim calcmode="lin" valueType="num">
                                      <p:cBhvr>
                                        <p:cTn id="36" dur="500" fill="hold"/>
                                        <p:tgtEl>
                                          <p:spTgt spid="447"/>
                                        </p:tgtEl>
                                        <p:attrNameLst>
                                          <p:attrName>ppt_y</p:attrName>
                                        </p:attrNameLst>
                                      </p:cBhvr>
                                      <p:tavLst>
                                        <p:tav tm="0">
                                          <p:val>
                                            <p:strVal val="#ppt_y-.1"/>
                                          </p:val>
                                        </p:tav>
                                        <p:tav tm="100000">
                                          <p:val>
                                            <p:strVal val="#ppt_y"/>
                                          </p:val>
                                        </p:tav>
                                      </p:tavLst>
                                    </p:anim>
                                  </p:childTnLst>
                                </p:cTn>
                              </p:par>
                              <p:par>
                                <p:cTn id="37" presetID="18" presetClass="entr" presetSubtype="9" fill="hold" nodeType="withEffect">
                                  <p:stCondLst>
                                    <p:cond delay="1000"/>
                                  </p:stCondLst>
                                  <p:childTnLst>
                                    <p:set>
                                      <p:cBhvr>
                                        <p:cTn id="38" dur="1" fill="hold">
                                          <p:stCondLst>
                                            <p:cond delay="0"/>
                                          </p:stCondLst>
                                        </p:cTn>
                                        <p:tgtEl>
                                          <p:spTgt spid="473"/>
                                        </p:tgtEl>
                                        <p:attrNameLst>
                                          <p:attrName>style.visibility</p:attrName>
                                        </p:attrNameLst>
                                      </p:cBhvr>
                                      <p:to>
                                        <p:strVal val="visible"/>
                                      </p:to>
                                    </p:set>
                                    <p:animEffect transition="in" filter="strips(upLeft)">
                                      <p:cBhvr>
                                        <p:cTn id="39" dur="500"/>
                                        <p:tgtEl>
                                          <p:spTgt spid="473"/>
                                        </p:tgtEl>
                                      </p:cBhvr>
                                    </p:animEffect>
                                  </p:childTnLst>
                                </p:cTn>
                              </p:par>
                              <p:par>
                                <p:cTn id="40" presetID="47" presetClass="entr" presetSubtype="0" fill="hold" nodeType="withEffect">
                                  <p:stCondLst>
                                    <p:cond delay="1000"/>
                                  </p:stCondLst>
                                  <p:childTnLst>
                                    <p:set>
                                      <p:cBhvr>
                                        <p:cTn id="41" dur="1" fill="hold">
                                          <p:stCondLst>
                                            <p:cond delay="0"/>
                                          </p:stCondLst>
                                        </p:cTn>
                                        <p:tgtEl>
                                          <p:spTgt spid="2"/>
                                        </p:tgtEl>
                                        <p:attrNameLst>
                                          <p:attrName>style.visibility</p:attrName>
                                        </p:attrNameLst>
                                      </p:cBhvr>
                                      <p:to>
                                        <p:strVal val="visible"/>
                                      </p:to>
                                    </p:set>
                                    <p:animEffect transition="in" filter="fade">
                                      <p:cBhvr>
                                        <p:cTn id="42" dur="500"/>
                                        <p:tgtEl>
                                          <p:spTgt spid="2"/>
                                        </p:tgtEl>
                                      </p:cBhvr>
                                    </p:animEffect>
                                    <p:anim calcmode="lin" valueType="num">
                                      <p:cBhvr>
                                        <p:cTn id="43" dur="500" fill="hold"/>
                                        <p:tgtEl>
                                          <p:spTgt spid="2"/>
                                        </p:tgtEl>
                                        <p:attrNameLst>
                                          <p:attrName>ppt_x</p:attrName>
                                        </p:attrNameLst>
                                      </p:cBhvr>
                                      <p:tavLst>
                                        <p:tav tm="0">
                                          <p:val>
                                            <p:strVal val="#ppt_x"/>
                                          </p:val>
                                        </p:tav>
                                        <p:tav tm="100000">
                                          <p:val>
                                            <p:strVal val="#ppt_x"/>
                                          </p:val>
                                        </p:tav>
                                      </p:tavLst>
                                    </p:anim>
                                    <p:anim calcmode="lin" valueType="num">
                                      <p:cBhvr>
                                        <p:cTn id="44" dur="500" fill="hold"/>
                                        <p:tgtEl>
                                          <p:spTgt spid="2"/>
                                        </p:tgtEl>
                                        <p:attrNameLst>
                                          <p:attrName>ppt_y</p:attrName>
                                        </p:attrNameLst>
                                      </p:cBhvr>
                                      <p:tavLst>
                                        <p:tav tm="0">
                                          <p:val>
                                            <p:strVal val="#ppt_y-.1"/>
                                          </p:val>
                                        </p:tav>
                                        <p:tav tm="100000">
                                          <p:val>
                                            <p:strVal val="#ppt_y"/>
                                          </p:val>
                                        </p:tav>
                                      </p:tavLst>
                                    </p:anim>
                                  </p:childTnLst>
                                </p:cTn>
                              </p:par>
                              <p:par>
                                <p:cTn id="45" presetID="2" presetClass="entr" presetSubtype="4" decel="100000" fill="hold" grpId="0" nodeType="withEffect">
                                  <p:stCondLst>
                                    <p:cond delay="1000"/>
                                  </p:stCondLst>
                                  <p:childTnLst>
                                    <p:set>
                                      <p:cBhvr>
                                        <p:cTn id="46" dur="1" fill="hold">
                                          <p:stCondLst>
                                            <p:cond delay="0"/>
                                          </p:stCondLst>
                                        </p:cTn>
                                        <p:tgtEl>
                                          <p:spTgt spid="208"/>
                                        </p:tgtEl>
                                        <p:attrNameLst>
                                          <p:attrName>style.visibility</p:attrName>
                                        </p:attrNameLst>
                                      </p:cBhvr>
                                      <p:to>
                                        <p:strVal val="visible"/>
                                      </p:to>
                                    </p:set>
                                    <p:anim calcmode="lin" valueType="num">
                                      <p:cBhvr additive="base">
                                        <p:cTn id="47" dur="500" fill="hold"/>
                                        <p:tgtEl>
                                          <p:spTgt spid="208"/>
                                        </p:tgtEl>
                                        <p:attrNameLst>
                                          <p:attrName>ppt_x</p:attrName>
                                        </p:attrNameLst>
                                      </p:cBhvr>
                                      <p:tavLst>
                                        <p:tav tm="0">
                                          <p:val>
                                            <p:strVal val="#ppt_x"/>
                                          </p:val>
                                        </p:tav>
                                        <p:tav tm="100000">
                                          <p:val>
                                            <p:strVal val="#ppt_x"/>
                                          </p:val>
                                        </p:tav>
                                      </p:tavLst>
                                    </p:anim>
                                    <p:anim calcmode="lin" valueType="num">
                                      <p:cBhvr additive="base">
                                        <p:cTn id="48" dur="500" fill="hold"/>
                                        <p:tgtEl>
                                          <p:spTgt spid="208"/>
                                        </p:tgtEl>
                                        <p:attrNameLst>
                                          <p:attrName>ppt_y</p:attrName>
                                        </p:attrNameLst>
                                      </p:cBhvr>
                                      <p:tavLst>
                                        <p:tav tm="0">
                                          <p:val>
                                            <p:strVal val="1+#ppt_h/2"/>
                                          </p:val>
                                        </p:tav>
                                        <p:tav tm="100000">
                                          <p:val>
                                            <p:strVal val="#ppt_y"/>
                                          </p:val>
                                        </p:tav>
                                      </p:tavLst>
                                    </p:anim>
                                  </p:childTnLst>
                                </p:cTn>
                              </p:par>
                              <p:par>
                                <p:cTn id="49" presetID="10" presetClass="entr" presetSubtype="0" fill="hold" grpId="0" nodeType="withEffect">
                                  <p:stCondLst>
                                    <p:cond delay="1000"/>
                                  </p:stCondLst>
                                  <p:childTnLst>
                                    <p:set>
                                      <p:cBhvr>
                                        <p:cTn id="50" dur="1" fill="hold">
                                          <p:stCondLst>
                                            <p:cond delay="0"/>
                                          </p:stCondLst>
                                        </p:cTn>
                                        <p:tgtEl>
                                          <p:spTgt spid="476"/>
                                        </p:tgtEl>
                                        <p:attrNameLst>
                                          <p:attrName>style.visibility</p:attrName>
                                        </p:attrNameLst>
                                      </p:cBhvr>
                                      <p:to>
                                        <p:strVal val="visible"/>
                                      </p:to>
                                    </p:set>
                                    <p:animEffect transition="in" filter="fade">
                                      <p:cBhvr>
                                        <p:cTn id="51" dur="500"/>
                                        <p:tgtEl>
                                          <p:spTgt spid="476"/>
                                        </p:tgtEl>
                                      </p:cBhvr>
                                    </p:animEffect>
                                  </p:childTnLst>
                                </p:cTn>
                              </p:par>
                              <p:par>
                                <p:cTn id="52" presetID="18" presetClass="entr" presetSubtype="12" fill="hold" nodeType="withEffect">
                                  <p:stCondLst>
                                    <p:cond delay="1000"/>
                                  </p:stCondLst>
                                  <p:childTnLst>
                                    <p:set>
                                      <p:cBhvr>
                                        <p:cTn id="53" dur="1" fill="hold">
                                          <p:stCondLst>
                                            <p:cond delay="0"/>
                                          </p:stCondLst>
                                        </p:cTn>
                                        <p:tgtEl>
                                          <p:spTgt spid="477"/>
                                        </p:tgtEl>
                                        <p:attrNameLst>
                                          <p:attrName>style.visibility</p:attrName>
                                        </p:attrNameLst>
                                      </p:cBhvr>
                                      <p:to>
                                        <p:strVal val="visible"/>
                                      </p:to>
                                    </p:set>
                                    <p:animEffect transition="in" filter="strips(downLeft)">
                                      <p:cBhvr>
                                        <p:cTn id="54" dur="500"/>
                                        <p:tgtEl>
                                          <p:spTgt spid="477"/>
                                        </p:tgtEl>
                                      </p:cBhvr>
                                    </p:animEffect>
                                  </p:childTnLst>
                                </p:cTn>
                              </p:par>
                              <p:par>
                                <p:cTn id="55" presetID="10" presetClass="entr" presetSubtype="0" fill="hold" grpId="0" nodeType="withEffect">
                                  <p:stCondLst>
                                    <p:cond delay="1000"/>
                                  </p:stCondLst>
                                  <p:childTnLst>
                                    <p:set>
                                      <p:cBhvr>
                                        <p:cTn id="56" dur="1" fill="hold">
                                          <p:stCondLst>
                                            <p:cond delay="0"/>
                                          </p:stCondLst>
                                        </p:cTn>
                                        <p:tgtEl>
                                          <p:spTgt spid="480"/>
                                        </p:tgtEl>
                                        <p:attrNameLst>
                                          <p:attrName>style.visibility</p:attrName>
                                        </p:attrNameLst>
                                      </p:cBhvr>
                                      <p:to>
                                        <p:strVal val="visible"/>
                                      </p:to>
                                    </p:set>
                                    <p:animEffect transition="in" filter="fade">
                                      <p:cBhvr>
                                        <p:cTn id="57" dur="500"/>
                                        <p:tgtEl>
                                          <p:spTgt spid="480"/>
                                        </p:tgtEl>
                                      </p:cBhvr>
                                    </p:animEffect>
                                  </p:childTnLst>
                                </p:cTn>
                              </p:par>
                              <p:par>
                                <p:cTn id="58" presetID="22" presetClass="entr" presetSubtype="2" fill="hold" nodeType="withEffect">
                                  <p:stCondLst>
                                    <p:cond delay="1000"/>
                                  </p:stCondLst>
                                  <p:childTnLst>
                                    <p:set>
                                      <p:cBhvr>
                                        <p:cTn id="59" dur="1" fill="hold">
                                          <p:stCondLst>
                                            <p:cond delay="0"/>
                                          </p:stCondLst>
                                        </p:cTn>
                                        <p:tgtEl>
                                          <p:spTgt spid="481"/>
                                        </p:tgtEl>
                                        <p:attrNameLst>
                                          <p:attrName>style.visibility</p:attrName>
                                        </p:attrNameLst>
                                      </p:cBhvr>
                                      <p:to>
                                        <p:strVal val="visible"/>
                                      </p:to>
                                    </p:set>
                                    <p:animEffect transition="in" filter="wipe(right)">
                                      <p:cBhvr>
                                        <p:cTn id="60" dur="500"/>
                                        <p:tgtEl>
                                          <p:spTgt spid="481"/>
                                        </p:tgtEl>
                                      </p:cBhvr>
                                    </p:animEffect>
                                  </p:childTnLst>
                                </p:cTn>
                              </p:par>
                              <p:par>
                                <p:cTn id="61" presetID="10" presetClass="entr" presetSubtype="0" fill="hold" grpId="0" nodeType="withEffect">
                                  <p:stCondLst>
                                    <p:cond delay="1000"/>
                                  </p:stCondLst>
                                  <p:childTnLst>
                                    <p:set>
                                      <p:cBhvr>
                                        <p:cTn id="62" dur="1" fill="hold">
                                          <p:stCondLst>
                                            <p:cond delay="0"/>
                                          </p:stCondLst>
                                        </p:cTn>
                                        <p:tgtEl>
                                          <p:spTgt spid="482"/>
                                        </p:tgtEl>
                                        <p:attrNameLst>
                                          <p:attrName>style.visibility</p:attrName>
                                        </p:attrNameLst>
                                      </p:cBhvr>
                                      <p:to>
                                        <p:strVal val="visible"/>
                                      </p:to>
                                    </p:set>
                                    <p:animEffect transition="in" filter="fade">
                                      <p:cBhvr>
                                        <p:cTn id="63" dur="500"/>
                                        <p:tgtEl>
                                          <p:spTgt spid="482"/>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9"/>
                                        </p:tgtEl>
                                        <p:attrNameLst>
                                          <p:attrName>style.visibility</p:attrName>
                                        </p:attrNameLst>
                                      </p:cBhvr>
                                      <p:to>
                                        <p:strVal val="visible"/>
                                      </p:to>
                                    </p:set>
                                    <p:animEffect transition="in" filter="fade">
                                      <p:cBhvr>
                                        <p:cTn id="68" dur="750"/>
                                        <p:tgtEl>
                                          <p:spTgt spid="9"/>
                                        </p:tgtEl>
                                      </p:cBhvr>
                                    </p:animEffect>
                                  </p:childTnLst>
                                </p:cTn>
                              </p:par>
                            </p:childTnLst>
                          </p:cTn>
                        </p:par>
                        <p:par>
                          <p:cTn id="69" fill="hold">
                            <p:stCondLst>
                              <p:cond delay="750"/>
                            </p:stCondLst>
                            <p:childTnLst>
                              <p:par>
                                <p:cTn id="70" presetID="10" presetClass="entr" presetSubtype="0" fill="hold" grpId="0" nodeType="afterEffect">
                                  <p:stCondLst>
                                    <p:cond delay="0"/>
                                  </p:stCondLst>
                                  <p:childTnLst>
                                    <p:set>
                                      <p:cBhvr>
                                        <p:cTn id="71" dur="1" fill="hold">
                                          <p:stCondLst>
                                            <p:cond delay="0"/>
                                          </p:stCondLst>
                                        </p:cTn>
                                        <p:tgtEl>
                                          <p:spTgt spid="10"/>
                                        </p:tgtEl>
                                        <p:attrNameLst>
                                          <p:attrName>style.visibility</p:attrName>
                                        </p:attrNameLst>
                                      </p:cBhvr>
                                      <p:to>
                                        <p:strVal val="visible"/>
                                      </p:to>
                                    </p:set>
                                    <p:animEffect transition="in" filter="fade">
                                      <p:cBhvr>
                                        <p:cTn id="72" dur="500"/>
                                        <p:tgtEl>
                                          <p:spTgt spid="10"/>
                                        </p:tgtEl>
                                      </p:cBhvr>
                                    </p:animEffect>
                                  </p:childTnLst>
                                </p:cTn>
                              </p:par>
                            </p:childTnLst>
                          </p:cTn>
                        </p:par>
                        <p:par>
                          <p:cTn id="73" fill="hold">
                            <p:stCondLst>
                              <p:cond delay="1250"/>
                            </p:stCondLst>
                            <p:childTnLst>
                              <p:par>
                                <p:cTn id="74" presetID="10" presetClass="entr" presetSubtype="0" fill="hold" nodeType="afterEffect">
                                  <p:stCondLst>
                                    <p:cond delay="0"/>
                                  </p:stCondLst>
                                  <p:childTnLst>
                                    <p:set>
                                      <p:cBhvr>
                                        <p:cTn id="75" dur="1" fill="hold">
                                          <p:stCondLst>
                                            <p:cond delay="0"/>
                                          </p:stCondLst>
                                        </p:cTn>
                                        <p:tgtEl>
                                          <p:spTgt spid="106"/>
                                        </p:tgtEl>
                                        <p:attrNameLst>
                                          <p:attrName>style.visibility</p:attrName>
                                        </p:attrNameLst>
                                      </p:cBhvr>
                                      <p:to>
                                        <p:strVal val="visible"/>
                                      </p:to>
                                    </p:set>
                                    <p:animEffect transition="in" filter="fade">
                                      <p:cBhvr>
                                        <p:cTn id="76" dur="500"/>
                                        <p:tgtEl>
                                          <p:spTgt spid="106"/>
                                        </p:tgtEl>
                                      </p:cBhvr>
                                    </p:animEffect>
                                  </p:childTnLst>
                                </p:cTn>
                              </p:par>
                              <p:par>
                                <p:cTn id="77" presetID="53" presetClass="entr" presetSubtype="16" fill="hold" nodeType="withEffect">
                                  <p:stCondLst>
                                    <p:cond delay="0"/>
                                  </p:stCondLst>
                                  <p:childTnLst>
                                    <p:set>
                                      <p:cBhvr>
                                        <p:cTn id="78" dur="1" fill="hold">
                                          <p:stCondLst>
                                            <p:cond delay="0"/>
                                          </p:stCondLst>
                                        </p:cTn>
                                        <p:tgtEl>
                                          <p:spTgt spid="45"/>
                                        </p:tgtEl>
                                        <p:attrNameLst>
                                          <p:attrName>style.visibility</p:attrName>
                                        </p:attrNameLst>
                                      </p:cBhvr>
                                      <p:to>
                                        <p:strVal val="visible"/>
                                      </p:to>
                                    </p:set>
                                    <p:anim calcmode="lin" valueType="num">
                                      <p:cBhvr>
                                        <p:cTn id="79" dur="500" fill="hold"/>
                                        <p:tgtEl>
                                          <p:spTgt spid="45"/>
                                        </p:tgtEl>
                                        <p:attrNameLst>
                                          <p:attrName>ppt_w</p:attrName>
                                        </p:attrNameLst>
                                      </p:cBhvr>
                                      <p:tavLst>
                                        <p:tav tm="0">
                                          <p:val>
                                            <p:fltVal val="0"/>
                                          </p:val>
                                        </p:tav>
                                        <p:tav tm="100000">
                                          <p:val>
                                            <p:strVal val="#ppt_w"/>
                                          </p:val>
                                        </p:tav>
                                      </p:tavLst>
                                    </p:anim>
                                    <p:anim calcmode="lin" valueType="num">
                                      <p:cBhvr>
                                        <p:cTn id="80" dur="500" fill="hold"/>
                                        <p:tgtEl>
                                          <p:spTgt spid="45"/>
                                        </p:tgtEl>
                                        <p:attrNameLst>
                                          <p:attrName>ppt_h</p:attrName>
                                        </p:attrNameLst>
                                      </p:cBhvr>
                                      <p:tavLst>
                                        <p:tav tm="0">
                                          <p:val>
                                            <p:fltVal val="0"/>
                                          </p:val>
                                        </p:tav>
                                        <p:tav tm="100000">
                                          <p:val>
                                            <p:strVal val="#ppt_h"/>
                                          </p:val>
                                        </p:tav>
                                      </p:tavLst>
                                    </p:anim>
                                    <p:animEffect transition="in" filter="fade">
                                      <p:cBhvr>
                                        <p:cTn id="81" dur="500"/>
                                        <p:tgtEl>
                                          <p:spTgt spid="45"/>
                                        </p:tgtEl>
                                      </p:cBhvr>
                                    </p:animEffect>
                                  </p:childTnLst>
                                </p:cTn>
                              </p:par>
                              <p:par>
                                <p:cTn id="82" presetID="47" presetClass="entr" presetSubtype="0" fill="hold" nodeType="withEffect">
                                  <p:stCondLst>
                                    <p:cond delay="500"/>
                                  </p:stCondLst>
                                  <p:childTnLst>
                                    <p:set>
                                      <p:cBhvr>
                                        <p:cTn id="83" dur="1" fill="hold">
                                          <p:stCondLst>
                                            <p:cond delay="0"/>
                                          </p:stCondLst>
                                        </p:cTn>
                                        <p:tgtEl>
                                          <p:spTgt spid="16"/>
                                        </p:tgtEl>
                                        <p:attrNameLst>
                                          <p:attrName>style.visibility</p:attrName>
                                        </p:attrNameLst>
                                      </p:cBhvr>
                                      <p:to>
                                        <p:strVal val="visible"/>
                                      </p:to>
                                    </p:set>
                                    <p:animEffect transition="in" filter="fade">
                                      <p:cBhvr>
                                        <p:cTn id="84" dur="250"/>
                                        <p:tgtEl>
                                          <p:spTgt spid="16"/>
                                        </p:tgtEl>
                                      </p:cBhvr>
                                    </p:animEffect>
                                    <p:anim calcmode="lin" valueType="num">
                                      <p:cBhvr>
                                        <p:cTn id="85" dur="250" fill="hold"/>
                                        <p:tgtEl>
                                          <p:spTgt spid="16"/>
                                        </p:tgtEl>
                                        <p:attrNameLst>
                                          <p:attrName>ppt_x</p:attrName>
                                        </p:attrNameLst>
                                      </p:cBhvr>
                                      <p:tavLst>
                                        <p:tav tm="0">
                                          <p:val>
                                            <p:strVal val="#ppt_x"/>
                                          </p:val>
                                        </p:tav>
                                        <p:tav tm="100000">
                                          <p:val>
                                            <p:strVal val="#ppt_x"/>
                                          </p:val>
                                        </p:tav>
                                      </p:tavLst>
                                    </p:anim>
                                    <p:anim calcmode="lin" valueType="num">
                                      <p:cBhvr>
                                        <p:cTn id="86" dur="250" fill="hold"/>
                                        <p:tgtEl>
                                          <p:spTgt spid="16"/>
                                        </p:tgtEl>
                                        <p:attrNameLst>
                                          <p:attrName>ppt_y</p:attrName>
                                        </p:attrNameLst>
                                      </p:cBhvr>
                                      <p:tavLst>
                                        <p:tav tm="0">
                                          <p:val>
                                            <p:strVal val="#ppt_y-.1"/>
                                          </p:val>
                                        </p:tav>
                                        <p:tav tm="100000">
                                          <p:val>
                                            <p:strVal val="#ppt_y"/>
                                          </p:val>
                                        </p:tav>
                                      </p:tavLst>
                                    </p:anim>
                                  </p:childTnLst>
                                </p:cTn>
                              </p:par>
                              <p:par>
                                <p:cTn id="87" presetID="18" presetClass="entr" presetSubtype="12" fill="hold" nodeType="withEffect">
                                  <p:stCondLst>
                                    <p:cond delay="500"/>
                                  </p:stCondLst>
                                  <p:childTnLst>
                                    <p:set>
                                      <p:cBhvr>
                                        <p:cTn id="88" dur="1" fill="hold">
                                          <p:stCondLst>
                                            <p:cond delay="0"/>
                                          </p:stCondLst>
                                        </p:cTn>
                                        <p:tgtEl>
                                          <p:spTgt spid="274"/>
                                        </p:tgtEl>
                                        <p:attrNameLst>
                                          <p:attrName>style.visibility</p:attrName>
                                        </p:attrNameLst>
                                      </p:cBhvr>
                                      <p:to>
                                        <p:strVal val="visible"/>
                                      </p:to>
                                    </p:set>
                                    <p:animEffect transition="in" filter="strips(downLeft)">
                                      <p:cBhvr>
                                        <p:cTn id="89" dur="500"/>
                                        <p:tgtEl>
                                          <p:spTgt spid="274"/>
                                        </p:tgtEl>
                                      </p:cBhvr>
                                    </p:animEffect>
                                  </p:childTnLst>
                                </p:cTn>
                              </p:par>
                              <p:par>
                                <p:cTn id="90" presetID="10" presetClass="entr" presetSubtype="0" fill="hold" grpId="0" nodeType="withEffect">
                                  <p:stCondLst>
                                    <p:cond delay="500"/>
                                  </p:stCondLst>
                                  <p:childTnLst>
                                    <p:set>
                                      <p:cBhvr>
                                        <p:cTn id="91" dur="1" fill="hold">
                                          <p:stCondLst>
                                            <p:cond delay="0"/>
                                          </p:stCondLst>
                                        </p:cTn>
                                        <p:tgtEl>
                                          <p:spTgt spid="260"/>
                                        </p:tgtEl>
                                        <p:attrNameLst>
                                          <p:attrName>style.visibility</p:attrName>
                                        </p:attrNameLst>
                                      </p:cBhvr>
                                      <p:to>
                                        <p:strVal val="visible"/>
                                      </p:to>
                                    </p:set>
                                    <p:animEffect transition="in" filter="fade">
                                      <p:cBhvr>
                                        <p:cTn id="92" dur="500"/>
                                        <p:tgtEl>
                                          <p:spTgt spid="260"/>
                                        </p:tgtEl>
                                      </p:cBhvr>
                                    </p:animEffect>
                                  </p:childTnLst>
                                </p:cTn>
                              </p:par>
                              <p:par>
                                <p:cTn id="93" presetID="47" presetClass="entr" presetSubtype="0" fill="hold" nodeType="withEffect">
                                  <p:stCondLst>
                                    <p:cond delay="600"/>
                                  </p:stCondLst>
                                  <p:childTnLst>
                                    <p:set>
                                      <p:cBhvr>
                                        <p:cTn id="94" dur="1" fill="hold">
                                          <p:stCondLst>
                                            <p:cond delay="0"/>
                                          </p:stCondLst>
                                        </p:cTn>
                                        <p:tgtEl>
                                          <p:spTgt spid="652"/>
                                        </p:tgtEl>
                                        <p:attrNameLst>
                                          <p:attrName>style.visibility</p:attrName>
                                        </p:attrNameLst>
                                      </p:cBhvr>
                                      <p:to>
                                        <p:strVal val="visible"/>
                                      </p:to>
                                    </p:set>
                                    <p:animEffect transition="in" filter="fade">
                                      <p:cBhvr>
                                        <p:cTn id="95" dur="250"/>
                                        <p:tgtEl>
                                          <p:spTgt spid="652"/>
                                        </p:tgtEl>
                                      </p:cBhvr>
                                    </p:animEffect>
                                    <p:anim calcmode="lin" valueType="num">
                                      <p:cBhvr>
                                        <p:cTn id="96" dur="250" fill="hold"/>
                                        <p:tgtEl>
                                          <p:spTgt spid="652"/>
                                        </p:tgtEl>
                                        <p:attrNameLst>
                                          <p:attrName>ppt_x</p:attrName>
                                        </p:attrNameLst>
                                      </p:cBhvr>
                                      <p:tavLst>
                                        <p:tav tm="0">
                                          <p:val>
                                            <p:strVal val="#ppt_x"/>
                                          </p:val>
                                        </p:tav>
                                        <p:tav tm="100000">
                                          <p:val>
                                            <p:strVal val="#ppt_x"/>
                                          </p:val>
                                        </p:tav>
                                      </p:tavLst>
                                    </p:anim>
                                    <p:anim calcmode="lin" valueType="num">
                                      <p:cBhvr>
                                        <p:cTn id="97" dur="250" fill="hold"/>
                                        <p:tgtEl>
                                          <p:spTgt spid="652"/>
                                        </p:tgtEl>
                                        <p:attrNameLst>
                                          <p:attrName>ppt_y</p:attrName>
                                        </p:attrNameLst>
                                      </p:cBhvr>
                                      <p:tavLst>
                                        <p:tav tm="0">
                                          <p:val>
                                            <p:strVal val="#ppt_y-.1"/>
                                          </p:val>
                                        </p:tav>
                                        <p:tav tm="100000">
                                          <p:val>
                                            <p:strVal val="#ppt_y"/>
                                          </p:val>
                                        </p:tav>
                                      </p:tavLst>
                                    </p:anim>
                                  </p:childTnLst>
                                </p:cTn>
                              </p:par>
                              <p:par>
                                <p:cTn id="98" presetID="18" presetClass="entr" presetSubtype="12" fill="hold" nodeType="withEffect">
                                  <p:stCondLst>
                                    <p:cond delay="600"/>
                                  </p:stCondLst>
                                  <p:childTnLst>
                                    <p:set>
                                      <p:cBhvr>
                                        <p:cTn id="99" dur="1" fill="hold">
                                          <p:stCondLst>
                                            <p:cond delay="0"/>
                                          </p:stCondLst>
                                        </p:cTn>
                                        <p:tgtEl>
                                          <p:spTgt spid="226"/>
                                        </p:tgtEl>
                                        <p:attrNameLst>
                                          <p:attrName>style.visibility</p:attrName>
                                        </p:attrNameLst>
                                      </p:cBhvr>
                                      <p:to>
                                        <p:strVal val="visible"/>
                                      </p:to>
                                    </p:set>
                                    <p:animEffect transition="in" filter="strips(downLeft)">
                                      <p:cBhvr>
                                        <p:cTn id="100" dur="500"/>
                                        <p:tgtEl>
                                          <p:spTgt spid="226"/>
                                        </p:tgtEl>
                                      </p:cBhvr>
                                    </p:animEffect>
                                  </p:childTnLst>
                                </p:cTn>
                              </p:par>
                              <p:par>
                                <p:cTn id="101" presetID="10" presetClass="entr" presetSubtype="0" fill="hold" grpId="0" nodeType="withEffect">
                                  <p:stCondLst>
                                    <p:cond delay="600"/>
                                  </p:stCondLst>
                                  <p:childTnLst>
                                    <p:set>
                                      <p:cBhvr>
                                        <p:cTn id="102" dur="1" fill="hold">
                                          <p:stCondLst>
                                            <p:cond delay="0"/>
                                          </p:stCondLst>
                                        </p:cTn>
                                        <p:tgtEl>
                                          <p:spTgt spid="230"/>
                                        </p:tgtEl>
                                        <p:attrNameLst>
                                          <p:attrName>style.visibility</p:attrName>
                                        </p:attrNameLst>
                                      </p:cBhvr>
                                      <p:to>
                                        <p:strVal val="visible"/>
                                      </p:to>
                                    </p:set>
                                    <p:animEffect transition="in" filter="fade">
                                      <p:cBhvr>
                                        <p:cTn id="103" dur="500"/>
                                        <p:tgtEl>
                                          <p:spTgt spid="230"/>
                                        </p:tgtEl>
                                      </p:cBhvr>
                                    </p:animEffect>
                                  </p:childTnLst>
                                </p:cTn>
                              </p:par>
                              <p:par>
                                <p:cTn id="104" presetID="47" presetClass="entr" presetSubtype="0" fill="hold" nodeType="withEffect">
                                  <p:stCondLst>
                                    <p:cond delay="800"/>
                                  </p:stCondLst>
                                  <p:childTnLst>
                                    <p:set>
                                      <p:cBhvr>
                                        <p:cTn id="105" dur="1" fill="hold">
                                          <p:stCondLst>
                                            <p:cond delay="0"/>
                                          </p:stCondLst>
                                        </p:cTn>
                                        <p:tgtEl>
                                          <p:spTgt spid="649"/>
                                        </p:tgtEl>
                                        <p:attrNameLst>
                                          <p:attrName>style.visibility</p:attrName>
                                        </p:attrNameLst>
                                      </p:cBhvr>
                                      <p:to>
                                        <p:strVal val="visible"/>
                                      </p:to>
                                    </p:set>
                                    <p:animEffect transition="in" filter="fade">
                                      <p:cBhvr>
                                        <p:cTn id="106" dur="250"/>
                                        <p:tgtEl>
                                          <p:spTgt spid="649"/>
                                        </p:tgtEl>
                                      </p:cBhvr>
                                    </p:animEffect>
                                    <p:anim calcmode="lin" valueType="num">
                                      <p:cBhvr>
                                        <p:cTn id="107" dur="250" fill="hold"/>
                                        <p:tgtEl>
                                          <p:spTgt spid="649"/>
                                        </p:tgtEl>
                                        <p:attrNameLst>
                                          <p:attrName>ppt_x</p:attrName>
                                        </p:attrNameLst>
                                      </p:cBhvr>
                                      <p:tavLst>
                                        <p:tav tm="0">
                                          <p:val>
                                            <p:strVal val="#ppt_x"/>
                                          </p:val>
                                        </p:tav>
                                        <p:tav tm="100000">
                                          <p:val>
                                            <p:strVal val="#ppt_x"/>
                                          </p:val>
                                        </p:tav>
                                      </p:tavLst>
                                    </p:anim>
                                    <p:anim calcmode="lin" valueType="num">
                                      <p:cBhvr>
                                        <p:cTn id="108" dur="250" fill="hold"/>
                                        <p:tgtEl>
                                          <p:spTgt spid="649"/>
                                        </p:tgtEl>
                                        <p:attrNameLst>
                                          <p:attrName>ppt_y</p:attrName>
                                        </p:attrNameLst>
                                      </p:cBhvr>
                                      <p:tavLst>
                                        <p:tav tm="0">
                                          <p:val>
                                            <p:strVal val="#ppt_y-.1"/>
                                          </p:val>
                                        </p:tav>
                                        <p:tav tm="100000">
                                          <p:val>
                                            <p:strVal val="#ppt_y"/>
                                          </p:val>
                                        </p:tav>
                                      </p:tavLst>
                                    </p:anim>
                                  </p:childTnLst>
                                </p:cTn>
                              </p:par>
                              <p:par>
                                <p:cTn id="109" presetID="18" presetClass="entr" presetSubtype="12" fill="hold" nodeType="withEffect">
                                  <p:stCondLst>
                                    <p:cond delay="800"/>
                                  </p:stCondLst>
                                  <p:childTnLst>
                                    <p:set>
                                      <p:cBhvr>
                                        <p:cTn id="110" dur="1" fill="hold">
                                          <p:stCondLst>
                                            <p:cond delay="0"/>
                                          </p:stCondLst>
                                        </p:cTn>
                                        <p:tgtEl>
                                          <p:spTgt spid="221"/>
                                        </p:tgtEl>
                                        <p:attrNameLst>
                                          <p:attrName>style.visibility</p:attrName>
                                        </p:attrNameLst>
                                      </p:cBhvr>
                                      <p:to>
                                        <p:strVal val="visible"/>
                                      </p:to>
                                    </p:set>
                                    <p:animEffect transition="in" filter="strips(downLeft)">
                                      <p:cBhvr>
                                        <p:cTn id="111" dur="500"/>
                                        <p:tgtEl>
                                          <p:spTgt spid="221"/>
                                        </p:tgtEl>
                                      </p:cBhvr>
                                    </p:animEffect>
                                  </p:childTnLst>
                                </p:cTn>
                              </p:par>
                              <p:par>
                                <p:cTn id="112" presetID="10" presetClass="entr" presetSubtype="0" fill="hold" grpId="0" nodeType="withEffect">
                                  <p:stCondLst>
                                    <p:cond delay="800"/>
                                  </p:stCondLst>
                                  <p:childTnLst>
                                    <p:set>
                                      <p:cBhvr>
                                        <p:cTn id="113" dur="1" fill="hold">
                                          <p:stCondLst>
                                            <p:cond delay="0"/>
                                          </p:stCondLst>
                                        </p:cTn>
                                        <p:tgtEl>
                                          <p:spTgt spid="224"/>
                                        </p:tgtEl>
                                        <p:attrNameLst>
                                          <p:attrName>style.visibility</p:attrName>
                                        </p:attrNameLst>
                                      </p:cBhvr>
                                      <p:to>
                                        <p:strVal val="visible"/>
                                      </p:to>
                                    </p:set>
                                    <p:animEffect transition="in" filter="fade">
                                      <p:cBhvr>
                                        <p:cTn id="114" dur="500"/>
                                        <p:tgtEl>
                                          <p:spTgt spid="224"/>
                                        </p:tgtEl>
                                      </p:cBhvr>
                                    </p:animEffect>
                                  </p:childTnLst>
                                </p:cTn>
                              </p:par>
                              <p:par>
                                <p:cTn id="115" presetID="47" presetClass="entr" presetSubtype="0" fill="hold" nodeType="withEffect">
                                  <p:stCondLst>
                                    <p:cond delay="500"/>
                                  </p:stCondLst>
                                  <p:childTnLst>
                                    <p:set>
                                      <p:cBhvr>
                                        <p:cTn id="116" dur="1" fill="hold">
                                          <p:stCondLst>
                                            <p:cond delay="0"/>
                                          </p:stCondLst>
                                        </p:cTn>
                                        <p:tgtEl>
                                          <p:spTgt spid="667"/>
                                        </p:tgtEl>
                                        <p:attrNameLst>
                                          <p:attrName>style.visibility</p:attrName>
                                        </p:attrNameLst>
                                      </p:cBhvr>
                                      <p:to>
                                        <p:strVal val="visible"/>
                                      </p:to>
                                    </p:set>
                                    <p:animEffect transition="in" filter="fade">
                                      <p:cBhvr>
                                        <p:cTn id="117" dur="250"/>
                                        <p:tgtEl>
                                          <p:spTgt spid="667"/>
                                        </p:tgtEl>
                                      </p:cBhvr>
                                    </p:animEffect>
                                    <p:anim calcmode="lin" valueType="num">
                                      <p:cBhvr>
                                        <p:cTn id="118" dur="250" fill="hold"/>
                                        <p:tgtEl>
                                          <p:spTgt spid="667"/>
                                        </p:tgtEl>
                                        <p:attrNameLst>
                                          <p:attrName>ppt_x</p:attrName>
                                        </p:attrNameLst>
                                      </p:cBhvr>
                                      <p:tavLst>
                                        <p:tav tm="0">
                                          <p:val>
                                            <p:strVal val="#ppt_x"/>
                                          </p:val>
                                        </p:tav>
                                        <p:tav tm="100000">
                                          <p:val>
                                            <p:strVal val="#ppt_x"/>
                                          </p:val>
                                        </p:tav>
                                      </p:tavLst>
                                    </p:anim>
                                    <p:anim calcmode="lin" valueType="num">
                                      <p:cBhvr>
                                        <p:cTn id="119" dur="250" fill="hold"/>
                                        <p:tgtEl>
                                          <p:spTgt spid="667"/>
                                        </p:tgtEl>
                                        <p:attrNameLst>
                                          <p:attrName>ppt_y</p:attrName>
                                        </p:attrNameLst>
                                      </p:cBhvr>
                                      <p:tavLst>
                                        <p:tav tm="0">
                                          <p:val>
                                            <p:strVal val="#ppt_y-.1"/>
                                          </p:val>
                                        </p:tav>
                                        <p:tav tm="100000">
                                          <p:val>
                                            <p:strVal val="#ppt_y"/>
                                          </p:val>
                                        </p:tav>
                                      </p:tavLst>
                                    </p:anim>
                                  </p:childTnLst>
                                </p:cTn>
                              </p:par>
                              <p:par>
                                <p:cTn id="120" presetID="22" presetClass="entr" presetSubtype="8" fill="hold" nodeType="withEffect">
                                  <p:stCondLst>
                                    <p:cond delay="500"/>
                                  </p:stCondLst>
                                  <p:childTnLst>
                                    <p:set>
                                      <p:cBhvr>
                                        <p:cTn id="121" dur="1" fill="hold">
                                          <p:stCondLst>
                                            <p:cond delay="0"/>
                                          </p:stCondLst>
                                        </p:cTn>
                                        <p:tgtEl>
                                          <p:spTgt spid="248"/>
                                        </p:tgtEl>
                                        <p:attrNameLst>
                                          <p:attrName>style.visibility</p:attrName>
                                        </p:attrNameLst>
                                      </p:cBhvr>
                                      <p:to>
                                        <p:strVal val="visible"/>
                                      </p:to>
                                    </p:set>
                                    <p:animEffect transition="in" filter="wipe(left)">
                                      <p:cBhvr>
                                        <p:cTn id="122" dur="500"/>
                                        <p:tgtEl>
                                          <p:spTgt spid="248"/>
                                        </p:tgtEl>
                                      </p:cBhvr>
                                    </p:animEffect>
                                  </p:childTnLst>
                                </p:cTn>
                              </p:par>
                              <p:par>
                                <p:cTn id="123" presetID="10" presetClass="entr" presetSubtype="0" fill="hold" grpId="0" nodeType="withEffect">
                                  <p:stCondLst>
                                    <p:cond delay="500"/>
                                  </p:stCondLst>
                                  <p:childTnLst>
                                    <p:set>
                                      <p:cBhvr>
                                        <p:cTn id="124" dur="1" fill="hold">
                                          <p:stCondLst>
                                            <p:cond delay="0"/>
                                          </p:stCondLst>
                                        </p:cTn>
                                        <p:tgtEl>
                                          <p:spTgt spid="259"/>
                                        </p:tgtEl>
                                        <p:attrNameLst>
                                          <p:attrName>style.visibility</p:attrName>
                                        </p:attrNameLst>
                                      </p:cBhvr>
                                      <p:to>
                                        <p:strVal val="visible"/>
                                      </p:to>
                                    </p:set>
                                    <p:animEffect transition="in" filter="fade">
                                      <p:cBhvr>
                                        <p:cTn id="125" dur="500"/>
                                        <p:tgtEl>
                                          <p:spTgt spid="259"/>
                                        </p:tgtEl>
                                      </p:cBhvr>
                                    </p:animEffect>
                                  </p:childTnLst>
                                </p:cTn>
                              </p:par>
                              <p:par>
                                <p:cTn id="126" presetID="47" presetClass="entr" presetSubtype="0" fill="hold" nodeType="withEffect">
                                  <p:stCondLst>
                                    <p:cond delay="500"/>
                                  </p:stCondLst>
                                  <p:childTnLst>
                                    <p:set>
                                      <p:cBhvr>
                                        <p:cTn id="127" dur="1" fill="hold">
                                          <p:stCondLst>
                                            <p:cond delay="0"/>
                                          </p:stCondLst>
                                        </p:cTn>
                                        <p:tgtEl>
                                          <p:spTgt spid="661"/>
                                        </p:tgtEl>
                                        <p:attrNameLst>
                                          <p:attrName>style.visibility</p:attrName>
                                        </p:attrNameLst>
                                      </p:cBhvr>
                                      <p:to>
                                        <p:strVal val="visible"/>
                                      </p:to>
                                    </p:set>
                                    <p:animEffect transition="in" filter="fade">
                                      <p:cBhvr>
                                        <p:cTn id="128" dur="250"/>
                                        <p:tgtEl>
                                          <p:spTgt spid="661"/>
                                        </p:tgtEl>
                                      </p:cBhvr>
                                    </p:animEffect>
                                    <p:anim calcmode="lin" valueType="num">
                                      <p:cBhvr>
                                        <p:cTn id="129" dur="250" fill="hold"/>
                                        <p:tgtEl>
                                          <p:spTgt spid="661"/>
                                        </p:tgtEl>
                                        <p:attrNameLst>
                                          <p:attrName>ppt_x</p:attrName>
                                        </p:attrNameLst>
                                      </p:cBhvr>
                                      <p:tavLst>
                                        <p:tav tm="0">
                                          <p:val>
                                            <p:strVal val="#ppt_x"/>
                                          </p:val>
                                        </p:tav>
                                        <p:tav tm="100000">
                                          <p:val>
                                            <p:strVal val="#ppt_x"/>
                                          </p:val>
                                        </p:tav>
                                      </p:tavLst>
                                    </p:anim>
                                    <p:anim calcmode="lin" valueType="num">
                                      <p:cBhvr>
                                        <p:cTn id="130" dur="250" fill="hold"/>
                                        <p:tgtEl>
                                          <p:spTgt spid="661"/>
                                        </p:tgtEl>
                                        <p:attrNameLst>
                                          <p:attrName>ppt_y</p:attrName>
                                        </p:attrNameLst>
                                      </p:cBhvr>
                                      <p:tavLst>
                                        <p:tav tm="0">
                                          <p:val>
                                            <p:strVal val="#ppt_y-.1"/>
                                          </p:val>
                                        </p:tav>
                                        <p:tav tm="100000">
                                          <p:val>
                                            <p:strVal val="#ppt_y"/>
                                          </p:val>
                                        </p:tav>
                                      </p:tavLst>
                                    </p:anim>
                                  </p:childTnLst>
                                </p:cTn>
                              </p:par>
                              <p:par>
                                <p:cTn id="131" presetID="18" presetClass="entr" presetSubtype="6" fill="hold" nodeType="withEffect">
                                  <p:stCondLst>
                                    <p:cond delay="500"/>
                                  </p:stCondLst>
                                  <p:childTnLst>
                                    <p:set>
                                      <p:cBhvr>
                                        <p:cTn id="132" dur="1" fill="hold">
                                          <p:stCondLst>
                                            <p:cond delay="0"/>
                                          </p:stCondLst>
                                        </p:cTn>
                                        <p:tgtEl>
                                          <p:spTgt spid="245"/>
                                        </p:tgtEl>
                                        <p:attrNameLst>
                                          <p:attrName>style.visibility</p:attrName>
                                        </p:attrNameLst>
                                      </p:cBhvr>
                                      <p:to>
                                        <p:strVal val="visible"/>
                                      </p:to>
                                    </p:set>
                                    <p:animEffect transition="in" filter="strips(downRight)">
                                      <p:cBhvr>
                                        <p:cTn id="133" dur="500"/>
                                        <p:tgtEl>
                                          <p:spTgt spid="245"/>
                                        </p:tgtEl>
                                      </p:cBhvr>
                                    </p:animEffect>
                                  </p:childTnLst>
                                </p:cTn>
                              </p:par>
                              <p:par>
                                <p:cTn id="134" presetID="10" presetClass="entr" presetSubtype="0" fill="hold" grpId="0" nodeType="withEffect">
                                  <p:stCondLst>
                                    <p:cond delay="500"/>
                                  </p:stCondLst>
                                  <p:childTnLst>
                                    <p:set>
                                      <p:cBhvr>
                                        <p:cTn id="135" dur="1" fill="hold">
                                          <p:stCondLst>
                                            <p:cond delay="0"/>
                                          </p:stCondLst>
                                        </p:cTn>
                                        <p:tgtEl>
                                          <p:spTgt spid="261"/>
                                        </p:tgtEl>
                                        <p:attrNameLst>
                                          <p:attrName>style.visibility</p:attrName>
                                        </p:attrNameLst>
                                      </p:cBhvr>
                                      <p:to>
                                        <p:strVal val="visible"/>
                                      </p:to>
                                    </p:set>
                                    <p:animEffect transition="in" filter="fade">
                                      <p:cBhvr>
                                        <p:cTn id="136" dur="500"/>
                                        <p:tgtEl>
                                          <p:spTgt spid="261"/>
                                        </p:tgtEl>
                                      </p:cBhvr>
                                    </p:animEffect>
                                  </p:childTnLst>
                                </p:cTn>
                              </p:par>
                              <p:par>
                                <p:cTn id="137" presetID="47" presetClass="entr" presetSubtype="0" fill="hold" nodeType="withEffect">
                                  <p:stCondLst>
                                    <p:cond delay="700"/>
                                  </p:stCondLst>
                                  <p:childTnLst>
                                    <p:set>
                                      <p:cBhvr>
                                        <p:cTn id="138" dur="1" fill="hold">
                                          <p:stCondLst>
                                            <p:cond delay="0"/>
                                          </p:stCondLst>
                                        </p:cTn>
                                        <p:tgtEl>
                                          <p:spTgt spid="664"/>
                                        </p:tgtEl>
                                        <p:attrNameLst>
                                          <p:attrName>style.visibility</p:attrName>
                                        </p:attrNameLst>
                                      </p:cBhvr>
                                      <p:to>
                                        <p:strVal val="visible"/>
                                      </p:to>
                                    </p:set>
                                    <p:animEffect transition="in" filter="fade">
                                      <p:cBhvr>
                                        <p:cTn id="139" dur="250"/>
                                        <p:tgtEl>
                                          <p:spTgt spid="664"/>
                                        </p:tgtEl>
                                      </p:cBhvr>
                                    </p:animEffect>
                                    <p:anim calcmode="lin" valueType="num">
                                      <p:cBhvr>
                                        <p:cTn id="140" dur="250" fill="hold"/>
                                        <p:tgtEl>
                                          <p:spTgt spid="664"/>
                                        </p:tgtEl>
                                        <p:attrNameLst>
                                          <p:attrName>ppt_x</p:attrName>
                                        </p:attrNameLst>
                                      </p:cBhvr>
                                      <p:tavLst>
                                        <p:tav tm="0">
                                          <p:val>
                                            <p:strVal val="#ppt_x"/>
                                          </p:val>
                                        </p:tav>
                                        <p:tav tm="100000">
                                          <p:val>
                                            <p:strVal val="#ppt_x"/>
                                          </p:val>
                                        </p:tav>
                                      </p:tavLst>
                                    </p:anim>
                                    <p:anim calcmode="lin" valueType="num">
                                      <p:cBhvr>
                                        <p:cTn id="141" dur="250" fill="hold"/>
                                        <p:tgtEl>
                                          <p:spTgt spid="664"/>
                                        </p:tgtEl>
                                        <p:attrNameLst>
                                          <p:attrName>ppt_y</p:attrName>
                                        </p:attrNameLst>
                                      </p:cBhvr>
                                      <p:tavLst>
                                        <p:tav tm="0">
                                          <p:val>
                                            <p:strVal val="#ppt_y-.1"/>
                                          </p:val>
                                        </p:tav>
                                        <p:tav tm="100000">
                                          <p:val>
                                            <p:strVal val="#ppt_y"/>
                                          </p:val>
                                        </p:tav>
                                      </p:tavLst>
                                    </p:anim>
                                  </p:childTnLst>
                                </p:cTn>
                              </p:par>
                              <p:par>
                                <p:cTn id="142" presetID="22" presetClass="entr" presetSubtype="8" fill="hold" nodeType="withEffect">
                                  <p:stCondLst>
                                    <p:cond delay="700"/>
                                  </p:stCondLst>
                                  <p:childTnLst>
                                    <p:set>
                                      <p:cBhvr>
                                        <p:cTn id="143" dur="1" fill="hold">
                                          <p:stCondLst>
                                            <p:cond delay="0"/>
                                          </p:stCondLst>
                                        </p:cTn>
                                        <p:tgtEl>
                                          <p:spTgt spid="244"/>
                                        </p:tgtEl>
                                        <p:attrNameLst>
                                          <p:attrName>style.visibility</p:attrName>
                                        </p:attrNameLst>
                                      </p:cBhvr>
                                      <p:to>
                                        <p:strVal val="visible"/>
                                      </p:to>
                                    </p:set>
                                    <p:animEffect transition="in" filter="wipe(left)">
                                      <p:cBhvr>
                                        <p:cTn id="144" dur="500"/>
                                        <p:tgtEl>
                                          <p:spTgt spid="244"/>
                                        </p:tgtEl>
                                      </p:cBhvr>
                                    </p:animEffect>
                                  </p:childTnLst>
                                </p:cTn>
                              </p:par>
                              <p:par>
                                <p:cTn id="145" presetID="10" presetClass="entr" presetSubtype="0" fill="hold" grpId="0" nodeType="withEffect">
                                  <p:stCondLst>
                                    <p:cond delay="700"/>
                                  </p:stCondLst>
                                  <p:childTnLst>
                                    <p:set>
                                      <p:cBhvr>
                                        <p:cTn id="146" dur="1" fill="hold">
                                          <p:stCondLst>
                                            <p:cond delay="0"/>
                                          </p:stCondLst>
                                        </p:cTn>
                                        <p:tgtEl>
                                          <p:spTgt spid="258"/>
                                        </p:tgtEl>
                                        <p:attrNameLst>
                                          <p:attrName>style.visibility</p:attrName>
                                        </p:attrNameLst>
                                      </p:cBhvr>
                                      <p:to>
                                        <p:strVal val="visible"/>
                                      </p:to>
                                    </p:set>
                                    <p:animEffect transition="in" filter="fade">
                                      <p:cBhvr>
                                        <p:cTn id="147" dur="500"/>
                                        <p:tgtEl>
                                          <p:spTgt spid="258"/>
                                        </p:tgtEl>
                                      </p:cBhvr>
                                    </p:animEffect>
                                  </p:childTnLst>
                                </p:cTn>
                              </p:par>
                              <p:par>
                                <p:cTn id="148" presetID="47" presetClass="entr" presetSubtype="0" fill="hold" nodeType="withEffect">
                                  <p:stCondLst>
                                    <p:cond delay="900"/>
                                  </p:stCondLst>
                                  <p:childTnLst>
                                    <p:set>
                                      <p:cBhvr>
                                        <p:cTn id="149" dur="1" fill="hold">
                                          <p:stCondLst>
                                            <p:cond delay="0"/>
                                          </p:stCondLst>
                                        </p:cTn>
                                        <p:tgtEl>
                                          <p:spTgt spid="673"/>
                                        </p:tgtEl>
                                        <p:attrNameLst>
                                          <p:attrName>style.visibility</p:attrName>
                                        </p:attrNameLst>
                                      </p:cBhvr>
                                      <p:to>
                                        <p:strVal val="visible"/>
                                      </p:to>
                                    </p:set>
                                    <p:animEffect transition="in" filter="fade">
                                      <p:cBhvr>
                                        <p:cTn id="150" dur="250"/>
                                        <p:tgtEl>
                                          <p:spTgt spid="673"/>
                                        </p:tgtEl>
                                      </p:cBhvr>
                                    </p:animEffect>
                                    <p:anim calcmode="lin" valueType="num">
                                      <p:cBhvr>
                                        <p:cTn id="151" dur="250" fill="hold"/>
                                        <p:tgtEl>
                                          <p:spTgt spid="673"/>
                                        </p:tgtEl>
                                        <p:attrNameLst>
                                          <p:attrName>ppt_x</p:attrName>
                                        </p:attrNameLst>
                                      </p:cBhvr>
                                      <p:tavLst>
                                        <p:tav tm="0">
                                          <p:val>
                                            <p:strVal val="#ppt_x"/>
                                          </p:val>
                                        </p:tav>
                                        <p:tav tm="100000">
                                          <p:val>
                                            <p:strVal val="#ppt_x"/>
                                          </p:val>
                                        </p:tav>
                                      </p:tavLst>
                                    </p:anim>
                                    <p:anim calcmode="lin" valueType="num">
                                      <p:cBhvr>
                                        <p:cTn id="152" dur="250" fill="hold"/>
                                        <p:tgtEl>
                                          <p:spTgt spid="673"/>
                                        </p:tgtEl>
                                        <p:attrNameLst>
                                          <p:attrName>ppt_y</p:attrName>
                                        </p:attrNameLst>
                                      </p:cBhvr>
                                      <p:tavLst>
                                        <p:tav tm="0">
                                          <p:val>
                                            <p:strVal val="#ppt_y-.1"/>
                                          </p:val>
                                        </p:tav>
                                        <p:tav tm="100000">
                                          <p:val>
                                            <p:strVal val="#ppt_y"/>
                                          </p:val>
                                        </p:tav>
                                      </p:tavLst>
                                    </p:anim>
                                  </p:childTnLst>
                                </p:cTn>
                              </p:par>
                              <p:par>
                                <p:cTn id="153" presetID="18" presetClass="entr" presetSubtype="3" fill="hold" nodeType="withEffect">
                                  <p:stCondLst>
                                    <p:cond delay="900"/>
                                  </p:stCondLst>
                                  <p:childTnLst>
                                    <p:set>
                                      <p:cBhvr>
                                        <p:cTn id="154" dur="1" fill="hold">
                                          <p:stCondLst>
                                            <p:cond delay="0"/>
                                          </p:stCondLst>
                                        </p:cTn>
                                        <p:tgtEl>
                                          <p:spTgt spid="291"/>
                                        </p:tgtEl>
                                        <p:attrNameLst>
                                          <p:attrName>style.visibility</p:attrName>
                                        </p:attrNameLst>
                                      </p:cBhvr>
                                      <p:to>
                                        <p:strVal val="visible"/>
                                      </p:to>
                                    </p:set>
                                    <p:animEffect transition="in" filter="strips(upRight)">
                                      <p:cBhvr>
                                        <p:cTn id="155" dur="500"/>
                                        <p:tgtEl>
                                          <p:spTgt spid="291"/>
                                        </p:tgtEl>
                                      </p:cBhvr>
                                    </p:animEffect>
                                  </p:childTnLst>
                                </p:cTn>
                              </p:par>
                              <p:par>
                                <p:cTn id="156" presetID="10" presetClass="entr" presetSubtype="0" fill="hold" grpId="0" nodeType="withEffect">
                                  <p:stCondLst>
                                    <p:cond delay="900"/>
                                  </p:stCondLst>
                                  <p:childTnLst>
                                    <p:set>
                                      <p:cBhvr>
                                        <p:cTn id="157" dur="1" fill="hold">
                                          <p:stCondLst>
                                            <p:cond delay="0"/>
                                          </p:stCondLst>
                                        </p:cTn>
                                        <p:tgtEl>
                                          <p:spTgt spid="242"/>
                                        </p:tgtEl>
                                        <p:attrNameLst>
                                          <p:attrName>style.visibility</p:attrName>
                                        </p:attrNameLst>
                                      </p:cBhvr>
                                      <p:to>
                                        <p:strVal val="visible"/>
                                      </p:to>
                                    </p:set>
                                    <p:animEffect transition="in" filter="fade">
                                      <p:cBhvr>
                                        <p:cTn id="158" dur="500"/>
                                        <p:tgtEl>
                                          <p:spTgt spid="242"/>
                                        </p:tgtEl>
                                      </p:cBhvr>
                                    </p:animEffect>
                                  </p:childTnLst>
                                </p:cTn>
                              </p:par>
                              <p:par>
                                <p:cTn id="159" presetID="47" presetClass="entr" presetSubtype="0" fill="hold" nodeType="withEffect">
                                  <p:stCondLst>
                                    <p:cond delay="900"/>
                                  </p:stCondLst>
                                  <p:childTnLst>
                                    <p:set>
                                      <p:cBhvr>
                                        <p:cTn id="160" dur="1" fill="hold">
                                          <p:stCondLst>
                                            <p:cond delay="0"/>
                                          </p:stCondLst>
                                        </p:cTn>
                                        <p:tgtEl>
                                          <p:spTgt spid="670"/>
                                        </p:tgtEl>
                                        <p:attrNameLst>
                                          <p:attrName>style.visibility</p:attrName>
                                        </p:attrNameLst>
                                      </p:cBhvr>
                                      <p:to>
                                        <p:strVal val="visible"/>
                                      </p:to>
                                    </p:set>
                                    <p:animEffect transition="in" filter="fade">
                                      <p:cBhvr>
                                        <p:cTn id="161" dur="250"/>
                                        <p:tgtEl>
                                          <p:spTgt spid="670"/>
                                        </p:tgtEl>
                                      </p:cBhvr>
                                    </p:animEffect>
                                    <p:anim calcmode="lin" valueType="num">
                                      <p:cBhvr>
                                        <p:cTn id="162" dur="250" fill="hold"/>
                                        <p:tgtEl>
                                          <p:spTgt spid="670"/>
                                        </p:tgtEl>
                                        <p:attrNameLst>
                                          <p:attrName>ppt_x</p:attrName>
                                        </p:attrNameLst>
                                      </p:cBhvr>
                                      <p:tavLst>
                                        <p:tav tm="0">
                                          <p:val>
                                            <p:strVal val="#ppt_x"/>
                                          </p:val>
                                        </p:tav>
                                        <p:tav tm="100000">
                                          <p:val>
                                            <p:strVal val="#ppt_x"/>
                                          </p:val>
                                        </p:tav>
                                      </p:tavLst>
                                    </p:anim>
                                    <p:anim calcmode="lin" valueType="num">
                                      <p:cBhvr>
                                        <p:cTn id="163" dur="250" fill="hold"/>
                                        <p:tgtEl>
                                          <p:spTgt spid="670"/>
                                        </p:tgtEl>
                                        <p:attrNameLst>
                                          <p:attrName>ppt_y</p:attrName>
                                        </p:attrNameLst>
                                      </p:cBhvr>
                                      <p:tavLst>
                                        <p:tav tm="0">
                                          <p:val>
                                            <p:strVal val="#ppt_y-.1"/>
                                          </p:val>
                                        </p:tav>
                                        <p:tav tm="100000">
                                          <p:val>
                                            <p:strVal val="#ppt_y"/>
                                          </p:val>
                                        </p:tav>
                                      </p:tavLst>
                                    </p:anim>
                                  </p:childTnLst>
                                </p:cTn>
                              </p:par>
                              <p:par>
                                <p:cTn id="164" presetID="18" presetClass="entr" presetSubtype="3" fill="hold" nodeType="withEffect">
                                  <p:stCondLst>
                                    <p:cond delay="900"/>
                                  </p:stCondLst>
                                  <p:childTnLst>
                                    <p:set>
                                      <p:cBhvr>
                                        <p:cTn id="165" dur="1" fill="hold">
                                          <p:stCondLst>
                                            <p:cond delay="0"/>
                                          </p:stCondLst>
                                        </p:cTn>
                                        <p:tgtEl>
                                          <p:spTgt spid="236"/>
                                        </p:tgtEl>
                                        <p:attrNameLst>
                                          <p:attrName>style.visibility</p:attrName>
                                        </p:attrNameLst>
                                      </p:cBhvr>
                                      <p:to>
                                        <p:strVal val="visible"/>
                                      </p:to>
                                    </p:set>
                                    <p:animEffect transition="in" filter="strips(upRight)">
                                      <p:cBhvr>
                                        <p:cTn id="166" dur="500"/>
                                        <p:tgtEl>
                                          <p:spTgt spid="236"/>
                                        </p:tgtEl>
                                      </p:cBhvr>
                                    </p:animEffect>
                                  </p:childTnLst>
                                </p:cTn>
                              </p:par>
                              <p:par>
                                <p:cTn id="167" presetID="10" presetClass="entr" presetSubtype="0" fill="hold" grpId="0" nodeType="withEffect">
                                  <p:stCondLst>
                                    <p:cond delay="900"/>
                                  </p:stCondLst>
                                  <p:childTnLst>
                                    <p:set>
                                      <p:cBhvr>
                                        <p:cTn id="168" dur="1" fill="hold">
                                          <p:stCondLst>
                                            <p:cond delay="0"/>
                                          </p:stCondLst>
                                        </p:cTn>
                                        <p:tgtEl>
                                          <p:spTgt spid="241"/>
                                        </p:tgtEl>
                                        <p:attrNameLst>
                                          <p:attrName>style.visibility</p:attrName>
                                        </p:attrNameLst>
                                      </p:cBhvr>
                                      <p:to>
                                        <p:strVal val="visible"/>
                                      </p:to>
                                    </p:set>
                                    <p:animEffect transition="in" filter="fade">
                                      <p:cBhvr>
                                        <p:cTn id="169" dur="500"/>
                                        <p:tgtEl>
                                          <p:spTgt spid="241"/>
                                        </p:tgtEl>
                                      </p:cBhvr>
                                    </p:animEffect>
                                  </p:childTnLst>
                                </p:cTn>
                              </p:par>
                              <p:par>
                                <p:cTn id="170" presetID="47" presetClass="entr" presetSubtype="0" fill="hold" nodeType="withEffect">
                                  <p:stCondLst>
                                    <p:cond delay="600"/>
                                  </p:stCondLst>
                                  <p:childTnLst>
                                    <p:set>
                                      <p:cBhvr>
                                        <p:cTn id="171" dur="1" fill="hold">
                                          <p:stCondLst>
                                            <p:cond delay="0"/>
                                          </p:stCondLst>
                                        </p:cTn>
                                        <p:tgtEl>
                                          <p:spTgt spid="658"/>
                                        </p:tgtEl>
                                        <p:attrNameLst>
                                          <p:attrName>style.visibility</p:attrName>
                                        </p:attrNameLst>
                                      </p:cBhvr>
                                      <p:to>
                                        <p:strVal val="visible"/>
                                      </p:to>
                                    </p:set>
                                    <p:animEffect transition="in" filter="fade">
                                      <p:cBhvr>
                                        <p:cTn id="172" dur="250"/>
                                        <p:tgtEl>
                                          <p:spTgt spid="658"/>
                                        </p:tgtEl>
                                      </p:cBhvr>
                                    </p:animEffect>
                                    <p:anim calcmode="lin" valueType="num">
                                      <p:cBhvr>
                                        <p:cTn id="173" dur="250" fill="hold"/>
                                        <p:tgtEl>
                                          <p:spTgt spid="658"/>
                                        </p:tgtEl>
                                        <p:attrNameLst>
                                          <p:attrName>ppt_x</p:attrName>
                                        </p:attrNameLst>
                                      </p:cBhvr>
                                      <p:tavLst>
                                        <p:tav tm="0">
                                          <p:val>
                                            <p:strVal val="#ppt_x"/>
                                          </p:val>
                                        </p:tav>
                                        <p:tav tm="100000">
                                          <p:val>
                                            <p:strVal val="#ppt_x"/>
                                          </p:val>
                                        </p:tav>
                                      </p:tavLst>
                                    </p:anim>
                                    <p:anim calcmode="lin" valueType="num">
                                      <p:cBhvr>
                                        <p:cTn id="174" dur="250" fill="hold"/>
                                        <p:tgtEl>
                                          <p:spTgt spid="658"/>
                                        </p:tgtEl>
                                        <p:attrNameLst>
                                          <p:attrName>ppt_y</p:attrName>
                                        </p:attrNameLst>
                                      </p:cBhvr>
                                      <p:tavLst>
                                        <p:tav tm="0">
                                          <p:val>
                                            <p:strVal val="#ppt_y-.1"/>
                                          </p:val>
                                        </p:tav>
                                        <p:tav tm="100000">
                                          <p:val>
                                            <p:strVal val="#ppt_y"/>
                                          </p:val>
                                        </p:tav>
                                      </p:tavLst>
                                    </p:anim>
                                  </p:childTnLst>
                                </p:cTn>
                              </p:par>
                              <p:par>
                                <p:cTn id="175" presetID="18" presetClass="entr" presetSubtype="3" fill="hold" nodeType="withEffect">
                                  <p:stCondLst>
                                    <p:cond delay="600"/>
                                  </p:stCondLst>
                                  <p:childTnLst>
                                    <p:set>
                                      <p:cBhvr>
                                        <p:cTn id="176" dur="1" fill="hold">
                                          <p:stCondLst>
                                            <p:cond delay="0"/>
                                          </p:stCondLst>
                                        </p:cTn>
                                        <p:tgtEl>
                                          <p:spTgt spid="249"/>
                                        </p:tgtEl>
                                        <p:attrNameLst>
                                          <p:attrName>style.visibility</p:attrName>
                                        </p:attrNameLst>
                                      </p:cBhvr>
                                      <p:to>
                                        <p:strVal val="visible"/>
                                      </p:to>
                                    </p:set>
                                    <p:animEffect transition="in" filter="strips(upRight)">
                                      <p:cBhvr>
                                        <p:cTn id="177" dur="500"/>
                                        <p:tgtEl>
                                          <p:spTgt spid="249"/>
                                        </p:tgtEl>
                                      </p:cBhvr>
                                    </p:animEffect>
                                  </p:childTnLst>
                                </p:cTn>
                              </p:par>
                              <p:par>
                                <p:cTn id="178" presetID="10" presetClass="entr" presetSubtype="0" fill="hold" grpId="0" nodeType="withEffect">
                                  <p:stCondLst>
                                    <p:cond delay="600"/>
                                  </p:stCondLst>
                                  <p:childTnLst>
                                    <p:set>
                                      <p:cBhvr>
                                        <p:cTn id="179" dur="1" fill="hold">
                                          <p:stCondLst>
                                            <p:cond delay="0"/>
                                          </p:stCondLst>
                                        </p:cTn>
                                        <p:tgtEl>
                                          <p:spTgt spid="256"/>
                                        </p:tgtEl>
                                        <p:attrNameLst>
                                          <p:attrName>style.visibility</p:attrName>
                                        </p:attrNameLst>
                                      </p:cBhvr>
                                      <p:to>
                                        <p:strVal val="visible"/>
                                      </p:to>
                                    </p:set>
                                    <p:animEffect transition="in" filter="fade">
                                      <p:cBhvr>
                                        <p:cTn id="180" dur="500"/>
                                        <p:tgtEl>
                                          <p:spTgt spid="256"/>
                                        </p:tgtEl>
                                      </p:cBhvr>
                                    </p:animEffect>
                                  </p:childTnLst>
                                </p:cTn>
                              </p:par>
                              <p:par>
                                <p:cTn id="181" presetID="47" presetClass="entr" presetSubtype="0" fill="hold" nodeType="withEffect">
                                  <p:stCondLst>
                                    <p:cond delay="800"/>
                                  </p:stCondLst>
                                  <p:childTnLst>
                                    <p:set>
                                      <p:cBhvr>
                                        <p:cTn id="182" dur="1" fill="hold">
                                          <p:stCondLst>
                                            <p:cond delay="0"/>
                                          </p:stCondLst>
                                        </p:cTn>
                                        <p:tgtEl>
                                          <p:spTgt spid="655"/>
                                        </p:tgtEl>
                                        <p:attrNameLst>
                                          <p:attrName>style.visibility</p:attrName>
                                        </p:attrNameLst>
                                      </p:cBhvr>
                                      <p:to>
                                        <p:strVal val="visible"/>
                                      </p:to>
                                    </p:set>
                                    <p:animEffect transition="in" filter="fade">
                                      <p:cBhvr>
                                        <p:cTn id="183" dur="250"/>
                                        <p:tgtEl>
                                          <p:spTgt spid="655"/>
                                        </p:tgtEl>
                                      </p:cBhvr>
                                    </p:animEffect>
                                    <p:anim calcmode="lin" valueType="num">
                                      <p:cBhvr>
                                        <p:cTn id="184" dur="250" fill="hold"/>
                                        <p:tgtEl>
                                          <p:spTgt spid="655"/>
                                        </p:tgtEl>
                                        <p:attrNameLst>
                                          <p:attrName>ppt_x</p:attrName>
                                        </p:attrNameLst>
                                      </p:cBhvr>
                                      <p:tavLst>
                                        <p:tav tm="0">
                                          <p:val>
                                            <p:strVal val="#ppt_x"/>
                                          </p:val>
                                        </p:tav>
                                        <p:tav tm="100000">
                                          <p:val>
                                            <p:strVal val="#ppt_x"/>
                                          </p:val>
                                        </p:tav>
                                      </p:tavLst>
                                    </p:anim>
                                    <p:anim calcmode="lin" valueType="num">
                                      <p:cBhvr>
                                        <p:cTn id="185" dur="250" fill="hold"/>
                                        <p:tgtEl>
                                          <p:spTgt spid="655"/>
                                        </p:tgtEl>
                                        <p:attrNameLst>
                                          <p:attrName>ppt_y</p:attrName>
                                        </p:attrNameLst>
                                      </p:cBhvr>
                                      <p:tavLst>
                                        <p:tav tm="0">
                                          <p:val>
                                            <p:strVal val="#ppt_y-.1"/>
                                          </p:val>
                                        </p:tav>
                                        <p:tav tm="100000">
                                          <p:val>
                                            <p:strVal val="#ppt_y"/>
                                          </p:val>
                                        </p:tav>
                                      </p:tavLst>
                                    </p:anim>
                                  </p:childTnLst>
                                </p:cTn>
                              </p:par>
                              <p:par>
                                <p:cTn id="186" presetID="18" presetClass="entr" presetSubtype="6" fill="hold" nodeType="withEffect">
                                  <p:stCondLst>
                                    <p:cond delay="800"/>
                                  </p:stCondLst>
                                  <p:childTnLst>
                                    <p:set>
                                      <p:cBhvr>
                                        <p:cTn id="187" dur="1" fill="hold">
                                          <p:stCondLst>
                                            <p:cond delay="0"/>
                                          </p:stCondLst>
                                        </p:cTn>
                                        <p:tgtEl>
                                          <p:spTgt spid="266"/>
                                        </p:tgtEl>
                                        <p:attrNameLst>
                                          <p:attrName>style.visibility</p:attrName>
                                        </p:attrNameLst>
                                      </p:cBhvr>
                                      <p:to>
                                        <p:strVal val="visible"/>
                                      </p:to>
                                    </p:set>
                                    <p:animEffect transition="in" filter="strips(downRight)">
                                      <p:cBhvr>
                                        <p:cTn id="188" dur="500"/>
                                        <p:tgtEl>
                                          <p:spTgt spid="266"/>
                                        </p:tgtEl>
                                      </p:cBhvr>
                                    </p:animEffect>
                                  </p:childTnLst>
                                </p:cTn>
                              </p:par>
                              <p:par>
                                <p:cTn id="189" presetID="10" presetClass="entr" presetSubtype="0" fill="hold" grpId="0" nodeType="withEffect">
                                  <p:stCondLst>
                                    <p:cond delay="800"/>
                                  </p:stCondLst>
                                  <p:childTnLst>
                                    <p:set>
                                      <p:cBhvr>
                                        <p:cTn id="190" dur="1" fill="hold">
                                          <p:stCondLst>
                                            <p:cond delay="0"/>
                                          </p:stCondLst>
                                        </p:cTn>
                                        <p:tgtEl>
                                          <p:spTgt spid="257"/>
                                        </p:tgtEl>
                                        <p:attrNameLst>
                                          <p:attrName>style.visibility</p:attrName>
                                        </p:attrNameLst>
                                      </p:cBhvr>
                                      <p:to>
                                        <p:strVal val="visible"/>
                                      </p:to>
                                    </p:set>
                                    <p:animEffect transition="in" filter="fade">
                                      <p:cBhvr>
                                        <p:cTn id="191" dur="500"/>
                                        <p:tgtEl>
                                          <p:spTgt spid="257"/>
                                        </p:tgtEl>
                                      </p:cBhvr>
                                    </p:animEffect>
                                  </p:childTnLst>
                                </p:cTn>
                              </p:par>
                              <p:par>
                                <p:cTn id="192" presetID="47" presetClass="entr" presetSubtype="0" fill="hold" nodeType="withEffect">
                                  <p:stCondLst>
                                    <p:cond delay="900"/>
                                  </p:stCondLst>
                                  <p:childTnLst>
                                    <p:set>
                                      <p:cBhvr>
                                        <p:cTn id="193" dur="1" fill="hold">
                                          <p:stCondLst>
                                            <p:cond delay="0"/>
                                          </p:stCondLst>
                                        </p:cTn>
                                        <p:tgtEl>
                                          <p:spTgt spid="676"/>
                                        </p:tgtEl>
                                        <p:attrNameLst>
                                          <p:attrName>style.visibility</p:attrName>
                                        </p:attrNameLst>
                                      </p:cBhvr>
                                      <p:to>
                                        <p:strVal val="visible"/>
                                      </p:to>
                                    </p:set>
                                    <p:animEffect transition="in" filter="fade">
                                      <p:cBhvr>
                                        <p:cTn id="194" dur="250"/>
                                        <p:tgtEl>
                                          <p:spTgt spid="676"/>
                                        </p:tgtEl>
                                      </p:cBhvr>
                                    </p:animEffect>
                                    <p:anim calcmode="lin" valueType="num">
                                      <p:cBhvr>
                                        <p:cTn id="195" dur="250" fill="hold"/>
                                        <p:tgtEl>
                                          <p:spTgt spid="676"/>
                                        </p:tgtEl>
                                        <p:attrNameLst>
                                          <p:attrName>ppt_x</p:attrName>
                                        </p:attrNameLst>
                                      </p:cBhvr>
                                      <p:tavLst>
                                        <p:tav tm="0">
                                          <p:val>
                                            <p:strVal val="#ppt_x"/>
                                          </p:val>
                                        </p:tav>
                                        <p:tav tm="100000">
                                          <p:val>
                                            <p:strVal val="#ppt_x"/>
                                          </p:val>
                                        </p:tav>
                                      </p:tavLst>
                                    </p:anim>
                                    <p:anim calcmode="lin" valueType="num">
                                      <p:cBhvr>
                                        <p:cTn id="196" dur="250" fill="hold"/>
                                        <p:tgtEl>
                                          <p:spTgt spid="676"/>
                                        </p:tgtEl>
                                        <p:attrNameLst>
                                          <p:attrName>ppt_y</p:attrName>
                                        </p:attrNameLst>
                                      </p:cBhvr>
                                      <p:tavLst>
                                        <p:tav tm="0">
                                          <p:val>
                                            <p:strVal val="#ppt_y-.1"/>
                                          </p:val>
                                        </p:tav>
                                        <p:tav tm="100000">
                                          <p:val>
                                            <p:strVal val="#ppt_y"/>
                                          </p:val>
                                        </p:tav>
                                      </p:tavLst>
                                    </p:anim>
                                  </p:childTnLst>
                                </p:cTn>
                              </p:par>
                              <p:par>
                                <p:cTn id="197" presetID="10" presetClass="entr" presetSubtype="0" fill="hold" grpId="0" nodeType="withEffect">
                                  <p:stCondLst>
                                    <p:cond delay="900"/>
                                  </p:stCondLst>
                                  <p:childTnLst>
                                    <p:set>
                                      <p:cBhvr>
                                        <p:cTn id="198" dur="1" fill="hold">
                                          <p:stCondLst>
                                            <p:cond delay="0"/>
                                          </p:stCondLst>
                                        </p:cTn>
                                        <p:tgtEl>
                                          <p:spTgt spid="243"/>
                                        </p:tgtEl>
                                        <p:attrNameLst>
                                          <p:attrName>style.visibility</p:attrName>
                                        </p:attrNameLst>
                                      </p:cBhvr>
                                      <p:to>
                                        <p:strVal val="visible"/>
                                      </p:to>
                                    </p:set>
                                    <p:animEffect transition="in" filter="fade">
                                      <p:cBhvr>
                                        <p:cTn id="199" dur="500"/>
                                        <p:tgtEl>
                                          <p:spTgt spid="243"/>
                                        </p:tgtEl>
                                      </p:cBhvr>
                                    </p:animEffect>
                                  </p:childTnLst>
                                </p:cTn>
                              </p:par>
                              <p:par>
                                <p:cTn id="200" presetID="22" presetClass="entr" presetSubtype="8" fill="hold" nodeType="withEffect">
                                  <p:stCondLst>
                                    <p:cond delay="900"/>
                                  </p:stCondLst>
                                  <p:childTnLst>
                                    <p:set>
                                      <p:cBhvr>
                                        <p:cTn id="201" dur="1" fill="hold">
                                          <p:stCondLst>
                                            <p:cond delay="0"/>
                                          </p:stCondLst>
                                        </p:cTn>
                                        <p:tgtEl>
                                          <p:spTgt spid="235"/>
                                        </p:tgtEl>
                                        <p:attrNameLst>
                                          <p:attrName>style.visibility</p:attrName>
                                        </p:attrNameLst>
                                      </p:cBhvr>
                                      <p:to>
                                        <p:strVal val="visible"/>
                                      </p:to>
                                    </p:set>
                                    <p:animEffect transition="in" filter="wipe(left)">
                                      <p:cBhvr>
                                        <p:cTn id="202" dur="500"/>
                                        <p:tgtEl>
                                          <p:spTgt spid="235"/>
                                        </p:tgtEl>
                                      </p:cBhvr>
                                    </p:animEffect>
                                  </p:childTnLst>
                                </p:cTn>
                              </p:par>
                              <p:par>
                                <p:cTn id="203" presetID="47" presetClass="entr" presetSubtype="0" fill="hold" nodeType="withEffect">
                                  <p:stCondLst>
                                    <p:cond delay="700"/>
                                  </p:stCondLst>
                                  <p:childTnLst>
                                    <p:set>
                                      <p:cBhvr>
                                        <p:cTn id="204" dur="1" fill="hold">
                                          <p:stCondLst>
                                            <p:cond delay="0"/>
                                          </p:stCondLst>
                                        </p:cTn>
                                        <p:tgtEl>
                                          <p:spTgt spid="239"/>
                                        </p:tgtEl>
                                        <p:attrNameLst>
                                          <p:attrName>style.visibility</p:attrName>
                                        </p:attrNameLst>
                                      </p:cBhvr>
                                      <p:to>
                                        <p:strVal val="visible"/>
                                      </p:to>
                                    </p:set>
                                    <p:animEffect transition="in" filter="fade">
                                      <p:cBhvr>
                                        <p:cTn id="205" dur="250"/>
                                        <p:tgtEl>
                                          <p:spTgt spid="239"/>
                                        </p:tgtEl>
                                      </p:cBhvr>
                                    </p:animEffect>
                                    <p:anim calcmode="lin" valueType="num">
                                      <p:cBhvr>
                                        <p:cTn id="206" dur="250" fill="hold"/>
                                        <p:tgtEl>
                                          <p:spTgt spid="239"/>
                                        </p:tgtEl>
                                        <p:attrNameLst>
                                          <p:attrName>ppt_x</p:attrName>
                                        </p:attrNameLst>
                                      </p:cBhvr>
                                      <p:tavLst>
                                        <p:tav tm="0">
                                          <p:val>
                                            <p:strVal val="#ppt_x"/>
                                          </p:val>
                                        </p:tav>
                                        <p:tav tm="100000">
                                          <p:val>
                                            <p:strVal val="#ppt_x"/>
                                          </p:val>
                                        </p:tav>
                                      </p:tavLst>
                                    </p:anim>
                                    <p:anim calcmode="lin" valueType="num">
                                      <p:cBhvr>
                                        <p:cTn id="207" dur="250" fill="hold"/>
                                        <p:tgtEl>
                                          <p:spTgt spid="239"/>
                                        </p:tgtEl>
                                        <p:attrNameLst>
                                          <p:attrName>ppt_y</p:attrName>
                                        </p:attrNameLst>
                                      </p:cBhvr>
                                      <p:tavLst>
                                        <p:tav tm="0">
                                          <p:val>
                                            <p:strVal val="#ppt_y-.1"/>
                                          </p:val>
                                        </p:tav>
                                        <p:tav tm="100000">
                                          <p:val>
                                            <p:strVal val="#ppt_y"/>
                                          </p:val>
                                        </p:tav>
                                      </p:tavLst>
                                    </p:anim>
                                  </p:childTnLst>
                                </p:cTn>
                              </p:par>
                              <p:par>
                                <p:cTn id="208" presetID="18" presetClass="entr" presetSubtype="3" fill="hold" nodeType="withEffect">
                                  <p:stCondLst>
                                    <p:cond delay="900"/>
                                  </p:stCondLst>
                                  <p:childTnLst>
                                    <p:set>
                                      <p:cBhvr>
                                        <p:cTn id="209" dur="1" fill="hold">
                                          <p:stCondLst>
                                            <p:cond delay="0"/>
                                          </p:stCondLst>
                                        </p:cTn>
                                        <p:tgtEl>
                                          <p:spTgt spid="253"/>
                                        </p:tgtEl>
                                        <p:attrNameLst>
                                          <p:attrName>style.visibility</p:attrName>
                                        </p:attrNameLst>
                                      </p:cBhvr>
                                      <p:to>
                                        <p:strVal val="visible"/>
                                      </p:to>
                                    </p:set>
                                    <p:animEffect transition="in" filter="strips(upRight)">
                                      <p:cBhvr>
                                        <p:cTn id="210" dur="500"/>
                                        <p:tgtEl>
                                          <p:spTgt spid="253"/>
                                        </p:tgtEl>
                                      </p:cBhvr>
                                    </p:animEffect>
                                  </p:childTnLst>
                                </p:cTn>
                              </p:par>
                              <p:par>
                                <p:cTn id="211" presetID="10" presetClass="entr" presetSubtype="0" fill="hold" grpId="0" nodeType="withEffect">
                                  <p:stCondLst>
                                    <p:cond delay="1100"/>
                                  </p:stCondLst>
                                  <p:childTnLst>
                                    <p:set>
                                      <p:cBhvr>
                                        <p:cTn id="212" dur="1" fill="hold">
                                          <p:stCondLst>
                                            <p:cond delay="0"/>
                                          </p:stCondLst>
                                        </p:cTn>
                                        <p:tgtEl>
                                          <p:spTgt spid="262"/>
                                        </p:tgtEl>
                                        <p:attrNameLst>
                                          <p:attrName>style.visibility</p:attrName>
                                        </p:attrNameLst>
                                      </p:cBhvr>
                                      <p:to>
                                        <p:strVal val="visible"/>
                                      </p:to>
                                    </p:set>
                                    <p:animEffect transition="in" filter="fade">
                                      <p:cBhvr>
                                        <p:cTn id="213" dur="500"/>
                                        <p:tgtEl>
                                          <p:spTgt spid="262"/>
                                        </p:tgtEl>
                                      </p:cBhvr>
                                    </p:animEffect>
                                  </p:childTnLst>
                                </p:cTn>
                              </p:par>
                              <p:par>
                                <p:cTn id="214" presetID="47" presetClass="entr" presetSubtype="0" fill="hold" nodeType="withEffect">
                                  <p:stCondLst>
                                    <p:cond delay="500"/>
                                  </p:stCondLst>
                                  <p:childTnLst>
                                    <p:set>
                                      <p:cBhvr>
                                        <p:cTn id="215" dur="1" fill="hold">
                                          <p:stCondLst>
                                            <p:cond delay="0"/>
                                          </p:stCondLst>
                                        </p:cTn>
                                        <p:tgtEl>
                                          <p:spTgt spid="263"/>
                                        </p:tgtEl>
                                        <p:attrNameLst>
                                          <p:attrName>style.visibility</p:attrName>
                                        </p:attrNameLst>
                                      </p:cBhvr>
                                      <p:to>
                                        <p:strVal val="visible"/>
                                      </p:to>
                                    </p:set>
                                    <p:animEffect transition="in" filter="fade">
                                      <p:cBhvr>
                                        <p:cTn id="216" dur="250"/>
                                        <p:tgtEl>
                                          <p:spTgt spid="263"/>
                                        </p:tgtEl>
                                      </p:cBhvr>
                                    </p:animEffect>
                                    <p:anim calcmode="lin" valueType="num">
                                      <p:cBhvr>
                                        <p:cTn id="217" dur="250" fill="hold"/>
                                        <p:tgtEl>
                                          <p:spTgt spid="263"/>
                                        </p:tgtEl>
                                        <p:attrNameLst>
                                          <p:attrName>ppt_x</p:attrName>
                                        </p:attrNameLst>
                                      </p:cBhvr>
                                      <p:tavLst>
                                        <p:tav tm="0">
                                          <p:val>
                                            <p:strVal val="#ppt_x"/>
                                          </p:val>
                                        </p:tav>
                                        <p:tav tm="100000">
                                          <p:val>
                                            <p:strVal val="#ppt_x"/>
                                          </p:val>
                                        </p:tav>
                                      </p:tavLst>
                                    </p:anim>
                                    <p:anim calcmode="lin" valueType="num">
                                      <p:cBhvr>
                                        <p:cTn id="218" dur="250" fill="hold"/>
                                        <p:tgtEl>
                                          <p:spTgt spid="263"/>
                                        </p:tgtEl>
                                        <p:attrNameLst>
                                          <p:attrName>ppt_y</p:attrName>
                                        </p:attrNameLst>
                                      </p:cBhvr>
                                      <p:tavLst>
                                        <p:tav tm="0">
                                          <p:val>
                                            <p:strVal val="#ppt_y-.1"/>
                                          </p:val>
                                        </p:tav>
                                        <p:tav tm="100000">
                                          <p:val>
                                            <p:strVal val="#ppt_y"/>
                                          </p:val>
                                        </p:tav>
                                      </p:tavLst>
                                    </p:anim>
                                  </p:childTnLst>
                                </p:cTn>
                              </p:par>
                              <p:par>
                                <p:cTn id="219" presetID="18" presetClass="entr" presetSubtype="12" fill="hold" nodeType="withEffect">
                                  <p:stCondLst>
                                    <p:cond delay="500"/>
                                  </p:stCondLst>
                                  <p:childTnLst>
                                    <p:set>
                                      <p:cBhvr>
                                        <p:cTn id="220" dur="1" fill="hold">
                                          <p:stCondLst>
                                            <p:cond delay="0"/>
                                          </p:stCondLst>
                                        </p:cTn>
                                        <p:tgtEl>
                                          <p:spTgt spid="269"/>
                                        </p:tgtEl>
                                        <p:attrNameLst>
                                          <p:attrName>style.visibility</p:attrName>
                                        </p:attrNameLst>
                                      </p:cBhvr>
                                      <p:to>
                                        <p:strVal val="visible"/>
                                      </p:to>
                                    </p:set>
                                    <p:animEffect transition="in" filter="strips(downLeft)">
                                      <p:cBhvr>
                                        <p:cTn id="221" dur="500"/>
                                        <p:tgtEl>
                                          <p:spTgt spid="269"/>
                                        </p:tgtEl>
                                      </p:cBhvr>
                                    </p:animEffect>
                                  </p:childTnLst>
                                </p:cTn>
                              </p:par>
                              <p:par>
                                <p:cTn id="222" presetID="10" presetClass="entr" presetSubtype="0" fill="hold" grpId="0" nodeType="withEffect">
                                  <p:stCondLst>
                                    <p:cond delay="500"/>
                                  </p:stCondLst>
                                  <p:childTnLst>
                                    <p:set>
                                      <p:cBhvr>
                                        <p:cTn id="223" dur="1" fill="hold">
                                          <p:stCondLst>
                                            <p:cond delay="0"/>
                                          </p:stCondLst>
                                        </p:cTn>
                                        <p:tgtEl>
                                          <p:spTgt spid="278"/>
                                        </p:tgtEl>
                                        <p:attrNameLst>
                                          <p:attrName>style.visibility</p:attrName>
                                        </p:attrNameLst>
                                      </p:cBhvr>
                                      <p:to>
                                        <p:strVal val="visible"/>
                                      </p:to>
                                    </p:set>
                                    <p:animEffect transition="in" filter="fade">
                                      <p:cBhvr>
                                        <p:cTn id="224" dur="500"/>
                                        <p:tgtEl>
                                          <p:spTgt spid="278"/>
                                        </p:tgtEl>
                                      </p:cBhvr>
                                    </p:animEffect>
                                  </p:childTnLst>
                                </p:cTn>
                              </p:par>
                              <p:par>
                                <p:cTn id="225" presetID="47" presetClass="entr" presetSubtype="0" fill="hold" nodeType="withEffect">
                                  <p:stCondLst>
                                    <p:cond delay="800"/>
                                  </p:stCondLst>
                                  <p:childTnLst>
                                    <p:set>
                                      <p:cBhvr>
                                        <p:cTn id="226" dur="1" fill="hold">
                                          <p:stCondLst>
                                            <p:cond delay="0"/>
                                          </p:stCondLst>
                                        </p:cTn>
                                        <p:tgtEl>
                                          <p:spTgt spid="279"/>
                                        </p:tgtEl>
                                        <p:attrNameLst>
                                          <p:attrName>style.visibility</p:attrName>
                                        </p:attrNameLst>
                                      </p:cBhvr>
                                      <p:to>
                                        <p:strVal val="visible"/>
                                      </p:to>
                                    </p:set>
                                    <p:animEffect transition="in" filter="fade">
                                      <p:cBhvr>
                                        <p:cTn id="227" dur="250"/>
                                        <p:tgtEl>
                                          <p:spTgt spid="279"/>
                                        </p:tgtEl>
                                      </p:cBhvr>
                                    </p:animEffect>
                                    <p:anim calcmode="lin" valueType="num">
                                      <p:cBhvr>
                                        <p:cTn id="228" dur="250" fill="hold"/>
                                        <p:tgtEl>
                                          <p:spTgt spid="279"/>
                                        </p:tgtEl>
                                        <p:attrNameLst>
                                          <p:attrName>ppt_x</p:attrName>
                                        </p:attrNameLst>
                                      </p:cBhvr>
                                      <p:tavLst>
                                        <p:tav tm="0">
                                          <p:val>
                                            <p:strVal val="#ppt_x"/>
                                          </p:val>
                                        </p:tav>
                                        <p:tav tm="100000">
                                          <p:val>
                                            <p:strVal val="#ppt_x"/>
                                          </p:val>
                                        </p:tav>
                                      </p:tavLst>
                                    </p:anim>
                                    <p:anim calcmode="lin" valueType="num">
                                      <p:cBhvr>
                                        <p:cTn id="229" dur="250" fill="hold"/>
                                        <p:tgtEl>
                                          <p:spTgt spid="279"/>
                                        </p:tgtEl>
                                        <p:attrNameLst>
                                          <p:attrName>ppt_y</p:attrName>
                                        </p:attrNameLst>
                                      </p:cBhvr>
                                      <p:tavLst>
                                        <p:tav tm="0">
                                          <p:val>
                                            <p:strVal val="#ppt_y-.1"/>
                                          </p:val>
                                        </p:tav>
                                        <p:tav tm="100000">
                                          <p:val>
                                            <p:strVal val="#ppt_y"/>
                                          </p:val>
                                        </p:tav>
                                      </p:tavLst>
                                    </p:anim>
                                  </p:childTnLst>
                                </p:cTn>
                              </p:par>
                              <p:par>
                                <p:cTn id="230" presetID="18" presetClass="entr" presetSubtype="3" fill="hold" nodeType="withEffect">
                                  <p:stCondLst>
                                    <p:cond delay="900"/>
                                  </p:stCondLst>
                                  <p:childTnLst>
                                    <p:set>
                                      <p:cBhvr>
                                        <p:cTn id="231" dur="1" fill="hold">
                                          <p:stCondLst>
                                            <p:cond delay="0"/>
                                          </p:stCondLst>
                                        </p:cTn>
                                        <p:tgtEl>
                                          <p:spTgt spid="285"/>
                                        </p:tgtEl>
                                        <p:attrNameLst>
                                          <p:attrName>style.visibility</p:attrName>
                                        </p:attrNameLst>
                                      </p:cBhvr>
                                      <p:to>
                                        <p:strVal val="visible"/>
                                      </p:to>
                                    </p:set>
                                    <p:animEffect transition="in" filter="strips(upRight)">
                                      <p:cBhvr>
                                        <p:cTn id="232" dur="500"/>
                                        <p:tgtEl>
                                          <p:spTgt spid="285"/>
                                        </p:tgtEl>
                                      </p:cBhvr>
                                    </p:animEffect>
                                  </p:childTnLst>
                                </p:cTn>
                              </p:par>
                              <p:par>
                                <p:cTn id="233" presetID="10" presetClass="entr" presetSubtype="0" fill="hold" grpId="0" nodeType="withEffect">
                                  <p:stCondLst>
                                    <p:cond delay="1100"/>
                                  </p:stCondLst>
                                  <p:childTnLst>
                                    <p:set>
                                      <p:cBhvr>
                                        <p:cTn id="234" dur="1" fill="hold">
                                          <p:stCondLst>
                                            <p:cond delay="0"/>
                                          </p:stCondLst>
                                        </p:cTn>
                                        <p:tgtEl>
                                          <p:spTgt spid="288"/>
                                        </p:tgtEl>
                                        <p:attrNameLst>
                                          <p:attrName>style.visibility</p:attrName>
                                        </p:attrNameLst>
                                      </p:cBhvr>
                                      <p:to>
                                        <p:strVal val="visible"/>
                                      </p:to>
                                    </p:set>
                                    <p:animEffect transition="in" filter="fade">
                                      <p:cBhvr>
                                        <p:cTn id="235" dur="500"/>
                                        <p:tgtEl>
                                          <p:spTgt spid="288"/>
                                        </p:tgtEl>
                                      </p:cBhvr>
                                    </p:animEffect>
                                  </p:childTnLst>
                                </p:cTn>
                              </p:par>
                              <p:par>
                                <p:cTn id="236" presetID="47" presetClass="entr" presetSubtype="0" fill="hold" nodeType="withEffect">
                                  <p:stCondLst>
                                    <p:cond delay="500"/>
                                  </p:stCondLst>
                                  <p:childTnLst>
                                    <p:set>
                                      <p:cBhvr>
                                        <p:cTn id="237" dur="1" fill="hold">
                                          <p:stCondLst>
                                            <p:cond delay="0"/>
                                          </p:stCondLst>
                                        </p:cTn>
                                        <p:tgtEl>
                                          <p:spTgt spid="289"/>
                                        </p:tgtEl>
                                        <p:attrNameLst>
                                          <p:attrName>style.visibility</p:attrName>
                                        </p:attrNameLst>
                                      </p:cBhvr>
                                      <p:to>
                                        <p:strVal val="visible"/>
                                      </p:to>
                                    </p:set>
                                    <p:animEffect transition="in" filter="fade">
                                      <p:cBhvr>
                                        <p:cTn id="238" dur="250"/>
                                        <p:tgtEl>
                                          <p:spTgt spid="289"/>
                                        </p:tgtEl>
                                      </p:cBhvr>
                                    </p:animEffect>
                                    <p:anim calcmode="lin" valueType="num">
                                      <p:cBhvr>
                                        <p:cTn id="239" dur="250" fill="hold"/>
                                        <p:tgtEl>
                                          <p:spTgt spid="289"/>
                                        </p:tgtEl>
                                        <p:attrNameLst>
                                          <p:attrName>ppt_x</p:attrName>
                                        </p:attrNameLst>
                                      </p:cBhvr>
                                      <p:tavLst>
                                        <p:tav tm="0">
                                          <p:val>
                                            <p:strVal val="#ppt_x"/>
                                          </p:val>
                                        </p:tav>
                                        <p:tav tm="100000">
                                          <p:val>
                                            <p:strVal val="#ppt_x"/>
                                          </p:val>
                                        </p:tav>
                                      </p:tavLst>
                                    </p:anim>
                                    <p:anim calcmode="lin" valueType="num">
                                      <p:cBhvr>
                                        <p:cTn id="240" dur="250" fill="hold"/>
                                        <p:tgtEl>
                                          <p:spTgt spid="289"/>
                                        </p:tgtEl>
                                        <p:attrNameLst>
                                          <p:attrName>ppt_y</p:attrName>
                                        </p:attrNameLst>
                                      </p:cBhvr>
                                      <p:tavLst>
                                        <p:tav tm="0">
                                          <p:val>
                                            <p:strVal val="#ppt_y-.1"/>
                                          </p:val>
                                        </p:tav>
                                        <p:tav tm="100000">
                                          <p:val>
                                            <p:strVal val="#ppt_y"/>
                                          </p:val>
                                        </p:tav>
                                      </p:tavLst>
                                    </p:anim>
                                  </p:childTnLst>
                                </p:cTn>
                              </p:par>
                              <p:par>
                                <p:cTn id="241" presetID="18" presetClass="entr" presetSubtype="12" fill="hold" nodeType="withEffect">
                                  <p:stCondLst>
                                    <p:cond delay="500"/>
                                  </p:stCondLst>
                                  <p:childTnLst>
                                    <p:set>
                                      <p:cBhvr>
                                        <p:cTn id="242" dur="1" fill="hold">
                                          <p:stCondLst>
                                            <p:cond delay="0"/>
                                          </p:stCondLst>
                                        </p:cTn>
                                        <p:tgtEl>
                                          <p:spTgt spid="295"/>
                                        </p:tgtEl>
                                        <p:attrNameLst>
                                          <p:attrName>style.visibility</p:attrName>
                                        </p:attrNameLst>
                                      </p:cBhvr>
                                      <p:to>
                                        <p:strVal val="visible"/>
                                      </p:to>
                                    </p:set>
                                    <p:animEffect transition="in" filter="strips(downLeft)">
                                      <p:cBhvr>
                                        <p:cTn id="243" dur="500"/>
                                        <p:tgtEl>
                                          <p:spTgt spid="295"/>
                                        </p:tgtEl>
                                      </p:cBhvr>
                                    </p:animEffect>
                                  </p:childTnLst>
                                </p:cTn>
                              </p:par>
                              <p:par>
                                <p:cTn id="244" presetID="10" presetClass="entr" presetSubtype="0" fill="hold" grpId="0" nodeType="withEffect">
                                  <p:stCondLst>
                                    <p:cond delay="800"/>
                                  </p:stCondLst>
                                  <p:childTnLst>
                                    <p:set>
                                      <p:cBhvr>
                                        <p:cTn id="245" dur="1" fill="hold">
                                          <p:stCondLst>
                                            <p:cond delay="0"/>
                                          </p:stCondLst>
                                        </p:cTn>
                                        <p:tgtEl>
                                          <p:spTgt spid="301"/>
                                        </p:tgtEl>
                                        <p:attrNameLst>
                                          <p:attrName>style.visibility</p:attrName>
                                        </p:attrNameLst>
                                      </p:cBhvr>
                                      <p:to>
                                        <p:strVal val="visible"/>
                                      </p:to>
                                    </p:set>
                                    <p:animEffect transition="in" filter="fade">
                                      <p:cBhvr>
                                        <p:cTn id="246" dur="500"/>
                                        <p:tgtEl>
                                          <p:spTgt spid="301"/>
                                        </p:tgtEl>
                                      </p:cBhvr>
                                    </p:animEffect>
                                  </p:childTnLst>
                                </p:cTn>
                              </p:par>
                              <p:par>
                                <p:cTn id="247" presetID="18" presetClass="entr" presetSubtype="12" fill="hold" nodeType="withEffect">
                                  <p:stCondLst>
                                    <p:cond delay="500"/>
                                  </p:stCondLst>
                                  <p:childTnLst>
                                    <p:set>
                                      <p:cBhvr>
                                        <p:cTn id="248" dur="1" fill="hold">
                                          <p:stCondLst>
                                            <p:cond delay="0"/>
                                          </p:stCondLst>
                                        </p:cTn>
                                        <p:tgtEl>
                                          <p:spTgt spid="304"/>
                                        </p:tgtEl>
                                        <p:attrNameLst>
                                          <p:attrName>style.visibility</p:attrName>
                                        </p:attrNameLst>
                                      </p:cBhvr>
                                      <p:to>
                                        <p:strVal val="visible"/>
                                      </p:to>
                                    </p:set>
                                    <p:animEffect transition="in" filter="strips(downLeft)">
                                      <p:cBhvr>
                                        <p:cTn id="249" dur="500"/>
                                        <p:tgtEl>
                                          <p:spTgt spid="304"/>
                                        </p:tgtEl>
                                      </p:cBhvr>
                                    </p:animEffect>
                                  </p:childTnLst>
                                </p:cTn>
                              </p:par>
                              <p:par>
                                <p:cTn id="250" presetID="10" presetClass="entr" presetSubtype="0" fill="hold" grpId="0" nodeType="withEffect">
                                  <p:stCondLst>
                                    <p:cond delay="800"/>
                                  </p:stCondLst>
                                  <p:childTnLst>
                                    <p:set>
                                      <p:cBhvr>
                                        <p:cTn id="251" dur="1" fill="hold">
                                          <p:stCondLst>
                                            <p:cond delay="0"/>
                                          </p:stCondLst>
                                        </p:cTn>
                                        <p:tgtEl>
                                          <p:spTgt spid="307"/>
                                        </p:tgtEl>
                                        <p:attrNameLst>
                                          <p:attrName>style.visibility</p:attrName>
                                        </p:attrNameLst>
                                      </p:cBhvr>
                                      <p:to>
                                        <p:strVal val="visible"/>
                                      </p:to>
                                    </p:set>
                                    <p:animEffect transition="in" filter="fade">
                                      <p:cBhvr>
                                        <p:cTn id="252" dur="500"/>
                                        <p:tgtEl>
                                          <p:spTgt spid="307"/>
                                        </p:tgtEl>
                                      </p:cBhvr>
                                    </p:animEffect>
                                  </p:childTnLst>
                                </p:cTn>
                              </p:par>
                              <p:par>
                                <p:cTn id="253" presetID="47" presetClass="entr" presetSubtype="0" fill="hold" nodeType="withEffect">
                                  <p:stCondLst>
                                    <p:cond delay="500"/>
                                  </p:stCondLst>
                                  <p:childTnLst>
                                    <p:set>
                                      <p:cBhvr>
                                        <p:cTn id="254" dur="1" fill="hold">
                                          <p:stCondLst>
                                            <p:cond delay="0"/>
                                          </p:stCondLst>
                                        </p:cTn>
                                        <p:tgtEl>
                                          <p:spTgt spid="308"/>
                                        </p:tgtEl>
                                        <p:attrNameLst>
                                          <p:attrName>style.visibility</p:attrName>
                                        </p:attrNameLst>
                                      </p:cBhvr>
                                      <p:to>
                                        <p:strVal val="visible"/>
                                      </p:to>
                                    </p:set>
                                    <p:animEffect transition="in" filter="fade">
                                      <p:cBhvr>
                                        <p:cTn id="255" dur="250"/>
                                        <p:tgtEl>
                                          <p:spTgt spid="308"/>
                                        </p:tgtEl>
                                      </p:cBhvr>
                                    </p:animEffect>
                                    <p:anim calcmode="lin" valueType="num">
                                      <p:cBhvr>
                                        <p:cTn id="256" dur="250" fill="hold"/>
                                        <p:tgtEl>
                                          <p:spTgt spid="308"/>
                                        </p:tgtEl>
                                        <p:attrNameLst>
                                          <p:attrName>ppt_x</p:attrName>
                                        </p:attrNameLst>
                                      </p:cBhvr>
                                      <p:tavLst>
                                        <p:tav tm="0">
                                          <p:val>
                                            <p:strVal val="#ppt_x"/>
                                          </p:val>
                                        </p:tav>
                                        <p:tav tm="100000">
                                          <p:val>
                                            <p:strVal val="#ppt_x"/>
                                          </p:val>
                                        </p:tav>
                                      </p:tavLst>
                                    </p:anim>
                                    <p:anim calcmode="lin" valueType="num">
                                      <p:cBhvr>
                                        <p:cTn id="257" dur="250" fill="hold"/>
                                        <p:tgtEl>
                                          <p:spTgt spid="308"/>
                                        </p:tgtEl>
                                        <p:attrNameLst>
                                          <p:attrName>ppt_y</p:attrName>
                                        </p:attrNameLst>
                                      </p:cBhvr>
                                      <p:tavLst>
                                        <p:tav tm="0">
                                          <p:val>
                                            <p:strVal val="#ppt_y-.1"/>
                                          </p:val>
                                        </p:tav>
                                        <p:tav tm="100000">
                                          <p:val>
                                            <p:strVal val="#ppt_y"/>
                                          </p:val>
                                        </p:tav>
                                      </p:tavLst>
                                    </p:anim>
                                  </p:childTnLst>
                                </p:cTn>
                              </p:par>
                              <p:par>
                                <p:cTn id="258" presetID="47" presetClass="entr" presetSubtype="0" fill="hold" nodeType="withEffect">
                                  <p:stCondLst>
                                    <p:cond delay="800"/>
                                  </p:stCondLst>
                                  <p:childTnLst>
                                    <p:set>
                                      <p:cBhvr>
                                        <p:cTn id="259" dur="1" fill="hold">
                                          <p:stCondLst>
                                            <p:cond delay="0"/>
                                          </p:stCondLst>
                                        </p:cTn>
                                        <p:tgtEl>
                                          <p:spTgt spid="314"/>
                                        </p:tgtEl>
                                        <p:attrNameLst>
                                          <p:attrName>style.visibility</p:attrName>
                                        </p:attrNameLst>
                                      </p:cBhvr>
                                      <p:to>
                                        <p:strVal val="visible"/>
                                      </p:to>
                                    </p:set>
                                    <p:animEffect transition="in" filter="fade">
                                      <p:cBhvr>
                                        <p:cTn id="260" dur="250"/>
                                        <p:tgtEl>
                                          <p:spTgt spid="314"/>
                                        </p:tgtEl>
                                      </p:cBhvr>
                                    </p:animEffect>
                                    <p:anim calcmode="lin" valueType="num">
                                      <p:cBhvr>
                                        <p:cTn id="261" dur="250" fill="hold"/>
                                        <p:tgtEl>
                                          <p:spTgt spid="314"/>
                                        </p:tgtEl>
                                        <p:attrNameLst>
                                          <p:attrName>ppt_x</p:attrName>
                                        </p:attrNameLst>
                                      </p:cBhvr>
                                      <p:tavLst>
                                        <p:tav tm="0">
                                          <p:val>
                                            <p:strVal val="#ppt_x"/>
                                          </p:val>
                                        </p:tav>
                                        <p:tav tm="100000">
                                          <p:val>
                                            <p:strVal val="#ppt_x"/>
                                          </p:val>
                                        </p:tav>
                                      </p:tavLst>
                                    </p:anim>
                                    <p:anim calcmode="lin" valueType="num">
                                      <p:cBhvr>
                                        <p:cTn id="262" dur="250" fill="hold"/>
                                        <p:tgtEl>
                                          <p:spTgt spid="314"/>
                                        </p:tgtEl>
                                        <p:attrNameLst>
                                          <p:attrName>ppt_y</p:attrName>
                                        </p:attrNameLst>
                                      </p:cBhvr>
                                      <p:tavLst>
                                        <p:tav tm="0">
                                          <p:val>
                                            <p:strVal val="#ppt_y-.1"/>
                                          </p:val>
                                        </p:tav>
                                        <p:tav tm="100000">
                                          <p:val>
                                            <p:strVal val="#ppt_y"/>
                                          </p:val>
                                        </p:tav>
                                      </p:tavLst>
                                    </p:anim>
                                  </p:childTnLst>
                                </p:cTn>
                              </p:par>
                              <p:par>
                                <p:cTn id="263" presetID="18" presetClass="entr" presetSubtype="6" fill="hold" nodeType="withEffect">
                                  <p:stCondLst>
                                    <p:cond delay="800"/>
                                  </p:stCondLst>
                                  <p:childTnLst>
                                    <p:set>
                                      <p:cBhvr>
                                        <p:cTn id="264" dur="1" fill="hold">
                                          <p:stCondLst>
                                            <p:cond delay="0"/>
                                          </p:stCondLst>
                                        </p:cTn>
                                        <p:tgtEl>
                                          <p:spTgt spid="317"/>
                                        </p:tgtEl>
                                        <p:attrNameLst>
                                          <p:attrName>style.visibility</p:attrName>
                                        </p:attrNameLst>
                                      </p:cBhvr>
                                      <p:to>
                                        <p:strVal val="visible"/>
                                      </p:to>
                                    </p:set>
                                    <p:animEffect transition="in" filter="strips(downRight)">
                                      <p:cBhvr>
                                        <p:cTn id="265" dur="500"/>
                                        <p:tgtEl>
                                          <p:spTgt spid="317"/>
                                        </p:tgtEl>
                                      </p:cBhvr>
                                    </p:animEffect>
                                  </p:childTnLst>
                                </p:cTn>
                              </p:par>
                              <p:par>
                                <p:cTn id="266" presetID="10" presetClass="entr" presetSubtype="0" fill="hold" grpId="0" nodeType="withEffect">
                                  <p:stCondLst>
                                    <p:cond delay="800"/>
                                  </p:stCondLst>
                                  <p:childTnLst>
                                    <p:set>
                                      <p:cBhvr>
                                        <p:cTn id="267" dur="1" fill="hold">
                                          <p:stCondLst>
                                            <p:cond delay="0"/>
                                          </p:stCondLst>
                                        </p:cTn>
                                        <p:tgtEl>
                                          <p:spTgt spid="324"/>
                                        </p:tgtEl>
                                        <p:attrNameLst>
                                          <p:attrName>style.visibility</p:attrName>
                                        </p:attrNameLst>
                                      </p:cBhvr>
                                      <p:to>
                                        <p:strVal val="visible"/>
                                      </p:to>
                                    </p:set>
                                    <p:animEffect transition="in" filter="fade">
                                      <p:cBhvr>
                                        <p:cTn id="268" dur="500"/>
                                        <p:tgtEl>
                                          <p:spTgt spid="324"/>
                                        </p:tgtEl>
                                      </p:cBhvr>
                                    </p:animEffect>
                                  </p:childTnLst>
                                </p:cTn>
                              </p:par>
                              <p:par>
                                <p:cTn id="269" presetID="47" presetClass="entr" presetSubtype="0" fill="hold" nodeType="withEffect">
                                  <p:stCondLst>
                                    <p:cond delay="600"/>
                                  </p:stCondLst>
                                  <p:childTnLst>
                                    <p:set>
                                      <p:cBhvr>
                                        <p:cTn id="270" dur="1" fill="hold">
                                          <p:stCondLst>
                                            <p:cond delay="0"/>
                                          </p:stCondLst>
                                        </p:cTn>
                                        <p:tgtEl>
                                          <p:spTgt spid="327"/>
                                        </p:tgtEl>
                                        <p:attrNameLst>
                                          <p:attrName>style.visibility</p:attrName>
                                        </p:attrNameLst>
                                      </p:cBhvr>
                                      <p:to>
                                        <p:strVal val="visible"/>
                                      </p:to>
                                    </p:set>
                                    <p:animEffect transition="in" filter="fade">
                                      <p:cBhvr>
                                        <p:cTn id="271" dur="250"/>
                                        <p:tgtEl>
                                          <p:spTgt spid="327"/>
                                        </p:tgtEl>
                                      </p:cBhvr>
                                    </p:animEffect>
                                    <p:anim calcmode="lin" valueType="num">
                                      <p:cBhvr>
                                        <p:cTn id="272" dur="250" fill="hold"/>
                                        <p:tgtEl>
                                          <p:spTgt spid="327"/>
                                        </p:tgtEl>
                                        <p:attrNameLst>
                                          <p:attrName>ppt_x</p:attrName>
                                        </p:attrNameLst>
                                      </p:cBhvr>
                                      <p:tavLst>
                                        <p:tav tm="0">
                                          <p:val>
                                            <p:strVal val="#ppt_x"/>
                                          </p:val>
                                        </p:tav>
                                        <p:tav tm="100000">
                                          <p:val>
                                            <p:strVal val="#ppt_x"/>
                                          </p:val>
                                        </p:tav>
                                      </p:tavLst>
                                    </p:anim>
                                    <p:anim calcmode="lin" valueType="num">
                                      <p:cBhvr>
                                        <p:cTn id="273" dur="250" fill="hold"/>
                                        <p:tgtEl>
                                          <p:spTgt spid="327"/>
                                        </p:tgtEl>
                                        <p:attrNameLst>
                                          <p:attrName>ppt_y</p:attrName>
                                        </p:attrNameLst>
                                      </p:cBhvr>
                                      <p:tavLst>
                                        <p:tav tm="0">
                                          <p:val>
                                            <p:strVal val="#ppt_y-.1"/>
                                          </p:val>
                                        </p:tav>
                                        <p:tav tm="100000">
                                          <p:val>
                                            <p:strVal val="#ppt_y"/>
                                          </p:val>
                                        </p:tav>
                                      </p:tavLst>
                                    </p:anim>
                                  </p:childTnLst>
                                </p:cTn>
                              </p:par>
                              <p:par>
                                <p:cTn id="274" presetID="18" presetClass="entr" presetSubtype="3" fill="hold" nodeType="withEffect">
                                  <p:stCondLst>
                                    <p:cond delay="600"/>
                                  </p:stCondLst>
                                  <p:childTnLst>
                                    <p:set>
                                      <p:cBhvr>
                                        <p:cTn id="275" dur="1" fill="hold">
                                          <p:stCondLst>
                                            <p:cond delay="0"/>
                                          </p:stCondLst>
                                        </p:cTn>
                                        <p:tgtEl>
                                          <p:spTgt spid="332"/>
                                        </p:tgtEl>
                                        <p:attrNameLst>
                                          <p:attrName>style.visibility</p:attrName>
                                        </p:attrNameLst>
                                      </p:cBhvr>
                                      <p:to>
                                        <p:strVal val="visible"/>
                                      </p:to>
                                    </p:set>
                                    <p:animEffect transition="in" filter="strips(upRight)">
                                      <p:cBhvr>
                                        <p:cTn id="276" dur="500"/>
                                        <p:tgtEl>
                                          <p:spTgt spid="332"/>
                                        </p:tgtEl>
                                      </p:cBhvr>
                                    </p:animEffect>
                                  </p:childTnLst>
                                </p:cTn>
                              </p:par>
                              <p:par>
                                <p:cTn id="277" presetID="10" presetClass="entr" presetSubtype="0" fill="hold" grpId="0" nodeType="withEffect">
                                  <p:stCondLst>
                                    <p:cond delay="600"/>
                                  </p:stCondLst>
                                  <p:childTnLst>
                                    <p:set>
                                      <p:cBhvr>
                                        <p:cTn id="278" dur="1" fill="hold">
                                          <p:stCondLst>
                                            <p:cond delay="0"/>
                                          </p:stCondLst>
                                        </p:cTn>
                                        <p:tgtEl>
                                          <p:spTgt spid="337"/>
                                        </p:tgtEl>
                                        <p:attrNameLst>
                                          <p:attrName>style.visibility</p:attrName>
                                        </p:attrNameLst>
                                      </p:cBhvr>
                                      <p:to>
                                        <p:strVal val="visible"/>
                                      </p:to>
                                    </p:set>
                                    <p:animEffect transition="in" filter="fade">
                                      <p:cBhvr>
                                        <p:cTn id="279" dur="500"/>
                                        <p:tgtEl>
                                          <p:spTgt spid="337"/>
                                        </p:tgtEl>
                                      </p:cBhvr>
                                    </p:animEffect>
                                  </p:childTnLst>
                                </p:cTn>
                              </p:par>
                              <p:par>
                                <p:cTn id="280" presetID="47" presetClass="entr" presetSubtype="0" fill="hold" nodeType="withEffect">
                                  <p:stCondLst>
                                    <p:cond delay="800"/>
                                  </p:stCondLst>
                                  <p:childTnLst>
                                    <p:set>
                                      <p:cBhvr>
                                        <p:cTn id="281" dur="1" fill="hold">
                                          <p:stCondLst>
                                            <p:cond delay="0"/>
                                          </p:stCondLst>
                                        </p:cTn>
                                        <p:tgtEl>
                                          <p:spTgt spid="338"/>
                                        </p:tgtEl>
                                        <p:attrNameLst>
                                          <p:attrName>style.visibility</p:attrName>
                                        </p:attrNameLst>
                                      </p:cBhvr>
                                      <p:to>
                                        <p:strVal val="visible"/>
                                      </p:to>
                                    </p:set>
                                    <p:animEffect transition="in" filter="fade">
                                      <p:cBhvr>
                                        <p:cTn id="282" dur="250"/>
                                        <p:tgtEl>
                                          <p:spTgt spid="338"/>
                                        </p:tgtEl>
                                      </p:cBhvr>
                                    </p:animEffect>
                                    <p:anim calcmode="lin" valueType="num">
                                      <p:cBhvr>
                                        <p:cTn id="283" dur="250" fill="hold"/>
                                        <p:tgtEl>
                                          <p:spTgt spid="338"/>
                                        </p:tgtEl>
                                        <p:attrNameLst>
                                          <p:attrName>ppt_x</p:attrName>
                                        </p:attrNameLst>
                                      </p:cBhvr>
                                      <p:tavLst>
                                        <p:tav tm="0">
                                          <p:val>
                                            <p:strVal val="#ppt_x"/>
                                          </p:val>
                                        </p:tav>
                                        <p:tav tm="100000">
                                          <p:val>
                                            <p:strVal val="#ppt_x"/>
                                          </p:val>
                                        </p:tav>
                                      </p:tavLst>
                                    </p:anim>
                                    <p:anim calcmode="lin" valueType="num">
                                      <p:cBhvr>
                                        <p:cTn id="284" dur="250" fill="hold"/>
                                        <p:tgtEl>
                                          <p:spTgt spid="338"/>
                                        </p:tgtEl>
                                        <p:attrNameLst>
                                          <p:attrName>ppt_y</p:attrName>
                                        </p:attrNameLst>
                                      </p:cBhvr>
                                      <p:tavLst>
                                        <p:tav tm="0">
                                          <p:val>
                                            <p:strVal val="#ppt_y-.1"/>
                                          </p:val>
                                        </p:tav>
                                        <p:tav tm="100000">
                                          <p:val>
                                            <p:strVal val="#ppt_y"/>
                                          </p:val>
                                        </p:tav>
                                      </p:tavLst>
                                    </p:anim>
                                  </p:childTnLst>
                                </p:cTn>
                              </p:par>
                              <p:par>
                                <p:cTn id="285" presetID="10" presetClass="entr" presetSubtype="0" fill="hold" grpId="0" nodeType="withEffect">
                                  <p:stCondLst>
                                    <p:cond delay="500"/>
                                  </p:stCondLst>
                                  <p:childTnLst>
                                    <p:set>
                                      <p:cBhvr>
                                        <p:cTn id="286" dur="1" fill="hold">
                                          <p:stCondLst>
                                            <p:cond delay="0"/>
                                          </p:stCondLst>
                                        </p:cTn>
                                        <p:tgtEl>
                                          <p:spTgt spid="344"/>
                                        </p:tgtEl>
                                        <p:attrNameLst>
                                          <p:attrName>style.visibility</p:attrName>
                                        </p:attrNameLst>
                                      </p:cBhvr>
                                      <p:to>
                                        <p:strVal val="visible"/>
                                      </p:to>
                                    </p:set>
                                    <p:animEffect transition="in" filter="fade">
                                      <p:cBhvr>
                                        <p:cTn id="287" dur="500"/>
                                        <p:tgtEl>
                                          <p:spTgt spid="344"/>
                                        </p:tgtEl>
                                      </p:cBhvr>
                                    </p:animEffect>
                                  </p:childTnLst>
                                </p:cTn>
                              </p:par>
                              <p:par>
                                <p:cTn id="288" presetID="47" presetClass="entr" presetSubtype="0" fill="hold" nodeType="withEffect">
                                  <p:stCondLst>
                                    <p:cond delay="600"/>
                                  </p:stCondLst>
                                  <p:childTnLst>
                                    <p:set>
                                      <p:cBhvr>
                                        <p:cTn id="289" dur="1" fill="hold">
                                          <p:stCondLst>
                                            <p:cond delay="0"/>
                                          </p:stCondLst>
                                        </p:cTn>
                                        <p:tgtEl>
                                          <p:spTgt spid="346"/>
                                        </p:tgtEl>
                                        <p:attrNameLst>
                                          <p:attrName>style.visibility</p:attrName>
                                        </p:attrNameLst>
                                      </p:cBhvr>
                                      <p:to>
                                        <p:strVal val="visible"/>
                                      </p:to>
                                    </p:set>
                                    <p:animEffect transition="in" filter="fade">
                                      <p:cBhvr>
                                        <p:cTn id="290" dur="250"/>
                                        <p:tgtEl>
                                          <p:spTgt spid="346"/>
                                        </p:tgtEl>
                                      </p:cBhvr>
                                    </p:animEffect>
                                    <p:anim calcmode="lin" valueType="num">
                                      <p:cBhvr>
                                        <p:cTn id="291" dur="250" fill="hold"/>
                                        <p:tgtEl>
                                          <p:spTgt spid="346"/>
                                        </p:tgtEl>
                                        <p:attrNameLst>
                                          <p:attrName>ppt_x</p:attrName>
                                        </p:attrNameLst>
                                      </p:cBhvr>
                                      <p:tavLst>
                                        <p:tav tm="0">
                                          <p:val>
                                            <p:strVal val="#ppt_x"/>
                                          </p:val>
                                        </p:tav>
                                        <p:tav tm="100000">
                                          <p:val>
                                            <p:strVal val="#ppt_x"/>
                                          </p:val>
                                        </p:tav>
                                      </p:tavLst>
                                    </p:anim>
                                    <p:anim calcmode="lin" valueType="num">
                                      <p:cBhvr>
                                        <p:cTn id="292" dur="250" fill="hold"/>
                                        <p:tgtEl>
                                          <p:spTgt spid="346"/>
                                        </p:tgtEl>
                                        <p:attrNameLst>
                                          <p:attrName>ppt_y</p:attrName>
                                        </p:attrNameLst>
                                      </p:cBhvr>
                                      <p:tavLst>
                                        <p:tav tm="0">
                                          <p:val>
                                            <p:strVal val="#ppt_y-.1"/>
                                          </p:val>
                                        </p:tav>
                                        <p:tav tm="100000">
                                          <p:val>
                                            <p:strVal val="#ppt_y"/>
                                          </p:val>
                                        </p:tav>
                                      </p:tavLst>
                                    </p:anim>
                                  </p:childTnLst>
                                </p:cTn>
                              </p:par>
                              <p:par>
                                <p:cTn id="293" presetID="18" presetClass="entr" presetSubtype="12" fill="hold" nodeType="withEffect">
                                  <p:stCondLst>
                                    <p:cond delay="500"/>
                                  </p:stCondLst>
                                  <p:childTnLst>
                                    <p:set>
                                      <p:cBhvr>
                                        <p:cTn id="294" dur="1" fill="hold">
                                          <p:stCondLst>
                                            <p:cond delay="0"/>
                                          </p:stCondLst>
                                        </p:cTn>
                                        <p:tgtEl>
                                          <p:spTgt spid="349"/>
                                        </p:tgtEl>
                                        <p:attrNameLst>
                                          <p:attrName>style.visibility</p:attrName>
                                        </p:attrNameLst>
                                      </p:cBhvr>
                                      <p:to>
                                        <p:strVal val="visible"/>
                                      </p:to>
                                    </p:set>
                                    <p:animEffect transition="in" filter="strips(downLeft)">
                                      <p:cBhvr>
                                        <p:cTn id="295" dur="500"/>
                                        <p:tgtEl>
                                          <p:spTgt spid="349"/>
                                        </p:tgtEl>
                                      </p:cBhvr>
                                    </p:animEffect>
                                  </p:childTnLst>
                                </p:cTn>
                              </p:par>
                              <p:par>
                                <p:cTn id="296" presetID="18" presetClass="entr" presetSubtype="6" fill="hold" nodeType="withEffect">
                                  <p:stCondLst>
                                    <p:cond delay="800"/>
                                  </p:stCondLst>
                                  <p:childTnLst>
                                    <p:set>
                                      <p:cBhvr>
                                        <p:cTn id="297" dur="1" fill="hold">
                                          <p:stCondLst>
                                            <p:cond delay="0"/>
                                          </p:stCondLst>
                                        </p:cTn>
                                        <p:tgtEl>
                                          <p:spTgt spid="358"/>
                                        </p:tgtEl>
                                        <p:attrNameLst>
                                          <p:attrName>style.visibility</p:attrName>
                                        </p:attrNameLst>
                                      </p:cBhvr>
                                      <p:to>
                                        <p:strVal val="visible"/>
                                      </p:to>
                                    </p:set>
                                    <p:animEffect transition="in" filter="strips(downRight)">
                                      <p:cBhvr>
                                        <p:cTn id="298" dur="500"/>
                                        <p:tgtEl>
                                          <p:spTgt spid="358"/>
                                        </p:tgtEl>
                                      </p:cBhvr>
                                    </p:animEffect>
                                  </p:childTnLst>
                                </p:cTn>
                              </p:par>
                              <p:par>
                                <p:cTn id="299" presetID="10" presetClass="entr" presetSubtype="0" fill="hold" grpId="0" nodeType="withEffect">
                                  <p:stCondLst>
                                    <p:cond delay="800"/>
                                  </p:stCondLst>
                                  <p:childTnLst>
                                    <p:set>
                                      <p:cBhvr>
                                        <p:cTn id="300" dur="1" fill="hold">
                                          <p:stCondLst>
                                            <p:cond delay="0"/>
                                          </p:stCondLst>
                                        </p:cTn>
                                        <p:tgtEl>
                                          <p:spTgt spid="361"/>
                                        </p:tgtEl>
                                        <p:attrNameLst>
                                          <p:attrName>style.visibility</p:attrName>
                                        </p:attrNameLst>
                                      </p:cBhvr>
                                      <p:to>
                                        <p:strVal val="visible"/>
                                      </p:to>
                                    </p:set>
                                    <p:animEffect transition="in" filter="fade">
                                      <p:cBhvr>
                                        <p:cTn id="301" dur="500"/>
                                        <p:tgtEl>
                                          <p:spTgt spid="3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8" grpId="0" animBg="1"/>
      <p:bldP spid="115" grpId="0"/>
      <p:bldP spid="476" grpId="0"/>
      <p:bldP spid="480" grpId="0"/>
      <p:bldP spid="482" grpId="0"/>
      <p:bldP spid="10" grpId="0" animBg="1"/>
      <p:bldP spid="57" grpId="0"/>
      <p:bldP spid="58" grpId="0"/>
      <p:bldP spid="224" grpId="0" animBg="1"/>
      <p:bldP spid="230" grpId="0"/>
      <p:bldP spid="241" grpId="0"/>
      <p:bldP spid="242" grpId="0"/>
      <p:bldP spid="243" grpId="0"/>
      <p:bldP spid="256" grpId="0"/>
      <p:bldP spid="257" grpId="0"/>
      <p:bldP spid="258" grpId="0"/>
      <p:bldP spid="259" grpId="0"/>
      <p:bldP spid="260" grpId="0"/>
      <p:bldP spid="261" grpId="0"/>
      <p:bldP spid="262" grpId="0"/>
      <p:bldP spid="278" grpId="0"/>
      <p:bldP spid="288" grpId="0"/>
      <p:bldP spid="301" grpId="0"/>
      <p:bldP spid="307" grpId="0"/>
      <p:bldP spid="324" grpId="0"/>
      <p:bldP spid="337" grpId="0"/>
      <p:bldP spid="344" grpId="0" animBg="1"/>
      <p:bldP spid="36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val 12">
            <a:extLst>
              <a:ext uri="{FF2B5EF4-FFF2-40B4-BE49-F238E27FC236}">
                <a16:creationId xmlns="" xmlns:a16="http://schemas.microsoft.com/office/drawing/2014/main" id="{FCAE83F7-ADF8-4C52-85EB-79E6A552AEA3}"/>
              </a:ext>
            </a:extLst>
          </p:cNvPr>
          <p:cNvSpPr/>
          <p:nvPr/>
        </p:nvSpPr>
        <p:spPr>
          <a:xfrm>
            <a:off x="2996619" y="221874"/>
            <a:ext cx="6431208" cy="6431208"/>
          </a:xfrm>
          <a:prstGeom prst="ellipse">
            <a:avLst/>
          </a:prstGeom>
          <a:noFill/>
          <a:ln w="38100">
            <a:solidFill>
              <a:srgbClr val="F269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 xmlns:a16="http://schemas.microsoft.com/office/drawing/2014/main" id="{F876CDEB-C8C7-46B3-80B1-19DBC626E236}"/>
              </a:ext>
            </a:extLst>
          </p:cNvPr>
          <p:cNvSpPr/>
          <p:nvPr/>
        </p:nvSpPr>
        <p:spPr>
          <a:xfrm>
            <a:off x="703047" y="1109532"/>
            <a:ext cx="5505450" cy="5657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idx="4294967295"/>
          </p:nvPr>
        </p:nvSpPr>
        <p:spPr>
          <a:xfrm>
            <a:off x="0" y="1279525"/>
            <a:ext cx="3627438" cy="1311275"/>
          </a:xfrm>
          <a:prstGeom prst="rect">
            <a:avLst/>
          </a:prstGeom>
        </p:spPr>
        <p:txBody>
          <a:bodyPr>
            <a:noAutofit/>
          </a:bodyPr>
          <a:lstStyle/>
          <a:p>
            <a:pPr>
              <a:lnSpc>
                <a:spcPct val="85000"/>
              </a:lnSpc>
            </a:pPr>
            <a:r>
              <a:rPr lang="en-US" sz="2800" b="1" dirty="0">
                <a:solidFill>
                  <a:srgbClr val="F26926"/>
                </a:solidFill>
                <a:latin typeface="Verdana" panose="020B0604030504040204" pitchFamily="34" charset="0"/>
                <a:ea typeface="Verdana" panose="020B0604030504040204" pitchFamily="34" charset="0"/>
                <a:cs typeface="Verdana" panose="020B0604030504040204" pitchFamily="34" charset="0"/>
              </a:rPr>
              <a:t>PATIENT SAFETY </a:t>
            </a:r>
            <a:br>
              <a:rPr lang="en-US" sz="2800" b="1" dirty="0">
                <a:solidFill>
                  <a:srgbClr val="F26926"/>
                </a:solidFill>
                <a:latin typeface="Verdana" panose="020B0604030504040204" pitchFamily="34" charset="0"/>
                <a:ea typeface="Verdana" panose="020B0604030504040204" pitchFamily="34" charset="0"/>
                <a:cs typeface="Verdana" panose="020B0604030504040204" pitchFamily="34" charset="0"/>
              </a:rPr>
            </a:br>
            <a:r>
              <a:rPr lang="en-US" sz="2400" spc="600" dirty="0">
                <a:latin typeface="Verdana" panose="020B0604030504040204" pitchFamily="34" charset="0"/>
                <a:ea typeface="Verdana" panose="020B0604030504040204" pitchFamily="34" charset="0"/>
                <a:cs typeface="Verdana" panose="020B0604030504040204" pitchFamily="34" charset="0"/>
              </a:rPr>
              <a:t>IS OF UTMOST IMPORTANCE</a:t>
            </a:r>
            <a:endParaRPr lang="en-US" sz="2800" spc="600" dirty="0">
              <a:latin typeface="Verdana" panose="020B0604030504040204" pitchFamily="34" charset="0"/>
              <a:ea typeface="Verdana" panose="020B0604030504040204" pitchFamily="34" charset="0"/>
              <a:cs typeface="Verdana" panose="020B0604030504040204" pitchFamily="34" charset="0"/>
            </a:endParaRPr>
          </a:p>
        </p:txBody>
      </p:sp>
      <p:sp>
        <p:nvSpPr>
          <p:cNvPr id="5" name="TextBox 4"/>
          <p:cNvSpPr txBox="1"/>
          <p:nvPr/>
        </p:nvSpPr>
        <p:spPr>
          <a:xfrm>
            <a:off x="1413781" y="3709007"/>
            <a:ext cx="2162175" cy="806486"/>
          </a:xfrm>
          <a:prstGeom prst="rect">
            <a:avLst/>
          </a:prstGeom>
          <a:noFill/>
        </p:spPr>
        <p:txBody>
          <a:bodyPr wrap="square" lIns="73262" tIns="36631" rIns="73262" bIns="36631"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of all patients</a:t>
            </a: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admitted to a hospital receive a vascular access device</a:t>
            </a:r>
            <a:r>
              <a:rPr kumimoji="0" lang="en-US" sz="1400" b="0" i="0" u="none" strike="noStrike" kern="1200" cap="none" spc="0" normalizeH="0" baseline="3000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1</a:t>
            </a:r>
          </a:p>
        </p:txBody>
      </p:sp>
      <p:sp>
        <p:nvSpPr>
          <p:cNvPr id="23" name="TextBox 22"/>
          <p:cNvSpPr txBox="1"/>
          <p:nvPr/>
        </p:nvSpPr>
        <p:spPr>
          <a:xfrm>
            <a:off x="1464272" y="5382386"/>
            <a:ext cx="2031403" cy="623359"/>
          </a:xfrm>
          <a:prstGeom prst="rect">
            <a:avLst/>
          </a:prstGeom>
          <a:noFill/>
        </p:spPr>
        <p:txBody>
          <a:bodyPr wrap="square" lIns="73262" tIns="36631" rIns="73262" bIns="36631"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patients experience a IV catheter-related complication</a:t>
            </a:r>
            <a:r>
              <a:rPr kumimoji="0" lang="en-US" sz="1400" b="0" i="0" u="none" strike="noStrike" kern="1200" cap="none" spc="0" normalizeH="0" baseline="3000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1</a:t>
            </a:r>
          </a:p>
        </p:txBody>
      </p:sp>
      <p:sp>
        <p:nvSpPr>
          <p:cNvPr id="3" name="Rectangle 2"/>
          <p:cNvSpPr/>
          <p:nvPr/>
        </p:nvSpPr>
        <p:spPr>
          <a:xfrm>
            <a:off x="311161" y="2630337"/>
            <a:ext cx="3221253" cy="458587"/>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IV Catheter-Related Complications Compromise Care </a:t>
            </a:r>
          </a:p>
        </p:txBody>
      </p:sp>
      <p:pic>
        <p:nvPicPr>
          <p:cNvPr id="11" name="Graphic 10">
            <a:extLst>
              <a:ext uri="{FF2B5EF4-FFF2-40B4-BE49-F238E27FC236}">
                <a16:creationId xmlns="" xmlns:a16="http://schemas.microsoft.com/office/drawing/2014/main" id="{2E1E3A8E-6BD5-4947-A783-9CE0A8EC0794}"/>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11345612" y="6490506"/>
            <a:ext cx="720740" cy="276876"/>
          </a:xfrm>
          <a:prstGeom prst="rect">
            <a:avLst/>
          </a:prstGeom>
        </p:spPr>
      </p:pic>
      <p:cxnSp>
        <p:nvCxnSpPr>
          <p:cNvPr id="15" name="Straight Connector 14">
            <a:extLst>
              <a:ext uri="{FF2B5EF4-FFF2-40B4-BE49-F238E27FC236}">
                <a16:creationId xmlns="" xmlns:a16="http://schemas.microsoft.com/office/drawing/2014/main" id="{66D0C29F-8DF8-4214-A094-54FD3399D203}"/>
              </a:ext>
            </a:extLst>
          </p:cNvPr>
          <p:cNvCxnSpPr>
            <a:cxnSpLocks/>
          </p:cNvCxnSpPr>
          <p:nvPr/>
        </p:nvCxnSpPr>
        <p:spPr>
          <a:xfrm>
            <a:off x="463550" y="3188960"/>
            <a:ext cx="3032125" cy="0"/>
          </a:xfrm>
          <a:prstGeom prst="line">
            <a:avLst/>
          </a:prstGeom>
          <a:ln w="3175">
            <a:solidFill>
              <a:srgbClr val="E4E5E6"/>
            </a:solidFill>
          </a:ln>
        </p:spPr>
        <p:style>
          <a:lnRef idx="1">
            <a:schemeClr val="accent1"/>
          </a:lnRef>
          <a:fillRef idx="0">
            <a:schemeClr val="accent1"/>
          </a:fillRef>
          <a:effectRef idx="0">
            <a:schemeClr val="accent1"/>
          </a:effectRef>
          <a:fontRef idx="minor">
            <a:schemeClr val="tx1"/>
          </a:fontRef>
        </p:style>
      </p:cxnSp>
      <p:sp>
        <p:nvSpPr>
          <p:cNvPr id="25" name="Partial Circle 24">
            <a:extLst>
              <a:ext uri="{FF2B5EF4-FFF2-40B4-BE49-F238E27FC236}">
                <a16:creationId xmlns="" xmlns:a16="http://schemas.microsoft.com/office/drawing/2014/main" id="{0211A5B6-EE06-43DE-8F89-BA7B2EE626C1}"/>
              </a:ext>
            </a:extLst>
          </p:cNvPr>
          <p:cNvSpPr/>
          <p:nvPr/>
        </p:nvSpPr>
        <p:spPr>
          <a:xfrm>
            <a:off x="392514" y="3584943"/>
            <a:ext cx="956544" cy="956544"/>
          </a:xfrm>
          <a:prstGeom prst="pie">
            <a:avLst>
              <a:gd name="adj1" fmla="val 16705513"/>
              <a:gd name="adj2" fmla="val 16200000"/>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 name="Graphic 13">
            <a:extLst>
              <a:ext uri="{FF2B5EF4-FFF2-40B4-BE49-F238E27FC236}">
                <a16:creationId xmlns="" xmlns:a16="http://schemas.microsoft.com/office/drawing/2014/main" id="{7B483F1B-269A-4D3F-B6F3-031020D19A03}"/>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511169" y="3960556"/>
            <a:ext cx="305458" cy="300325"/>
          </a:xfrm>
          <a:prstGeom prst="rect">
            <a:avLst/>
          </a:prstGeom>
        </p:spPr>
      </p:pic>
      <p:sp>
        <p:nvSpPr>
          <p:cNvPr id="26" name="TextBox 25">
            <a:extLst>
              <a:ext uri="{FF2B5EF4-FFF2-40B4-BE49-F238E27FC236}">
                <a16:creationId xmlns="" xmlns:a16="http://schemas.microsoft.com/office/drawing/2014/main" id="{44DD6F6C-3A71-4B5A-83BC-84E3CE9565F1}"/>
              </a:ext>
            </a:extLst>
          </p:cNvPr>
          <p:cNvSpPr txBox="1"/>
          <p:nvPr/>
        </p:nvSpPr>
        <p:spPr>
          <a:xfrm>
            <a:off x="369988" y="3293555"/>
            <a:ext cx="975957" cy="283266"/>
          </a:xfrm>
          <a:prstGeom prst="rect">
            <a:avLst/>
          </a:prstGeom>
          <a:noFill/>
        </p:spPr>
        <p:txBody>
          <a:bodyPr wrap="square" lIns="73262" tIns="36631" rIns="73262" bIns="36631" rtlCol="0">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Almost</a:t>
            </a:r>
            <a:endParaRPr kumimoji="0" lang="en-US" sz="1600" b="1" i="0" u="none" strike="noStrike" kern="1200" cap="none" spc="0" normalizeH="0" baseline="30000" noProof="0" dirty="0">
              <a:ln>
                <a:noFill/>
              </a:ln>
              <a:solidFill>
                <a:srgbClr val="404041">
                  <a:lumMod val="65000"/>
                  <a:lumOff val="35000"/>
                </a:srgbClr>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7" name="TextBox 26">
            <a:extLst>
              <a:ext uri="{FF2B5EF4-FFF2-40B4-BE49-F238E27FC236}">
                <a16:creationId xmlns="" xmlns:a16="http://schemas.microsoft.com/office/drawing/2014/main" id="{EBC911E5-DA8E-499D-88B1-C390DC519F3C}"/>
              </a:ext>
            </a:extLst>
          </p:cNvPr>
          <p:cNvSpPr txBox="1"/>
          <p:nvPr/>
        </p:nvSpPr>
        <p:spPr>
          <a:xfrm>
            <a:off x="826516" y="4063725"/>
            <a:ext cx="587265" cy="257105"/>
          </a:xfrm>
          <a:prstGeom prst="rect">
            <a:avLst/>
          </a:prstGeom>
          <a:noFill/>
        </p:spPr>
        <p:txBody>
          <a:bodyPr wrap="square" lIns="73262" tIns="36631" rIns="73262" bIns="36631"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90</a:t>
            </a:r>
            <a:r>
              <a:rPr kumimoji="0" lang="en-US" sz="1400" b="1" i="0" u="none" strike="noStrike" kern="1200" cap="none" spc="0" normalizeH="0" baseline="3000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1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a:t>
            </a:r>
            <a:endParaRPr kumimoji="0" lang="en-US" sz="1400" b="0" i="0" u="none" strike="noStrike" kern="1200" cap="none" spc="0" normalizeH="0" baseline="3000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0" name="Oval 29">
            <a:extLst>
              <a:ext uri="{FF2B5EF4-FFF2-40B4-BE49-F238E27FC236}">
                <a16:creationId xmlns="" xmlns:a16="http://schemas.microsoft.com/office/drawing/2014/main" id="{73C04CA3-54E2-4B51-A5E5-6E2CA8B3D036}"/>
              </a:ext>
            </a:extLst>
          </p:cNvPr>
          <p:cNvSpPr/>
          <p:nvPr/>
        </p:nvSpPr>
        <p:spPr>
          <a:xfrm>
            <a:off x="8667104" y="1371614"/>
            <a:ext cx="107569" cy="108296"/>
          </a:xfrm>
          <a:prstGeom prst="ellips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Oval 30">
            <a:extLst>
              <a:ext uri="{FF2B5EF4-FFF2-40B4-BE49-F238E27FC236}">
                <a16:creationId xmlns="" xmlns:a16="http://schemas.microsoft.com/office/drawing/2014/main" id="{731CF226-5701-4A07-A57B-20CD0BE66542}"/>
              </a:ext>
            </a:extLst>
          </p:cNvPr>
          <p:cNvSpPr/>
          <p:nvPr/>
        </p:nvSpPr>
        <p:spPr>
          <a:xfrm>
            <a:off x="8895704" y="1686993"/>
            <a:ext cx="107569" cy="108296"/>
          </a:xfrm>
          <a:prstGeom prst="ellips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Oval 31">
            <a:extLst>
              <a:ext uri="{FF2B5EF4-FFF2-40B4-BE49-F238E27FC236}">
                <a16:creationId xmlns="" xmlns:a16="http://schemas.microsoft.com/office/drawing/2014/main" id="{299D2985-B84B-4860-94C0-3F47E8B4462C}"/>
              </a:ext>
            </a:extLst>
          </p:cNvPr>
          <p:cNvSpPr/>
          <p:nvPr/>
        </p:nvSpPr>
        <p:spPr>
          <a:xfrm>
            <a:off x="9081442" y="2034122"/>
            <a:ext cx="107569" cy="108296"/>
          </a:xfrm>
          <a:prstGeom prst="ellips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 xmlns:a16="http://schemas.microsoft.com/office/drawing/2014/main" id="{DAF95464-4A5C-4FBC-A48B-2519D23E07E2}"/>
              </a:ext>
            </a:extLst>
          </p:cNvPr>
          <p:cNvSpPr/>
          <p:nvPr/>
        </p:nvSpPr>
        <p:spPr>
          <a:xfrm>
            <a:off x="9220761" y="2406650"/>
            <a:ext cx="107569" cy="108296"/>
          </a:xfrm>
          <a:prstGeom prst="ellips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 xmlns:a16="http://schemas.microsoft.com/office/drawing/2014/main" id="{D67D0264-E217-4387-A42C-5D690315E8FE}"/>
              </a:ext>
            </a:extLst>
          </p:cNvPr>
          <p:cNvSpPr/>
          <p:nvPr/>
        </p:nvSpPr>
        <p:spPr>
          <a:xfrm>
            <a:off x="9316011" y="2768600"/>
            <a:ext cx="107569" cy="108296"/>
          </a:xfrm>
          <a:prstGeom prst="ellipse">
            <a:avLst/>
          </a:prstGeom>
          <a:solidFill>
            <a:srgbClr val="F26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Rectangle 34">
            <a:extLst>
              <a:ext uri="{FF2B5EF4-FFF2-40B4-BE49-F238E27FC236}">
                <a16:creationId xmlns="" xmlns:a16="http://schemas.microsoft.com/office/drawing/2014/main" id="{BF2673E9-BFDC-4C9F-80E7-8F1ADC334EAA}"/>
              </a:ext>
            </a:extLst>
          </p:cNvPr>
          <p:cNvSpPr/>
          <p:nvPr/>
        </p:nvSpPr>
        <p:spPr>
          <a:xfrm>
            <a:off x="8803133" y="1219200"/>
            <a:ext cx="2207532" cy="275460"/>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50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INFECTION</a:t>
            </a:r>
          </a:p>
        </p:txBody>
      </p:sp>
      <p:sp>
        <p:nvSpPr>
          <p:cNvPr id="36" name="Rectangle 35">
            <a:extLst>
              <a:ext uri="{FF2B5EF4-FFF2-40B4-BE49-F238E27FC236}">
                <a16:creationId xmlns="" xmlns:a16="http://schemas.microsoft.com/office/drawing/2014/main" id="{01B44B80-63CB-4769-9DA5-BCC4668E4178}"/>
              </a:ext>
            </a:extLst>
          </p:cNvPr>
          <p:cNvSpPr/>
          <p:nvPr/>
        </p:nvSpPr>
        <p:spPr>
          <a:xfrm>
            <a:off x="9013861" y="1559042"/>
            <a:ext cx="2207532" cy="275460"/>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50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PHLEBITIS</a:t>
            </a:r>
          </a:p>
        </p:txBody>
      </p:sp>
      <p:sp>
        <p:nvSpPr>
          <p:cNvPr id="37" name="Rectangle 36">
            <a:extLst>
              <a:ext uri="{FF2B5EF4-FFF2-40B4-BE49-F238E27FC236}">
                <a16:creationId xmlns="" xmlns:a16="http://schemas.microsoft.com/office/drawing/2014/main" id="{BFDA2E4D-1252-4A60-BFCD-4EF2C7D480D1}"/>
              </a:ext>
            </a:extLst>
          </p:cNvPr>
          <p:cNvSpPr/>
          <p:nvPr/>
        </p:nvSpPr>
        <p:spPr>
          <a:xfrm>
            <a:off x="9228381" y="1926381"/>
            <a:ext cx="2207532" cy="275460"/>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50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OCCLUSION</a:t>
            </a:r>
          </a:p>
        </p:txBody>
      </p:sp>
      <p:sp>
        <p:nvSpPr>
          <p:cNvPr id="38" name="Rectangle 37">
            <a:extLst>
              <a:ext uri="{FF2B5EF4-FFF2-40B4-BE49-F238E27FC236}">
                <a16:creationId xmlns="" xmlns:a16="http://schemas.microsoft.com/office/drawing/2014/main" id="{29555E72-3BF1-4A83-A08B-8C08785E8A82}"/>
              </a:ext>
            </a:extLst>
          </p:cNvPr>
          <p:cNvSpPr/>
          <p:nvPr/>
        </p:nvSpPr>
        <p:spPr>
          <a:xfrm>
            <a:off x="9363203" y="2305626"/>
            <a:ext cx="2511298" cy="273791"/>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50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DISLODGEMENT</a:t>
            </a:r>
          </a:p>
        </p:txBody>
      </p:sp>
      <p:sp>
        <p:nvSpPr>
          <p:cNvPr id="39" name="Rectangle 38">
            <a:extLst>
              <a:ext uri="{FF2B5EF4-FFF2-40B4-BE49-F238E27FC236}">
                <a16:creationId xmlns="" xmlns:a16="http://schemas.microsoft.com/office/drawing/2014/main" id="{D52AE28B-B3EB-4614-9734-573F283D7C69}"/>
              </a:ext>
            </a:extLst>
          </p:cNvPr>
          <p:cNvSpPr/>
          <p:nvPr/>
        </p:nvSpPr>
        <p:spPr>
          <a:xfrm>
            <a:off x="9476525" y="2686097"/>
            <a:ext cx="2654516" cy="275460"/>
          </a:xfrm>
          <a:prstGeom prst="rect">
            <a:avLst/>
          </a:prstGeom>
        </p:spPr>
        <p:txBody>
          <a:bodyPr wrap="squar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500" normalizeH="0" baseline="0" noProof="0" dirty="0">
                <a:ln>
                  <a:noFill/>
                </a:ln>
                <a:solidFill>
                  <a:srgbClr val="606062"/>
                </a:solidFill>
                <a:effectLst/>
                <a:uLnTx/>
                <a:uFillTx/>
                <a:latin typeface="Verdana" panose="020B0604030504040204" pitchFamily="34" charset="0"/>
                <a:ea typeface="Verdana" panose="020B0604030504040204" pitchFamily="34" charset="0"/>
                <a:cs typeface="Verdana" panose="020B0604030504040204" pitchFamily="34" charset="0"/>
              </a:rPr>
              <a:t>EXTRAVASATION</a:t>
            </a:r>
          </a:p>
        </p:txBody>
      </p:sp>
      <p:sp>
        <p:nvSpPr>
          <p:cNvPr id="43" name="Rectangle 42">
            <a:extLst>
              <a:ext uri="{FF2B5EF4-FFF2-40B4-BE49-F238E27FC236}">
                <a16:creationId xmlns="" xmlns:a16="http://schemas.microsoft.com/office/drawing/2014/main" id="{6EE35E03-6DE1-46BB-B5D1-D2FDF4F80A59}"/>
              </a:ext>
            </a:extLst>
          </p:cNvPr>
          <p:cNvSpPr/>
          <p:nvPr/>
        </p:nvSpPr>
        <p:spPr>
          <a:xfrm>
            <a:off x="6600382" y="3111501"/>
            <a:ext cx="5591617" cy="2755900"/>
          </a:xfrm>
          <a:prstGeom prst="rect">
            <a:avLst/>
          </a:prstGeom>
          <a:solidFill>
            <a:srgbClr val="055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TextBox 19"/>
          <p:cNvSpPr txBox="1"/>
          <p:nvPr/>
        </p:nvSpPr>
        <p:spPr>
          <a:xfrm>
            <a:off x="9350801" y="3277181"/>
            <a:ext cx="3178139" cy="2466829"/>
          </a:xfrm>
          <a:prstGeom prst="rect">
            <a:avLst/>
          </a:prstGeom>
          <a:noFill/>
        </p:spPr>
        <p:txBody>
          <a:bodyPr wrap="square" rtlCol="0">
            <a:spAutoFit/>
          </a:bodyPr>
          <a:lstStyle/>
          <a:p>
            <a:pPr marL="0" marR="0" lvl="0" indent="0" algn="l" defTabSz="914400" rtl="0" eaLnBrk="1" fontAlgn="auto" latinLnBrk="0" hangingPunct="1">
              <a:lnSpc>
                <a:spcPct val="85000"/>
              </a:lnSpc>
              <a:spcBef>
                <a:spcPts val="40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OMPLICATIONS AND THE RESTARTS THEY REQUIRE</a:t>
            </a:r>
          </a:p>
          <a:p>
            <a:pPr marL="0" marR="0" lvl="0" indent="0" algn="l" defTabSz="914400" rtl="0" eaLnBrk="1" fontAlgn="auto" latinLnBrk="0" hangingPunct="1">
              <a:lnSpc>
                <a:spcPct val="85000"/>
              </a:lnSpc>
              <a:spcBef>
                <a:spcPts val="60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re </a:t>
            </a:r>
            <a:r>
              <a:rPr kumimoji="0" lang="en-US" sz="13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painful and risky </a:t>
            </a:r>
            <a:br>
              <a:rPr kumimoji="0" lang="en-US" sz="13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3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to the patient</a:t>
            </a:r>
          </a:p>
          <a:p>
            <a:pPr marL="0" marR="0" lvl="0" indent="0" algn="l" defTabSz="914400" rtl="0" eaLnBrk="1" fontAlgn="auto" latinLnBrk="0" hangingPunct="1">
              <a:lnSpc>
                <a:spcPct val="85000"/>
              </a:lnSpc>
              <a:spcBef>
                <a:spcPts val="60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an </a:t>
            </a:r>
            <a:r>
              <a:rPr kumimoji="0" lang="en-US" sz="13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elay treatment </a:t>
            </a:r>
            <a:br>
              <a:rPr kumimoji="0" lang="en-US" sz="13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3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nd extend length of stay</a:t>
            </a:r>
          </a:p>
          <a:p>
            <a:pPr marL="0" marR="0" lvl="0" indent="0" algn="l" defTabSz="914400" rtl="0" eaLnBrk="1" fontAlgn="auto" latinLnBrk="0" hangingPunct="1">
              <a:lnSpc>
                <a:spcPct val="85000"/>
              </a:lnSpc>
              <a:spcBef>
                <a:spcPts val="60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an impact </a:t>
            </a:r>
            <a:r>
              <a:rPr kumimoji="0" lang="en-US" sz="13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patient </a:t>
            </a:r>
            <a:br>
              <a:rPr kumimoji="0" lang="en-US" sz="13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3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atisfaction </a:t>
            </a:r>
            <a:r>
              <a:rPr kumimoji="0" lang="en-US" sz="13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nd affect the </a:t>
            </a:r>
            <a:r>
              <a:rPr kumimoji="0" lang="en-US" sz="13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reputation of the provider</a:t>
            </a:r>
          </a:p>
          <a:p>
            <a:pPr marL="0" marR="0" lvl="0" indent="0" algn="l" defTabSz="914400" rtl="0" eaLnBrk="1" fontAlgn="auto" latinLnBrk="0" hangingPunct="1">
              <a:lnSpc>
                <a:spcPct val="85000"/>
              </a:lnSpc>
              <a:spcBef>
                <a:spcPts val="60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an lead to </a:t>
            </a:r>
            <a:r>
              <a:rPr kumimoji="0" lang="en-US" sz="13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increased costs </a:t>
            </a:r>
            <a:br>
              <a:rPr kumimoji="0" lang="en-US" sz="13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3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in product usage and lost efficiency</a:t>
            </a:r>
            <a:endParaRPr kumimoji="0" lang="en-US" sz="1300" b="1" i="0" u="none" strike="noStrike" kern="1200" cap="none" spc="0" normalizeH="0" baseline="3000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42" name="Picture 41">
            <a:extLst>
              <a:ext uri="{FF2B5EF4-FFF2-40B4-BE49-F238E27FC236}">
                <a16:creationId xmlns="" xmlns:a16="http://schemas.microsoft.com/office/drawing/2014/main" id="{4C025424-2877-4FA0-9C2D-7B0BFD5142B0}"/>
              </a:ext>
            </a:extLst>
          </p:cNvPr>
          <p:cNvPicPr>
            <a:picLocks noChangeAspect="1"/>
          </p:cNvPicPr>
          <p:nvPr/>
        </p:nvPicPr>
        <p:blipFill>
          <a:blip r:embed="rId7" cstate="print">
            <a:extLst>
              <a:ext uri="{28A0092B-C50C-407E-A947-70E740481C1C}">
                <a14:useLocalDpi xmlns:a14="http://schemas.microsoft.com/office/drawing/2010/main" val="0"/>
              </a:ext>
            </a:extLst>
          </a:blip>
          <a:srcRect l="13404" t="1253" r="20765"/>
          <a:stretch>
            <a:fillRect/>
          </a:stretch>
        </p:blipFill>
        <p:spPr>
          <a:xfrm>
            <a:off x="3695700" y="920955"/>
            <a:ext cx="5033046" cy="5033046"/>
          </a:xfrm>
          <a:custGeom>
            <a:avLst/>
            <a:gdLst>
              <a:gd name="connsiteX0" fmla="*/ 2516523 w 5033046"/>
              <a:gd name="connsiteY0" fmla="*/ 0 h 5033046"/>
              <a:gd name="connsiteX1" fmla="*/ 5033046 w 5033046"/>
              <a:gd name="connsiteY1" fmla="*/ 2516523 h 5033046"/>
              <a:gd name="connsiteX2" fmla="*/ 2516523 w 5033046"/>
              <a:gd name="connsiteY2" fmla="*/ 5033046 h 5033046"/>
              <a:gd name="connsiteX3" fmla="*/ 0 w 5033046"/>
              <a:gd name="connsiteY3" fmla="*/ 2516523 h 5033046"/>
              <a:gd name="connsiteX4" fmla="*/ 2516523 w 5033046"/>
              <a:gd name="connsiteY4" fmla="*/ 0 h 50330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3046" h="5033046">
                <a:moveTo>
                  <a:pt x="2516523" y="0"/>
                </a:moveTo>
                <a:cubicBezTo>
                  <a:pt x="3906360" y="0"/>
                  <a:pt x="5033046" y="1126686"/>
                  <a:pt x="5033046" y="2516523"/>
                </a:cubicBezTo>
                <a:cubicBezTo>
                  <a:pt x="5033046" y="3906360"/>
                  <a:pt x="3906360" y="5033046"/>
                  <a:pt x="2516523" y="5033046"/>
                </a:cubicBezTo>
                <a:cubicBezTo>
                  <a:pt x="1126686" y="5033046"/>
                  <a:pt x="0" y="3906360"/>
                  <a:pt x="0" y="2516523"/>
                </a:cubicBezTo>
                <a:cubicBezTo>
                  <a:pt x="0" y="1126686"/>
                  <a:pt x="1126686" y="0"/>
                  <a:pt x="2516523" y="0"/>
                </a:cubicBezTo>
                <a:close/>
              </a:path>
            </a:pathLst>
          </a:custGeom>
        </p:spPr>
      </p:pic>
      <p:cxnSp>
        <p:nvCxnSpPr>
          <p:cNvPr id="44" name="Straight Connector 43">
            <a:extLst>
              <a:ext uri="{FF2B5EF4-FFF2-40B4-BE49-F238E27FC236}">
                <a16:creationId xmlns="" xmlns:a16="http://schemas.microsoft.com/office/drawing/2014/main" id="{7136C7AC-AC7D-4670-A71E-23952B886599}"/>
              </a:ext>
            </a:extLst>
          </p:cNvPr>
          <p:cNvCxnSpPr>
            <a:cxnSpLocks/>
          </p:cNvCxnSpPr>
          <p:nvPr/>
        </p:nvCxnSpPr>
        <p:spPr>
          <a:xfrm>
            <a:off x="463550" y="6467180"/>
            <a:ext cx="3032125" cy="0"/>
          </a:xfrm>
          <a:prstGeom prst="line">
            <a:avLst/>
          </a:prstGeom>
          <a:ln w="3175">
            <a:solidFill>
              <a:srgbClr val="E4E5E6"/>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 xmlns:a16="http://schemas.microsoft.com/office/drawing/2014/main" id="{BDDC9437-F948-455E-BA05-B5B935F25546}"/>
              </a:ext>
            </a:extLst>
          </p:cNvPr>
          <p:cNvCxnSpPr>
            <a:cxnSpLocks/>
          </p:cNvCxnSpPr>
          <p:nvPr/>
        </p:nvCxnSpPr>
        <p:spPr>
          <a:xfrm>
            <a:off x="463550" y="4890760"/>
            <a:ext cx="3032125" cy="0"/>
          </a:xfrm>
          <a:prstGeom prst="line">
            <a:avLst/>
          </a:prstGeom>
          <a:ln w="3175">
            <a:solidFill>
              <a:srgbClr val="E4E5E6"/>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 xmlns:a16="http://schemas.microsoft.com/office/drawing/2014/main" id="{37B5383E-E221-4DA2-8ED6-FEE1889BCD71}"/>
              </a:ext>
            </a:extLst>
          </p:cNvPr>
          <p:cNvSpPr txBox="1"/>
          <p:nvPr/>
        </p:nvSpPr>
        <p:spPr>
          <a:xfrm>
            <a:off x="478417" y="5018397"/>
            <a:ext cx="835755" cy="283266"/>
          </a:xfrm>
          <a:prstGeom prst="rect">
            <a:avLst/>
          </a:prstGeom>
          <a:noFill/>
        </p:spPr>
        <p:txBody>
          <a:bodyPr wrap="square" lIns="73262" tIns="36631" rIns="73262" bIns="36631" rtlCol="0">
            <a:spAutoFit/>
          </a:bodyPr>
          <a:lstStyle>
            <a:defPPr>
              <a:defRPr lang="pt-PT"/>
            </a:defPPr>
            <a:lvl1pPr>
              <a:lnSpc>
                <a:spcPct val="85000"/>
              </a:lnSpc>
              <a:defRPr sz="1400" b="1">
                <a:solidFill>
                  <a:srgbClr val="F26926"/>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1 in 2</a:t>
            </a:r>
          </a:p>
        </p:txBody>
      </p:sp>
      <p:pic>
        <p:nvPicPr>
          <p:cNvPr id="48" name="Graphic 47">
            <a:extLst>
              <a:ext uri="{FF2B5EF4-FFF2-40B4-BE49-F238E27FC236}">
                <a16:creationId xmlns="" xmlns:a16="http://schemas.microsoft.com/office/drawing/2014/main" id="{E7B0EEF9-D26D-4695-A492-36EE99BA60D6}"/>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913582" y="5503547"/>
            <a:ext cx="327061" cy="484535"/>
          </a:xfrm>
          <a:prstGeom prst="rect">
            <a:avLst/>
          </a:prstGeom>
        </p:spPr>
      </p:pic>
      <p:cxnSp>
        <p:nvCxnSpPr>
          <p:cNvPr id="50" name="Straight Connector 49">
            <a:extLst>
              <a:ext uri="{FF2B5EF4-FFF2-40B4-BE49-F238E27FC236}">
                <a16:creationId xmlns="" xmlns:a16="http://schemas.microsoft.com/office/drawing/2014/main" id="{9EE5575E-8675-47FE-A872-F12A429AFCBF}"/>
              </a:ext>
            </a:extLst>
          </p:cNvPr>
          <p:cNvCxnSpPr>
            <a:cxnSpLocks/>
          </p:cNvCxnSpPr>
          <p:nvPr/>
        </p:nvCxnSpPr>
        <p:spPr>
          <a:xfrm>
            <a:off x="9454915" y="4122542"/>
            <a:ext cx="2425498" cy="0"/>
          </a:xfrm>
          <a:prstGeom prst="line">
            <a:avLst/>
          </a:prstGeom>
          <a:ln w="3175">
            <a:solidFill>
              <a:srgbClr val="E4E5E6"/>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 xmlns:a16="http://schemas.microsoft.com/office/drawing/2014/main" id="{B60A5BB2-E600-4BAC-89DB-7E4C435CCF26}"/>
              </a:ext>
            </a:extLst>
          </p:cNvPr>
          <p:cNvCxnSpPr>
            <a:cxnSpLocks/>
          </p:cNvCxnSpPr>
          <p:nvPr/>
        </p:nvCxnSpPr>
        <p:spPr>
          <a:xfrm>
            <a:off x="9454915" y="4543843"/>
            <a:ext cx="2425498" cy="0"/>
          </a:xfrm>
          <a:prstGeom prst="line">
            <a:avLst/>
          </a:prstGeom>
          <a:ln w="3175">
            <a:solidFill>
              <a:srgbClr val="E4E5E6"/>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 xmlns:a16="http://schemas.microsoft.com/office/drawing/2014/main" id="{09855846-E575-4CE4-93B3-E8DCF442C902}"/>
              </a:ext>
            </a:extLst>
          </p:cNvPr>
          <p:cNvCxnSpPr>
            <a:cxnSpLocks/>
          </p:cNvCxnSpPr>
          <p:nvPr/>
        </p:nvCxnSpPr>
        <p:spPr>
          <a:xfrm>
            <a:off x="9454915" y="5112089"/>
            <a:ext cx="2425498" cy="0"/>
          </a:xfrm>
          <a:prstGeom prst="line">
            <a:avLst/>
          </a:prstGeom>
          <a:ln w="3175">
            <a:solidFill>
              <a:srgbClr val="E4E5E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 xmlns:a16="http://schemas.microsoft.com/office/drawing/2014/main" id="{4661033B-C609-4E2F-8DC4-785EFB44F0C1}"/>
              </a:ext>
            </a:extLst>
          </p:cNvPr>
          <p:cNvCxnSpPr>
            <a:cxnSpLocks/>
          </p:cNvCxnSpPr>
          <p:nvPr/>
        </p:nvCxnSpPr>
        <p:spPr>
          <a:xfrm>
            <a:off x="1539481" y="3183134"/>
            <a:ext cx="955387" cy="0"/>
          </a:xfrm>
          <a:prstGeom prst="line">
            <a:avLst/>
          </a:prstGeom>
          <a:ln w="57150">
            <a:solidFill>
              <a:srgbClr val="E4E5E6"/>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 xmlns:a16="http://schemas.microsoft.com/office/drawing/2014/main" id="{0D375348-F4E5-40FF-A899-D7E6C53F4646}"/>
              </a:ext>
            </a:extLst>
          </p:cNvPr>
          <p:cNvCxnSpPr>
            <a:cxnSpLocks/>
          </p:cNvCxnSpPr>
          <p:nvPr/>
        </p:nvCxnSpPr>
        <p:spPr>
          <a:xfrm>
            <a:off x="1539481" y="4884934"/>
            <a:ext cx="955387" cy="0"/>
          </a:xfrm>
          <a:prstGeom prst="line">
            <a:avLst/>
          </a:prstGeom>
          <a:ln w="57150">
            <a:solidFill>
              <a:srgbClr val="E4E5E6"/>
            </a:solidFill>
          </a:ln>
        </p:spPr>
        <p:style>
          <a:lnRef idx="1">
            <a:schemeClr val="accent1"/>
          </a:lnRef>
          <a:fillRef idx="0">
            <a:schemeClr val="accent1"/>
          </a:fillRef>
          <a:effectRef idx="0">
            <a:schemeClr val="accent1"/>
          </a:effectRef>
          <a:fontRef idx="minor">
            <a:schemeClr val="tx1"/>
          </a:fontRef>
        </p:style>
      </p:cxnSp>
      <p:pic>
        <p:nvPicPr>
          <p:cNvPr id="68" name="Graphic 67">
            <a:extLst>
              <a:ext uri="{FF2B5EF4-FFF2-40B4-BE49-F238E27FC236}">
                <a16:creationId xmlns="" xmlns:a16="http://schemas.microsoft.com/office/drawing/2014/main" id="{6C1E5CE6-6BDB-4E79-846E-9D834526CEA3}"/>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525421" y="5503547"/>
            <a:ext cx="327061" cy="484535"/>
          </a:xfrm>
          <a:prstGeom prst="rect">
            <a:avLst/>
          </a:prstGeom>
        </p:spPr>
      </p:pic>
      <p:pic>
        <p:nvPicPr>
          <p:cNvPr id="49" name="Graphic 48">
            <a:extLst>
              <a:ext uri="{FF2B5EF4-FFF2-40B4-BE49-F238E27FC236}">
                <a16:creationId xmlns="" xmlns:a16="http://schemas.microsoft.com/office/drawing/2014/main" id="{EE0B9ED1-243E-4C22-BFB0-855FF209D963}"/>
              </a:ext>
            </a:extLst>
          </p:cNvPr>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a:xfrm>
            <a:off x="525422" y="5503547"/>
            <a:ext cx="327061" cy="484535"/>
          </a:xfrm>
          <a:prstGeom prst="rect">
            <a:avLst/>
          </a:prstGeom>
        </p:spPr>
      </p:pic>
      <p:pic>
        <p:nvPicPr>
          <p:cNvPr id="41" name="Picture 40"/>
          <p:cNvPicPr>
            <a:picLocks noChangeAspect="1"/>
          </p:cNvPicPr>
          <p:nvPr/>
        </p:nvPicPr>
        <p:blipFill>
          <a:blip r:embed="rId12"/>
          <a:stretch>
            <a:fillRect/>
          </a:stretch>
        </p:blipFill>
        <p:spPr>
          <a:xfrm>
            <a:off x="76200" y="6629400"/>
            <a:ext cx="4619050" cy="195171"/>
          </a:xfrm>
          <a:prstGeom prst="rect">
            <a:avLst/>
          </a:prstGeom>
        </p:spPr>
      </p:pic>
    </p:spTree>
    <p:extLst>
      <p:ext uri="{BB962C8B-B14F-4D97-AF65-F5344CB8AC3E}">
        <p14:creationId xmlns:p14="http://schemas.microsoft.com/office/powerpoint/2010/main" val="2943605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2" presetClass="entr" presetSubtype="1"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up)">
                                      <p:cBhvr>
                                        <p:cTn id="11" dur="500"/>
                                        <p:tgtEl>
                                          <p:spTgt spid="13"/>
                                        </p:tgtEl>
                                      </p:cBhvr>
                                    </p:animEffect>
                                  </p:childTnLst>
                                </p:cTn>
                              </p:par>
                              <p:par>
                                <p:cTn id="12" presetID="53" presetClass="entr" presetSubtype="16" fill="hold" nodeType="withEffect">
                                  <p:stCondLst>
                                    <p:cond delay="0"/>
                                  </p:stCondLst>
                                  <p:childTnLst>
                                    <p:set>
                                      <p:cBhvr>
                                        <p:cTn id="13" dur="1" fill="hold">
                                          <p:stCondLst>
                                            <p:cond delay="0"/>
                                          </p:stCondLst>
                                        </p:cTn>
                                        <p:tgtEl>
                                          <p:spTgt spid="42"/>
                                        </p:tgtEl>
                                        <p:attrNameLst>
                                          <p:attrName>style.visibility</p:attrName>
                                        </p:attrNameLst>
                                      </p:cBhvr>
                                      <p:to>
                                        <p:strVal val="visible"/>
                                      </p:to>
                                    </p:set>
                                    <p:anim calcmode="lin" valueType="num">
                                      <p:cBhvr>
                                        <p:cTn id="14" dur="500" fill="hold"/>
                                        <p:tgtEl>
                                          <p:spTgt spid="42"/>
                                        </p:tgtEl>
                                        <p:attrNameLst>
                                          <p:attrName>ppt_w</p:attrName>
                                        </p:attrNameLst>
                                      </p:cBhvr>
                                      <p:tavLst>
                                        <p:tav tm="0">
                                          <p:val>
                                            <p:fltVal val="0"/>
                                          </p:val>
                                        </p:tav>
                                        <p:tav tm="100000">
                                          <p:val>
                                            <p:strVal val="#ppt_w"/>
                                          </p:val>
                                        </p:tav>
                                      </p:tavLst>
                                    </p:anim>
                                    <p:anim calcmode="lin" valueType="num">
                                      <p:cBhvr>
                                        <p:cTn id="15" dur="500" fill="hold"/>
                                        <p:tgtEl>
                                          <p:spTgt spid="42"/>
                                        </p:tgtEl>
                                        <p:attrNameLst>
                                          <p:attrName>ppt_h</p:attrName>
                                        </p:attrNameLst>
                                      </p:cBhvr>
                                      <p:tavLst>
                                        <p:tav tm="0">
                                          <p:val>
                                            <p:fltVal val="0"/>
                                          </p:val>
                                        </p:tav>
                                        <p:tav tm="100000">
                                          <p:val>
                                            <p:strVal val="#ppt_h"/>
                                          </p:val>
                                        </p:tav>
                                      </p:tavLst>
                                    </p:anim>
                                    <p:animEffect transition="in" filter="fade">
                                      <p:cBhvr>
                                        <p:cTn id="16" dur="500"/>
                                        <p:tgtEl>
                                          <p:spTgt spid="42"/>
                                        </p:tgtEl>
                                      </p:cBhvr>
                                    </p:animEffect>
                                  </p:childTnLst>
                                </p:cTn>
                              </p:par>
                            </p:childTnLst>
                          </p:cTn>
                        </p:par>
                        <p:par>
                          <p:cTn id="17" fill="hold">
                            <p:stCondLst>
                              <p:cond delay="500"/>
                            </p:stCondLst>
                            <p:childTnLst>
                              <p:par>
                                <p:cTn id="18" presetID="22" presetClass="entr" presetSubtype="2" fill="hold" nodeType="after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wipe(right)">
                                      <p:cBhvr>
                                        <p:cTn id="20" dur="500"/>
                                        <p:tgtEl>
                                          <p:spTgt spid="15"/>
                                        </p:tgtEl>
                                      </p:cBhvr>
                                    </p:animEffect>
                                  </p:childTnLst>
                                </p:cTn>
                              </p:par>
                              <p:par>
                                <p:cTn id="21" presetID="22" presetClass="entr" presetSubtype="2" fill="hold" nodeType="with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wipe(right)">
                                      <p:cBhvr>
                                        <p:cTn id="23" dur="500"/>
                                        <p:tgtEl>
                                          <p:spTgt spid="4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childTnLst>
                          </p:cTn>
                        </p:par>
                        <p:par>
                          <p:cTn id="27" fill="hold">
                            <p:stCondLst>
                              <p:cond delay="1000"/>
                            </p:stCondLst>
                            <p:childTnLst>
                              <p:par>
                                <p:cTn id="28" presetID="10" presetClass="entr" presetSubtype="0" fill="hold" nodeType="after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fade">
                                      <p:cBhvr>
                                        <p:cTn id="30" dur="500"/>
                                        <p:tgtEl>
                                          <p:spTgt spid="16"/>
                                        </p:tgtEl>
                                      </p:cBhvr>
                                    </p:animEffect>
                                  </p:childTnLst>
                                </p:cTn>
                              </p:par>
                              <p:par>
                                <p:cTn id="31" presetID="35" presetClass="path" presetSubtype="0" accel="50000" decel="50000" fill="hold" nodeType="withEffect">
                                  <p:stCondLst>
                                    <p:cond delay="0"/>
                                  </p:stCondLst>
                                  <p:childTnLst>
                                    <p:animMotion origin="layout" path="M -4.79167E-6 -3.7037E-7 L -0.09062 -3.7037E-7 " pathEditMode="relative" rAng="0" ptsTypes="AA">
                                      <p:cBhvr>
                                        <p:cTn id="32" dur="500" fill="hold"/>
                                        <p:tgtEl>
                                          <p:spTgt spid="16"/>
                                        </p:tgtEl>
                                        <p:attrNameLst>
                                          <p:attrName>ppt_x</p:attrName>
                                          <p:attrName>ppt_y</p:attrName>
                                        </p:attrNameLst>
                                      </p:cBhvr>
                                      <p:rCtr x="-4531" y="0"/>
                                    </p:animMotion>
                                  </p:childTnLst>
                                </p:cTn>
                              </p:par>
                              <p:par>
                                <p:cTn id="33" presetID="10" presetClass="entr" presetSubtype="0" fill="hold" grpId="0" nodeType="withEffect">
                                  <p:stCondLst>
                                    <p:cond delay="25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500"/>
                                        <p:tgtEl>
                                          <p:spTgt spid="26"/>
                                        </p:tgtEl>
                                      </p:cBhvr>
                                    </p:animEffect>
                                  </p:childTnLst>
                                </p:cTn>
                              </p:par>
                              <p:par>
                                <p:cTn id="36" presetID="21" presetClass="entr" presetSubtype="1" fill="hold" grpId="0" nodeType="withEffect">
                                  <p:stCondLst>
                                    <p:cond delay="250"/>
                                  </p:stCondLst>
                                  <p:childTnLst>
                                    <p:set>
                                      <p:cBhvr>
                                        <p:cTn id="37" dur="1" fill="hold">
                                          <p:stCondLst>
                                            <p:cond delay="0"/>
                                          </p:stCondLst>
                                        </p:cTn>
                                        <p:tgtEl>
                                          <p:spTgt spid="25"/>
                                        </p:tgtEl>
                                        <p:attrNameLst>
                                          <p:attrName>style.visibility</p:attrName>
                                        </p:attrNameLst>
                                      </p:cBhvr>
                                      <p:to>
                                        <p:strVal val="visible"/>
                                      </p:to>
                                    </p:set>
                                    <p:animEffect transition="in" filter="wheel(1)">
                                      <p:cBhvr>
                                        <p:cTn id="38" dur="500"/>
                                        <p:tgtEl>
                                          <p:spTgt spid="25"/>
                                        </p:tgtEl>
                                      </p:cBhvr>
                                    </p:animEffect>
                                  </p:childTnLst>
                                </p:cTn>
                              </p:par>
                            </p:childTnLst>
                          </p:cTn>
                        </p:par>
                        <p:par>
                          <p:cTn id="39" fill="hold">
                            <p:stCondLst>
                              <p:cond delay="1750"/>
                            </p:stCondLst>
                            <p:childTnLst>
                              <p:par>
                                <p:cTn id="40" presetID="10" presetClass="entr" presetSubtype="0" fill="hold"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fade">
                                      <p:cBhvr>
                                        <p:cTn id="45" dur="500"/>
                                        <p:tgtEl>
                                          <p:spTgt spid="27"/>
                                        </p:tgtEl>
                                      </p:cBhvr>
                                    </p:animEffect>
                                  </p:childTnLst>
                                </p:cTn>
                              </p:par>
                              <p:par>
                                <p:cTn id="46" presetID="10" presetClass="entr" presetSubtype="0" fill="hold" grpId="0" nodeType="withEffect">
                                  <p:stCondLst>
                                    <p:cond delay="250"/>
                                  </p:stCondLst>
                                  <p:childTnLst>
                                    <p:set>
                                      <p:cBhvr>
                                        <p:cTn id="47" dur="1" fill="hold">
                                          <p:stCondLst>
                                            <p:cond delay="0"/>
                                          </p:stCondLst>
                                        </p:cTn>
                                        <p:tgtEl>
                                          <p:spTgt spid="5"/>
                                        </p:tgtEl>
                                        <p:attrNameLst>
                                          <p:attrName>style.visibility</p:attrName>
                                        </p:attrNameLst>
                                      </p:cBhvr>
                                      <p:to>
                                        <p:strVal val="visible"/>
                                      </p:to>
                                    </p:set>
                                    <p:animEffect transition="in" filter="fade">
                                      <p:cBhvr>
                                        <p:cTn id="48" dur="500"/>
                                        <p:tgtEl>
                                          <p:spTgt spid="5"/>
                                        </p:tgtEl>
                                      </p:cBhvr>
                                    </p:animEffect>
                                  </p:childTnLst>
                                </p:cTn>
                              </p:par>
                            </p:childTnLst>
                          </p:cTn>
                        </p:par>
                        <p:par>
                          <p:cTn id="49" fill="hold">
                            <p:stCondLst>
                              <p:cond delay="2500"/>
                            </p:stCondLst>
                            <p:childTnLst>
                              <p:par>
                                <p:cTn id="50" presetID="10" presetClass="entr" presetSubtype="0" fill="hold" nodeType="afterEffect">
                                  <p:stCondLst>
                                    <p:cond delay="0"/>
                                  </p:stCondLst>
                                  <p:childTnLst>
                                    <p:set>
                                      <p:cBhvr>
                                        <p:cTn id="51" dur="1" fill="hold">
                                          <p:stCondLst>
                                            <p:cond delay="0"/>
                                          </p:stCondLst>
                                        </p:cTn>
                                        <p:tgtEl>
                                          <p:spTgt spid="45"/>
                                        </p:tgtEl>
                                        <p:attrNameLst>
                                          <p:attrName>style.visibility</p:attrName>
                                        </p:attrNameLst>
                                      </p:cBhvr>
                                      <p:to>
                                        <p:strVal val="visible"/>
                                      </p:to>
                                    </p:set>
                                    <p:animEffect transition="in" filter="fade">
                                      <p:cBhvr>
                                        <p:cTn id="52" dur="500"/>
                                        <p:tgtEl>
                                          <p:spTgt spid="45"/>
                                        </p:tgtEl>
                                      </p:cBhvr>
                                    </p:animEffect>
                                  </p:childTnLst>
                                </p:cTn>
                              </p:par>
                              <p:par>
                                <p:cTn id="53" presetID="35" presetClass="path" presetSubtype="0" accel="50000" decel="50000" fill="hold" nodeType="withEffect">
                                  <p:stCondLst>
                                    <p:cond delay="0"/>
                                  </p:stCondLst>
                                  <p:childTnLst>
                                    <p:animMotion origin="layout" path="M -4.79167E-6 -3.7037E-7 L -0.09062 -3.7037E-7 " pathEditMode="relative" rAng="0" ptsTypes="AA">
                                      <p:cBhvr>
                                        <p:cTn id="54" dur="500" fill="hold"/>
                                        <p:tgtEl>
                                          <p:spTgt spid="45"/>
                                        </p:tgtEl>
                                        <p:attrNameLst>
                                          <p:attrName>ppt_x</p:attrName>
                                          <p:attrName>ppt_y</p:attrName>
                                        </p:attrNameLst>
                                      </p:cBhvr>
                                      <p:rCtr x="-4531" y="0"/>
                                    </p:animMotion>
                                  </p:childTnLst>
                                </p:cTn>
                              </p:par>
                              <p:par>
                                <p:cTn id="55" presetID="22" presetClass="entr" presetSubtype="2" fill="hold" nodeType="withEffect">
                                  <p:stCondLst>
                                    <p:cond delay="0"/>
                                  </p:stCondLst>
                                  <p:childTnLst>
                                    <p:set>
                                      <p:cBhvr>
                                        <p:cTn id="56" dur="1" fill="hold">
                                          <p:stCondLst>
                                            <p:cond delay="0"/>
                                          </p:stCondLst>
                                        </p:cTn>
                                        <p:tgtEl>
                                          <p:spTgt spid="44"/>
                                        </p:tgtEl>
                                        <p:attrNameLst>
                                          <p:attrName>style.visibility</p:attrName>
                                        </p:attrNameLst>
                                      </p:cBhvr>
                                      <p:to>
                                        <p:strVal val="visible"/>
                                      </p:to>
                                    </p:set>
                                    <p:animEffect transition="in" filter="wipe(right)">
                                      <p:cBhvr>
                                        <p:cTn id="57" dur="500"/>
                                        <p:tgtEl>
                                          <p:spTgt spid="44"/>
                                        </p:tgtEl>
                                      </p:cBhvr>
                                    </p:animEffect>
                                  </p:childTnLst>
                                </p:cTn>
                              </p:par>
                              <p:par>
                                <p:cTn id="58" presetID="10" presetClass="entr" presetSubtype="0" fill="hold" grpId="0" nodeType="withEffect">
                                  <p:stCondLst>
                                    <p:cond delay="250"/>
                                  </p:stCondLst>
                                  <p:childTnLst>
                                    <p:set>
                                      <p:cBhvr>
                                        <p:cTn id="59" dur="1" fill="hold">
                                          <p:stCondLst>
                                            <p:cond delay="0"/>
                                          </p:stCondLst>
                                        </p:cTn>
                                        <p:tgtEl>
                                          <p:spTgt spid="47"/>
                                        </p:tgtEl>
                                        <p:attrNameLst>
                                          <p:attrName>style.visibility</p:attrName>
                                        </p:attrNameLst>
                                      </p:cBhvr>
                                      <p:to>
                                        <p:strVal val="visible"/>
                                      </p:to>
                                    </p:set>
                                    <p:animEffect transition="in" filter="fade">
                                      <p:cBhvr>
                                        <p:cTn id="60" dur="500"/>
                                        <p:tgtEl>
                                          <p:spTgt spid="47"/>
                                        </p:tgtEl>
                                      </p:cBhvr>
                                    </p:animEffect>
                                  </p:childTnLst>
                                </p:cTn>
                              </p:par>
                              <p:par>
                                <p:cTn id="61" presetID="10" presetClass="entr" presetSubtype="0" fill="hold" nodeType="withEffect">
                                  <p:stCondLst>
                                    <p:cond delay="250"/>
                                  </p:stCondLst>
                                  <p:childTnLst>
                                    <p:set>
                                      <p:cBhvr>
                                        <p:cTn id="62" dur="1" fill="hold">
                                          <p:stCondLst>
                                            <p:cond delay="0"/>
                                          </p:stCondLst>
                                        </p:cTn>
                                        <p:tgtEl>
                                          <p:spTgt spid="48"/>
                                        </p:tgtEl>
                                        <p:attrNameLst>
                                          <p:attrName>style.visibility</p:attrName>
                                        </p:attrNameLst>
                                      </p:cBhvr>
                                      <p:to>
                                        <p:strVal val="visible"/>
                                      </p:to>
                                    </p:set>
                                    <p:animEffect transition="in" filter="fade">
                                      <p:cBhvr>
                                        <p:cTn id="63" dur="500"/>
                                        <p:tgtEl>
                                          <p:spTgt spid="48"/>
                                        </p:tgtEl>
                                      </p:cBhvr>
                                    </p:animEffect>
                                  </p:childTnLst>
                                </p:cTn>
                              </p:par>
                              <p:par>
                                <p:cTn id="64" presetID="10" presetClass="entr" presetSubtype="0" fill="hold" nodeType="withEffect">
                                  <p:stCondLst>
                                    <p:cond delay="250"/>
                                  </p:stCondLst>
                                  <p:childTnLst>
                                    <p:set>
                                      <p:cBhvr>
                                        <p:cTn id="65" dur="1" fill="hold">
                                          <p:stCondLst>
                                            <p:cond delay="0"/>
                                          </p:stCondLst>
                                        </p:cTn>
                                        <p:tgtEl>
                                          <p:spTgt spid="68"/>
                                        </p:tgtEl>
                                        <p:attrNameLst>
                                          <p:attrName>style.visibility</p:attrName>
                                        </p:attrNameLst>
                                      </p:cBhvr>
                                      <p:to>
                                        <p:strVal val="visible"/>
                                      </p:to>
                                    </p:set>
                                    <p:animEffect transition="in" filter="fade">
                                      <p:cBhvr>
                                        <p:cTn id="66" dur="500"/>
                                        <p:tgtEl>
                                          <p:spTgt spid="68"/>
                                        </p:tgtEl>
                                      </p:cBhvr>
                                    </p:animEffect>
                                  </p:childTnLst>
                                </p:cTn>
                              </p:par>
                            </p:childTnLst>
                          </p:cTn>
                        </p:par>
                        <p:par>
                          <p:cTn id="67" fill="hold">
                            <p:stCondLst>
                              <p:cond delay="3250"/>
                            </p:stCondLst>
                            <p:childTnLst>
                              <p:par>
                                <p:cTn id="68" presetID="10" presetClass="entr" presetSubtype="0" fill="hold" nodeType="afterEffect">
                                  <p:stCondLst>
                                    <p:cond delay="250"/>
                                  </p:stCondLst>
                                  <p:childTnLst>
                                    <p:set>
                                      <p:cBhvr>
                                        <p:cTn id="69" dur="1" fill="hold">
                                          <p:stCondLst>
                                            <p:cond delay="0"/>
                                          </p:stCondLst>
                                        </p:cTn>
                                        <p:tgtEl>
                                          <p:spTgt spid="49"/>
                                        </p:tgtEl>
                                        <p:attrNameLst>
                                          <p:attrName>style.visibility</p:attrName>
                                        </p:attrNameLst>
                                      </p:cBhvr>
                                      <p:to>
                                        <p:strVal val="visible"/>
                                      </p:to>
                                    </p:set>
                                    <p:animEffect transition="in" filter="fade">
                                      <p:cBhvr>
                                        <p:cTn id="70" dur="500"/>
                                        <p:tgtEl>
                                          <p:spTgt spid="49"/>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3"/>
                                        </p:tgtEl>
                                        <p:attrNameLst>
                                          <p:attrName>style.visibility</p:attrName>
                                        </p:attrNameLst>
                                      </p:cBhvr>
                                      <p:to>
                                        <p:strVal val="visible"/>
                                      </p:to>
                                    </p:set>
                                    <p:animEffect transition="in" filter="fade">
                                      <p:cBhvr>
                                        <p:cTn id="73" dur="500"/>
                                        <p:tgtEl>
                                          <p:spTgt spid="23"/>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30"/>
                                        </p:tgtEl>
                                        <p:attrNameLst>
                                          <p:attrName>style.visibility</p:attrName>
                                        </p:attrNameLst>
                                      </p:cBhvr>
                                      <p:to>
                                        <p:strVal val="visible"/>
                                      </p:to>
                                    </p:set>
                                    <p:animEffect transition="in" filter="fade">
                                      <p:cBhvr>
                                        <p:cTn id="78" dur="500"/>
                                        <p:tgtEl>
                                          <p:spTgt spid="30"/>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35"/>
                                        </p:tgtEl>
                                        <p:attrNameLst>
                                          <p:attrName>style.visibility</p:attrName>
                                        </p:attrNameLst>
                                      </p:cBhvr>
                                      <p:to>
                                        <p:strVal val="visible"/>
                                      </p:to>
                                    </p:set>
                                    <p:animEffect transition="in" filter="fade">
                                      <p:cBhvr>
                                        <p:cTn id="81" dur="500"/>
                                        <p:tgtEl>
                                          <p:spTgt spid="35"/>
                                        </p:tgtEl>
                                      </p:cBhvr>
                                    </p:animEffect>
                                  </p:childTnLst>
                                </p:cTn>
                              </p:par>
                            </p:childTnLst>
                          </p:cTn>
                        </p:par>
                        <p:par>
                          <p:cTn id="82" fill="hold">
                            <p:stCondLst>
                              <p:cond delay="500"/>
                            </p:stCondLst>
                            <p:childTnLst>
                              <p:par>
                                <p:cTn id="83" presetID="10" presetClass="entr" presetSubtype="0" fill="hold" grpId="0" nodeType="afterEffect">
                                  <p:stCondLst>
                                    <p:cond delay="0"/>
                                  </p:stCondLst>
                                  <p:childTnLst>
                                    <p:set>
                                      <p:cBhvr>
                                        <p:cTn id="84" dur="1" fill="hold">
                                          <p:stCondLst>
                                            <p:cond delay="0"/>
                                          </p:stCondLst>
                                        </p:cTn>
                                        <p:tgtEl>
                                          <p:spTgt spid="31"/>
                                        </p:tgtEl>
                                        <p:attrNameLst>
                                          <p:attrName>style.visibility</p:attrName>
                                        </p:attrNameLst>
                                      </p:cBhvr>
                                      <p:to>
                                        <p:strVal val="visible"/>
                                      </p:to>
                                    </p:set>
                                    <p:animEffect transition="in" filter="fade">
                                      <p:cBhvr>
                                        <p:cTn id="85" dur="500"/>
                                        <p:tgtEl>
                                          <p:spTgt spid="31"/>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36"/>
                                        </p:tgtEl>
                                        <p:attrNameLst>
                                          <p:attrName>style.visibility</p:attrName>
                                        </p:attrNameLst>
                                      </p:cBhvr>
                                      <p:to>
                                        <p:strVal val="visible"/>
                                      </p:to>
                                    </p:set>
                                    <p:animEffect transition="in" filter="fade">
                                      <p:cBhvr>
                                        <p:cTn id="88" dur="500"/>
                                        <p:tgtEl>
                                          <p:spTgt spid="36"/>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32"/>
                                        </p:tgtEl>
                                        <p:attrNameLst>
                                          <p:attrName>style.visibility</p:attrName>
                                        </p:attrNameLst>
                                      </p:cBhvr>
                                      <p:to>
                                        <p:strVal val="visible"/>
                                      </p:to>
                                    </p:set>
                                    <p:animEffect transition="in" filter="fade">
                                      <p:cBhvr>
                                        <p:cTn id="92" dur="500"/>
                                        <p:tgtEl>
                                          <p:spTgt spid="32"/>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37"/>
                                        </p:tgtEl>
                                        <p:attrNameLst>
                                          <p:attrName>style.visibility</p:attrName>
                                        </p:attrNameLst>
                                      </p:cBhvr>
                                      <p:to>
                                        <p:strVal val="visible"/>
                                      </p:to>
                                    </p:set>
                                    <p:animEffect transition="in" filter="fade">
                                      <p:cBhvr>
                                        <p:cTn id="95" dur="500"/>
                                        <p:tgtEl>
                                          <p:spTgt spid="37"/>
                                        </p:tgtEl>
                                      </p:cBhvr>
                                    </p:animEffect>
                                  </p:childTnLst>
                                </p:cTn>
                              </p:par>
                            </p:childTnLst>
                          </p:cTn>
                        </p:par>
                        <p:par>
                          <p:cTn id="96" fill="hold">
                            <p:stCondLst>
                              <p:cond delay="1500"/>
                            </p:stCondLst>
                            <p:childTnLst>
                              <p:par>
                                <p:cTn id="97" presetID="10" presetClass="entr" presetSubtype="0" fill="hold" grpId="0" nodeType="afterEffect">
                                  <p:stCondLst>
                                    <p:cond delay="0"/>
                                  </p:stCondLst>
                                  <p:childTnLst>
                                    <p:set>
                                      <p:cBhvr>
                                        <p:cTn id="98" dur="1" fill="hold">
                                          <p:stCondLst>
                                            <p:cond delay="0"/>
                                          </p:stCondLst>
                                        </p:cTn>
                                        <p:tgtEl>
                                          <p:spTgt spid="33"/>
                                        </p:tgtEl>
                                        <p:attrNameLst>
                                          <p:attrName>style.visibility</p:attrName>
                                        </p:attrNameLst>
                                      </p:cBhvr>
                                      <p:to>
                                        <p:strVal val="visible"/>
                                      </p:to>
                                    </p:set>
                                    <p:animEffect transition="in" filter="fade">
                                      <p:cBhvr>
                                        <p:cTn id="99" dur="500"/>
                                        <p:tgtEl>
                                          <p:spTgt spid="33"/>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38"/>
                                        </p:tgtEl>
                                        <p:attrNameLst>
                                          <p:attrName>style.visibility</p:attrName>
                                        </p:attrNameLst>
                                      </p:cBhvr>
                                      <p:to>
                                        <p:strVal val="visible"/>
                                      </p:to>
                                    </p:set>
                                    <p:animEffect transition="in" filter="fade">
                                      <p:cBhvr>
                                        <p:cTn id="102" dur="500"/>
                                        <p:tgtEl>
                                          <p:spTgt spid="38"/>
                                        </p:tgtEl>
                                      </p:cBhvr>
                                    </p:animEffect>
                                  </p:childTnLst>
                                </p:cTn>
                              </p:par>
                            </p:childTnLst>
                          </p:cTn>
                        </p:par>
                        <p:par>
                          <p:cTn id="103" fill="hold">
                            <p:stCondLst>
                              <p:cond delay="2000"/>
                            </p:stCondLst>
                            <p:childTnLst>
                              <p:par>
                                <p:cTn id="104" presetID="10" presetClass="entr" presetSubtype="0" fill="hold" grpId="0" nodeType="afterEffect">
                                  <p:stCondLst>
                                    <p:cond delay="0"/>
                                  </p:stCondLst>
                                  <p:childTnLst>
                                    <p:set>
                                      <p:cBhvr>
                                        <p:cTn id="105" dur="1" fill="hold">
                                          <p:stCondLst>
                                            <p:cond delay="0"/>
                                          </p:stCondLst>
                                        </p:cTn>
                                        <p:tgtEl>
                                          <p:spTgt spid="34"/>
                                        </p:tgtEl>
                                        <p:attrNameLst>
                                          <p:attrName>style.visibility</p:attrName>
                                        </p:attrNameLst>
                                      </p:cBhvr>
                                      <p:to>
                                        <p:strVal val="visible"/>
                                      </p:to>
                                    </p:set>
                                    <p:animEffect transition="in" filter="fade">
                                      <p:cBhvr>
                                        <p:cTn id="106" dur="500"/>
                                        <p:tgtEl>
                                          <p:spTgt spid="34"/>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39"/>
                                        </p:tgtEl>
                                        <p:attrNameLst>
                                          <p:attrName>style.visibility</p:attrName>
                                        </p:attrNameLst>
                                      </p:cBhvr>
                                      <p:to>
                                        <p:strVal val="visible"/>
                                      </p:to>
                                    </p:set>
                                    <p:animEffect transition="in" filter="fade">
                                      <p:cBhvr>
                                        <p:cTn id="109" dur="500"/>
                                        <p:tgtEl>
                                          <p:spTgt spid="39"/>
                                        </p:tgtEl>
                                      </p:cBhvr>
                                    </p:animEffect>
                                  </p:childTnLst>
                                </p:cTn>
                              </p:par>
                            </p:childTnLst>
                          </p:cTn>
                        </p:par>
                      </p:childTnLst>
                    </p:cTn>
                  </p:par>
                  <p:par>
                    <p:cTn id="110" fill="hold">
                      <p:stCondLst>
                        <p:cond delay="indefinite"/>
                      </p:stCondLst>
                      <p:childTnLst>
                        <p:par>
                          <p:cTn id="111" fill="hold">
                            <p:stCondLst>
                              <p:cond delay="0"/>
                            </p:stCondLst>
                            <p:childTnLst>
                              <p:par>
                                <p:cTn id="112" presetID="22" presetClass="entr" presetSubtype="8" fill="hold" grpId="0" nodeType="clickEffect">
                                  <p:stCondLst>
                                    <p:cond delay="0"/>
                                  </p:stCondLst>
                                  <p:childTnLst>
                                    <p:set>
                                      <p:cBhvr>
                                        <p:cTn id="113" dur="1" fill="hold">
                                          <p:stCondLst>
                                            <p:cond delay="0"/>
                                          </p:stCondLst>
                                        </p:cTn>
                                        <p:tgtEl>
                                          <p:spTgt spid="43"/>
                                        </p:tgtEl>
                                        <p:attrNameLst>
                                          <p:attrName>style.visibility</p:attrName>
                                        </p:attrNameLst>
                                      </p:cBhvr>
                                      <p:to>
                                        <p:strVal val="visible"/>
                                      </p:to>
                                    </p:set>
                                    <p:animEffect transition="in" filter="wipe(left)">
                                      <p:cBhvr>
                                        <p:cTn id="114" dur="500"/>
                                        <p:tgtEl>
                                          <p:spTgt spid="43"/>
                                        </p:tgtEl>
                                      </p:cBhvr>
                                    </p:animEffect>
                                  </p:childTnLst>
                                </p:cTn>
                              </p:par>
                            </p:childTnLst>
                          </p:cTn>
                        </p:par>
                        <p:par>
                          <p:cTn id="115" fill="hold">
                            <p:stCondLst>
                              <p:cond delay="500"/>
                            </p:stCondLst>
                            <p:childTnLst>
                              <p:par>
                                <p:cTn id="116" presetID="10" presetClass="entr" presetSubtype="0" fill="hold" grpId="0" nodeType="afterEffect">
                                  <p:stCondLst>
                                    <p:cond delay="0"/>
                                  </p:stCondLst>
                                  <p:childTnLst>
                                    <p:set>
                                      <p:cBhvr>
                                        <p:cTn id="117" dur="1" fill="hold">
                                          <p:stCondLst>
                                            <p:cond delay="0"/>
                                          </p:stCondLst>
                                        </p:cTn>
                                        <p:tgtEl>
                                          <p:spTgt spid="20"/>
                                        </p:tgtEl>
                                        <p:attrNameLst>
                                          <p:attrName>style.visibility</p:attrName>
                                        </p:attrNameLst>
                                      </p:cBhvr>
                                      <p:to>
                                        <p:strVal val="visible"/>
                                      </p:to>
                                    </p:set>
                                    <p:animEffect transition="in" filter="fade">
                                      <p:cBhvr>
                                        <p:cTn id="118" dur="500"/>
                                        <p:tgtEl>
                                          <p:spTgt spid="20"/>
                                        </p:tgtEl>
                                      </p:cBhvr>
                                    </p:animEffect>
                                  </p:childTnLst>
                                </p:cTn>
                              </p:par>
                              <p:par>
                                <p:cTn id="119" presetID="10" presetClass="entr" presetSubtype="0" fill="hold" nodeType="withEffect">
                                  <p:stCondLst>
                                    <p:cond delay="0"/>
                                  </p:stCondLst>
                                  <p:childTnLst>
                                    <p:set>
                                      <p:cBhvr>
                                        <p:cTn id="120" dur="1" fill="hold">
                                          <p:stCondLst>
                                            <p:cond delay="0"/>
                                          </p:stCondLst>
                                        </p:cTn>
                                        <p:tgtEl>
                                          <p:spTgt spid="50"/>
                                        </p:tgtEl>
                                        <p:attrNameLst>
                                          <p:attrName>style.visibility</p:attrName>
                                        </p:attrNameLst>
                                      </p:cBhvr>
                                      <p:to>
                                        <p:strVal val="visible"/>
                                      </p:to>
                                    </p:set>
                                    <p:animEffect transition="in" filter="fade">
                                      <p:cBhvr>
                                        <p:cTn id="121" dur="500"/>
                                        <p:tgtEl>
                                          <p:spTgt spid="50"/>
                                        </p:tgtEl>
                                      </p:cBhvr>
                                    </p:animEffect>
                                  </p:childTnLst>
                                </p:cTn>
                              </p:par>
                              <p:par>
                                <p:cTn id="122" presetID="10" presetClass="entr" presetSubtype="0" fill="hold" nodeType="withEffect">
                                  <p:stCondLst>
                                    <p:cond delay="0"/>
                                  </p:stCondLst>
                                  <p:childTnLst>
                                    <p:set>
                                      <p:cBhvr>
                                        <p:cTn id="123" dur="1" fill="hold">
                                          <p:stCondLst>
                                            <p:cond delay="0"/>
                                          </p:stCondLst>
                                        </p:cTn>
                                        <p:tgtEl>
                                          <p:spTgt spid="53"/>
                                        </p:tgtEl>
                                        <p:attrNameLst>
                                          <p:attrName>style.visibility</p:attrName>
                                        </p:attrNameLst>
                                      </p:cBhvr>
                                      <p:to>
                                        <p:strVal val="visible"/>
                                      </p:to>
                                    </p:set>
                                    <p:animEffect transition="in" filter="fade">
                                      <p:cBhvr>
                                        <p:cTn id="124" dur="500"/>
                                        <p:tgtEl>
                                          <p:spTgt spid="53"/>
                                        </p:tgtEl>
                                      </p:cBhvr>
                                    </p:animEffect>
                                  </p:childTnLst>
                                </p:cTn>
                              </p:par>
                              <p:par>
                                <p:cTn id="125" presetID="10" presetClass="entr" presetSubtype="0" fill="hold" nodeType="withEffect">
                                  <p:stCondLst>
                                    <p:cond delay="0"/>
                                  </p:stCondLst>
                                  <p:childTnLst>
                                    <p:set>
                                      <p:cBhvr>
                                        <p:cTn id="126" dur="1" fill="hold">
                                          <p:stCondLst>
                                            <p:cond delay="0"/>
                                          </p:stCondLst>
                                        </p:cTn>
                                        <p:tgtEl>
                                          <p:spTgt spid="54"/>
                                        </p:tgtEl>
                                        <p:attrNameLst>
                                          <p:attrName>style.visibility</p:attrName>
                                        </p:attrNameLst>
                                      </p:cBhvr>
                                      <p:to>
                                        <p:strVal val="visible"/>
                                      </p:to>
                                    </p:set>
                                    <p:animEffect transition="in" filter="fade">
                                      <p:cBhvr>
                                        <p:cTn id="127"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 grpId="0"/>
      <p:bldP spid="5" grpId="0"/>
      <p:bldP spid="23" grpId="0"/>
      <p:bldP spid="3" grpId="0"/>
      <p:bldP spid="25" grpId="0" animBg="1"/>
      <p:bldP spid="26" grpId="0"/>
      <p:bldP spid="27" grpId="0"/>
      <p:bldP spid="30" grpId="0" animBg="1"/>
      <p:bldP spid="31" grpId="0" animBg="1"/>
      <p:bldP spid="32" grpId="0" animBg="1"/>
      <p:bldP spid="33" grpId="0" animBg="1"/>
      <p:bldP spid="34" grpId="0" animBg="1"/>
      <p:bldP spid="35" grpId="0"/>
      <p:bldP spid="36" grpId="0"/>
      <p:bldP spid="37" grpId="0"/>
      <p:bldP spid="38" grpId="0"/>
      <p:bldP spid="39" grpId="0"/>
      <p:bldP spid="43" grpId="0" animBg="1"/>
      <p:bldP spid="20" grpId="0"/>
      <p:bldP spid="47"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Number Placeholder 1"/>
          <p:cNvSpPr>
            <a:spLocks noGrp="1"/>
          </p:cNvSpPr>
          <p:nvPr>
            <p:ph type="sldNum" sz="quarter" idx="10"/>
          </p:nvPr>
        </p:nvSpPr>
        <p:spPr/>
        <p:txBody>
          <a:bodyPr/>
          <a:lstStyle>
            <a:lvl1pPr>
              <a:defRPr>
                <a:solidFill>
                  <a:schemeClr val="tx1"/>
                </a:solidFill>
                <a:latin typeface="Calibri" charset="0"/>
                <a:ea typeface="ＭＳ Ｐゴシック" charset="0"/>
                <a:cs typeface="ＭＳ Ｐゴシック" charset="0"/>
              </a:defRPr>
            </a:lvl1pPr>
            <a:lvl2pPr marL="990575" indent="-380990">
              <a:defRPr>
                <a:solidFill>
                  <a:schemeClr val="tx1"/>
                </a:solidFill>
                <a:latin typeface="Calibri" charset="0"/>
                <a:ea typeface="ＭＳ Ｐゴシック" charset="0"/>
              </a:defRPr>
            </a:lvl2pPr>
            <a:lvl3pPr marL="1523962" indent="-304792">
              <a:defRPr>
                <a:solidFill>
                  <a:schemeClr val="tx1"/>
                </a:solidFill>
                <a:latin typeface="Calibri" charset="0"/>
                <a:ea typeface="ＭＳ Ｐゴシック" charset="0"/>
              </a:defRPr>
            </a:lvl3pPr>
            <a:lvl4pPr marL="2133547" indent="-304792">
              <a:defRPr>
                <a:solidFill>
                  <a:schemeClr val="tx1"/>
                </a:solidFill>
                <a:latin typeface="Calibri" charset="0"/>
                <a:ea typeface="ＭＳ Ｐゴシック" charset="0"/>
              </a:defRPr>
            </a:lvl4pPr>
            <a:lvl5pPr marL="2743131" indent="-304792">
              <a:defRPr>
                <a:solidFill>
                  <a:schemeClr val="tx1"/>
                </a:solidFill>
                <a:latin typeface="Calibri" charset="0"/>
                <a:ea typeface="ＭＳ Ｐゴシック" charset="0"/>
              </a:defRPr>
            </a:lvl5pPr>
            <a:lvl6pPr marL="3352716" indent="-304792" fontAlgn="base">
              <a:spcBef>
                <a:spcPct val="0"/>
              </a:spcBef>
              <a:spcAft>
                <a:spcPct val="0"/>
              </a:spcAft>
              <a:defRPr>
                <a:solidFill>
                  <a:schemeClr val="tx1"/>
                </a:solidFill>
                <a:latin typeface="Calibri" charset="0"/>
                <a:ea typeface="ＭＳ Ｐゴシック" charset="0"/>
              </a:defRPr>
            </a:lvl6pPr>
            <a:lvl7pPr marL="3962301" indent="-304792" fontAlgn="base">
              <a:spcBef>
                <a:spcPct val="0"/>
              </a:spcBef>
              <a:spcAft>
                <a:spcPct val="0"/>
              </a:spcAft>
              <a:defRPr>
                <a:solidFill>
                  <a:schemeClr val="tx1"/>
                </a:solidFill>
                <a:latin typeface="Calibri" charset="0"/>
                <a:ea typeface="ＭＳ Ｐゴシック" charset="0"/>
              </a:defRPr>
            </a:lvl7pPr>
            <a:lvl8pPr marL="4571886" indent="-304792" fontAlgn="base">
              <a:spcBef>
                <a:spcPct val="0"/>
              </a:spcBef>
              <a:spcAft>
                <a:spcPct val="0"/>
              </a:spcAft>
              <a:defRPr>
                <a:solidFill>
                  <a:schemeClr val="tx1"/>
                </a:solidFill>
                <a:latin typeface="Calibri" charset="0"/>
                <a:ea typeface="ＭＳ Ｐゴシック" charset="0"/>
              </a:defRPr>
            </a:lvl8pPr>
            <a:lvl9pPr marL="5181470" indent="-304792" fontAlgn="base">
              <a:spcBef>
                <a:spcPct val="0"/>
              </a:spcBef>
              <a:spcAft>
                <a:spcPct val="0"/>
              </a:spcAft>
              <a:defRPr>
                <a:solidFill>
                  <a:schemeClr val="tx1"/>
                </a:solidFill>
                <a:latin typeface="Calibri" charset="0"/>
                <a:ea typeface="ＭＳ Ｐゴシック" charset="0"/>
              </a:defRPr>
            </a:lvl9pPr>
          </a:lstStyle>
          <a:p>
            <a:fld id="{C906FF0B-5F6A-464D-940D-DD7F95AEE133}" type="slidenum">
              <a:rPr lang="en-US" smtClean="0"/>
              <a:pPr/>
              <a:t>30</a:t>
            </a:fld>
            <a:endParaRPr lang="en-US"/>
          </a:p>
        </p:txBody>
      </p:sp>
      <p:sp>
        <p:nvSpPr>
          <p:cNvPr id="49153" name="Title 2"/>
          <p:cNvSpPr>
            <a:spLocks noGrp="1"/>
          </p:cNvSpPr>
          <p:nvPr>
            <p:ph type="title"/>
          </p:nvPr>
        </p:nvSpPr>
        <p:spPr>
          <a:prstGeom prst="rect">
            <a:avLst/>
          </a:prstGeom>
        </p:spPr>
        <p:txBody>
          <a:bodyPr/>
          <a:lstStyle/>
          <a:p>
            <a:r>
              <a:rPr lang="en-US" smtClean="0"/>
              <a:t>Thank you!</a:t>
            </a:r>
            <a:endParaRPr lang="en-US"/>
          </a:p>
        </p:txBody>
      </p:sp>
    </p:spTree>
    <p:extLst>
      <p:ext uri="{BB962C8B-B14F-4D97-AF65-F5344CB8AC3E}">
        <p14:creationId xmlns:p14="http://schemas.microsoft.com/office/powerpoint/2010/main" val="266669596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254428083"/>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85194"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25589" y="1589"/>
                        <a:ext cx="1587" cy="1587"/>
                      </a:xfrm>
                      <a:prstGeom prst="rect">
                        <a:avLst/>
                      </a:prstGeom>
                    </p:spPr>
                  </p:pic>
                </p:oleObj>
              </mc:Fallback>
            </mc:AlternateContent>
          </a:graphicData>
        </a:graphic>
      </p:graphicFrame>
      <p:pic>
        <p:nvPicPr>
          <p:cNvPr id="30" name="Picture 29"/>
          <p:cNvPicPr>
            <a:picLocks noChangeAspect="1"/>
          </p:cNvPicPr>
          <p:nvPr/>
        </p:nvPicPr>
        <p:blipFill>
          <a:blip r:embed="rId7"/>
          <a:stretch>
            <a:fillRect/>
          </a:stretch>
        </p:blipFill>
        <p:spPr>
          <a:xfrm>
            <a:off x="76200" y="6629400"/>
            <a:ext cx="4619050" cy="195171"/>
          </a:xfrm>
          <a:prstGeom prst="rect">
            <a:avLst/>
          </a:prstGeom>
        </p:spPr>
      </p:pic>
      <p:sp>
        <p:nvSpPr>
          <p:cNvPr id="8" name="Rectangle 7">
            <a:extLst>
              <a:ext uri="{FF2B5EF4-FFF2-40B4-BE49-F238E27FC236}">
                <a16:creationId xmlns="" xmlns:a16="http://schemas.microsoft.com/office/drawing/2014/main" id="{5B331F15-FA39-4E91-BE52-B437568F29B3}"/>
              </a:ext>
            </a:extLst>
          </p:cNvPr>
          <p:cNvSpPr/>
          <p:nvPr/>
        </p:nvSpPr>
        <p:spPr>
          <a:xfrm>
            <a:off x="6779985" y="3338287"/>
            <a:ext cx="5412015" cy="2795814"/>
          </a:xfrm>
          <a:prstGeom prst="rect">
            <a:avLst/>
          </a:prstGeom>
          <a:solidFill>
            <a:srgbClr val="055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p:cNvSpPr txBox="1"/>
          <p:nvPr/>
        </p:nvSpPr>
        <p:spPr>
          <a:xfrm>
            <a:off x="8168543" y="4420784"/>
            <a:ext cx="3524273" cy="14035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a:defRPr sz="16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anufacturing process (including recall history), supply consistency and syringe design should be considered when evaluating the pre-filled flush that will be used to assess, clear and lock your patients’ IV catheters</a:t>
            </a:r>
          </a:p>
        </p:txBody>
      </p:sp>
      <p:sp>
        <p:nvSpPr>
          <p:cNvPr id="20" name="Title 1"/>
          <p:cNvSpPr txBox="1">
            <a:spLocks/>
          </p:cNvSpPr>
          <p:nvPr/>
        </p:nvSpPr>
        <p:spPr>
          <a:xfrm>
            <a:off x="8168543" y="3612018"/>
            <a:ext cx="3897809" cy="649224"/>
          </a:xfrm>
          <a:prstGeom prst="rect">
            <a:avLst/>
          </a:prstGeom>
        </p:spPr>
        <p:txBody>
          <a:bodyPr vert="horz" anchor="t" anchorCtr="0">
            <a:noAutofit/>
          </a:bodyPr>
          <a:lstStyle>
            <a:lvl1pPr algn="l" defTabSz="457200" rtl="0" eaLnBrk="1" latinLnBrk="0" hangingPunct="1">
              <a:spcBef>
                <a:spcPct val="0"/>
              </a:spcBef>
              <a:buNone/>
              <a:defRPr sz="3200" kern="1200">
                <a:solidFill>
                  <a:schemeClr val="accent1"/>
                </a:solidFill>
                <a:latin typeface="Verdana"/>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550" b="1" i="0" u="none" strike="noStrike" kern="1200" cap="none" spc="30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BUT NOT ALL PRE-FILLED FLUSH SYRINGES ARE CREATED EQUAL</a:t>
            </a:r>
          </a:p>
        </p:txBody>
      </p:sp>
      <p:sp>
        <p:nvSpPr>
          <p:cNvPr id="29" name="Isosceles Triangle 28">
            <a:extLst>
              <a:ext uri="{FF2B5EF4-FFF2-40B4-BE49-F238E27FC236}">
                <a16:creationId xmlns="" xmlns:a16="http://schemas.microsoft.com/office/drawing/2014/main" id="{350009A4-AA9B-4D97-B125-24FE68B29ECB}"/>
              </a:ext>
            </a:extLst>
          </p:cNvPr>
          <p:cNvSpPr/>
          <p:nvPr/>
        </p:nvSpPr>
        <p:spPr>
          <a:xfrm rot="10800000">
            <a:off x="7234804" y="3123831"/>
            <a:ext cx="436685" cy="27611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8" name="Graphic 27">
            <a:extLst>
              <a:ext uri="{FF2B5EF4-FFF2-40B4-BE49-F238E27FC236}">
                <a16:creationId xmlns="" xmlns:a16="http://schemas.microsoft.com/office/drawing/2014/main" id="{1E4B29C9-2F0F-4B41-99D7-57FD277022D3}"/>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rot="5400000">
            <a:off x="7387556" y="3348574"/>
            <a:ext cx="135000" cy="123261"/>
          </a:xfrm>
          <a:prstGeom prst="rect">
            <a:avLst/>
          </a:prstGeom>
        </p:spPr>
      </p:pic>
      <p:pic>
        <p:nvPicPr>
          <p:cNvPr id="5" name="Graphic 4">
            <a:extLst>
              <a:ext uri="{FF2B5EF4-FFF2-40B4-BE49-F238E27FC236}">
                <a16:creationId xmlns="" xmlns:a16="http://schemas.microsoft.com/office/drawing/2014/main" id="{06954111-8264-4E0A-8C2D-D236F84661DD}"/>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 xmlns:asvg="http://schemas.microsoft.com/office/drawing/2016/SVG/main" r:embed="rId11"/>
              </a:ext>
            </a:extLst>
          </a:blip>
          <a:stretch>
            <a:fillRect/>
          </a:stretch>
        </p:blipFill>
        <p:spPr>
          <a:xfrm>
            <a:off x="7120307" y="4444930"/>
            <a:ext cx="718446" cy="718446"/>
          </a:xfrm>
          <a:prstGeom prst="rect">
            <a:avLst/>
          </a:prstGeom>
        </p:spPr>
      </p:pic>
      <p:pic>
        <p:nvPicPr>
          <p:cNvPr id="32" name="Picture 31">
            <a:extLst>
              <a:ext uri="{FF2B5EF4-FFF2-40B4-BE49-F238E27FC236}">
                <a16:creationId xmlns="" xmlns:a16="http://schemas.microsoft.com/office/drawing/2014/main" id="{A0BDF39A-102D-4967-8E96-884258B5A450}"/>
              </a:ext>
            </a:extLst>
          </p:cNvPr>
          <p:cNvPicPr>
            <a:picLocks noChangeAspect="1"/>
          </p:cNvPicPr>
          <p:nvPr/>
        </p:nvPicPr>
        <p:blipFill>
          <a:blip r:embed="rId12" cstate="print">
            <a:extLst>
              <a:ext uri="{28A0092B-C50C-407E-A947-70E740481C1C}">
                <a14:useLocalDpi xmlns:a14="http://schemas.microsoft.com/office/drawing/2010/main" val="0"/>
              </a:ext>
            </a:extLst>
          </a:blip>
          <a:srcRect l="9548" r="608"/>
          <a:stretch>
            <a:fillRect/>
          </a:stretch>
        </p:blipFill>
        <p:spPr>
          <a:xfrm>
            <a:off x="-861893" y="1820333"/>
            <a:ext cx="6900388" cy="5120260"/>
          </a:xfrm>
          <a:custGeom>
            <a:avLst/>
            <a:gdLst>
              <a:gd name="connsiteX0" fmla="*/ 0 w 6900388"/>
              <a:gd name="connsiteY0" fmla="*/ 0 h 5120260"/>
              <a:gd name="connsiteX1" fmla="*/ 6900388 w 6900388"/>
              <a:gd name="connsiteY1" fmla="*/ 0 h 5120260"/>
              <a:gd name="connsiteX2" fmla="*/ 3930637 w 6900388"/>
              <a:gd name="connsiteY2" fmla="*/ 5120260 h 5120260"/>
              <a:gd name="connsiteX3" fmla="*/ 2969751 w 6900388"/>
              <a:gd name="connsiteY3" fmla="*/ 5120260 h 5120260"/>
            </a:gdLst>
            <a:ahLst/>
            <a:cxnLst>
              <a:cxn ang="0">
                <a:pos x="connsiteX0" y="connsiteY0"/>
              </a:cxn>
              <a:cxn ang="0">
                <a:pos x="connsiteX1" y="connsiteY1"/>
              </a:cxn>
              <a:cxn ang="0">
                <a:pos x="connsiteX2" y="connsiteY2"/>
              </a:cxn>
              <a:cxn ang="0">
                <a:pos x="connsiteX3" y="connsiteY3"/>
              </a:cxn>
            </a:cxnLst>
            <a:rect l="l" t="t" r="r" b="b"/>
            <a:pathLst>
              <a:path w="6900388" h="5120260">
                <a:moveTo>
                  <a:pt x="0" y="0"/>
                </a:moveTo>
                <a:lnTo>
                  <a:pt x="6900388" y="0"/>
                </a:lnTo>
                <a:lnTo>
                  <a:pt x="3930637" y="5120260"/>
                </a:lnTo>
                <a:lnTo>
                  <a:pt x="2969751" y="5120260"/>
                </a:lnTo>
                <a:close/>
              </a:path>
            </a:pathLst>
          </a:custGeom>
        </p:spPr>
      </p:pic>
      <p:sp>
        <p:nvSpPr>
          <p:cNvPr id="10" name="TextBox 9"/>
          <p:cNvSpPr txBox="1"/>
          <p:nvPr/>
        </p:nvSpPr>
        <p:spPr>
          <a:xfrm>
            <a:off x="-2814222" y="5301277"/>
            <a:ext cx="184731" cy="30008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404041"/>
              </a:solidFill>
              <a:effectLst/>
              <a:uLnTx/>
              <a:uFillTx/>
              <a:latin typeface="Calibri"/>
              <a:ea typeface="+mn-ea"/>
              <a:cs typeface="+mn-cs"/>
            </a:endParaRPr>
          </a:p>
        </p:txBody>
      </p:sp>
      <p:sp>
        <p:nvSpPr>
          <p:cNvPr id="13" name="TextBox 12">
            <a:extLst>
              <a:ext uri="{FF2B5EF4-FFF2-40B4-BE49-F238E27FC236}">
                <a16:creationId xmlns="" xmlns:a16="http://schemas.microsoft.com/office/drawing/2014/main" id="{1736C168-6BC3-4359-AF66-7EBF56137359}"/>
              </a:ext>
            </a:extLst>
          </p:cNvPr>
          <p:cNvSpPr txBox="1"/>
          <p:nvPr/>
        </p:nvSpPr>
        <p:spPr>
          <a:xfrm>
            <a:off x="8168543" y="1971562"/>
            <a:ext cx="4533793" cy="1007968"/>
          </a:xfrm>
          <a:prstGeom prst="rect">
            <a:avLst/>
          </a:prstGeom>
          <a:noFill/>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Over their average lifespan, </a:t>
            </a:r>
            <a:br>
              <a:rPr kumimoji="0" lang="en-US"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catheters are flushed regularly</a:t>
            </a:r>
            <a:r>
              <a:rPr kumimoji="0" lang="en-US" sz="1400" b="0" i="0" u="none" strike="noStrike" kern="1200" cap="none" spc="0" normalizeH="0" baseline="3000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2</a:t>
            </a:r>
            <a:endParaRPr kumimoji="0" lang="en-US"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a:p>
            <a:pPr marL="180975" marR="0" lvl="0" indent="-180975" algn="l" defTabSz="914400" rtl="0" eaLnBrk="1" fontAlgn="auto" latinLnBrk="0" hangingPunct="1">
              <a:lnSpc>
                <a:spcPct val="85000"/>
              </a:lnSpc>
              <a:spcBef>
                <a:spcPts val="0"/>
              </a:spcBef>
              <a:spcAft>
                <a:spcPts val="0"/>
              </a:spcAft>
              <a:buClr>
                <a:srgbClr val="05589C"/>
              </a:buClr>
              <a:buSzTx/>
              <a:buFont typeface="Arial" panose="020B0604020202020204" pitchFamily="34" charset="0"/>
              <a:buChar char="•"/>
              <a:tabLst>
                <a:tab pos="180975" algn="l"/>
              </a:tabLst>
              <a:defRPr/>
            </a:pPr>
            <a:r>
              <a:rPr kumimoji="0" lang="en-US"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PIVC: 4 </a:t>
            </a:r>
          </a:p>
          <a:p>
            <a:pPr marL="180975" marR="0" lvl="0" indent="-180975" algn="l" defTabSz="914400" rtl="0" eaLnBrk="1" fontAlgn="auto" latinLnBrk="0" hangingPunct="1">
              <a:lnSpc>
                <a:spcPct val="85000"/>
              </a:lnSpc>
              <a:spcBef>
                <a:spcPts val="0"/>
              </a:spcBef>
              <a:spcAft>
                <a:spcPts val="0"/>
              </a:spcAft>
              <a:buClr>
                <a:srgbClr val="05589C"/>
              </a:buClr>
              <a:buSzTx/>
              <a:buFont typeface="Arial" panose="020B0604020202020204" pitchFamily="34" charset="0"/>
              <a:buChar char="•"/>
              <a:tabLst>
                <a:tab pos="180975" algn="l"/>
              </a:tabLst>
              <a:defRPr/>
            </a:pPr>
            <a:r>
              <a:rPr kumimoji="0" lang="en-US"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CVC: 33</a:t>
            </a:r>
          </a:p>
          <a:p>
            <a:pPr marL="180975" marR="0" lvl="0" indent="-180975" algn="l" defTabSz="914400" rtl="0" eaLnBrk="1" fontAlgn="auto" latinLnBrk="0" hangingPunct="1">
              <a:lnSpc>
                <a:spcPct val="85000"/>
              </a:lnSpc>
              <a:spcBef>
                <a:spcPts val="0"/>
              </a:spcBef>
              <a:spcAft>
                <a:spcPts val="0"/>
              </a:spcAft>
              <a:buClr>
                <a:srgbClr val="05589C"/>
              </a:buClr>
              <a:buSzTx/>
              <a:buFont typeface="Arial" panose="020B0604020202020204" pitchFamily="34" charset="0"/>
              <a:buChar char="•"/>
              <a:tabLst>
                <a:tab pos="180975" algn="l"/>
              </a:tabLst>
              <a:defRPr/>
            </a:pPr>
            <a:r>
              <a:rPr kumimoji="0" lang="en-US"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HD: </a:t>
            </a:r>
            <a:r>
              <a:rPr lang="en-US" sz="1400" dirty="0">
                <a:solidFill>
                  <a:srgbClr val="404041"/>
                </a:solidFill>
                <a:latin typeface="Verdana" panose="020B0604030504040204" pitchFamily="34" charset="0"/>
                <a:ea typeface="Verdana" panose="020B0604030504040204" pitchFamily="34" charset="0"/>
                <a:cs typeface="Verdana" panose="020B0604030504040204" pitchFamily="34" charset="0"/>
              </a:rPr>
              <a:t>263</a:t>
            </a:r>
            <a:endParaRPr kumimoji="0" lang="en-US"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 name="TextBox 1"/>
          <p:cNvSpPr txBox="1"/>
          <p:nvPr/>
        </p:nvSpPr>
        <p:spPr>
          <a:xfrm>
            <a:off x="6968671" y="1971562"/>
            <a:ext cx="1136636"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UP TO</a:t>
            </a:r>
            <a:r>
              <a:rPr kumimoji="0" lang="en-US" sz="20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t>
            </a:r>
            <a:br>
              <a:rPr kumimoji="0" lang="en-US" sz="20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20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263</a:t>
            </a:r>
            <a:r>
              <a:rPr kumimoji="0" lang="en-US" sz="20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20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20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TIMES</a:t>
            </a:r>
          </a:p>
        </p:txBody>
      </p:sp>
      <p:pic>
        <p:nvPicPr>
          <p:cNvPr id="21" name="Graphic 20">
            <a:extLst>
              <a:ext uri="{FF2B5EF4-FFF2-40B4-BE49-F238E27FC236}">
                <a16:creationId xmlns="" xmlns:a16="http://schemas.microsoft.com/office/drawing/2014/main" id="{390947B2-3255-41BC-BFD3-DDED6B6ACCE0}"/>
              </a:ext>
            </a:extLst>
          </p:cNvPr>
          <p:cNvPicPr>
            <a:picLocks noChangeAspect="1"/>
          </p:cNvPicPr>
          <p:nvPr/>
        </p:nvPicPr>
        <p:blipFill>
          <a:blip r:embed="rId13">
            <a:extLst>
              <a:ext uri="{96DAC541-7B7A-43D3-8B79-37D633B846F1}">
                <asvg:svgBlip xmlns="" xmlns:asvg="http://schemas.microsoft.com/office/drawing/2016/SVG/main" r:embed="rId14"/>
              </a:ext>
            </a:extLst>
          </a:blip>
          <a:stretch>
            <a:fillRect/>
          </a:stretch>
        </p:blipFill>
        <p:spPr>
          <a:xfrm>
            <a:off x="11345612" y="6490506"/>
            <a:ext cx="720740" cy="276876"/>
          </a:xfrm>
          <a:prstGeom prst="rect">
            <a:avLst/>
          </a:prstGeom>
        </p:spPr>
      </p:pic>
      <p:sp>
        <p:nvSpPr>
          <p:cNvPr id="22" name="Title 1">
            <a:extLst>
              <a:ext uri="{FF2B5EF4-FFF2-40B4-BE49-F238E27FC236}">
                <a16:creationId xmlns="" xmlns:a16="http://schemas.microsoft.com/office/drawing/2014/main" id="{7A399327-D44B-42AE-9391-711E345991B2}"/>
              </a:ext>
            </a:extLst>
          </p:cNvPr>
          <p:cNvSpPr txBox="1">
            <a:spLocks/>
          </p:cNvSpPr>
          <p:nvPr/>
        </p:nvSpPr>
        <p:spPr>
          <a:xfrm>
            <a:off x="463116" y="389047"/>
            <a:ext cx="5908656" cy="115964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2800" b="1" i="0" u="none" strike="noStrike" kern="1200" cap="none" spc="30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USING A PRE-FILLED</a:t>
            </a:r>
            <a:br>
              <a:rPr kumimoji="0" lang="en-US" sz="2800" b="1" i="0" u="none" strike="noStrike" kern="1200" cap="none" spc="30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2800" b="1" i="0" u="none" strike="noStrike" kern="1200" cap="none" spc="30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FLUSH SYRINGE </a:t>
            </a:r>
            <a:r>
              <a:rPr kumimoji="0" lang="en-US" sz="2000" b="1" i="0" u="none" strike="noStrike" kern="1200" cap="none" spc="60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2000" b="1" i="0" u="none" strike="noStrike" kern="1200" cap="none" spc="60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600" b="0" i="0" u="none" strike="noStrike" kern="1200" cap="none" spc="6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N HAVE A BIG IMPACT </a:t>
            </a:r>
            <a:br>
              <a:rPr kumimoji="0" lang="en-US" sz="1600" b="0" i="0" u="none" strike="noStrike" kern="1200" cap="none" spc="6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600" b="0" i="0" u="none" strike="noStrike" kern="1200" cap="none" spc="6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ON PATIENT SAFETY</a:t>
            </a:r>
            <a:endParaRPr kumimoji="0" lang="en-US" sz="2000" b="0" i="0" u="none" strike="noStrike" kern="1200" cap="none" spc="6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33" name="Group 32">
            <a:extLst>
              <a:ext uri="{FF2B5EF4-FFF2-40B4-BE49-F238E27FC236}">
                <a16:creationId xmlns="" xmlns:a16="http://schemas.microsoft.com/office/drawing/2014/main" id="{D39142D5-1900-4B10-B6C8-107065B8A358}"/>
              </a:ext>
            </a:extLst>
          </p:cNvPr>
          <p:cNvGrpSpPr/>
          <p:nvPr/>
        </p:nvGrpSpPr>
        <p:grpSpPr>
          <a:xfrm>
            <a:off x="4712583" y="3056171"/>
            <a:ext cx="1543970" cy="1310195"/>
            <a:chOff x="4712583" y="3056171"/>
            <a:chExt cx="1543970" cy="1310195"/>
          </a:xfrm>
          <a:solidFill>
            <a:srgbClr val="8CC6EC"/>
          </a:solidFill>
        </p:grpSpPr>
        <p:sp>
          <p:nvSpPr>
            <p:cNvPr id="24" name="Isosceles Triangle 23">
              <a:extLst>
                <a:ext uri="{FF2B5EF4-FFF2-40B4-BE49-F238E27FC236}">
                  <a16:creationId xmlns="" xmlns:a16="http://schemas.microsoft.com/office/drawing/2014/main" id="{4D194174-C892-483F-B739-2BF3AEE03206}"/>
                </a:ext>
              </a:extLst>
            </p:cNvPr>
            <p:cNvSpPr/>
            <p:nvPr/>
          </p:nvSpPr>
          <p:spPr>
            <a:xfrm rot="10800000">
              <a:off x="4712583" y="3056171"/>
              <a:ext cx="1543970" cy="1310195"/>
            </a:xfrm>
            <a:prstGeom prst="triangle">
              <a:avLst/>
            </a:prstGeom>
            <a:solidFill>
              <a:srgbClr val="8CC6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8" name="Picture 17"/>
            <p:cNvPicPr>
              <a:picLocks noChangeAspect="1"/>
            </p:cNvPicPr>
            <p:nvPr/>
          </p:nvPicPr>
          <p:blipFill>
            <a:blip r:embed="rId15">
              <a:biLevel thresh="25000"/>
            </a:blip>
            <a:stretch>
              <a:fillRect/>
            </a:stretch>
          </p:blipFill>
          <p:spPr>
            <a:xfrm rot="5400000">
              <a:off x="5421362" y="3324856"/>
              <a:ext cx="126410" cy="468065"/>
            </a:xfrm>
            <a:prstGeom prst="rect">
              <a:avLst/>
            </a:prstGeom>
            <a:noFill/>
          </p:spPr>
        </p:pic>
      </p:grpSp>
      <p:sp>
        <p:nvSpPr>
          <p:cNvPr id="16" name="Rectangle 15"/>
          <p:cNvSpPr/>
          <p:nvPr/>
        </p:nvSpPr>
        <p:spPr>
          <a:xfrm>
            <a:off x="4416871" y="4576287"/>
            <a:ext cx="2135392" cy="138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Syringe solutions are flushed directly into the patient’s bloodstream. </a:t>
            </a:r>
            <a:br>
              <a:rPr kumimoji="0" lang="en-US" sz="1400" b="1"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400" b="0"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As a result, any defect in product integrity or sterility has potentially tragic consequences</a:t>
            </a:r>
          </a:p>
        </p:txBody>
      </p:sp>
      <p:cxnSp>
        <p:nvCxnSpPr>
          <p:cNvPr id="25" name="Straight Connector 24">
            <a:extLst>
              <a:ext uri="{FF2B5EF4-FFF2-40B4-BE49-F238E27FC236}">
                <a16:creationId xmlns="" xmlns:a16="http://schemas.microsoft.com/office/drawing/2014/main" id="{9A52F02B-BA63-4D5D-9514-66BA85F3E1BD}"/>
              </a:ext>
            </a:extLst>
          </p:cNvPr>
          <p:cNvCxnSpPr>
            <a:cxnSpLocks/>
          </p:cNvCxnSpPr>
          <p:nvPr/>
        </p:nvCxnSpPr>
        <p:spPr>
          <a:xfrm>
            <a:off x="6896100" y="1820333"/>
            <a:ext cx="529590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 xmlns:a16="http://schemas.microsoft.com/office/drawing/2014/main" id="{5F88CA0D-6672-40CE-92B4-6D2C30615A02}"/>
              </a:ext>
            </a:extLst>
          </p:cNvPr>
          <p:cNvCxnSpPr>
            <a:cxnSpLocks/>
          </p:cNvCxnSpPr>
          <p:nvPr/>
        </p:nvCxnSpPr>
        <p:spPr>
          <a:xfrm>
            <a:off x="8168543" y="1820333"/>
            <a:ext cx="1204686" cy="0"/>
          </a:xfrm>
          <a:prstGeom prst="line">
            <a:avLst/>
          </a:prstGeom>
          <a:ln w="57150">
            <a:solidFill>
              <a:srgbClr val="8CC6EC"/>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 xmlns:a16="http://schemas.microsoft.com/office/drawing/2014/main" id="{E4E5E3A2-629B-4431-91D7-FC5419E4FF59}"/>
              </a:ext>
            </a:extLst>
          </p:cNvPr>
          <p:cNvCxnSpPr>
            <a:cxnSpLocks/>
          </p:cNvCxnSpPr>
          <p:nvPr/>
        </p:nvCxnSpPr>
        <p:spPr>
          <a:xfrm>
            <a:off x="6779985" y="3140726"/>
            <a:ext cx="5426529"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9559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2" presetClass="entr" presetSubtype="8" decel="100000" fill="hold" nodeType="withEffect">
                                  <p:stCondLst>
                                    <p:cond delay="0"/>
                                  </p:stCondLst>
                                  <p:childTnLst>
                                    <p:set>
                                      <p:cBhvr>
                                        <p:cTn id="9" dur="1" fill="hold">
                                          <p:stCondLst>
                                            <p:cond delay="0"/>
                                          </p:stCondLst>
                                        </p:cTn>
                                        <p:tgtEl>
                                          <p:spTgt spid="32"/>
                                        </p:tgtEl>
                                        <p:attrNameLst>
                                          <p:attrName>style.visibility</p:attrName>
                                        </p:attrNameLst>
                                      </p:cBhvr>
                                      <p:to>
                                        <p:strVal val="visible"/>
                                      </p:to>
                                    </p:set>
                                    <p:anim calcmode="lin" valueType="num">
                                      <p:cBhvr additive="base">
                                        <p:cTn id="10" dur="500" fill="hold"/>
                                        <p:tgtEl>
                                          <p:spTgt spid="32"/>
                                        </p:tgtEl>
                                        <p:attrNameLst>
                                          <p:attrName>ppt_x</p:attrName>
                                        </p:attrNameLst>
                                      </p:cBhvr>
                                      <p:tavLst>
                                        <p:tav tm="0">
                                          <p:val>
                                            <p:strVal val="0-#ppt_w/2"/>
                                          </p:val>
                                        </p:tav>
                                        <p:tav tm="100000">
                                          <p:val>
                                            <p:strVal val="#ppt_x"/>
                                          </p:val>
                                        </p:tav>
                                      </p:tavLst>
                                    </p:anim>
                                    <p:anim calcmode="lin" valueType="num">
                                      <p:cBhvr additive="base">
                                        <p:cTn id="11" dur="500" fill="hold"/>
                                        <p:tgtEl>
                                          <p:spTgt spid="32"/>
                                        </p:tgtEl>
                                        <p:attrNameLst>
                                          <p:attrName>ppt_y</p:attrName>
                                        </p:attrNameLst>
                                      </p:cBhvr>
                                      <p:tavLst>
                                        <p:tav tm="0">
                                          <p:val>
                                            <p:strVal val="#ppt_y"/>
                                          </p:val>
                                        </p:tav>
                                        <p:tav tm="100000">
                                          <p:val>
                                            <p:strVal val="#ppt_y"/>
                                          </p:val>
                                        </p:tav>
                                      </p:tavLst>
                                    </p:anim>
                                  </p:childTnLst>
                                </p:cTn>
                              </p:par>
                            </p:childTnLst>
                          </p:cTn>
                        </p:par>
                        <p:par>
                          <p:cTn id="12" fill="hold">
                            <p:stCondLst>
                              <p:cond delay="500"/>
                            </p:stCondLst>
                            <p:childTnLst>
                              <p:par>
                                <p:cTn id="13" presetID="47" presetClass="entr" presetSubtype="0" fill="hold" nodeType="after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fade">
                                      <p:cBhvr>
                                        <p:cTn id="15" dur="500"/>
                                        <p:tgtEl>
                                          <p:spTgt spid="33"/>
                                        </p:tgtEl>
                                      </p:cBhvr>
                                    </p:animEffect>
                                    <p:anim calcmode="lin" valueType="num">
                                      <p:cBhvr>
                                        <p:cTn id="16" dur="500" fill="hold"/>
                                        <p:tgtEl>
                                          <p:spTgt spid="33"/>
                                        </p:tgtEl>
                                        <p:attrNameLst>
                                          <p:attrName>ppt_x</p:attrName>
                                        </p:attrNameLst>
                                      </p:cBhvr>
                                      <p:tavLst>
                                        <p:tav tm="0">
                                          <p:val>
                                            <p:strVal val="#ppt_x"/>
                                          </p:val>
                                        </p:tav>
                                        <p:tav tm="100000">
                                          <p:val>
                                            <p:strVal val="#ppt_x"/>
                                          </p:val>
                                        </p:tav>
                                      </p:tavLst>
                                    </p:anim>
                                    <p:anim calcmode="lin" valueType="num">
                                      <p:cBhvr>
                                        <p:cTn id="17" dur="500" fill="hold"/>
                                        <p:tgtEl>
                                          <p:spTgt spid="33"/>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anim calcmode="lin" valueType="num">
                                      <p:cBhvr>
                                        <p:cTn id="21" dur="500" fill="hold"/>
                                        <p:tgtEl>
                                          <p:spTgt spid="16"/>
                                        </p:tgtEl>
                                        <p:attrNameLst>
                                          <p:attrName>ppt_x</p:attrName>
                                        </p:attrNameLst>
                                      </p:cBhvr>
                                      <p:tavLst>
                                        <p:tav tm="0">
                                          <p:val>
                                            <p:strVal val="#ppt_x"/>
                                          </p:val>
                                        </p:tav>
                                        <p:tav tm="100000">
                                          <p:val>
                                            <p:strVal val="#ppt_x"/>
                                          </p:val>
                                        </p:tav>
                                      </p:tavLst>
                                    </p:anim>
                                    <p:anim calcmode="lin" valueType="num">
                                      <p:cBhvr>
                                        <p:cTn id="22" dur="500" fill="hold"/>
                                        <p:tgtEl>
                                          <p:spTgt spid="16"/>
                                        </p:tgtEl>
                                        <p:attrNameLst>
                                          <p:attrName>ppt_y</p:attrName>
                                        </p:attrNameLst>
                                      </p:cBhvr>
                                      <p:tavLst>
                                        <p:tav tm="0">
                                          <p:val>
                                            <p:strVal val="#ppt_y+.1"/>
                                          </p:val>
                                        </p:tav>
                                        <p:tav tm="100000">
                                          <p:val>
                                            <p:strVal val="#ppt_y"/>
                                          </p:val>
                                        </p:tav>
                                      </p:tavLst>
                                    </p:anim>
                                  </p:childTnLst>
                                </p:cTn>
                              </p:par>
                            </p:childTnLst>
                          </p:cTn>
                        </p:par>
                        <p:par>
                          <p:cTn id="23" fill="hold">
                            <p:stCondLst>
                              <p:cond delay="1000"/>
                            </p:stCondLst>
                            <p:childTnLst>
                              <p:par>
                                <p:cTn id="24" presetID="22" presetClass="entr" presetSubtype="8" fill="hold" nodeType="afterEffect">
                                  <p:stCondLst>
                                    <p:cond delay="0"/>
                                  </p:stCondLst>
                                  <p:childTnLst>
                                    <p:set>
                                      <p:cBhvr>
                                        <p:cTn id="25" dur="1" fill="hold">
                                          <p:stCondLst>
                                            <p:cond delay="0"/>
                                          </p:stCondLst>
                                        </p:cTn>
                                        <p:tgtEl>
                                          <p:spTgt spid="25"/>
                                        </p:tgtEl>
                                        <p:attrNameLst>
                                          <p:attrName>style.visibility</p:attrName>
                                        </p:attrNameLst>
                                      </p:cBhvr>
                                      <p:to>
                                        <p:strVal val="visible"/>
                                      </p:to>
                                    </p:set>
                                    <p:animEffect transition="in" filter="wipe(left)">
                                      <p:cBhvr>
                                        <p:cTn id="26" dur="500"/>
                                        <p:tgtEl>
                                          <p:spTgt spid="25"/>
                                        </p:tgtEl>
                                      </p:cBhvr>
                                    </p:animEffect>
                                  </p:childTnLst>
                                </p:cTn>
                              </p:par>
                              <p:par>
                                <p:cTn id="27" presetID="22" presetClass="entr" presetSubtype="8" fill="hold" nodeType="withEffect">
                                  <p:stCondLst>
                                    <p:cond delay="0"/>
                                  </p:stCondLst>
                                  <p:childTnLst>
                                    <p:set>
                                      <p:cBhvr>
                                        <p:cTn id="28" dur="1" fill="hold">
                                          <p:stCondLst>
                                            <p:cond delay="0"/>
                                          </p:stCondLst>
                                        </p:cTn>
                                        <p:tgtEl>
                                          <p:spTgt spid="27"/>
                                        </p:tgtEl>
                                        <p:attrNameLst>
                                          <p:attrName>style.visibility</p:attrName>
                                        </p:attrNameLst>
                                      </p:cBhvr>
                                      <p:to>
                                        <p:strVal val="visible"/>
                                      </p:to>
                                    </p:set>
                                    <p:animEffect transition="in" filter="wipe(left)">
                                      <p:cBhvr>
                                        <p:cTn id="29" dur="500"/>
                                        <p:tgtEl>
                                          <p:spTgt spid="27"/>
                                        </p:tgtEl>
                                      </p:cBhvr>
                                    </p:animEffect>
                                  </p:childTnLst>
                                </p:cTn>
                              </p:par>
                              <p:par>
                                <p:cTn id="30" presetID="10" presetClass="entr" presetSubtype="0" fill="hold" nodeType="withEffect">
                                  <p:stCondLst>
                                    <p:cond delay="25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35" presetClass="path" presetSubtype="0" accel="50000" decel="50000" fill="hold" nodeType="withEffect">
                                  <p:stCondLst>
                                    <p:cond delay="250"/>
                                  </p:stCondLst>
                                  <p:childTnLst>
                                    <p:animMotion origin="layout" path="M -1.04167E-6 7.40741E-7 L -0.10729 7.40741E-7 " pathEditMode="relative" rAng="0" ptsTypes="AA">
                                      <p:cBhvr>
                                        <p:cTn id="34" dur="500" fill="hold"/>
                                        <p:tgtEl>
                                          <p:spTgt spid="26"/>
                                        </p:tgtEl>
                                        <p:attrNameLst>
                                          <p:attrName>ppt_x</p:attrName>
                                          <p:attrName>ppt_y</p:attrName>
                                        </p:attrNameLst>
                                      </p:cBhvr>
                                      <p:rCtr x="-5365" y="0"/>
                                    </p:animMotion>
                                  </p:childTnLst>
                                </p:cTn>
                              </p:par>
                              <p:par>
                                <p:cTn id="35" presetID="10" presetClass="entr" presetSubtype="0" fill="hold" grpId="0" nodeType="withEffect">
                                  <p:stCondLst>
                                    <p:cond delay="250"/>
                                  </p:stCondLst>
                                  <p:childTnLst>
                                    <p:set>
                                      <p:cBhvr>
                                        <p:cTn id="36" dur="1" fill="hold">
                                          <p:stCondLst>
                                            <p:cond delay="0"/>
                                          </p:stCondLst>
                                        </p:cTn>
                                        <p:tgtEl>
                                          <p:spTgt spid="2"/>
                                        </p:tgtEl>
                                        <p:attrNameLst>
                                          <p:attrName>style.visibility</p:attrName>
                                        </p:attrNameLst>
                                      </p:cBhvr>
                                      <p:to>
                                        <p:strVal val="visible"/>
                                      </p:to>
                                    </p:set>
                                    <p:animEffect transition="in" filter="fade">
                                      <p:cBhvr>
                                        <p:cTn id="37" dur="500"/>
                                        <p:tgtEl>
                                          <p:spTgt spid="2"/>
                                        </p:tgtEl>
                                      </p:cBhvr>
                                    </p:animEffect>
                                  </p:childTnLst>
                                </p:cTn>
                              </p:par>
                              <p:par>
                                <p:cTn id="38" presetID="10" presetClass="entr" presetSubtype="0" fill="hold" grpId="0" nodeType="withEffect">
                                  <p:stCondLst>
                                    <p:cond delay="50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childTnLst>
                          </p:cTn>
                        </p:par>
                        <p:par>
                          <p:cTn id="41" fill="hold">
                            <p:stCondLst>
                              <p:cond delay="2000"/>
                            </p:stCondLst>
                            <p:childTnLst>
                              <p:par>
                                <p:cTn id="42" presetID="2" presetClass="entr" presetSubtype="2" decel="100000" fill="hold" grpId="0" nodeType="afterEffect">
                                  <p:stCondLst>
                                    <p:cond delay="0"/>
                                  </p:stCondLst>
                                  <p:childTnLst>
                                    <p:set>
                                      <p:cBhvr>
                                        <p:cTn id="43" dur="1" fill="hold">
                                          <p:stCondLst>
                                            <p:cond delay="0"/>
                                          </p:stCondLst>
                                        </p:cTn>
                                        <p:tgtEl>
                                          <p:spTgt spid="8"/>
                                        </p:tgtEl>
                                        <p:attrNameLst>
                                          <p:attrName>style.visibility</p:attrName>
                                        </p:attrNameLst>
                                      </p:cBhvr>
                                      <p:to>
                                        <p:strVal val="visible"/>
                                      </p:to>
                                    </p:set>
                                    <p:anim calcmode="lin" valueType="num">
                                      <p:cBhvr additive="base">
                                        <p:cTn id="44" dur="500" fill="hold"/>
                                        <p:tgtEl>
                                          <p:spTgt spid="8"/>
                                        </p:tgtEl>
                                        <p:attrNameLst>
                                          <p:attrName>ppt_x</p:attrName>
                                        </p:attrNameLst>
                                      </p:cBhvr>
                                      <p:tavLst>
                                        <p:tav tm="0">
                                          <p:val>
                                            <p:strVal val="1+#ppt_w/2"/>
                                          </p:val>
                                        </p:tav>
                                        <p:tav tm="100000">
                                          <p:val>
                                            <p:strVal val="#ppt_x"/>
                                          </p:val>
                                        </p:tav>
                                      </p:tavLst>
                                    </p:anim>
                                    <p:anim calcmode="lin" valueType="num">
                                      <p:cBhvr additive="base">
                                        <p:cTn id="45" dur="500" fill="hold"/>
                                        <p:tgtEl>
                                          <p:spTgt spid="8"/>
                                        </p:tgtEl>
                                        <p:attrNameLst>
                                          <p:attrName>ppt_y</p:attrName>
                                        </p:attrNameLst>
                                      </p:cBhvr>
                                      <p:tavLst>
                                        <p:tav tm="0">
                                          <p:val>
                                            <p:strVal val="#ppt_y"/>
                                          </p:val>
                                        </p:tav>
                                        <p:tav tm="100000">
                                          <p:val>
                                            <p:strVal val="#ppt_y"/>
                                          </p:val>
                                        </p:tav>
                                      </p:tavLst>
                                    </p:anim>
                                  </p:childTnLst>
                                </p:cTn>
                              </p:par>
                              <p:par>
                                <p:cTn id="46" presetID="42" presetClass="path" presetSubtype="0" accel="50000" decel="50000" fill="hold" grpId="0" nodeType="withEffect">
                                  <p:stCondLst>
                                    <p:cond delay="0"/>
                                  </p:stCondLst>
                                  <p:childTnLst>
                                    <p:animMotion origin="layout" path="M 2.08333E-6 -4.44444E-6 L 2.08333E-6 0.02963 " pathEditMode="relative" rAng="0" ptsTypes="AA">
                                      <p:cBhvr>
                                        <p:cTn id="47" dur="500" fill="hold"/>
                                        <p:tgtEl>
                                          <p:spTgt spid="29"/>
                                        </p:tgtEl>
                                        <p:attrNameLst>
                                          <p:attrName>ppt_x</p:attrName>
                                          <p:attrName>ppt_y</p:attrName>
                                        </p:attrNameLst>
                                      </p:cBhvr>
                                      <p:rCtr x="0" y="1481"/>
                                    </p:animMotion>
                                  </p:childTnLst>
                                </p:cTn>
                              </p:par>
                              <p:par>
                                <p:cTn id="48" presetID="10" presetClass="entr" presetSubtype="0" fill="hold" nodeType="withEffect">
                                  <p:stCondLst>
                                    <p:cond delay="250"/>
                                  </p:stCondLst>
                                  <p:childTnLst>
                                    <p:set>
                                      <p:cBhvr>
                                        <p:cTn id="49" dur="1" fill="hold">
                                          <p:stCondLst>
                                            <p:cond delay="0"/>
                                          </p:stCondLst>
                                        </p:cTn>
                                        <p:tgtEl>
                                          <p:spTgt spid="5"/>
                                        </p:tgtEl>
                                        <p:attrNameLst>
                                          <p:attrName>style.visibility</p:attrName>
                                        </p:attrNameLst>
                                      </p:cBhvr>
                                      <p:to>
                                        <p:strVal val="visible"/>
                                      </p:to>
                                    </p:set>
                                    <p:animEffect transition="in" filter="fade">
                                      <p:cBhvr>
                                        <p:cTn id="50" dur="500"/>
                                        <p:tgtEl>
                                          <p:spTgt spid="5"/>
                                        </p:tgtEl>
                                      </p:cBhvr>
                                    </p:animEffect>
                                  </p:childTnLst>
                                </p:cTn>
                              </p:par>
                              <p:par>
                                <p:cTn id="51" presetID="10" presetClass="entr" presetSubtype="0" fill="hold" grpId="0" nodeType="withEffect">
                                  <p:stCondLst>
                                    <p:cond delay="250"/>
                                  </p:stCondLst>
                                  <p:childTnLst>
                                    <p:set>
                                      <p:cBhvr>
                                        <p:cTn id="52" dur="1" fill="hold">
                                          <p:stCondLst>
                                            <p:cond delay="0"/>
                                          </p:stCondLst>
                                        </p:cTn>
                                        <p:tgtEl>
                                          <p:spTgt spid="20"/>
                                        </p:tgtEl>
                                        <p:attrNameLst>
                                          <p:attrName>style.visibility</p:attrName>
                                        </p:attrNameLst>
                                      </p:cBhvr>
                                      <p:to>
                                        <p:strVal val="visible"/>
                                      </p:to>
                                    </p:set>
                                    <p:animEffect transition="in" filter="fade">
                                      <p:cBhvr>
                                        <p:cTn id="53" dur="500"/>
                                        <p:tgtEl>
                                          <p:spTgt spid="20"/>
                                        </p:tgtEl>
                                      </p:cBhvr>
                                    </p:animEffect>
                                  </p:childTnLst>
                                </p:cTn>
                              </p:par>
                              <p:par>
                                <p:cTn id="54" presetID="10" presetClass="entr" presetSubtype="0" fill="hold" grpId="0" nodeType="withEffect">
                                  <p:stCondLst>
                                    <p:cond delay="250"/>
                                  </p:stCondLst>
                                  <p:childTnLst>
                                    <p:set>
                                      <p:cBhvr>
                                        <p:cTn id="55" dur="1" fill="hold">
                                          <p:stCondLst>
                                            <p:cond delay="0"/>
                                          </p:stCondLst>
                                        </p:cTn>
                                        <p:tgtEl>
                                          <p:spTgt spid="14"/>
                                        </p:tgtEl>
                                        <p:attrNameLst>
                                          <p:attrName>style.visibility</p:attrName>
                                        </p:attrNameLst>
                                      </p:cBhvr>
                                      <p:to>
                                        <p:strVal val="visible"/>
                                      </p:to>
                                    </p:set>
                                    <p:animEffect transition="in" filter="fade">
                                      <p:cBhvr>
                                        <p:cTn id="56" dur="500"/>
                                        <p:tgtEl>
                                          <p:spTgt spid="14"/>
                                        </p:tgtEl>
                                      </p:cBhvr>
                                    </p:animEffect>
                                  </p:childTnLst>
                                </p:cTn>
                              </p:par>
                              <p:par>
                                <p:cTn id="57" presetID="12" presetClass="entr" presetSubtype="1" fill="hold" nodeType="withEffect">
                                  <p:stCondLst>
                                    <p:cond delay="250"/>
                                  </p:stCondLst>
                                  <p:childTnLst>
                                    <p:set>
                                      <p:cBhvr>
                                        <p:cTn id="58" dur="1" fill="hold">
                                          <p:stCondLst>
                                            <p:cond delay="0"/>
                                          </p:stCondLst>
                                        </p:cTn>
                                        <p:tgtEl>
                                          <p:spTgt spid="28"/>
                                        </p:tgtEl>
                                        <p:attrNameLst>
                                          <p:attrName>style.visibility</p:attrName>
                                        </p:attrNameLst>
                                      </p:cBhvr>
                                      <p:to>
                                        <p:strVal val="visible"/>
                                      </p:to>
                                    </p:set>
                                    <p:anim calcmode="lin" valueType="num">
                                      <p:cBhvr additive="base">
                                        <p:cTn id="59" dur="500"/>
                                        <p:tgtEl>
                                          <p:spTgt spid="28"/>
                                        </p:tgtEl>
                                        <p:attrNameLst>
                                          <p:attrName>ppt_y</p:attrName>
                                        </p:attrNameLst>
                                      </p:cBhvr>
                                      <p:tavLst>
                                        <p:tav tm="0">
                                          <p:val>
                                            <p:strVal val="#ppt_y-#ppt_h*1.125000"/>
                                          </p:val>
                                        </p:tav>
                                        <p:tav tm="100000">
                                          <p:val>
                                            <p:strVal val="#ppt_y"/>
                                          </p:val>
                                        </p:tav>
                                      </p:tavLst>
                                    </p:anim>
                                    <p:animEffect transition="in" filter="wipe(down)">
                                      <p:cBhvr>
                                        <p:cTn id="60"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4" grpId="0"/>
      <p:bldP spid="20" grpId="0"/>
      <p:bldP spid="29" grpId="0" animBg="1"/>
      <p:bldP spid="13" grpId="0"/>
      <p:bldP spid="2" grpId="0"/>
      <p:bldP spid="22" grpId="0"/>
      <p:bldP spid="1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1076528" y="3377794"/>
            <a:ext cx="4181272" cy="2394502"/>
          </a:xfrm>
          <a:prstGeom prst="rect">
            <a:avLst/>
          </a:prstGeom>
          <a:noFill/>
          <a:ln>
            <a:noFill/>
          </a:ln>
        </p:spPr>
        <p:txBody>
          <a:bodyPr wrap="square"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Contaminated prefilled saline flush syringes manufactured by </a:t>
            </a:r>
            <a:r>
              <a:rPr kumimoji="0" lang="en-US" sz="1600" b="1" i="1"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Nurse Assist</a:t>
            </a:r>
            <a:r>
              <a:rPr kumimoji="0" lang="en-US" sz="1600" b="0" i="1"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may have caused more </a:t>
            </a:r>
            <a:b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than </a:t>
            </a:r>
            <a:r>
              <a:rPr kumimoji="0" lang="en-US" sz="16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164 bloodstream infections</a:t>
            </a:r>
            <a: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cross several states in 59 healthcare facilities… in total, </a:t>
            </a:r>
            <a:r>
              <a:rPr kumimoji="0" lang="en-US" sz="16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7 patients diagnosed with the infection </a:t>
            </a:r>
            <a:br>
              <a:rPr kumimoji="0" lang="en-US" sz="16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6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have died</a:t>
            </a:r>
            <a:r>
              <a:rPr kumimoji="0" lang="en-US" sz="1600" b="0" i="1" u="none" strike="noStrike" kern="1200" cap="none" spc="0" normalizeH="0" baseline="3000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3 </a:t>
            </a:r>
            <a:endPar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85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Center for Disease Control, </a:t>
            </a:r>
            <a:br>
              <a:rPr kumimoji="0" lang="en-US" sz="16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6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April 2017</a:t>
            </a:r>
          </a:p>
        </p:txBody>
      </p:sp>
      <p:sp>
        <p:nvSpPr>
          <p:cNvPr id="23" name="Rectangle 15">
            <a:extLst>
              <a:ext uri="{FF2B5EF4-FFF2-40B4-BE49-F238E27FC236}">
                <a16:creationId xmlns="" xmlns:a16="http://schemas.microsoft.com/office/drawing/2014/main" id="{6283CB12-608E-40CB-94A3-FB2EC94633CB}"/>
              </a:ext>
            </a:extLst>
          </p:cNvPr>
          <p:cNvSpPr/>
          <p:nvPr/>
        </p:nvSpPr>
        <p:spPr>
          <a:xfrm>
            <a:off x="555172" y="2334284"/>
            <a:ext cx="5083628" cy="568231"/>
          </a:xfrm>
          <a:prstGeom prst="rect">
            <a:avLst/>
          </a:prstGeom>
          <a:noFill/>
          <a:ln>
            <a:noFill/>
          </a:ln>
          <a:effectLst>
            <a:outerShdw blurRad="76200" dir="18900000" sy="23000" kx="-1200000" algn="bl"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defTabSz="457200">
              <a:lnSpc>
                <a:spcPct val="85000"/>
              </a:lnSpc>
              <a:spcBef>
                <a:spcPct val="0"/>
              </a:spcBef>
              <a:defRPr/>
            </a:pPr>
            <a:r>
              <a:rPr lang="en-US" sz="1600" dirty="0">
                <a:solidFill>
                  <a:srgbClr val="404041"/>
                </a:solidFill>
                <a:latin typeface="Verdana" panose="020B0604030504040204" pitchFamily="34" charset="0"/>
                <a:ea typeface="Verdana" panose="020B0604030504040204" pitchFamily="34" charset="0"/>
                <a:cs typeface="Verdana" panose="020B0604030504040204" pitchFamily="34" charset="0"/>
              </a:rPr>
              <a:t>When </a:t>
            </a:r>
            <a:r>
              <a:rPr lang="en-US" sz="1600" b="1" dirty="0">
                <a:solidFill>
                  <a:srgbClr val="05589C"/>
                </a:solidFill>
                <a:latin typeface="Verdana" panose="020B0604030504040204" pitchFamily="34" charset="0"/>
                <a:ea typeface="Verdana" panose="020B0604030504040204" pitchFamily="34" charset="0"/>
                <a:cs typeface="Verdana" panose="020B0604030504040204" pitchFamily="34" charset="0"/>
              </a:rPr>
              <a:t>Manufacturing Excellence </a:t>
            </a:r>
            <a:r>
              <a:rPr lang="en-US" sz="1600" dirty="0">
                <a:solidFill>
                  <a:srgbClr val="404041"/>
                </a:solidFill>
                <a:latin typeface="Verdana" panose="020B0604030504040204" pitchFamily="34" charset="0"/>
                <a:ea typeface="Verdana" panose="020B0604030504040204" pitchFamily="34" charset="0"/>
                <a:cs typeface="Verdana" panose="020B0604030504040204" pitchFamily="34" charset="0"/>
              </a:rPr>
              <a:t>is Not Met, It Can Have Potentially Fatal Consequences</a:t>
            </a:r>
          </a:p>
        </p:txBody>
      </p:sp>
      <p:sp>
        <p:nvSpPr>
          <p:cNvPr id="27" name="Title 1">
            <a:extLst>
              <a:ext uri="{FF2B5EF4-FFF2-40B4-BE49-F238E27FC236}">
                <a16:creationId xmlns="" xmlns:a16="http://schemas.microsoft.com/office/drawing/2014/main" id="{8EF12C95-1B5E-41BC-9D4C-BE8AE8C93829}"/>
              </a:ext>
            </a:extLst>
          </p:cNvPr>
          <p:cNvSpPr txBox="1">
            <a:spLocks/>
          </p:cNvSpPr>
          <p:nvPr/>
        </p:nvSpPr>
        <p:spPr>
          <a:xfrm>
            <a:off x="555172" y="346575"/>
            <a:ext cx="5693228" cy="115964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nSpc>
                <a:spcPct val="85000"/>
              </a:lnSpc>
              <a:defRPr/>
            </a:pPr>
            <a:r>
              <a:rPr lang="en-US" sz="3200" b="1" dirty="0">
                <a:solidFill>
                  <a:srgbClr val="05589C"/>
                </a:solidFill>
                <a:latin typeface="Verdana" panose="020B0604030504040204" pitchFamily="34" charset="0"/>
                <a:ea typeface="Verdana" panose="020B0604030504040204" pitchFamily="34" charset="0"/>
                <a:cs typeface="Verdana" panose="020B0604030504040204" pitchFamily="34" charset="0"/>
              </a:rPr>
              <a:t>QUALITY ISSUES</a:t>
            </a:r>
          </a:p>
          <a:p>
            <a:pPr lvl="0">
              <a:lnSpc>
                <a:spcPct val="85000"/>
              </a:lnSpc>
              <a:defRPr/>
            </a:pPr>
            <a:r>
              <a:rPr lang="en-US" sz="3200" b="1" dirty="0">
                <a:solidFill>
                  <a:srgbClr val="05589C"/>
                </a:solidFill>
                <a:latin typeface="Verdana" panose="020B0604030504040204" pitchFamily="34" charset="0"/>
                <a:ea typeface="Verdana" panose="020B0604030504040204" pitchFamily="34" charset="0"/>
                <a:cs typeface="Verdana" panose="020B0604030504040204" pitchFamily="34" charset="0"/>
              </a:rPr>
              <a:t>IN MANUFACTURING</a:t>
            </a:r>
            <a:r>
              <a:rPr kumimoji="0" lang="en-US" sz="2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2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800" b="0" i="0" u="none" strike="noStrike" kern="1200" cap="none" spc="4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N HAVE A PROFOUND</a:t>
            </a:r>
          </a:p>
          <a:p>
            <a:pPr lvl="0">
              <a:lnSpc>
                <a:spcPct val="85000"/>
              </a:lnSpc>
              <a:defRPr/>
            </a:pPr>
            <a:r>
              <a:rPr kumimoji="0" lang="en-US" sz="1800" b="0" i="0" u="none" strike="noStrike" kern="1200" cap="none" spc="4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EFFECT ON </a:t>
            </a:r>
            <a:r>
              <a:rPr lang="en-US" sz="1800" spc="400" dirty="0">
                <a:solidFill>
                  <a:prstClr val="black"/>
                </a:solidFill>
                <a:latin typeface="Verdana" panose="020B0604030504040204" pitchFamily="34" charset="0"/>
                <a:ea typeface="Verdana" panose="020B0604030504040204" pitchFamily="34" charset="0"/>
                <a:cs typeface="Verdana" panose="020B0604030504040204" pitchFamily="34" charset="0"/>
              </a:rPr>
              <a:t>PATIENT SAFETY,</a:t>
            </a:r>
            <a:br>
              <a:rPr lang="en-US" sz="1800" spc="400" dirty="0">
                <a:solidFill>
                  <a:prstClr val="black"/>
                </a:solidFill>
                <a:latin typeface="Verdana" panose="020B0604030504040204" pitchFamily="34" charset="0"/>
                <a:ea typeface="Verdana" panose="020B0604030504040204" pitchFamily="34" charset="0"/>
                <a:cs typeface="Verdana" panose="020B0604030504040204" pitchFamily="34" charset="0"/>
              </a:rPr>
            </a:br>
            <a:r>
              <a:rPr lang="en-US" sz="1800" spc="400" dirty="0">
                <a:solidFill>
                  <a:prstClr val="black"/>
                </a:solidFill>
                <a:latin typeface="Verdana" panose="020B0604030504040204" pitchFamily="34" charset="0"/>
                <a:ea typeface="Verdana" panose="020B0604030504040204" pitchFamily="34" charset="0"/>
                <a:cs typeface="Verdana" panose="020B0604030504040204" pitchFamily="34" charset="0"/>
              </a:rPr>
              <a:t>INCLUDING INFECTION</a:t>
            </a:r>
          </a:p>
          <a:p>
            <a:pPr lvl="0">
              <a:lnSpc>
                <a:spcPct val="85000"/>
              </a:lnSpc>
              <a:defRPr/>
            </a:pPr>
            <a:r>
              <a:rPr lang="en-US" sz="1800" spc="400" dirty="0">
                <a:solidFill>
                  <a:prstClr val="black"/>
                </a:solidFill>
                <a:latin typeface="Verdana" panose="020B0604030504040204" pitchFamily="34" charset="0"/>
                <a:ea typeface="Verdana" panose="020B0604030504040204" pitchFamily="34" charset="0"/>
                <a:cs typeface="Verdana" panose="020B0604030504040204" pitchFamily="34" charset="0"/>
              </a:rPr>
              <a:t>OR DEATH</a:t>
            </a:r>
            <a:endParaRPr kumimoji="0" lang="en-US" sz="2400" b="0" i="0" u="none" strike="noStrike" kern="1200" cap="none" spc="6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28" name="Group 33">
            <a:extLst>
              <a:ext uri="{FF2B5EF4-FFF2-40B4-BE49-F238E27FC236}">
                <a16:creationId xmlns="" xmlns:a16="http://schemas.microsoft.com/office/drawing/2014/main" id="{2F18CE51-6305-4853-A71E-7AAC21B25D36}"/>
              </a:ext>
            </a:extLst>
          </p:cNvPr>
          <p:cNvGrpSpPr/>
          <p:nvPr/>
        </p:nvGrpSpPr>
        <p:grpSpPr>
          <a:xfrm>
            <a:off x="762000" y="5969000"/>
            <a:ext cx="8915400" cy="0"/>
            <a:chOff x="673100" y="2740025"/>
            <a:chExt cx="8915400" cy="0"/>
          </a:xfrm>
        </p:grpSpPr>
        <p:cxnSp>
          <p:nvCxnSpPr>
            <p:cNvPr id="30" name="Straight Connector 23">
              <a:extLst>
                <a:ext uri="{FF2B5EF4-FFF2-40B4-BE49-F238E27FC236}">
                  <a16:creationId xmlns="" xmlns:a16="http://schemas.microsoft.com/office/drawing/2014/main" id="{396DA9E1-0EA4-4305-8F84-AC13F1FBDF17}"/>
                </a:ext>
              </a:extLst>
            </p:cNvPr>
            <p:cNvCxnSpPr>
              <a:cxnSpLocks/>
            </p:cNvCxnSpPr>
            <p:nvPr/>
          </p:nvCxnSpPr>
          <p:spPr>
            <a:xfrm>
              <a:off x="762000" y="2740025"/>
              <a:ext cx="8826500" cy="0"/>
            </a:xfrm>
            <a:prstGeom prst="line">
              <a:avLst/>
            </a:prstGeom>
            <a:ln w="3175">
              <a:solidFill>
                <a:srgbClr val="606062"/>
              </a:solidFill>
            </a:ln>
          </p:spPr>
          <p:style>
            <a:lnRef idx="1">
              <a:schemeClr val="accent1"/>
            </a:lnRef>
            <a:fillRef idx="0">
              <a:schemeClr val="accent1"/>
            </a:fillRef>
            <a:effectRef idx="0">
              <a:schemeClr val="accent1"/>
            </a:effectRef>
            <a:fontRef idx="minor">
              <a:schemeClr val="tx1"/>
            </a:fontRef>
          </p:style>
        </p:cxnSp>
        <p:cxnSp>
          <p:nvCxnSpPr>
            <p:cNvPr id="32" name="Straight Connector 24">
              <a:extLst>
                <a:ext uri="{FF2B5EF4-FFF2-40B4-BE49-F238E27FC236}">
                  <a16:creationId xmlns="" xmlns:a16="http://schemas.microsoft.com/office/drawing/2014/main" id="{2AA8A7B2-DD4F-4947-8844-0D26C7B795BF}"/>
                </a:ext>
              </a:extLst>
            </p:cNvPr>
            <p:cNvCxnSpPr>
              <a:cxnSpLocks/>
            </p:cNvCxnSpPr>
            <p:nvPr/>
          </p:nvCxnSpPr>
          <p:spPr>
            <a:xfrm>
              <a:off x="673100" y="2740025"/>
              <a:ext cx="1857829" cy="0"/>
            </a:xfrm>
            <a:prstGeom prst="line">
              <a:avLst/>
            </a:prstGeom>
            <a:ln w="57150">
              <a:solidFill>
                <a:srgbClr val="606062"/>
              </a:solidFill>
            </a:ln>
          </p:spPr>
          <p:style>
            <a:lnRef idx="1">
              <a:schemeClr val="accent1"/>
            </a:lnRef>
            <a:fillRef idx="0">
              <a:schemeClr val="accent1"/>
            </a:fillRef>
            <a:effectRef idx="0">
              <a:schemeClr val="accent1"/>
            </a:effectRef>
            <a:fontRef idx="minor">
              <a:schemeClr val="tx1"/>
            </a:fontRef>
          </p:style>
        </p:cxnSp>
      </p:grpSp>
      <p:pic>
        <p:nvPicPr>
          <p:cNvPr id="7" name="Imagem 6">
            <a:extLst>
              <a:ext uri="{FF2B5EF4-FFF2-40B4-BE49-F238E27FC236}">
                <a16:creationId xmlns="" xmlns:a16="http://schemas.microsoft.com/office/drawing/2014/main" id="{F0D09170-5627-4104-A1E4-06A22DA32E63}"/>
              </a:ext>
            </a:extLst>
          </p:cNvPr>
          <p:cNvPicPr>
            <a:picLocks noChangeAspect="1"/>
          </p:cNvPicPr>
          <p:nvPr/>
        </p:nvPicPr>
        <p:blipFill rotWithShape="1">
          <a:blip r:embed="rId2">
            <a:extLst>
              <a:ext uri="{28A0092B-C50C-407E-A947-70E740481C1C}">
                <a14:useLocalDpi xmlns:a14="http://schemas.microsoft.com/office/drawing/2010/main" val="0"/>
              </a:ext>
            </a:extLst>
          </a:blip>
          <a:srcRect l="40623" t="3332" b="4445"/>
          <a:stretch/>
        </p:blipFill>
        <p:spPr>
          <a:xfrm>
            <a:off x="4953000" y="228600"/>
            <a:ext cx="7237475" cy="6324600"/>
          </a:xfrm>
          <a:prstGeom prst="rect">
            <a:avLst/>
          </a:prstGeom>
        </p:spPr>
      </p:pic>
      <p:pic>
        <p:nvPicPr>
          <p:cNvPr id="11" name="Graphic 10">
            <a:extLst>
              <a:ext uri="{FF2B5EF4-FFF2-40B4-BE49-F238E27FC236}">
                <a16:creationId xmlns="" xmlns:a16="http://schemas.microsoft.com/office/drawing/2014/main" id="{828997A5-E8E8-47C6-A844-C76301A85414}"/>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11345612" y="6490506"/>
            <a:ext cx="720740" cy="276876"/>
          </a:xfrm>
          <a:prstGeom prst="rect">
            <a:avLst/>
          </a:prstGeom>
        </p:spPr>
      </p:pic>
      <p:pic>
        <p:nvPicPr>
          <p:cNvPr id="10" name="Picture 9"/>
          <p:cNvPicPr>
            <a:picLocks noChangeAspect="1"/>
          </p:cNvPicPr>
          <p:nvPr/>
        </p:nvPicPr>
        <p:blipFill>
          <a:blip r:embed="rId5"/>
          <a:stretch>
            <a:fillRect/>
          </a:stretch>
        </p:blipFill>
        <p:spPr>
          <a:xfrm>
            <a:off x="76200" y="6629400"/>
            <a:ext cx="4619050" cy="195171"/>
          </a:xfrm>
          <a:prstGeom prst="rect">
            <a:avLst/>
          </a:prstGeom>
        </p:spPr>
      </p:pic>
    </p:spTree>
    <p:extLst>
      <p:ext uri="{BB962C8B-B14F-4D97-AF65-F5344CB8AC3E}">
        <p14:creationId xmlns:p14="http://schemas.microsoft.com/office/powerpoint/2010/main" val="1017611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childTnLst>
                          </p:cTn>
                        </p:par>
                        <p:par>
                          <p:cTn id="16" fill="hold">
                            <p:stCondLst>
                              <p:cond delay="1000"/>
                            </p:stCondLst>
                            <p:childTnLst>
                              <p:par>
                                <p:cTn id="17" presetID="22" presetClass="entr" presetSubtype="8" fill="hold" nodeType="after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wipe(left)">
                                      <p:cBhvr>
                                        <p:cTn id="19" dur="500"/>
                                        <p:tgtEl>
                                          <p:spTgt spid="2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3" grpId="0"/>
      <p:bldP spid="2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479681369"/>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8622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7" name="TextBox 16"/>
          <p:cNvSpPr txBox="1"/>
          <p:nvPr/>
        </p:nvSpPr>
        <p:spPr>
          <a:xfrm>
            <a:off x="1076528" y="3377794"/>
            <a:ext cx="4029725" cy="1975926"/>
          </a:xfrm>
          <a:prstGeom prst="rect">
            <a:avLst/>
          </a:prstGeom>
          <a:noFill/>
          <a:ln>
            <a:noFill/>
          </a:ln>
        </p:spPr>
        <p:txBody>
          <a:bodyPr wrap="square"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Excelsior </a:t>
            </a:r>
            <a: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pre-filled flush syringes subject to a </a:t>
            </a:r>
            <a:r>
              <a:rPr kumimoji="0" lang="en-US" sz="16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Class 1 </a:t>
            </a:r>
            <a: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recall due </a:t>
            </a:r>
            <a:b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to the potential for leaking or </a:t>
            </a:r>
            <a:r>
              <a:rPr kumimoji="0" lang="en-US" sz="16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loss </a:t>
            </a:r>
            <a:br>
              <a:rPr kumimoji="0" lang="en-US" sz="16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6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of sterility</a:t>
            </a:r>
            <a: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which could cause </a:t>
            </a:r>
            <a:b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a bloodstream infection, resulting </a:t>
            </a:r>
            <a:b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in serious injury or death </a:t>
            </a:r>
            <a:r>
              <a:rPr kumimoji="0" lang="en-US" sz="1600" b="0" i="1" u="none" strike="noStrike" kern="1200" cap="none" spc="0" normalizeH="0" baseline="3000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4</a:t>
            </a:r>
          </a:p>
          <a:p>
            <a:pPr marL="0" marR="0" lvl="0" indent="0" algn="l" defTabSz="914400" rtl="0" eaLnBrk="1" fontAlgn="auto" latinLnBrk="0" hangingPunct="1">
              <a:lnSpc>
                <a:spcPct val="85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Medscape, </a:t>
            </a:r>
            <a:br>
              <a:rPr kumimoji="0" lang="en-US" sz="16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6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October 2010</a:t>
            </a:r>
          </a:p>
        </p:txBody>
      </p:sp>
      <p:grpSp>
        <p:nvGrpSpPr>
          <p:cNvPr id="38" name="Group 33">
            <a:extLst>
              <a:ext uri="{FF2B5EF4-FFF2-40B4-BE49-F238E27FC236}">
                <a16:creationId xmlns="" xmlns:a16="http://schemas.microsoft.com/office/drawing/2014/main" id="{037F1ABF-D4C6-469A-9072-A91C1C6FCC23}"/>
              </a:ext>
            </a:extLst>
          </p:cNvPr>
          <p:cNvGrpSpPr/>
          <p:nvPr/>
        </p:nvGrpSpPr>
        <p:grpSpPr>
          <a:xfrm>
            <a:off x="762000" y="5969000"/>
            <a:ext cx="8915400" cy="0"/>
            <a:chOff x="673100" y="2740025"/>
            <a:chExt cx="8915400" cy="0"/>
          </a:xfrm>
        </p:grpSpPr>
        <p:cxnSp>
          <p:nvCxnSpPr>
            <p:cNvPr id="39" name="Straight Connector 23">
              <a:extLst>
                <a:ext uri="{FF2B5EF4-FFF2-40B4-BE49-F238E27FC236}">
                  <a16:creationId xmlns="" xmlns:a16="http://schemas.microsoft.com/office/drawing/2014/main" id="{D656568D-FF14-4D53-92AF-369D3243938D}"/>
                </a:ext>
              </a:extLst>
            </p:cNvPr>
            <p:cNvCxnSpPr>
              <a:cxnSpLocks/>
            </p:cNvCxnSpPr>
            <p:nvPr/>
          </p:nvCxnSpPr>
          <p:spPr>
            <a:xfrm>
              <a:off x="762000" y="2740025"/>
              <a:ext cx="8826500" cy="0"/>
            </a:xfrm>
            <a:prstGeom prst="line">
              <a:avLst/>
            </a:prstGeom>
            <a:ln w="3175">
              <a:solidFill>
                <a:srgbClr val="606062"/>
              </a:solidFill>
            </a:ln>
          </p:spPr>
          <p:style>
            <a:lnRef idx="1">
              <a:schemeClr val="accent1"/>
            </a:lnRef>
            <a:fillRef idx="0">
              <a:schemeClr val="accent1"/>
            </a:fillRef>
            <a:effectRef idx="0">
              <a:schemeClr val="accent1"/>
            </a:effectRef>
            <a:fontRef idx="minor">
              <a:schemeClr val="tx1"/>
            </a:fontRef>
          </p:style>
        </p:cxnSp>
        <p:cxnSp>
          <p:nvCxnSpPr>
            <p:cNvPr id="40" name="Straight Connector 24">
              <a:extLst>
                <a:ext uri="{FF2B5EF4-FFF2-40B4-BE49-F238E27FC236}">
                  <a16:creationId xmlns="" xmlns:a16="http://schemas.microsoft.com/office/drawing/2014/main" id="{49B51FF4-0AAC-47AB-939D-7FEB8FF59626}"/>
                </a:ext>
              </a:extLst>
            </p:cNvPr>
            <p:cNvCxnSpPr>
              <a:cxnSpLocks/>
            </p:cNvCxnSpPr>
            <p:nvPr/>
          </p:nvCxnSpPr>
          <p:spPr>
            <a:xfrm>
              <a:off x="673100" y="2740025"/>
              <a:ext cx="1857829" cy="0"/>
            </a:xfrm>
            <a:prstGeom prst="line">
              <a:avLst/>
            </a:prstGeom>
            <a:ln w="57150">
              <a:solidFill>
                <a:srgbClr val="606062"/>
              </a:solidFill>
            </a:ln>
          </p:spPr>
          <p:style>
            <a:lnRef idx="1">
              <a:schemeClr val="accent1"/>
            </a:lnRef>
            <a:fillRef idx="0">
              <a:schemeClr val="accent1"/>
            </a:fillRef>
            <a:effectRef idx="0">
              <a:schemeClr val="accent1"/>
            </a:effectRef>
            <a:fontRef idx="minor">
              <a:schemeClr val="tx1"/>
            </a:fontRef>
          </p:style>
        </p:cxnSp>
      </p:grpSp>
      <p:pic>
        <p:nvPicPr>
          <p:cNvPr id="4" name="Imagem 3">
            <a:extLst>
              <a:ext uri="{FF2B5EF4-FFF2-40B4-BE49-F238E27FC236}">
                <a16:creationId xmlns="" xmlns:a16="http://schemas.microsoft.com/office/drawing/2014/main" id="{17A7DD6A-778B-4E63-B1F6-016C0E551CDF}"/>
              </a:ext>
            </a:extLst>
          </p:cNvPr>
          <p:cNvPicPr>
            <a:picLocks noChangeAspect="1"/>
          </p:cNvPicPr>
          <p:nvPr/>
        </p:nvPicPr>
        <p:blipFill rotWithShape="1">
          <a:blip r:embed="rId6">
            <a:extLst>
              <a:ext uri="{28A0092B-C50C-407E-A947-70E740481C1C}">
                <a14:useLocalDpi xmlns:a14="http://schemas.microsoft.com/office/drawing/2010/main" val="0"/>
              </a:ext>
            </a:extLst>
          </a:blip>
          <a:srcRect l="41024" t="3334" b="5555"/>
          <a:stretch/>
        </p:blipFill>
        <p:spPr>
          <a:xfrm>
            <a:off x="5001958" y="228600"/>
            <a:ext cx="7188517" cy="6248400"/>
          </a:xfrm>
          <a:prstGeom prst="rect">
            <a:avLst/>
          </a:prstGeom>
        </p:spPr>
      </p:pic>
      <p:sp>
        <p:nvSpPr>
          <p:cNvPr id="24" name="Rectangle 15">
            <a:extLst>
              <a:ext uri="{FF2B5EF4-FFF2-40B4-BE49-F238E27FC236}">
                <a16:creationId xmlns="" xmlns:a16="http://schemas.microsoft.com/office/drawing/2014/main" id="{1254E32C-182C-4FB0-A723-2D391106958A}"/>
              </a:ext>
            </a:extLst>
          </p:cNvPr>
          <p:cNvSpPr/>
          <p:nvPr/>
        </p:nvSpPr>
        <p:spPr>
          <a:xfrm>
            <a:off x="555172" y="2334284"/>
            <a:ext cx="5083628" cy="568231"/>
          </a:xfrm>
          <a:prstGeom prst="rect">
            <a:avLst/>
          </a:prstGeom>
          <a:noFill/>
          <a:ln>
            <a:noFill/>
          </a:ln>
          <a:effectLst>
            <a:outerShdw blurRad="76200" dir="18900000" sy="23000" kx="-1200000" algn="bl"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defTabSz="457200">
              <a:lnSpc>
                <a:spcPct val="85000"/>
              </a:lnSpc>
              <a:spcBef>
                <a:spcPct val="0"/>
              </a:spcBef>
              <a:defRPr/>
            </a:pPr>
            <a:r>
              <a:rPr lang="en-US" sz="1600" dirty="0">
                <a:solidFill>
                  <a:srgbClr val="404041"/>
                </a:solidFill>
                <a:latin typeface="Verdana" panose="020B0604030504040204" pitchFamily="34" charset="0"/>
                <a:ea typeface="Verdana" panose="020B0604030504040204" pitchFamily="34" charset="0"/>
                <a:cs typeface="Verdana" panose="020B0604030504040204" pitchFamily="34" charset="0"/>
              </a:rPr>
              <a:t>When </a:t>
            </a:r>
            <a:r>
              <a:rPr lang="en-US" sz="1600" b="1" dirty="0">
                <a:solidFill>
                  <a:srgbClr val="05589C"/>
                </a:solidFill>
                <a:latin typeface="Verdana" panose="020B0604030504040204" pitchFamily="34" charset="0"/>
                <a:ea typeface="Verdana" panose="020B0604030504040204" pitchFamily="34" charset="0"/>
                <a:cs typeface="Verdana" panose="020B0604030504040204" pitchFamily="34" charset="0"/>
              </a:rPr>
              <a:t>Manufacturing Excellence </a:t>
            </a:r>
            <a:r>
              <a:rPr lang="en-US" sz="1600" dirty="0">
                <a:solidFill>
                  <a:srgbClr val="404041"/>
                </a:solidFill>
                <a:latin typeface="Verdana" panose="020B0604030504040204" pitchFamily="34" charset="0"/>
                <a:ea typeface="Verdana" panose="020B0604030504040204" pitchFamily="34" charset="0"/>
                <a:cs typeface="Verdana" panose="020B0604030504040204" pitchFamily="34" charset="0"/>
              </a:rPr>
              <a:t>is Not Met, It Can Have Potentially Fatal Consequences</a:t>
            </a:r>
          </a:p>
        </p:txBody>
      </p:sp>
      <p:sp>
        <p:nvSpPr>
          <p:cNvPr id="25" name="Title 1">
            <a:extLst>
              <a:ext uri="{FF2B5EF4-FFF2-40B4-BE49-F238E27FC236}">
                <a16:creationId xmlns="" xmlns:a16="http://schemas.microsoft.com/office/drawing/2014/main" id="{8A5B186B-B209-44FF-ABDD-83A35F28A825}"/>
              </a:ext>
            </a:extLst>
          </p:cNvPr>
          <p:cNvSpPr txBox="1">
            <a:spLocks/>
          </p:cNvSpPr>
          <p:nvPr/>
        </p:nvSpPr>
        <p:spPr>
          <a:xfrm>
            <a:off x="555172" y="346575"/>
            <a:ext cx="5693228" cy="115964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nSpc>
                <a:spcPct val="85000"/>
              </a:lnSpc>
              <a:defRPr/>
            </a:pPr>
            <a:r>
              <a:rPr lang="en-US" sz="3200" b="1" dirty="0">
                <a:solidFill>
                  <a:srgbClr val="05589C"/>
                </a:solidFill>
                <a:latin typeface="Verdana" panose="020B0604030504040204" pitchFamily="34" charset="0"/>
                <a:ea typeface="Verdana" panose="020B0604030504040204" pitchFamily="34" charset="0"/>
                <a:cs typeface="Verdana" panose="020B0604030504040204" pitchFamily="34" charset="0"/>
              </a:rPr>
              <a:t>QUALITY ISSUES</a:t>
            </a:r>
          </a:p>
          <a:p>
            <a:pPr lvl="0">
              <a:lnSpc>
                <a:spcPct val="85000"/>
              </a:lnSpc>
              <a:defRPr/>
            </a:pPr>
            <a:r>
              <a:rPr lang="en-US" sz="3200" b="1" dirty="0">
                <a:solidFill>
                  <a:srgbClr val="05589C"/>
                </a:solidFill>
                <a:latin typeface="Verdana" panose="020B0604030504040204" pitchFamily="34" charset="0"/>
                <a:ea typeface="Verdana" panose="020B0604030504040204" pitchFamily="34" charset="0"/>
                <a:cs typeface="Verdana" panose="020B0604030504040204" pitchFamily="34" charset="0"/>
              </a:rPr>
              <a:t>IN MANUFACTURING</a:t>
            </a:r>
            <a:r>
              <a:rPr kumimoji="0" lang="en-US" sz="2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2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800" b="0" i="0" u="none" strike="noStrike" kern="1200" cap="none" spc="4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N HAVE A PROFOUND</a:t>
            </a:r>
          </a:p>
          <a:p>
            <a:pPr lvl="0">
              <a:lnSpc>
                <a:spcPct val="85000"/>
              </a:lnSpc>
              <a:defRPr/>
            </a:pPr>
            <a:r>
              <a:rPr kumimoji="0" lang="en-US" sz="1800" b="0" i="0" u="none" strike="noStrike" kern="1200" cap="none" spc="4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EFFECT ON </a:t>
            </a:r>
            <a:r>
              <a:rPr lang="en-US" sz="1800" spc="400" dirty="0">
                <a:solidFill>
                  <a:prstClr val="black"/>
                </a:solidFill>
                <a:latin typeface="Verdana" panose="020B0604030504040204" pitchFamily="34" charset="0"/>
                <a:ea typeface="Verdana" panose="020B0604030504040204" pitchFamily="34" charset="0"/>
                <a:cs typeface="Verdana" panose="020B0604030504040204" pitchFamily="34" charset="0"/>
              </a:rPr>
              <a:t>PATIENT SAFETY,</a:t>
            </a:r>
            <a:br>
              <a:rPr lang="en-US" sz="1800" spc="400" dirty="0">
                <a:solidFill>
                  <a:prstClr val="black"/>
                </a:solidFill>
                <a:latin typeface="Verdana" panose="020B0604030504040204" pitchFamily="34" charset="0"/>
                <a:ea typeface="Verdana" panose="020B0604030504040204" pitchFamily="34" charset="0"/>
                <a:cs typeface="Verdana" panose="020B0604030504040204" pitchFamily="34" charset="0"/>
              </a:rPr>
            </a:br>
            <a:r>
              <a:rPr lang="en-US" sz="1800" spc="400" dirty="0">
                <a:solidFill>
                  <a:prstClr val="black"/>
                </a:solidFill>
                <a:latin typeface="Verdana" panose="020B0604030504040204" pitchFamily="34" charset="0"/>
                <a:ea typeface="Verdana" panose="020B0604030504040204" pitchFamily="34" charset="0"/>
                <a:cs typeface="Verdana" panose="020B0604030504040204" pitchFamily="34" charset="0"/>
              </a:rPr>
              <a:t>INCLUDING INFECTION</a:t>
            </a:r>
          </a:p>
          <a:p>
            <a:pPr lvl="0">
              <a:lnSpc>
                <a:spcPct val="85000"/>
              </a:lnSpc>
              <a:defRPr/>
            </a:pPr>
            <a:r>
              <a:rPr lang="en-US" sz="1800" spc="400" dirty="0">
                <a:solidFill>
                  <a:prstClr val="black"/>
                </a:solidFill>
                <a:latin typeface="Verdana" panose="020B0604030504040204" pitchFamily="34" charset="0"/>
                <a:ea typeface="Verdana" panose="020B0604030504040204" pitchFamily="34" charset="0"/>
                <a:cs typeface="Verdana" panose="020B0604030504040204" pitchFamily="34" charset="0"/>
              </a:rPr>
              <a:t>OR DEATH</a:t>
            </a:r>
            <a:endParaRPr kumimoji="0" lang="en-US" sz="2400" b="0" i="0" u="none" strike="noStrike" kern="1200" cap="none" spc="6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3" name="Graphic 12">
            <a:extLst>
              <a:ext uri="{FF2B5EF4-FFF2-40B4-BE49-F238E27FC236}">
                <a16:creationId xmlns="" xmlns:a16="http://schemas.microsoft.com/office/drawing/2014/main" id="{8CD725C3-929C-43D3-BA41-ECE2D1BF4F90}"/>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11345612" y="6490506"/>
            <a:ext cx="720740" cy="276876"/>
          </a:xfrm>
          <a:prstGeom prst="rect">
            <a:avLst/>
          </a:prstGeom>
        </p:spPr>
      </p:pic>
      <p:pic>
        <p:nvPicPr>
          <p:cNvPr id="11" name="Picture 10"/>
          <p:cNvPicPr>
            <a:picLocks noChangeAspect="1"/>
          </p:cNvPicPr>
          <p:nvPr/>
        </p:nvPicPr>
        <p:blipFill>
          <a:blip r:embed="rId9"/>
          <a:stretch>
            <a:fillRect/>
          </a:stretch>
        </p:blipFill>
        <p:spPr>
          <a:xfrm>
            <a:off x="76200" y="6629400"/>
            <a:ext cx="4619050" cy="195171"/>
          </a:xfrm>
          <a:prstGeom prst="rect">
            <a:avLst/>
          </a:prstGeom>
        </p:spPr>
      </p:pic>
    </p:spTree>
    <p:extLst>
      <p:ext uri="{BB962C8B-B14F-4D97-AF65-F5344CB8AC3E}">
        <p14:creationId xmlns:p14="http://schemas.microsoft.com/office/powerpoint/2010/main" val="1169793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1000"/>
                                        <p:tgtEl>
                                          <p:spTgt spid="4"/>
                                        </p:tgtEl>
                                      </p:cBhvr>
                                    </p:animEffect>
                                    <p:anim calcmode="lin" valueType="num">
                                      <p:cBhvr>
                                        <p:cTn id="11" dur="1000" fill="hold"/>
                                        <p:tgtEl>
                                          <p:spTgt spid="4"/>
                                        </p:tgtEl>
                                        <p:attrNameLst>
                                          <p:attrName>ppt_x</p:attrName>
                                        </p:attrNameLst>
                                      </p:cBhvr>
                                      <p:tavLst>
                                        <p:tav tm="0">
                                          <p:val>
                                            <p:strVal val="#ppt_x"/>
                                          </p:val>
                                        </p:tav>
                                        <p:tav tm="100000">
                                          <p:val>
                                            <p:strVal val="#ppt_x"/>
                                          </p:val>
                                        </p:tav>
                                      </p:tavLst>
                                    </p:anim>
                                    <p:anim calcmode="lin" valueType="num">
                                      <p:cBhvr>
                                        <p:cTn id="12"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30308881"/>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872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17" name="TextBox 16"/>
          <p:cNvSpPr txBox="1"/>
          <p:nvPr/>
        </p:nvSpPr>
        <p:spPr>
          <a:xfrm>
            <a:off x="1076528" y="3603183"/>
            <a:ext cx="4245524" cy="1557349"/>
          </a:xfrm>
          <a:prstGeom prst="rect">
            <a:avLst/>
          </a:prstGeom>
          <a:noFill/>
          <a:ln>
            <a:noFill/>
          </a:ln>
        </p:spPr>
        <p:txBody>
          <a:bodyPr wrap="square"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Pre-filled syringes from a contaminated lot made by </a:t>
            </a:r>
            <a:r>
              <a:rPr kumimoji="0" lang="en-US" sz="1600" b="1" i="1"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AM2PAT</a:t>
            </a:r>
            <a: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have since been linked to </a:t>
            </a:r>
            <a:r>
              <a:rPr kumimoji="0" lang="en-US" sz="16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four deaths </a:t>
            </a:r>
            <a: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and </a:t>
            </a:r>
            <a:r>
              <a:rPr kumimoji="0" lang="en-US" sz="16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162 illnesses </a:t>
            </a:r>
            <a: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in the US </a:t>
            </a:r>
            <a:r>
              <a:rPr kumimoji="0" lang="en-US" sz="1600" b="0" i="1" u="none" strike="noStrike" kern="1200" cap="none" spc="0" normalizeH="0" baseline="3000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5</a:t>
            </a:r>
          </a:p>
          <a:p>
            <a:pPr marL="0" marR="0" lvl="0" indent="0" algn="l" defTabSz="914400" rtl="0" eaLnBrk="1" fontAlgn="auto" latinLnBrk="0" hangingPunct="1">
              <a:lnSpc>
                <a:spcPct val="85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Chicago Tribune, </a:t>
            </a:r>
            <a:br>
              <a:rPr kumimoji="0" lang="en-US" sz="16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6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June 2009</a:t>
            </a:r>
          </a:p>
        </p:txBody>
      </p:sp>
      <p:pic>
        <p:nvPicPr>
          <p:cNvPr id="11" name="Graphic 10">
            <a:extLst>
              <a:ext uri="{FF2B5EF4-FFF2-40B4-BE49-F238E27FC236}">
                <a16:creationId xmlns="" xmlns:a16="http://schemas.microsoft.com/office/drawing/2014/main" id="{6B3424D4-8D5E-430A-92C7-0054F0A4F759}"/>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11345612" y="6490506"/>
            <a:ext cx="720740" cy="276876"/>
          </a:xfrm>
          <a:prstGeom prst="rect">
            <a:avLst/>
          </a:prstGeom>
        </p:spPr>
      </p:pic>
      <p:grpSp>
        <p:nvGrpSpPr>
          <p:cNvPr id="39" name="Group 33">
            <a:extLst>
              <a:ext uri="{FF2B5EF4-FFF2-40B4-BE49-F238E27FC236}">
                <a16:creationId xmlns="" xmlns:a16="http://schemas.microsoft.com/office/drawing/2014/main" id="{8CF6B348-CA92-401C-9894-8C62CAE3AF47}"/>
              </a:ext>
            </a:extLst>
          </p:cNvPr>
          <p:cNvGrpSpPr/>
          <p:nvPr/>
        </p:nvGrpSpPr>
        <p:grpSpPr>
          <a:xfrm>
            <a:off x="762000" y="5969000"/>
            <a:ext cx="8915400" cy="0"/>
            <a:chOff x="673100" y="2740025"/>
            <a:chExt cx="8915400" cy="0"/>
          </a:xfrm>
        </p:grpSpPr>
        <p:cxnSp>
          <p:nvCxnSpPr>
            <p:cNvPr id="40" name="Straight Connector 23">
              <a:extLst>
                <a:ext uri="{FF2B5EF4-FFF2-40B4-BE49-F238E27FC236}">
                  <a16:creationId xmlns="" xmlns:a16="http://schemas.microsoft.com/office/drawing/2014/main" id="{22EB2C19-9A57-4F5F-87E0-997D188E4689}"/>
                </a:ext>
              </a:extLst>
            </p:cNvPr>
            <p:cNvCxnSpPr>
              <a:cxnSpLocks/>
            </p:cNvCxnSpPr>
            <p:nvPr/>
          </p:nvCxnSpPr>
          <p:spPr>
            <a:xfrm>
              <a:off x="762000" y="2740025"/>
              <a:ext cx="8826500" cy="0"/>
            </a:xfrm>
            <a:prstGeom prst="line">
              <a:avLst/>
            </a:prstGeom>
            <a:ln w="3175">
              <a:solidFill>
                <a:srgbClr val="606062"/>
              </a:solidFill>
            </a:ln>
          </p:spPr>
          <p:style>
            <a:lnRef idx="1">
              <a:schemeClr val="accent1"/>
            </a:lnRef>
            <a:fillRef idx="0">
              <a:schemeClr val="accent1"/>
            </a:fillRef>
            <a:effectRef idx="0">
              <a:schemeClr val="accent1"/>
            </a:effectRef>
            <a:fontRef idx="minor">
              <a:schemeClr val="tx1"/>
            </a:fontRef>
          </p:style>
        </p:cxnSp>
        <p:cxnSp>
          <p:nvCxnSpPr>
            <p:cNvPr id="41" name="Straight Connector 24">
              <a:extLst>
                <a:ext uri="{FF2B5EF4-FFF2-40B4-BE49-F238E27FC236}">
                  <a16:creationId xmlns="" xmlns:a16="http://schemas.microsoft.com/office/drawing/2014/main" id="{404AB8B9-6D15-46AC-A0E2-03B05A091AB2}"/>
                </a:ext>
              </a:extLst>
            </p:cNvPr>
            <p:cNvCxnSpPr>
              <a:cxnSpLocks/>
            </p:cNvCxnSpPr>
            <p:nvPr/>
          </p:nvCxnSpPr>
          <p:spPr>
            <a:xfrm>
              <a:off x="673100" y="2740025"/>
              <a:ext cx="1857829" cy="0"/>
            </a:xfrm>
            <a:prstGeom prst="line">
              <a:avLst/>
            </a:prstGeom>
            <a:ln w="57150">
              <a:solidFill>
                <a:srgbClr val="606062"/>
              </a:solidFill>
            </a:ln>
          </p:spPr>
          <p:style>
            <a:lnRef idx="1">
              <a:schemeClr val="accent1"/>
            </a:lnRef>
            <a:fillRef idx="0">
              <a:schemeClr val="accent1"/>
            </a:fillRef>
            <a:effectRef idx="0">
              <a:schemeClr val="accent1"/>
            </a:effectRef>
            <a:fontRef idx="minor">
              <a:schemeClr val="tx1"/>
            </a:fontRef>
          </p:style>
        </p:cxnSp>
      </p:grpSp>
      <p:sp>
        <p:nvSpPr>
          <p:cNvPr id="26" name="Rectangle 15">
            <a:extLst>
              <a:ext uri="{FF2B5EF4-FFF2-40B4-BE49-F238E27FC236}">
                <a16:creationId xmlns="" xmlns:a16="http://schemas.microsoft.com/office/drawing/2014/main" id="{5DF61896-AEC7-4A18-8BDE-7A802B852C40}"/>
              </a:ext>
            </a:extLst>
          </p:cNvPr>
          <p:cNvSpPr/>
          <p:nvPr/>
        </p:nvSpPr>
        <p:spPr>
          <a:xfrm>
            <a:off x="555172" y="2334284"/>
            <a:ext cx="5083628" cy="568231"/>
          </a:xfrm>
          <a:prstGeom prst="rect">
            <a:avLst/>
          </a:prstGeom>
          <a:noFill/>
          <a:ln>
            <a:noFill/>
          </a:ln>
          <a:effectLst>
            <a:outerShdw blurRad="76200" dir="18900000" sy="23000" kx="-1200000" algn="bl"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defTabSz="457200">
              <a:lnSpc>
                <a:spcPct val="85000"/>
              </a:lnSpc>
              <a:spcBef>
                <a:spcPct val="0"/>
              </a:spcBef>
              <a:defRPr/>
            </a:pPr>
            <a:r>
              <a:rPr lang="en-US" sz="1600" dirty="0">
                <a:solidFill>
                  <a:srgbClr val="404041"/>
                </a:solidFill>
                <a:latin typeface="Verdana" panose="020B0604030504040204" pitchFamily="34" charset="0"/>
                <a:ea typeface="Verdana" panose="020B0604030504040204" pitchFamily="34" charset="0"/>
                <a:cs typeface="Verdana" panose="020B0604030504040204" pitchFamily="34" charset="0"/>
              </a:rPr>
              <a:t>When </a:t>
            </a:r>
            <a:r>
              <a:rPr lang="en-US" sz="1600" b="1" dirty="0">
                <a:solidFill>
                  <a:srgbClr val="05589C"/>
                </a:solidFill>
                <a:latin typeface="Verdana" panose="020B0604030504040204" pitchFamily="34" charset="0"/>
                <a:ea typeface="Verdana" panose="020B0604030504040204" pitchFamily="34" charset="0"/>
                <a:cs typeface="Verdana" panose="020B0604030504040204" pitchFamily="34" charset="0"/>
              </a:rPr>
              <a:t>Manufacturing Excellence </a:t>
            </a:r>
            <a:r>
              <a:rPr lang="en-US" sz="1600" dirty="0">
                <a:solidFill>
                  <a:srgbClr val="404041"/>
                </a:solidFill>
                <a:latin typeface="Verdana" panose="020B0604030504040204" pitchFamily="34" charset="0"/>
                <a:ea typeface="Verdana" panose="020B0604030504040204" pitchFamily="34" charset="0"/>
                <a:cs typeface="Verdana" panose="020B0604030504040204" pitchFamily="34" charset="0"/>
              </a:rPr>
              <a:t>is Not Met, It Can Have Potentially Fatal Consequences</a:t>
            </a:r>
          </a:p>
        </p:txBody>
      </p:sp>
      <p:sp>
        <p:nvSpPr>
          <p:cNvPr id="27" name="Title 1">
            <a:extLst>
              <a:ext uri="{FF2B5EF4-FFF2-40B4-BE49-F238E27FC236}">
                <a16:creationId xmlns="" xmlns:a16="http://schemas.microsoft.com/office/drawing/2014/main" id="{E97F092E-3775-42A1-9FB0-D2347EA1179A}"/>
              </a:ext>
            </a:extLst>
          </p:cNvPr>
          <p:cNvSpPr txBox="1">
            <a:spLocks/>
          </p:cNvSpPr>
          <p:nvPr/>
        </p:nvSpPr>
        <p:spPr>
          <a:xfrm>
            <a:off x="555172" y="346575"/>
            <a:ext cx="5693228" cy="115964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nSpc>
                <a:spcPct val="85000"/>
              </a:lnSpc>
              <a:defRPr/>
            </a:pPr>
            <a:r>
              <a:rPr lang="en-US" sz="3200" b="1" dirty="0">
                <a:solidFill>
                  <a:srgbClr val="05589C"/>
                </a:solidFill>
                <a:latin typeface="Verdana" panose="020B0604030504040204" pitchFamily="34" charset="0"/>
                <a:ea typeface="Verdana" panose="020B0604030504040204" pitchFamily="34" charset="0"/>
                <a:cs typeface="Verdana" panose="020B0604030504040204" pitchFamily="34" charset="0"/>
              </a:rPr>
              <a:t>QUALITY ISSUES</a:t>
            </a:r>
          </a:p>
          <a:p>
            <a:pPr lvl="0">
              <a:lnSpc>
                <a:spcPct val="85000"/>
              </a:lnSpc>
              <a:defRPr/>
            </a:pPr>
            <a:r>
              <a:rPr lang="en-US" sz="3200" b="1" dirty="0">
                <a:solidFill>
                  <a:srgbClr val="05589C"/>
                </a:solidFill>
                <a:latin typeface="Verdana" panose="020B0604030504040204" pitchFamily="34" charset="0"/>
                <a:ea typeface="Verdana" panose="020B0604030504040204" pitchFamily="34" charset="0"/>
                <a:cs typeface="Verdana" panose="020B0604030504040204" pitchFamily="34" charset="0"/>
              </a:rPr>
              <a:t>IN MANUFACTURING</a:t>
            </a:r>
            <a:r>
              <a:rPr kumimoji="0" lang="en-US" sz="2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2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800" b="0" i="0" u="none" strike="noStrike" kern="1200" cap="none" spc="4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N HAVE A PROFOUND</a:t>
            </a:r>
          </a:p>
          <a:p>
            <a:pPr lvl="0">
              <a:lnSpc>
                <a:spcPct val="85000"/>
              </a:lnSpc>
              <a:defRPr/>
            </a:pPr>
            <a:r>
              <a:rPr kumimoji="0" lang="en-US" sz="1800" b="0" i="0" u="none" strike="noStrike" kern="1200" cap="none" spc="4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EFFECT ON </a:t>
            </a:r>
            <a:r>
              <a:rPr lang="en-US" sz="1800" spc="400" dirty="0">
                <a:solidFill>
                  <a:prstClr val="black"/>
                </a:solidFill>
                <a:latin typeface="Verdana" panose="020B0604030504040204" pitchFamily="34" charset="0"/>
                <a:ea typeface="Verdana" panose="020B0604030504040204" pitchFamily="34" charset="0"/>
                <a:cs typeface="Verdana" panose="020B0604030504040204" pitchFamily="34" charset="0"/>
              </a:rPr>
              <a:t>PATIENT SAFETY,</a:t>
            </a:r>
            <a:br>
              <a:rPr lang="en-US" sz="1800" spc="400" dirty="0">
                <a:solidFill>
                  <a:prstClr val="black"/>
                </a:solidFill>
                <a:latin typeface="Verdana" panose="020B0604030504040204" pitchFamily="34" charset="0"/>
                <a:ea typeface="Verdana" panose="020B0604030504040204" pitchFamily="34" charset="0"/>
                <a:cs typeface="Verdana" panose="020B0604030504040204" pitchFamily="34" charset="0"/>
              </a:rPr>
            </a:br>
            <a:r>
              <a:rPr lang="en-US" sz="1800" spc="400" dirty="0">
                <a:solidFill>
                  <a:prstClr val="black"/>
                </a:solidFill>
                <a:latin typeface="Verdana" panose="020B0604030504040204" pitchFamily="34" charset="0"/>
                <a:ea typeface="Verdana" panose="020B0604030504040204" pitchFamily="34" charset="0"/>
                <a:cs typeface="Verdana" panose="020B0604030504040204" pitchFamily="34" charset="0"/>
              </a:rPr>
              <a:t>INCLUDING INFECTION</a:t>
            </a:r>
          </a:p>
          <a:p>
            <a:pPr lvl="0">
              <a:lnSpc>
                <a:spcPct val="85000"/>
              </a:lnSpc>
              <a:defRPr/>
            </a:pPr>
            <a:r>
              <a:rPr lang="en-US" sz="1800" spc="400" dirty="0">
                <a:solidFill>
                  <a:prstClr val="black"/>
                </a:solidFill>
                <a:latin typeface="Verdana" panose="020B0604030504040204" pitchFamily="34" charset="0"/>
                <a:ea typeface="Verdana" panose="020B0604030504040204" pitchFamily="34" charset="0"/>
                <a:cs typeface="Verdana" panose="020B0604030504040204" pitchFamily="34" charset="0"/>
              </a:rPr>
              <a:t>OR DEATH</a:t>
            </a:r>
            <a:endParaRPr kumimoji="0" lang="en-US" sz="2400" b="0" i="0" u="none" strike="noStrike" kern="1200" cap="none" spc="6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29" name="Imagem 3">
            <a:extLst>
              <a:ext uri="{FF2B5EF4-FFF2-40B4-BE49-F238E27FC236}">
                <a16:creationId xmlns="" xmlns:a16="http://schemas.microsoft.com/office/drawing/2014/main" id="{E24E7435-45B3-481F-9326-7AABE88B0FF1}"/>
              </a:ext>
            </a:extLst>
          </p:cNvPr>
          <p:cNvPicPr>
            <a:picLocks noChangeAspect="1"/>
          </p:cNvPicPr>
          <p:nvPr/>
        </p:nvPicPr>
        <p:blipFill rotWithShape="1">
          <a:blip r:embed="rId8">
            <a:extLst>
              <a:ext uri="{28A0092B-C50C-407E-A947-70E740481C1C}">
                <a14:useLocalDpi xmlns:a14="http://schemas.microsoft.com/office/drawing/2010/main" val="0"/>
              </a:ext>
            </a:extLst>
          </a:blip>
          <a:srcRect l="41248" t="4444" b="5359"/>
          <a:stretch/>
        </p:blipFill>
        <p:spPr>
          <a:xfrm>
            <a:off x="5029200" y="304800"/>
            <a:ext cx="7161275" cy="6185706"/>
          </a:xfrm>
          <a:prstGeom prst="rect">
            <a:avLst/>
          </a:prstGeom>
        </p:spPr>
      </p:pic>
      <p:pic>
        <p:nvPicPr>
          <p:cNvPr id="12" name="Picture 11"/>
          <p:cNvPicPr>
            <a:picLocks noChangeAspect="1"/>
          </p:cNvPicPr>
          <p:nvPr/>
        </p:nvPicPr>
        <p:blipFill>
          <a:blip r:embed="rId9"/>
          <a:stretch>
            <a:fillRect/>
          </a:stretch>
        </p:blipFill>
        <p:spPr>
          <a:xfrm>
            <a:off x="76200" y="6629400"/>
            <a:ext cx="4619050" cy="195171"/>
          </a:xfrm>
          <a:prstGeom prst="rect">
            <a:avLst/>
          </a:prstGeom>
        </p:spPr>
      </p:pic>
    </p:spTree>
    <p:extLst>
      <p:ext uri="{BB962C8B-B14F-4D97-AF65-F5344CB8AC3E}">
        <p14:creationId xmlns:p14="http://schemas.microsoft.com/office/powerpoint/2010/main" val="956746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entr" presetSubtype="0" fill="hold"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fade">
                                      <p:cBhvr>
                                        <p:cTn id="10" dur="1000"/>
                                        <p:tgtEl>
                                          <p:spTgt spid="29"/>
                                        </p:tgtEl>
                                      </p:cBhvr>
                                    </p:animEffect>
                                    <p:anim calcmode="lin" valueType="num">
                                      <p:cBhvr>
                                        <p:cTn id="11" dur="1000" fill="hold"/>
                                        <p:tgtEl>
                                          <p:spTgt spid="29"/>
                                        </p:tgtEl>
                                        <p:attrNameLst>
                                          <p:attrName>ppt_x</p:attrName>
                                        </p:attrNameLst>
                                      </p:cBhvr>
                                      <p:tavLst>
                                        <p:tav tm="0">
                                          <p:val>
                                            <p:strVal val="#ppt_x"/>
                                          </p:val>
                                        </p:tav>
                                        <p:tav tm="100000">
                                          <p:val>
                                            <p:strVal val="#ppt_x"/>
                                          </p:val>
                                        </p:tav>
                                      </p:tavLst>
                                    </p:anim>
                                    <p:anim calcmode="lin" valueType="num">
                                      <p:cBhvr>
                                        <p:cTn id="12" dur="1000" fill="hold"/>
                                        <p:tgtEl>
                                          <p:spTgt spid="2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1076528" y="3369139"/>
            <a:ext cx="4157794" cy="2394502"/>
          </a:xfrm>
          <a:prstGeom prst="rect">
            <a:avLst/>
          </a:prstGeom>
          <a:noFill/>
          <a:ln>
            <a:noFill/>
          </a:ln>
        </p:spPr>
        <p:txBody>
          <a:bodyPr wrap="square" rtlCol="0" anchor="t">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A number of </a:t>
            </a:r>
            <a:r>
              <a:rPr kumimoji="0" lang="en-US" sz="1600" b="1" i="1" u="none" strike="noStrike" kern="1200" cap="none" spc="0" normalizeH="0" baseline="0" noProof="0" dirty="0" err="1">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Monoject</a:t>
            </a:r>
            <a: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pre-filled flush syringes were filled with water but </a:t>
            </a:r>
            <a:r>
              <a:rPr kumimoji="0" lang="en-US" sz="16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not subjected to the autoclave sterilization process.  </a:t>
            </a:r>
            <a: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If non-sterile fluid is administered there is a health risk of </a:t>
            </a:r>
            <a:r>
              <a:rPr kumimoji="0" lang="en-US" sz="16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life-threatening infection </a:t>
            </a:r>
            <a: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to the blood stream or other areas</a:t>
            </a:r>
            <a:r>
              <a:rPr kumimoji="0" lang="en-US" sz="1600" b="0" i="1" u="none" strike="noStrike" kern="1200" cap="none" spc="0" normalizeH="0" baseline="3000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6</a:t>
            </a:r>
            <a: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t> </a:t>
            </a:r>
            <a:br>
              <a:rPr kumimoji="0" lang="en-US" sz="1600" b="0"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rPr>
            </a:br>
            <a:endParaRPr kumimoji="0" lang="en-US" sz="1600" b="1" i="1" u="none" strike="noStrike" kern="1200" cap="none" spc="0" normalizeH="0" baseline="0" noProof="0" dirty="0">
              <a:ln>
                <a:noFill/>
              </a:ln>
              <a:solidFill>
                <a:srgbClr val="404041"/>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US Food and Drug </a:t>
            </a:r>
            <a:br>
              <a:rPr kumimoji="0" lang="en-US" sz="16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6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Administration, </a:t>
            </a:r>
            <a:br>
              <a:rPr kumimoji="0" lang="en-US" sz="16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6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June </a:t>
            </a:r>
            <a:r>
              <a:rPr kumimoji="0" lang="en-US" sz="1600" b="0" i="0" u="none" strike="noStrike" kern="1200" cap="none" spc="0" normalizeH="0" baseline="0" noProof="0" dirty="0" smtClean="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rPr>
              <a:t>2013</a:t>
            </a:r>
            <a:endParaRPr kumimoji="0" lang="en-US" sz="1600" b="0" i="0" u="none" strike="noStrike" kern="1200" cap="none" spc="0" normalizeH="0" baseline="0" noProof="0" dirty="0">
              <a:ln>
                <a:noFill/>
              </a:ln>
              <a:solidFill>
                <a:srgbClr val="05589C"/>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1" name="Graphic 10">
            <a:extLst>
              <a:ext uri="{FF2B5EF4-FFF2-40B4-BE49-F238E27FC236}">
                <a16:creationId xmlns="" xmlns:a16="http://schemas.microsoft.com/office/drawing/2014/main" id="{6B3424D4-8D5E-430A-92C7-0054F0A4F759}"/>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11345612" y="6490506"/>
            <a:ext cx="720740" cy="276876"/>
          </a:xfrm>
          <a:prstGeom prst="rect">
            <a:avLst/>
          </a:prstGeom>
        </p:spPr>
      </p:pic>
      <p:grpSp>
        <p:nvGrpSpPr>
          <p:cNvPr id="43" name="Group 33">
            <a:extLst>
              <a:ext uri="{FF2B5EF4-FFF2-40B4-BE49-F238E27FC236}">
                <a16:creationId xmlns="" xmlns:a16="http://schemas.microsoft.com/office/drawing/2014/main" id="{B0E6076F-554D-491A-9FD8-AF4BF2817CA2}"/>
              </a:ext>
            </a:extLst>
          </p:cNvPr>
          <p:cNvGrpSpPr/>
          <p:nvPr/>
        </p:nvGrpSpPr>
        <p:grpSpPr>
          <a:xfrm>
            <a:off x="762000" y="5969000"/>
            <a:ext cx="8915400" cy="0"/>
            <a:chOff x="673100" y="2740025"/>
            <a:chExt cx="8915400" cy="0"/>
          </a:xfrm>
        </p:grpSpPr>
        <p:cxnSp>
          <p:nvCxnSpPr>
            <p:cNvPr id="44" name="Straight Connector 23">
              <a:extLst>
                <a:ext uri="{FF2B5EF4-FFF2-40B4-BE49-F238E27FC236}">
                  <a16:creationId xmlns="" xmlns:a16="http://schemas.microsoft.com/office/drawing/2014/main" id="{D5E1C6BB-25D8-4C20-99EB-A3EAEA7ED50A}"/>
                </a:ext>
              </a:extLst>
            </p:cNvPr>
            <p:cNvCxnSpPr>
              <a:cxnSpLocks/>
            </p:cNvCxnSpPr>
            <p:nvPr/>
          </p:nvCxnSpPr>
          <p:spPr>
            <a:xfrm>
              <a:off x="762000" y="2740025"/>
              <a:ext cx="8826500" cy="0"/>
            </a:xfrm>
            <a:prstGeom prst="line">
              <a:avLst/>
            </a:prstGeom>
            <a:ln w="3175">
              <a:solidFill>
                <a:srgbClr val="606062"/>
              </a:solidFill>
            </a:ln>
          </p:spPr>
          <p:style>
            <a:lnRef idx="1">
              <a:schemeClr val="accent1"/>
            </a:lnRef>
            <a:fillRef idx="0">
              <a:schemeClr val="accent1"/>
            </a:fillRef>
            <a:effectRef idx="0">
              <a:schemeClr val="accent1"/>
            </a:effectRef>
            <a:fontRef idx="minor">
              <a:schemeClr val="tx1"/>
            </a:fontRef>
          </p:style>
        </p:cxnSp>
        <p:cxnSp>
          <p:nvCxnSpPr>
            <p:cNvPr id="45" name="Straight Connector 24">
              <a:extLst>
                <a:ext uri="{FF2B5EF4-FFF2-40B4-BE49-F238E27FC236}">
                  <a16:creationId xmlns="" xmlns:a16="http://schemas.microsoft.com/office/drawing/2014/main" id="{427AA239-A64D-48DE-8C3C-854A3917D133}"/>
                </a:ext>
              </a:extLst>
            </p:cNvPr>
            <p:cNvCxnSpPr>
              <a:cxnSpLocks/>
            </p:cNvCxnSpPr>
            <p:nvPr/>
          </p:nvCxnSpPr>
          <p:spPr>
            <a:xfrm>
              <a:off x="673100" y="2740025"/>
              <a:ext cx="1857829" cy="0"/>
            </a:xfrm>
            <a:prstGeom prst="line">
              <a:avLst/>
            </a:prstGeom>
            <a:ln w="57150">
              <a:solidFill>
                <a:srgbClr val="606062"/>
              </a:solidFill>
            </a:ln>
          </p:spPr>
          <p:style>
            <a:lnRef idx="1">
              <a:schemeClr val="accent1"/>
            </a:lnRef>
            <a:fillRef idx="0">
              <a:schemeClr val="accent1"/>
            </a:fillRef>
            <a:effectRef idx="0">
              <a:schemeClr val="accent1"/>
            </a:effectRef>
            <a:fontRef idx="minor">
              <a:schemeClr val="tx1"/>
            </a:fontRef>
          </p:style>
        </p:cxnSp>
      </p:grpSp>
      <p:sp>
        <p:nvSpPr>
          <p:cNvPr id="27" name="Rectangle 15">
            <a:extLst>
              <a:ext uri="{FF2B5EF4-FFF2-40B4-BE49-F238E27FC236}">
                <a16:creationId xmlns="" xmlns:a16="http://schemas.microsoft.com/office/drawing/2014/main" id="{E4E34264-0B0A-4612-AF23-2692C675DA10}"/>
              </a:ext>
            </a:extLst>
          </p:cNvPr>
          <p:cNvSpPr/>
          <p:nvPr/>
        </p:nvSpPr>
        <p:spPr>
          <a:xfrm>
            <a:off x="555172" y="2334284"/>
            <a:ext cx="5083628" cy="568231"/>
          </a:xfrm>
          <a:prstGeom prst="rect">
            <a:avLst/>
          </a:prstGeom>
          <a:noFill/>
          <a:ln>
            <a:noFill/>
          </a:ln>
          <a:effectLst>
            <a:outerShdw blurRad="76200" dir="18900000" sy="23000" kx="-1200000" algn="bl"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defTabSz="457200">
              <a:lnSpc>
                <a:spcPct val="85000"/>
              </a:lnSpc>
              <a:spcBef>
                <a:spcPct val="0"/>
              </a:spcBef>
              <a:defRPr/>
            </a:pPr>
            <a:r>
              <a:rPr lang="en-US" sz="1600" dirty="0">
                <a:solidFill>
                  <a:srgbClr val="404041"/>
                </a:solidFill>
                <a:latin typeface="Verdana" panose="020B0604030504040204" pitchFamily="34" charset="0"/>
                <a:ea typeface="Verdana" panose="020B0604030504040204" pitchFamily="34" charset="0"/>
                <a:cs typeface="Verdana" panose="020B0604030504040204" pitchFamily="34" charset="0"/>
              </a:rPr>
              <a:t>When </a:t>
            </a:r>
            <a:r>
              <a:rPr lang="en-US" sz="1600" b="1" dirty="0">
                <a:solidFill>
                  <a:srgbClr val="05589C"/>
                </a:solidFill>
                <a:latin typeface="Verdana" panose="020B0604030504040204" pitchFamily="34" charset="0"/>
                <a:ea typeface="Verdana" panose="020B0604030504040204" pitchFamily="34" charset="0"/>
                <a:cs typeface="Verdana" panose="020B0604030504040204" pitchFamily="34" charset="0"/>
              </a:rPr>
              <a:t>Manufacturing Excellence </a:t>
            </a:r>
            <a:r>
              <a:rPr lang="en-US" sz="1600" dirty="0">
                <a:solidFill>
                  <a:srgbClr val="404041"/>
                </a:solidFill>
                <a:latin typeface="Verdana" panose="020B0604030504040204" pitchFamily="34" charset="0"/>
                <a:ea typeface="Verdana" panose="020B0604030504040204" pitchFamily="34" charset="0"/>
                <a:cs typeface="Verdana" panose="020B0604030504040204" pitchFamily="34" charset="0"/>
              </a:rPr>
              <a:t>is Not Met, It Can Have Potentially Fatal Consequences</a:t>
            </a:r>
          </a:p>
        </p:txBody>
      </p:sp>
      <p:sp>
        <p:nvSpPr>
          <p:cNvPr id="28" name="Title 1">
            <a:extLst>
              <a:ext uri="{FF2B5EF4-FFF2-40B4-BE49-F238E27FC236}">
                <a16:creationId xmlns="" xmlns:a16="http://schemas.microsoft.com/office/drawing/2014/main" id="{0DC7F609-24CC-426C-8404-A00E6A0D4C8F}"/>
              </a:ext>
            </a:extLst>
          </p:cNvPr>
          <p:cNvSpPr txBox="1">
            <a:spLocks/>
          </p:cNvSpPr>
          <p:nvPr/>
        </p:nvSpPr>
        <p:spPr>
          <a:xfrm>
            <a:off x="555172" y="346575"/>
            <a:ext cx="5693228" cy="115964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nSpc>
                <a:spcPct val="85000"/>
              </a:lnSpc>
              <a:defRPr/>
            </a:pPr>
            <a:r>
              <a:rPr lang="en-US" sz="3200" b="1" dirty="0">
                <a:solidFill>
                  <a:srgbClr val="05589C"/>
                </a:solidFill>
                <a:latin typeface="Verdana" panose="020B0604030504040204" pitchFamily="34" charset="0"/>
                <a:ea typeface="Verdana" panose="020B0604030504040204" pitchFamily="34" charset="0"/>
                <a:cs typeface="Verdana" panose="020B0604030504040204" pitchFamily="34" charset="0"/>
              </a:rPr>
              <a:t>QUALITY ISSUES</a:t>
            </a:r>
          </a:p>
          <a:p>
            <a:pPr lvl="0">
              <a:lnSpc>
                <a:spcPct val="85000"/>
              </a:lnSpc>
              <a:defRPr/>
            </a:pPr>
            <a:r>
              <a:rPr lang="en-US" sz="3200" b="1" dirty="0">
                <a:solidFill>
                  <a:srgbClr val="05589C"/>
                </a:solidFill>
                <a:latin typeface="Verdana" panose="020B0604030504040204" pitchFamily="34" charset="0"/>
                <a:ea typeface="Verdana" panose="020B0604030504040204" pitchFamily="34" charset="0"/>
                <a:cs typeface="Verdana" panose="020B0604030504040204" pitchFamily="34" charset="0"/>
              </a:rPr>
              <a:t>IN MANUFACTURING</a:t>
            </a:r>
            <a:r>
              <a:rPr kumimoji="0" lang="en-US" sz="2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
            </a:r>
            <a:br>
              <a:rPr kumimoji="0" lang="en-US" sz="24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1800" b="0" i="0" u="none" strike="noStrike" kern="1200" cap="none" spc="4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AN HAVE A PROFOUND</a:t>
            </a:r>
          </a:p>
          <a:p>
            <a:pPr lvl="0">
              <a:lnSpc>
                <a:spcPct val="85000"/>
              </a:lnSpc>
              <a:defRPr/>
            </a:pPr>
            <a:r>
              <a:rPr kumimoji="0" lang="en-US" sz="1800" b="0" i="0" u="none" strike="noStrike" kern="1200" cap="none" spc="4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EFFECT ON </a:t>
            </a:r>
            <a:r>
              <a:rPr lang="en-US" sz="1800" spc="400" dirty="0">
                <a:solidFill>
                  <a:prstClr val="black"/>
                </a:solidFill>
                <a:latin typeface="Verdana" panose="020B0604030504040204" pitchFamily="34" charset="0"/>
                <a:ea typeface="Verdana" panose="020B0604030504040204" pitchFamily="34" charset="0"/>
                <a:cs typeface="Verdana" panose="020B0604030504040204" pitchFamily="34" charset="0"/>
              </a:rPr>
              <a:t>PATIENT SAFETY,</a:t>
            </a:r>
            <a:br>
              <a:rPr lang="en-US" sz="1800" spc="400" dirty="0">
                <a:solidFill>
                  <a:prstClr val="black"/>
                </a:solidFill>
                <a:latin typeface="Verdana" panose="020B0604030504040204" pitchFamily="34" charset="0"/>
                <a:ea typeface="Verdana" panose="020B0604030504040204" pitchFamily="34" charset="0"/>
                <a:cs typeface="Verdana" panose="020B0604030504040204" pitchFamily="34" charset="0"/>
              </a:rPr>
            </a:br>
            <a:r>
              <a:rPr lang="en-US" sz="1800" spc="400" dirty="0">
                <a:solidFill>
                  <a:prstClr val="black"/>
                </a:solidFill>
                <a:latin typeface="Verdana" panose="020B0604030504040204" pitchFamily="34" charset="0"/>
                <a:ea typeface="Verdana" panose="020B0604030504040204" pitchFamily="34" charset="0"/>
                <a:cs typeface="Verdana" panose="020B0604030504040204" pitchFamily="34" charset="0"/>
              </a:rPr>
              <a:t>INCLUDING INFECTION</a:t>
            </a:r>
          </a:p>
          <a:p>
            <a:pPr lvl="0">
              <a:lnSpc>
                <a:spcPct val="85000"/>
              </a:lnSpc>
              <a:defRPr/>
            </a:pPr>
            <a:r>
              <a:rPr lang="en-US" sz="1800" spc="400" dirty="0">
                <a:solidFill>
                  <a:prstClr val="black"/>
                </a:solidFill>
                <a:latin typeface="Verdana" panose="020B0604030504040204" pitchFamily="34" charset="0"/>
                <a:ea typeface="Verdana" panose="020B0604030504040204" pitchFamily="34" charset="0"/>
                <a:cs typeface="Verdana" panose="020B0604030504040204" pitchFamily="34" charset="0"/>
              </a:rPr>
              <a:t>OR DEATH</a:t>
            </a:r>
            <a:endParaRPr kumimoji="0" lang="en-US" sz="2400" b="0" i="0" u="none" strike="noStrike" kern="1200" cap="none" spc="60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a:extLst>
              <a:ext uri="{FF2B5EF4-FFF2-40B4-BE49-F238E27FC236}">
                <a16:creationId xmlns="" xmlns:a16="http://schemas.microsoft.com/office/drawing/2014/main" id="{14695FED-313B-4C75-8FD7-2F8624BB0074}"/>
              </a:ext>
            </a:extLst>
          </p:cNvPr>
          <p:cNvPicPr>
            <a:picLocks noChangeAspect="1"/>
          </p:cNvPicPr>
          <p:nvPr/>
        </p:nvPicPr>
        <p:blipFill rotWithShape="1">
          <a:blip r:embed="rId5">
            <a:extLst>
              <a:ext uri="{28A0092B-C50C-407E-A947-70E740481C1C}">
                <a14:useLocalDpi xmlns:a14="http://schemas.microsoft.com/office/drawing/2010/main" val="0"/>
              </a:ext>
            </a:extLst>
          </a:blip>
          <a:srcRect l="40632"/>
          <a:stretch/>
        </p:blipFill>
        <p:spPr>
          <a:xfrm>
            <a:off x="4953000" y="0"/>
            <a:ext cx="7236332" cy="6858000"/>
          </a:xfrm>
          <a:prstGeom prst="rect">
            <a:avLst/>
          </a:prstGeom>
        </p:spPr>
      </p:pic>
      <p:pic>
        <p:nvPicPr>
          <p:cNvPr id="10" name="Picture 9"/>
          <p:cNvPicPr>
            <a:picLocks noChangeAspect="1"/>
          </p:cNvPicPr>
          <p:nvPr/>
        </p:nvPicPr>
        <p:blipFill>
          <a:blip r:embed="rId6"/>
          <a:stretch>
            <a:fillRect/>
          </a:stretch>
        </p:blipFill>
        <p:spPr>
          <a:xfrm>
            <a:off x="76200" y="6629400"/>
            <a:ext cx="4619050" cy="195171"/>
          </a:xfrm>
          <a:prstGeom prst="rect">
            <a:avLst/>
          </a:prstGeom>
        </p:spPr>
      </p:pic>
    </p:spTree>
    <p:extLst>
      <p:ext uri="{BB962C8B-B14F-4D97-AF65-F5344CB8AC3E}">
        <p14:creationId xmlns:p14="http://schemas.microsoft.com/office/powerpoint/2010/main" val="2831451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1000"/>
                                        <p:tgtEl>
                                          <p:spTgt spid="3"/>
                                        </p:tgtEl>
                                      </p:cBhvr>
                                    </p:animEffect>
                                    <p:anim calcmode="lin" valueType="num">
                                      <p:cBhvr>
                                        <p:cTn id="11" dur="1000" fill="hold"/>
                                        <p:tgtEl>
                                          <p:spTgt spid="3"/>
                                        </p:tgtEl>
                                        <p:attrNameLst>
                                          <p:attrName>ppt_x</p:attrName>
                                        </p:attrNameLst>
                                      </p:cBhvr>
                                      <p:tavLst>
                                        <p:tav tm="0">
                                          <p:val>
                                            <p:strVal val="#ppt_x"/>
                                          </p:val>
                                        </p:tav>
                                        <p:tav tm="100000">
                                          <p:val>
                                            <p:strVal val="#ppt_x"/>
                                          </p:val>
                                        </p:tav>
                                      </p:tavLst>
                                    </p:anim>
                                    <p:anim calcmode="lin" valueType="num">
                                      <p:cBhvr>
                                        <p:cTn id="12"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 xmlns:a16="http://schemas.microsoft.com/office/drawing/2014/main" id="{764D41DA-B14F-4434-8F32-075D6D709E69}"/>
              </a:ext>
            </a:extLst>
          </p:cNvPr>
          <p:cNvSpPr/>
          <p:nvPr/>
        </p:nvSpPr>
        <p:spPr>
          <a:xfrm>
            <a:off x="-1" y="2666999"/>
            <a:ext cx="4876801" cy="3124199"/>
          </a:xfrm>
          <a:prstGeom prst="rect">
            <a:avLst/>
          </a:prstGeom>
          <a:solidFill>
            <a:srgbClr val="055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5" name="Object 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8396"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10" name="Title 1"/>
          <p:cNvSpPr txBox="1">
            <a:spLocks/>
          </p:cNvSpPr>
          <p:nvPr/>
        </p:nvSpPr>
        <p:spPr>
          <a:xfrm>
            <a:off x="6281129" y="784785"/>
            <a:ext cx="4604621" cy="978394"/>
          </a:xfrm>
          <a:prstGeom prst="rect">
            <a:avLst/>
          </a:prstGeom>
        </p:spPr>
        <p:txBody>
          <a:bodyPr vert="horz" lIns="91440" tIns="45720" rIns="9144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85000"/>
              </a:lnSpc>
              <a:spcBef>
                <a:spcPts val="600"/>
              </a:spcBef>
              <a:spcAft>
                <a:spcPts val="0"/>
              </a:spcAft>
              <a:buClrTx/>
              <a:buSzTx/>
              <a:buFontTx/>
              <a:buNone/>
              <a:tabLst/>
              <a:defRPr/>
            </a:pPr>
            <a:r>
              <a:rPr kumimoji="0" lang="en-US" sz="1200" b="1" i="0" u="none" strike="noStrike" kern="1200" cap="none" spc="0" normalizeH="0" baseline="0" noProof="0" dirty="0">
                <a:ln>
                  <a:noFill/>
                </a:ln>
                <a:solidFill>
                  <a:srgbClr val="5F6062"/>
                </a:solidFill>
                <a:effectLst/>
                <a:uLnTx/>
                <a:uFillTx/>
                <a:latin typeface="Verdana" panose="020B0604030504040204" pitchFamily="34" charset="0"/>
                <a:ea typeface="Verdana" panose="020B0604030504040204" pitchFamily="34" charset="0"/>
                <a:cs typeface="Verdana" panose="020B0604030504040204" pitchFamily="34" charset="0"/>
              </a:rPr>
              <a:t>One Single Source: </a:t>
            </a:r>
          </a:p>
          <a:p>
            <a:pPr lvl="0" algn="l">
              <a:lnSpc>
                <a:spcPct val="85000"/>
              </a:lnSpc>
              <a:spcBef>
                <a:spcPts val="600"/>
              </a:spcBef>
              <a:defRPr/>
            </a:pPr>
            <a:r>
              <a:rPr lang="en-US" sz="1200" dirty="0">
                <a:solidFill>
                  <a:srgbClr val="5F6062"/>
                </a:solidFill>
                <a:latin typeface="Verdana" panose="020B0604030504040204" pitchFamily="34" charset="0"/>
                <a:ea typeface="Verdana" panose="020B0604030504040204" pitchFamily="34" charset="0"/>
                <a:cs typeface="Verdana" panose="020B0604030504040204" pitchFamily="34" charset="0"/>
              </a:rPr>
              <a:t>Unlike some other pre-filled flush syringes, BD </a:t>
            </a:r>
            <a:r>
              <a:rPr lang="en-US" sz="1200" dirty="0" err="1">
                <a:solidFill>
                  <a:srgbClr val="5F6062"/>
                </a:solidFill>
                <a:latin typeface="Verdana" panose="020B0604030504040204" pitchFamily="34" charset="0"/>
                <a:ea typeface="Verdana" panose="020B0604030504040204" pitchFamily="34" charset="0"/>
                <a:cs typeface="Verdana" panose="020B0604030504040204" pitchFamily="34" charset="0"/>
              </a:rPr>
              <a:t>PosiFlush</a:t>
            </a:r>
            <a:r>
              <a:rPr lang="en-US" sz="1200" dirty="0">
                <a:solidFill>
                  <a:srgbClr val="5F6062"/>
                </a:solidFill>
                <a:latin typeface="Verdana" panose="020B0604030504040204" pitchFamily="34" charset="0"/>
                <a:ea typeface="Verdana" panose="020B0604030504040204" pitchFamily="34" charset="0"/>
                <a:cs typeface="Verdana" panose="020B0604030504040204" pitchFamily="34" charset="0"/>
              </a:rPr>
              <a:t>™ is manufactured using a fully automated, end-to-end sterile manufacturing process from components to formulation to filling to packaging.</a:t>
            </a:r>
          </a:p>
          <a:p>
            <a:pPr marL="0" marR="0" lvl="0" indent="0" algn="l" defTabSz="914400" rtl="0" eaLnBrk="1" fontAlgn="auto" latinLnBrk="0" hangingPunct="1">
              <a:lnSpc>
                <a:spcPct val="85000"/>
              </a:lnSpc>
              <a:spcBef>
                <a:spcPts val="600"/>
              </a:spcBef>
              <a:spcAft>
                <a:spcPts val="0"/>
              </a:spcAft>
              <a:buClrTx/>
              <a:buSzTx/>
              <a:buFontTx/>
              <a:buNone/>
              <a:tabLst/>
              <a:defRPr/>
            </a:pPr>
            <a:endParaRPr kumimoji="0" lang="en-US" sz="1200" b="0" i="0" u="none" strike="noStrike" kern="1200" cap="none" spc="0" normalizeH="0" baseline="0" noProof="0" dirty="0">
              <a:ln>
                <a:noFill/>
              </a:ln>
              <a:solidFill>
                <a:srgbClr val="5F6062"/>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nvGrpSpPr>
          <p:cNvPr id="17" name="Group 16">
            <a:extLst>
              <a:ext uri="{FF2B5EF4-FFF2-40B4-BE49-F238E27FC236}">
                <a16:creationId xmlns="" xmlns:a16="http://schemas.microsoft.com/office/drawing/2014/main" id="{C2FB6323-BBE6-4E17-979A-37E1DCF6CA87}"/>
              </a:ext>
            </a:extLst>
          </p:cNvPr>
          <p:cNvGrpSpPr/>
          <p:nvPr/>
        </p:nvGrpSpPr>
        <p:grpSpPr>
          <a:xfrm>
            <a:off x="4953001" y="2667000"/>
            <a:ext cx="7238999" cy="3124200"/>
            <a:chOff x="4953001" y="2667000"/>
            <a:chExt cx="7238999" cy="3124200"/>
          </a:xfrm>
        </p:grpSpPr>
        <p:pic>
          <p:nvPicPr>
            <p:cNvPr id="16" name="Picture 15">
              <a:extLst>
                <a:ext uri="{FF2B5EF4-FFF2-40B4-BE49-F238E27FC236}">
                  <a16:creationId xmlns="" xmlns:a16="http://schemas.microsoft.com/office/drawing/2014/main" id="{C14E5642-3684-4C1C-B052-6FD8A2113468}"/>
                </a:ext>
              </a:extLst>
            </p:cNvPr>
            <p:cNvPicPr>
              <a:picLocks noChangeAspect="1"/>
            </p:cNvPicPr>
            <p:nvPr/>
          </p:nvPicPr>
          <p:blipFill rotWithShape="1">
            <a:blip r:embed="rId7"/>
            <a:srcRect l="16915" r="28239"/>
            <a:stretch/>
          </p:blipFill>
          <p:spPr>
            <a:xfrm>
              <a:off x="4953001" y="2667000"/>
              <a:ext cx="3048000" cy="3124200"/>
            </a:xfrm>
            <a:prstGeom prst="rect">
              <a:avLst/>
            </a:prstGeom>
          </p:spPr>
        </p:pic>
        <p:pic>
          <p:nvPicPr>
            <p:cNvPr id="6" name="Imagem 5">
              <a:extLst>
                <a:ext uri="{FF2B5EF4-FFF2-40B4-BE49-F238E27FC236}">
                  <a16:creationId xmlns="" xmlns:a16="http://schemas.microsoft.com/office/drawing/2014/main" id="{FD67D952-0570-420E-83C8-694D0EB065E3}"/>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533" t="463" r="26791" b="2348"/>
            <a:stretch/>
          </p:blipFill>
          <p:spPr>
            <a:xfrm>
              <a:off x="8038522" y="2667000"/>
              <a:ext cx="4153478" cy="3124200"/>
            </a:xfrm>
            <a:prstGeom prst="rect">
              <a:avLst/>
            </a:prstGeom>
          </p:spPr>
        </p:pic>
      </p:grpSp>
      <p:sp>
        <p:nvSpPr>
          <p:cNvPr id="14" name="Rectangle 13"/>
          <p:cNvSpPr/>
          <p:nvPr/>
        </p:nvSpPr>
        <p:spPr>
          <a:xfrm>
            <a:off x="326054" y="3166762"/>
            <a:ext cx="3297698" cy="301621"/>
          </a:xfrm>
          <a:prstGeom prst="rect">
            <a:avLst/>
          </a:prstGeom>
        </p:spPr>
        <p:txBody>
          <a:bodyPr wrap="none">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26926"/>
                </a:solidFill>
                <a:effectLst/>
                <a:uLnTx/>
                <a:uFillTx/>
                <a:latin typeface="Verdana" panose="020B0604030504040204" pitchFamily="34" charset="0"/>
                <a:ea typeface="Verdana" panose="020B0604030504040204" pitchFamily="34" charset="0"/>
                <a:cs typeface="Verdana" panose="020B0604030504040204" pitchFamily="34" charset="0"/>
              </a:rPr>
              <a:t>BD: </a:t>
            </a:r>
            <a:r>
              <a:rPr kumimoji="0" lang="en-US" sz="1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utomated Manufacturing</a:t>
            </a:r>
            <a:endParaRPr kumimoji="0" lang="en-US" sz="16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8" name="Rectangle 17"/>
          <p:cNvSpPr/>
          <p:nvPr/>
        </p:nvSpPr>
        <p:spPr>
          <a:xfrm>
            <a:off x="326053" y="3632849"/>
            <a:ext cx="4245947" cy="143631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ingle-Sourced Components </a:t>
            </a:r>
            <a:r>
              <a:rPr kumimoji="0" lang="en-US" sz="1400" b="0"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nd </a:t>
            </a:r>
            <a:r>
              <a:rPr kumimoji="0" lang="en-US" sz="14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Formulation</a:t>
            </a:r>
          </a:p>
          <a:p>
            <a:pPr marL="177800" marR="0" lvl="1" indent="-177800"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BD syringes</a:t>
            </a:r>
          </a:p>
          <a:p>
            <a:pPr marL="177800" marR="0" lvl="1" indent="-177800"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BD’s own saline </a:t>
            </a:r>
          </a:p>
          <a:p>
            <a:pPr marL="0" marR="0" lvl="0" indent="0" algn="l" defTabSz="914400" rtl="0" eaLnBrk="1" fontAlgn="auto" latinLnBrk="0" hangingPunct="1">
              <a:lnSpc>
                <a:spcPct val="85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No Human Interaction</a:t>
            </a:r>
          </a:p>
          <a:p>
            <a:pPr marL="177800" marR="0" lvl="1" indent="-177800"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From start to finish NO human hands touch the product</a:t>
            </a:r>
          </a:p>
          <a:p>
            <a:pPr marL="0" marR="0" lvl="0" indent="0" algn="l" defTabSz="914400" rtl="0" eaLnBrk="1" fontAlgn="auto" latinLnBrk="0" hangingPunct="1">
              <a:lnSpc>
                <a:spcPct val="85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losed System Environment </a:t>
            </a:r>
          </a:p>
        </p:txBody>
      </p:sp>
      <p:pic>
        <p:nvPicPr>
          <p:cNvPr id="22" name="Graphic 21">
            <a:extLst>
              <a:ext uri="{FF2B5EF4-FFF2-40B4-BE49-F238E27FC236}">
                <a16:creationId xmlns="" xmlns:a16="http://schemas.microsoft.com/office/drawing/2014/main" id="{334F7D5F-CFB6-4B6D-A21D-10F30839BA55}"/>
              </a:ext>
            </a:extLst>
          </p:cNvPr>
          <p:cNvPicPr>
            <a:picLocks noChangeAspect="1"/>
          </p:cNvPicPr>
          <p:nvPr/>
        </p:nvPicPr>
        <p:blipFill>
          <a:blip r:embed="rId9">
            <a:extLst>
              <a:ext uri="{96DAC541-7B7A-43D3-8B79-37D633B846F1}">
                <asvg:svgBlip xmlns="" xmlns:asvg="http://schemas.microsoft.com/office/drawing/2016/SVG/main" r:embed="rId10"/>
              </a:ext>
            </a:extLst>
          </a:blip>
          <a:stretch>
            <a:fillRect/>
          </a:stretch>
        </p:blipFill>
        <p:spPr>
          <a:xfrm>
            <a:off x="11345612" y="6490506"/>
            <a:ext cx="720740" cy="276876"/>
          </a:xfrm>
          <a:prstGeom prst="rect">
            <a:avLst/>
          </a:prstGeom>
        </p:spPr>
      </p:pic>
      <p:sp>
        <p:nvSpPr>
          <p:cNvPr id="23" name="Title 1">
            <a:extLst>
              <a:ext uri="{FF2B5EF4-FFF2-40B4-BE49-F238E27FC236}">
                <a16:creationId xmlns="" xmlns:a16="http://schemas.microsoft.com/office/drawing/2014/main" id="{FC727B6F-B23D-40A3-B110-E0E78F507DAC}"/>
              </a:ext>
            </a:extLst>
          </p:cNvPr>
          <p:cNvSpPr txBox="1">
            <a:spLocks/>
          </p:cNvSpPr>
          <p:nvPr/>
        </p:nvSpPr>
        <p:spPr>
          <a:xfrm>
            <a:off x="304800" y="694161"/>
            <a:ext cx="5655115" cy="115964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lnSpc>
                <a:spcPct val="85000"/>
              </a:lnSpc>
            </a:pPr>
            <a:r>
              <a:rPr lang="en-US" sz="1400" spc="400" dirty="0">
                <a:solidFill>
                  <a:prstClr val="black"/>
                </a:solidFill>
                <a:latin typeface="Verdana" panose="020B0604030504040204" pitchFamily="34" charset="0"/>
                <a:ea typeface="Verdana" panose="020B0604030504040204" pitchFamily="34" charset="0"/>
                <a:cs typeface="Verdana" panose="020B0604030504040204" pitchFamily="34" charset="0"/>
              </a:rPr>
              <a:t>BD’S FULLY-AUTOMATED MANUFACTURING PROCESS</a:t>
            </a:r>
            <a:br>
              <a:rPr lang="en-US" sz="1400" spc="400" dirty="0">
                <a:solidFill>
                  <a:prstClr val="black"/>
                </a:solidFill>
                <a:latin typeface="Verdana" panose="020B0604030504040204" pitchFamily="34" charset="0"/>
                <a:ea typeface="Verdana" panose="020B0604030504040204" pitchFamily="34" charset="0"/>
                <a:cs typeface="Verdana" panose="020B0604030504040204" pitchFamily="34" charset="0"/>
              </a:rPr>
            </a:br>
            <a:r>
              <a:rPr lang="en-US" sz="1400" spc="400" dirty="0">
                <a:solidFill>
                  <a:prstClr val="black"/>
                </a:solidFill>
                <a:latin typeface="Verdana" panose="020B0604030504040204" pitchFamily="34" charset="0"/>
                <a:ea typeface="Verdana" panose="020B0604030504040204" pitchFamily="34" charset="0"/>
                <a:cs typeface="Verdana" panose="020B0604030504040204" pitchFamily="34" charset="0"/>
              </a:rPr>
              <a:t>ELIMINATES THE HUMAN TOUCH ASSOCIATED WITH A MANUAL PROCESS,</a:t>
            </a:r>
            <a:r>
              <a:rPr lang="en-US" sz="100" spc="400"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600" b="1" dirty="0">
                <a:solidFill>
                  <a:srgbClr val="05589C"/>
                </a:solidFill>
                <a:latin typeface="Verdana" panose="020B0604030504040204" pitchFamily="34" charset="0"/>
                <a:ea typeface="Verdana" panose="020B0604030504040204" pitchFamily="34" charset="0"/>
                <a:cs typeface="Verdana" panose="020B0604030504040204" pitchFamily="34" charset="0"/>
              </a:rPr>
              <a:t>WHICH MAY HELP REDUCE POTENTIALLY LIFE</a:t>
            </a:r>
            <a:br>
              <a:rPr lang="en-US" sz="1600" b="1" dirty="0">
                <a:solidFill>
                  <a:srgbClr val="05589C"/>
                </a:solidFill>
                <a:latin typeface="Verdana" panose="020B0604030504040204" pitchFamily="34" charset="0"/>
                <a:ea typeface="Verdana" panose="020B0604030504040204" pitchFamily="34" charset="0"/>
                <a:cs typeface="Verdana" panose="020B0604030504040204" pitchFamily="34" charset="0"/>
              </a:rPr>
            </a:br>
            <a:r>
              <a:rPr lang="en-US" sz="1600" b="1" dirty="0">
                <a:solidFill>
                  <a:srgbClr val="05589C"/>
                </a:solidFill>
                <a:latin typeface="Verdana" panose="020B0604030504040204" pitchFamily="34" charset="0"/>
                <a:ea typeface="Verdana" panose="020B0604030504040204" pitchFamily="34" charset="0"/>
                <a:cs typeface="Verdana" panose="020B0604030504040204" pitchFamily="34" charset="0"/>
              </a:rPr>
              <a:t>THREATENING CONTAMINATION</a:t>
            </a:r>
            <a:endParaRPr lang="pt-PT" sz="1600" b="1" dirty="0">
              <a:solidFill>
                <a:srgbClr val="05589C"/>
              </a:solidFill>
              <a:latin typeface="Verdana" panose="020B0604030504040204" pitchFamily="34" charset="0"/>
              <a:ea typeface="Verdana" panose="020B0604030504040204" pitchFamily="34" charset="0"/>
              <a:cs typeface="Verdana" panose="020B0604030504040204" pitchFamily="34" charset="0"/>
            </a:endParaRPr>
          </a:p>
        </p:txBody>
      </p:sp>
      <p:cxnSp>
        <p:nvCxnSpPr>
          <p:cNvPr id="3" name="Straight Connector 2">
            <a:extLst>
              <a:ext uri="{FF2B5EF4-FFF2-40B4-BE49-F238E27FC236}">
                <a16:creationId xmlns="" xmlns:a16="http://schemas.microsoft.com/office/drawing/2014/main" id="{939CBD4F-6F9F-42BE-A774-A482567EA892}"/>
              </a:ext>
            </a:extLst>
          </p:cNvPr>
          <p:cNvCxnSpPr/>
          <p:nvPr/>
        </p:nvCxnSpPr>
        <p:spPr>
          <a:xfrm flipV="1">
            <a:off x="6058619" y="606470"/>
            <a:ext cx="0" cy="133502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EF57D15C-91D7-4257-8C69-52BF360C0109}"/>
              </a:ext>
            </a:extLst>
          </p:cNvPr>
          <p:cNvCxnSpPr>
            <a:cxnSpLocks/>
          </p:cNvCxnSpPr>
          <p:nvPr/>
        </p:nvCxnSpPr>
        <p:spPr>
          <a:xfrm flipH="1">
            <a:off x="381000" y="4224867"/>
            <a:ext cx="41513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 xmlns:a16="http://schemas.microsoft.com/office/drawing/2014/main" id="{EF57D15C-91D7-4257-8C69-52BF360C0109}"/>
              </a:ext>
            </a:extLst>
          </p:cNvPr>
          <p:cNvCxnSpPr>
            <a:cxnSpLocks/>
          </p:cNvCxnSpPr>
          <p:nvPr/>
        </p:nvCxnSpPr>
        <p:spPr>
          <a:xfrm flipH="1">
            <a:off x="381000" y="4876800"/>
            <a:ext cx="415131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p:nvPicPr>
        <p:blipFill>
          <a:blip r:embed="rId11"/>
          <a:stretch>
            <a:fillRect/>
          </a:stretch>
        </p:blipFill>
        <p:spPr>
          <a:xfrm>
            <a:off x="76200" y="6629400"/>
            <a:ext cx="4619050" cy="195171"/>
          </a:xfrm>
          <a:prstGeom prst="rect">
            <a:avLst/>
          </a:prstGeom>
        </p:spPr>
      </p:pic>
    </p:spTree>
    <p:extLst>
      <p:ext uri="{BB962C8B-B14F-4D97-AF65-F5344CB8AC3E}">
        <p14:creationId xmlns:p14="http://schemas.microsoft.com/office/powerpoint/2010/main" val="1041217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up)">
                                      <p:cBhvr>
                                        <p:cTn id="11" dur="500"/>
                                        <p:tgtEl>
                                          <p:spTgt spid="3"/>
                                        </p:tgtEl>
                                      </p:cBhvr>
                                    </p:animEffect>
                                  </p:childTnLst>
                                </p:cTn>
                              </p:par>
                              <p:par>
                                <p:cTn id="12" presetID="10" presetClass="entr" presetSubtype="0" fill="hold" grpId="0" nodeType="withEffect">
                                  <p:stCondLst>
                                    <p:cond delay="25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childTnLst>
                          </p:cTn>
                        </p:par>
                        <p:par>
                          <p:cTn id="15" fill="hold">
                            <p:stCondLst>
                              <p:cond delay="1250"/>
                            </p:stCondLst>
                            <p:childTnLst>
                              <p:par>
                                <p:cTn id="16" presetID="2" presetClass="entr" presetSubtype="8" decel="100000" fill="hold" grpId="0" nodeType="afterEffect">
                                  <p:stCondLst>
                                    <p:cond delay="0"/>
                                  </p:stCondLst>
                                  <p:childTnLst>
                                    <p:set>
                                      <p:cBhvr>
                                        <p:cTn id="17" dur="1" fill="hold">
                                          <p:stCondLst>
                                            <p:cond delay="0"/>
                                          </p:stCondLst>
                                        </p:cTn>
                                        <p:tgtEl>
                                          <p:spTgt spid="24"/>
                                        </p:tgtEl>
                                        <p:attrNameLst>
                                          <p:attrName>style.visibility</p:attrName>
                                        </p:attrNameLst>
                                      </p:cBhvr>
                                      <p:to>
                                        <p:strVal val="visible"/>
                                      </p:to>
                                    </p:set>
                                    <p:anim calcmode="lin" valueType="num">
                                      <p:cBhvr additive="base">
                                        <p:cTn id="18" dur="500" fill="hold"/>
                                        <p:tgtEl>
                                          <p:spTgt spid="24"/>
                                        </p:tgtEl>
                                        <p:attrNameLst>
                                          <p:attrName>ppt_x</p:attrName>
                                        </p:attrNameLst>
                                      </p:cBhvr>
                                      <p:tavLst>
                                        <p:tav tm="0">
                                          <p:val>
                                            <p:strVal val="0-#ppt_w/2"/>
                                          </p:val>
                                        </p:tav>
                                        <p:tav tm="100000">
                                          <p:val>
                                            <p:strVal val="#ppt_x"/>
                                          </p:val>
                                        </p:tav>
                                      </p:tavLst>
                                    </p:anim>
                                    <p:anim calcmode="lin" valueType="num">
                                      <p:cBhvr additive="base">
                                        <p:cTn id="19" dur="500" fill="hold"/>
                                        <p:tgtEl>
                                          <p:spTgt spid="24"/>
                                        </p:tgtEl>
                                        <p:attrNameLst>
                                          <p:attrName>ppt_y</p:attrName>
                                        </p:attrNameLst>
                                      </p:cBhvr>
                                      <p:tavLst>
                                        <p:tav tm="0">
                                          <p:val>
                                            <p:strVal val="#ppt_y"/>
                                          </p:val>
                                        </p:tav>
                                        <p:tav tm="100000">
                                          <p:val>
                                            <p:strVal val="#ppt_y"/>
                                          </p:val>
                                        </p:tav>
                                      </p:tavLst>
                                    </p:anim>
                                  </p:childTnLst>
                                </p:cTn>
                              </p:par>
                              <p:par>
                                <p:cTn id="20" presetID="2" presetClass="entr" presetSubtype="2" decel="100000" fill="hold" nodeType="withEffect">
                                  <p:stCondLst>
                                    <p:cond delay="0"/>
                                  </p:stCondLst>
                                  <p:childTnLst>
                                    <p:set>
                                      <p:cBhvr>
                                        <p:cTn id="21" dur="1" fill="hold">
                                          <p:stCondLst>
                                            <p:cond delay="0"/>
                                          </p:stCondLst>
                                        </p:cTn>
                                        <p:tgtEl>
                                          <p:spTgt spid="17"/>
                                        </p:tgtEl>
                                        <p:attrNameLst>
                                          <p:attrName>style.visibility</p:attrName>
                                        </p:attrNameLst>
                                      </p:cBhvr>
                                      <p:to>
                                        <p:strVal val="visible"/>
                                      </p:to>
                                    </p:set>
                                    <p:anim calcmode="lin" valueType="num">
                                      <p:cBhvr additive="base">
                                        <p:cTn id="22" dur="500" fill="hold"/>
                                        <p:tgtEl>
                                          <p:spTgt spid="17"/>
                                        </p:tgtEl>
                                        <p:attrNameLst>
                                          <p:attrName>ppt_x</p:attrName>
                                        </p:attrNameLst>
                                      </p:cBhvr>
                                      <p:tavLst>
                                        <p:tav tm="0">
                                          <p:val>
                                            <p:strVal val="1+#ppt_w/2"/>
                                          </p:val>
                                        </p:tav>
                                        <p:tav tm="100000">
                                          <p:val>
                                            <p:strVal val="#ppt_x"/>
                                          </p:val>
                                        </p:tav>
                                      </p:tavLst>
                                    </p:anim>
                                    <p:anim calcmode="lin" valueType="num">
                                      <p:cBhvr additive="base">
                                        <p:cTn id="23" dur="500" fill="hold"/>
                                        <p:tgtEl>
                                          <p:spTgt spid="17"/>
                                        </p:tgtEl>
                                        <p:attrNameLst>
                                          <p:attrName>ppt_y</p:attrName>
                                        </p:attrNameLst>
                                      </p:cBhvr>
                                      <p:tavLst>
                                        <p:tav tm="0">
                                          <p:val>
                                            <p:strVal val="#ppt_y"/>
                                          </p:val>
                                        </p:tav>
                                        <p:tav tm="100000">
                                          <p:val>
                                            <p:strVal val="#ppt_y"/>
                                          </p:val>
                                        </p:tav>
                                      </p:tavLst>
                                    </p:anim>
                                  </p:childTnLst>
                                </p:cTn>
                              </p:par>
                            </p:childTnLst>
                          </p:cTn>
                        </p:par>
                        <p:par>
                          <p:cTn id="24" fill="hold">
                            <p:stCondLst>
                              <p:cond delay="1750"/>
                            </p:stCondLst>
                            <p:childTnLst>
                              <p:par>
                                <p:cTn id="25" presetID="10" presetClass="entr" presetSubtype="0" fill="hold" grpId="0" nodeType="after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nodeType="withEffect">
                                  <p:stCondLst>
                                    <p:cond delay="0"/>
                                  </p:stCondLst>
                                  <p:childTnLst>
                                    <p:set>
                                      <p:cBhvr>
                                        <p:cTn id="32" dur="1" fill="hold">
                                          <p:stCondLst>
                                            <p:cond delay="0"/>
                                          </p:stCondLst>
                                        </p:cTn>
                                        <p:tgtEl>
                                          <p:spTgt spid="28"/>
                                        </p:tgtEl>
                                        <p:attrNameLst>
                                          <p:attrName>style.visibility</p:attrName>
                                        </p:attrNameLst>
                                      </p:cBhvr>
                                      <p:to>
                                        <p:strVal val="visible"/>
                                      </p:to>
                                    </p:set>
                                    <p:animEffect transition="in" filter="fade">
                                      <p:cBhvr>
                                        <p:cTn id="33" dur="500"/>
                                        <p:tgtEl>
                                          <p:spTgt spid="28"/>
                                        </p:tgtEl>
                                      </p:cBhvr>
                                    </p:animEffect>
                                  </p:childTnLst>
                                </p:cTn>
                              </p:par>
                              <p:par>
                                <p:cTn id="34" presetID="10" presetClass="entr" presetSubtype="0" fill="hold" nodeType="with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10" grpId="0"/>
      <p:bldP spid="14" grpId="0"/>
      <p:bldP spid="18" grpId="0"/>
      <p:bldP spid="2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D-PPT-4x3-Internal-BlueAngles-LevelOne">
  <a:themeElements>
    <a:clrScheme name="BD Color Theme 1">
      <a:dk1>
        <a:srgbClr val="404041"/>
      </a:dk1>
      <a:lt1>
        <a:srgbClr val="FFFFFF"/>
      </a:lt1>
      <a:dk2>
        <a:srgbClr val="5F6062"/>
      </a:dk2>
      <a:lt2>
        <a:srgbClr val="E6E7E9"/>
      </a:lt2>
      <a:accent1>
        <a:srgbClr val="F27707"/>
      </a:accent1>
      <a:accent2>
        <a:srgbClr val="004593"/>
      </a:accent2>
      <a:accent3>
        <a:srgbClr val="E7E5E1"/>
      </a:accent3>
      <a:accent4>
        <a:srgbClr val="BFB8B3"/>
      </a:accent4>
      <a:accent5>
        <a:srgbClr val="72635D"/>
      </a:accent5>
      <a:accent6>
        <a:srgbClr val="004593"/>
      </a:accent6>
      <a:hlink>
        <a:srgbClr val="F27707"/>
      </a:hlink>
      <a:folHlink>
        <a:srgbClr val="00459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D610B"/>
        </a:solidFill>
        <a:ln>
          <a:noFill/>
        </a:ln>
        <a:effectLst/>
      </a:spPr>
      <a:bodyPr rtlCol="0" anchor="ctr"/>
      <a:lstStyle>
        <a:defPPr algn="ctr">
          <a:defRPr dirty="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BD-PPT-4x3-Internal-BlueAngles-LevelOne">
  <a:themeElements>
    <a:clrScheme name="BD Color Theme 1">
      <a:dk1>
        <a:srgbClr val="404041"/>
      </a:dk1>
      <a:lt1>
        <a:srgbClr val="FFFFFF"/>
      </a:lt1>
      <a:dk2>
        <a:srgbClr val="5F6062"/>
      </a:dk2>
      <a:lt2>
        <a:srgbClr val="E6E7E9"/>
      </a:lt2>
      <a:accent1>
        <a:srgbClr val="F27707"/>
      </a:accent1>
      <a:accent2>
        <a:srgbClr val="004593"/>
      </a:accent2>
      <a:accent3>
        <a:srgbClr val="E7E5E1"/>
      </a:accent3>
      <a:accent4>
        <a:srgbClr val="BFB8B3"/>
      </a:accent4>
      <a:accent5>
        <a:srgbClr val="72635D"/>
      </a:accent5>
      <a:accent6>
        <a:srgbClr val="004593"/>
      </a:accent6>
      <a:hlink>
        <a:srgbClr val="F27707"/>
      </a:hlink>
      <a:folHlink>
        <a:srgbClr val="00459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D610B"/>
        </a:solidFill>
        <a:ln>
          <a:noFill/>
        </a:ln>
        <a:effectLst/>
      </a:spPr>
      <a:bodyPr rtlCol="0" anchor="ctr"/>
      <a:lstStyle>
        <a:defPPr algn="ctr">
          <a:defRPr dirty="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BD-PPT-4x3-Internal-BlueAngles-LevelOne">
  <a:themeElements>
    <a:clrScheme name="BD Color Theme 1">
      <a:dk1>
        <a:srgbClr val="404041"/>
      </a:dk1>
      <a:lt1>
        <a:srgbClr val="FFFFFF"/>
      </a:lt1>
      <a:dk2>
        <a:srgbClr val="5F6062"/>
      </a:dk2>
      <a:lt2>
        <a:srgbClr val="E6E7E9"/>
      </a:lt2>
      <a:accent1>
        <a:srgbClr val="F27707"/>
      </a:accent1>
      <a:accent2>
        <a:srgbClr val="004593"/>
      </a:accent2>
      <a:accent3>
        <a:srgbClr val="E7E5E1"/>
      </a:accent3>
      <a:accent4>
        <a:srgbClr val="BFB8B3"/>
      </a:accent4>
      <a:accent5>
        <a:srgbClr val="72635D"/>
      </a:accent5>
      <a:accent6>
        <a:srgbClr val="004593"/>
      </a:accent6>
      <a:hlink>
        <a:srgbClr val="F27707"/>
      </a:hlink>
      <a:folHlink>
        <a:srgbClr val="00459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D610B"/>
        </a:solidFill>
        <a:ln>
          <a:noFill/>
        </a:ln>
        <a:effectLst/>
      </a:spPr>
      <a:bodyPr rtlCol="0" anchor="ctr"/>
      <a:lstStyle>
        <a:defPPr algn="ctr">
          <a:defRPr dirty="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384</TotalTime>
  <Words>2428</Words>
  <Application>Microsoft Office PowerPoint</Application>
  <PresentationFormat>Widescreen</PresentationFormat>
  <Paragraphs>331</Paragraphs>
  <Slides>30</Slides>
  <Notes>10</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30</vt:i4>
      </vt:variant>
    </vt:vector>
  </HeadingPairs>
  <TitlesOfParts>
    <vt:vector size="40" baseType="lpstr">
      <vt:lpstr>Lucida Grande</vt:lpstr>
      <vt:lpstr>ＭＳ Ｐゴシック</vt:lpstr>
      <vt:lpstr>Arial</vt:lpstr>
      <vt:lpstr>Calibri</vt:lpstr>
      <vt:lpstr>Verdana</vt:lpstr>
      <vt:lpstr>BD-PPT-4x3-Internal-BlueAngles-LevelOne</vt:lpstr>
      <vt:lpstr>1_BD-PPT-4x3-Internal-BlueAngles-LevelOne</vt:lpstr>
      <vt:lpstr>2_BD-PPT-4x3-Internal-BlueAngles-LevelOne</vt:lpstr>
      <vt:lpstr>Office Theme</vt:lpstr>
      <vt:lpstr>think-cell Slide</vt:lpstr>
      <vt:lpstr>PowerPoint Presentation</vt:lpstr>
      <vt:lpstr>BD PosiFlush™  Pre-Filled Syringes</vt:lpstr>
      <vt:lpstr>PATIENT SAFETY  IS OF UTMOST IMPORTA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FERENCES</vt:lpstr>
      <vt:lpstr>REFERENCES</vt:lpstr>
      <vt:lpstr>REFERENCES</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id Myers</dc:creator>
  <cp:lastModifiedBy>Paul Riyad</cp:lastModifiedBy>
  <cp:revision>604</cp:revision>
  <cp:lastPrinted>2017-09-11T15:25:27Z</cp:lastPrinted>
  <dcterms:created xsi:type="dcterms:W3CDTF">2017-02-08T17:38:27Z</dcterms:created>
  <dcterms:modified xsi:type="dcterms:W3CDTF">2017-12-02T01:44:17Z</dcterms:modified>
</cp:coreProperties>
</file>